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3.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notesSlides/notesSlide1.xml" ContentType="application/vnd.openxmlformats-officedocument.presentationml.notesSlide+xml"/>
  <Override PartName="/ppt/tags/tag28.xml" ContentType="application/vnd.openxmlformats-officedocument.presentationml.tags+xml"/>
  <Override PartName="/ppt/notesSlides/notesSlide2.xml" ContentType="application/vnd.openxmlformats-officedocument.presentationml.notesSlide+xml"/>
  <Override PartName="/ppt/tags/tag29.xml" ContentType="application/vnd.openxmlformats-officedocument.presentationml.tags+xml"/>
  <Override PartName="/ppt/notesSlides/notesSlide3.xml" ContentType="application/vnd.openxmlformats-officedocument.presentationml.notesSlide+xml"/>
  <Override PartName="/ppt/tags/tag30.xml" ContentType="application/vnd.openxmlformats-officedocument.presentationml.tags+xml"/>
  <Override PartName="/ppt/notesSlides/notesSlide4.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5.xml" ContentType="application/vnd.openxmlformats-officedocument.presentationml.notesSlide+xml"/>
  <Override PartName="/ppt/tags/tag35.xml" ContentType="application/vnd.openxmlformats-officedocument.presentationml.tags+xml"/>
  <Override PartName="/ppt/notesSlides/notesSlide6.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tags/tag42.xml" ContentType="application/vnd.openxmlformats-officedocument.presentationml.tags+xml"/>
  <Override PartName="/ppt/notesSlides/notesSlide8.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9.xml" ContentType="application/vnd.openxmlformats-officedocument.presentationml.notesSlide+xml"/>
  <Override PartName="/ppt/tags/tag46.xml" ContentType="application/vnd.openxmlformats-officedocument.presentationml.tags+xml"/>
  <Override PartName="/ppt/notesSlides/notesSlide10.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11.xml" ContentType="application/vnd.openxmlformats-officedocument.presentationml.notesSlide+xml"/>
  <Override PartName="/ppt/tags/tag49.xml" ContentType="application/vnd.openxmlformats-officedocument.presentationml.tags+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tags/tag50.xml" ContentType="application/vnd.openxmlformats-officedocument.presentationml.tags+xml"/>
  <Override PartName="/ppt/ink/ink6.xml" ContentType="application/inkml+xml"/>
  <Override PartName="/ppt/ink/ink7.xml" ContentType="application/inkml+xml"/>
  <Override PartName="/ppt/ink/ink8.xml" ContentType="application/inkml+xml"/>
  <Override PartName="/ppt/ink/ink9.xml" ContentType="application/inkml+xml"/>
  <Override PartName="/ppt/tags/tag51.xml" ContentType="application/vnd.openxmlformats-officedocument.presentationml.tags+xml"/>
  <Override PartName="/ppt/ink/ink10.xml" ContentType="application/inkml+xml"/>
  <Override PartName="/ppt/tags/tag52.xml" ContentType="application/vnd.openxmlformats-officedocument.presentationml.tags+xml"/>
  <Override PartName="/ppt/notesSlides/notesSlide12.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13.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14.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15.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16.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17.xml" ContentType="application/vnd.openxmlformats-officedocument.presentationml.notesSlide+xml"/>
  <Override PartName="/ppt/tags/tag82.xml" ContentType="application/vnd.openxmlformats-officedocument.presentationml.tags+xml"/>
  <Override PartName="/ppt/notesSlides/notesSlide18.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4"/>
    <p:sldMasterId id="2147483667" r:id="rId5"/>
  </p:sldMasterIdLst>
  <p:notesMasterIdLst>
    <p:notesMasterId r:id="rId66"/>
  </p:notesMasterIdLst>
  <p:sldIdLst>
    <p:sldId id="1750" r:id="rId6"/>
    <p:sldId id="256" r:id="rId7"/>
    <p:sldId id="2147375290" r:id="rId8"/>
    <p:sldId id="1022" r:id="rId9"/>
    <p:sldId id="2147375288" r:id="rId10"/>
    <p:sldId id="2147375287" r:id="rId11"/>
    <p:sldId id="2450" r:id="rId12"/>
    <p:sldId id="2448" r:id="rId13"/>
    <p:sldId id="2147375180" r:id="rId14"/>
    <p:sldId id="2147375181" r:id="rId15"/>
    <p:sldId id="2147375299" r:id="rId16"/>
    <p:sldId id="2147375196" r:id="rId17"/>
    <p:sldId id="2147375298" r:id="rId18"/>
    <p:sldId id="2147375308" r:id="rId19"/>
    <p:sldId id="2147375301" r:id="rId20"/>
    <p:sldId id="2147375323" r:id="rId21"/>
    <p:sldId id="2147375307" r:id="rId22"/>
    <p:sldId id="2147375315" r:id="rId23"/>
    <p:sldId id="2147375297" r:id="rId24"/>
    <p:sldId id="2147375192" r:id="rId25"/>
    <p:sldId id="2147375292" r:id="rId26"/>
    <p:sldId id="2147375188" r:id="rId27"/>
    <p:sldId id="2147375293" r:id="rId28"/>
    <p:sldId id="2147375184" r:id="rId29"/>
    <p:sldId id="2147375190" r:id="rId30"/>
    <p:sldId id="2147375189" r:id="rId31"/>
    <p:sldId id="2147375294" r:id="rId32"/>
    <p:sldId id="2147375254" r:id="rId33"/>
    <p:sldId id="2147375185" r:id="rId34"/>
    <p:sldId id="1721" r:id="rId35"/>
    <p:sldId id="2147375261" r:id="rId36"/>
    <p:sldId id="2147375256" r:id="rId37"/>
    <p:sldId id="2147375310" r:id="rId38"/>
    <p:sldId id="2147375266" r:id="rId39"/>
    <p:sldId id="2147375311" r:id="rId40"/>
    <p:sldId id="2147375321" r:id="rId41"/>
    <p:sldId id="2147375312" r:id="rId42"/>
    <p:sldId id="2147375269" r:id="rId43"/>
    <p:sldId id="2147375313" r:id="rId44"/>
    <p:sldId id="2147375322" r:id="rId45"/>
    <p:sldId id="2147375295" r:id="rId46"/>
    <p:sldId id="2449" r:id="rId47"/>
    <p:sldId id="2147375296" r:id="rId48"/>
    <p:sldId id="2147375276" r:id="rId49"/>
    <p:sldId id="2147375291" r:id="rId50"/>
    <p:sldId id="2451" r:id="rId51"/>
    <p:sldId id="2147375303" r:id="rId52"/>
    <p:sldId id="2147375278" r:id="rId53"/>
    <p:sldId id="2147375281" r:id="rId54"/>
    <p:sldId id="2147375279" r:id="rId55"/>
    <p:sldId id="2147375282" r:id="rId56"/>
    <p:sldId id="2147375283" r:id="rId57"/>
    <p:sldId id="2147375285" r:id="rId58"/>
    <p:sldId id="2147375200" r:id="rId59"/>
    <p:sldId id="2147375324" r:id="rId60"/>
    <p:sldId id="2461" r:id="rId61"/>
    <p:sldId id="2147375325" r:id="rId62"/>
    <p:sldId id="944" r:id="rId63"/>
    <p:sldId id="1790" r:id="rId64"/>
    <p:sldId id="2147375316" r:id="rId65"/>
  </p:sldIdLst>
  <p:sldSz cx="12192000" cy="6858000"/>
  <p:notesSz cx="6858000" cy="9144000"/>
  <p:custDataLst>
    <p:tags r:id="rId6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3F01025-75A7-F743-A161-FF9635E3F27A}" name="Flink, Barry J" initials="FBJ" userId="S::barryflink@kpmg.com::39502590-5b2b-46b7-81c3-9a5de5de5f8b" providerId="AD"/>
  <p188:author id="{2DB28DCB-3502-3D5E-3DC3-5A6DCABAAD98}" name="Ramirez, Matias" initials="RM" userId="S::matiasramirez@kpmg.com::f9287b4f-ca9e-4784-af21-619bdecb5da9" providerId="AD"/>
  <p188:author id="{832233EE-E2B8-1503-3801-F96BD73700EA}" name="Johnstone, Charlotte" initials="JC" userId="S::charlottejohnstone@kpmg.com::a60ea39f-ecb5-4295-a949-2dc20e04e6c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8D"/>
    <a:srgbClr val="0A285C"/>
    <a:srgbClr val="3030A2"/>
    <a:srgbClr val="C18662"/>
    <a:srgbClr val="EAAA00"/>
    <a:srgbClr val="793405"/>
    <a:srgbClr val="2EBCA0"/>
    <a:srgbClr val="005EB8"/>
    <a:srgbClr val="00A3A1"/>
    <a:srgbClr val="6D207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8C3782-92C6-477C-BE43-B1FC7470F3B3}" v="10" dt="2023-07-21T14:16:02.332"/>
    <p1510:client id="{D6D5FE63-BEC7-476D-9FA7-B57F1F57CEC6}" v="1" dt="2023-07-21T14:21:42.56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3" d="100"/>
          <a:sy n="83" d="100"/>
        </p:scale>
        <p:origin x="60" y="6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notesMaster" Target="notesMasters/notesMaster1.xml"/><Relationship Id="rId74"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72"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tags" Target="tags/tag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theme" Target="theme/theme1.xml"/><Relationship Id="rId75" Type="http://schemas.openxmlformats.org/officeDocument/2006/relationships/customXml" Target="../customXml/item4.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 Type="http://schemas.openxmlformats.org/officeDocument/2006/relationships/slide" Target="slides/slide2.xml"/><Relationship Id="rId71"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ooper, Devin" userId="3f4e5230-b830-4b03-b293-d36b7227fe27" providerId="ADAL" clId="{386F9400-7084-4B63-9583-7915DE150D64}"/>
    <pc:docChg chg="custSel modSld">
      <pc:chgData name="Cooper, Devin" userId="3f4e5230-b830-4b03-b293-d36b7227fe27" providerId="ADAL" clId="{386F9400-7084-4B63-9583-7915DE150D64}" dt="2023-06-29T13:19:52.484" v="20" actId="14100"/>
      <pc:docMkLst>
        <pc:docMk/>
      </pc:docMkLst>
      <pc:sldChg chg="addSp delSp modSp mod">
        <pc:chgData name="Cooper, Devin" userId="3f4e5230-b830-4b03-b293-d36b7227fe27" providerId="ADAL" clId="{386F9400-7084-4B63-9583-7915DE150D64}" dt="2023-06-29T13:19:41.951" v="16" actId="1076"/>
        <pc:sldMkLst>
          <pc:docMk/>
          <pc:sldMk cId="311164968" sldId="944"/>
        </pc:sldMkLst>
        <pc:picChg chg="add mod">
          <ac:chgData name="Cooper, Devin" userId="3f4e5230-b830-4b03-b293-d36b7227fe27" providerId="ADAL" clId="{386F9400-7084-4B63-9583-7915DE150D64}" dt="2023-06-29T13:19:41.951" v="16" actId="1076"/>
          <ac:picMkLst>
            <pc:docMk/>
            <pc:sldMk cId="311164968" sldId="944"/>
            <ac:picMk id="3" creationId="{B4B43B4E-E7DC-4ED1-EAD5-8AC4E11ABE17}"/>
          </ac:picMkLst>
        </pc:picChg>
        <pc:picChg chg="del">
          <ac:chgData name="Cooper, Devin" userId="3f4e5230-b830-4b03-b293-d36b7227fe27" providerId="ADAL" clId="{386F9400-7084-4B63-9583-7915DE150D64}" dt="2023-06-29T13:19:38.126" v="14" actId="478"/>
          <ac:picMkLst>
            <pc:docMk/>
            <pc:sldMk cId="311164968" sldId="944"/>
            <ac:picMk id="4" creationId="{61A5E4C6-A688-4A58-8079-2971C3D7FFA6}"/>
          </ac:picMkLst>
        </pc:picChg>
      </pc:sldChg>
      <pc:sldChg chg="addSp delSp modSp mod">
        <pc:chgData name="Cooper, Devin" userId="3f4e5230-b830-4b03-b293-d36b7227fe27" providerId="ADAL" clId="{386F9400-7084-4B63-9583-7915DE150D64}" dt="2023-06-29T13:18:50.169" v="10" actId="1076"/>
        <pc:sldMkLst>
          <pc:docMk/>
          <pc:sldMk cId="3946116605" sldId="1022"/>
        </pc:sldMkLst>
        <pc:picChg chg="add mod">
          <ac:chgData name="Cooper, Devin" userId="3f4e5230-b830-4b03-b293-d36b7227fe27" providerId="ADAL" clId="{386F9400-7084-4B63-9583-7915DE150D64}" dt="2023-06-29T13:18:50.169" v="10" actId="1076"/>
          <ac:picMkLst>
            <pc:docMk/>
            <pc:sldMk cId="3946116605" sldId="1022"/>
            <ac:picMk id="3" creationId="{E0987EFB-101F-59A5-59CC-6EE72BBE289E}"/>
          </ac:picMkLst>
        </pc:picChg>
        <pc:picChg chg="del">
          <ac:chgData name="Cooper, Devin" userId="3f4e5230-b830-4b03-b293-d36b7227fe27" providerId="ADAL" clId="{386F9400-7084-4B63-9583-7915DE150D64}" dt="2023-06-29T13:18:27.686" v="5" actId="478"/>
          <ac:picMkLst>
            <pc:docMk/>
            <pc:sldMk cId="3946116605" sldId="1022"/>
            <ac:picMk id="55" creationId="{F303195B-8689-4D85-9315-4904CC8F6B7F}"/>
          </ac:picMkLst>
        </pc:picChg>
      </pc:sldChg>
      <pc:sldChg chg="addSp delSp modSp mod">
        <pc:chgData name="Cooper, Devin" userId="3f4e5230-b830-4b03-b293-d36b7227fe27" providerId="ADAL" clId="{386F9400-7084-4B63-9583-7915DE150D64}" dt="2023-06-29T13:19:22.925" v="13" actId="1076"/>
        <pc:sldMkLst>
          <pc:docMk/>
          <pc:sldMk cId="4223713636" sldId="2147375301"/>
        </pc:sldMkLst>
        <pc:picChg chg="del">
          <ac:chgData name="Cooper, Devin" userId="3f4e5230-b830-4b03-b293-d36b7227fe27" providerId="ADAL" clId="{386F9400-7084-4B63-9583-7915DE150D64}" dt="2023-06-29T13:19:15.075" v="12" actId="478"/>
          <ac:picMkLst>
            <pc:docMk/>
            <pc:sldMk cId="4223713636" sldId="2147375301"/>
            <ac:picMk id="2" creationId="{A5A7F801-69C7-279B-6969-9232323B992F}"/>
          </ac:picMkLst>
        </pc:picChg>
        <pc:picChg chg="add mod">
          <ac:chgData name="Cooper, Devin" userId="3f4e5230-b830-4b03-b293-d36b7227fe27" providerId="ADAL" clId="{386F9400-7084-4B63-9583-7915DE150D64}" dt="2023-06-29T13:19:22.925" v="13" actId="1076"/>
          <ac:picMkLst>
            <pc:docMk/>
            <pc:sldMk cId="4223713636" sldId="2147375301"/>
            <ac:picMk id="3" creationId="{610D0801-F487-D344-1310-235F3C9DE7E5}"/>
          </ac:picMkLst>
        </pc:picChg>
      </pc:sldChg>
      <pc:sldChg chg="addSp delSp modSp mod">
        <pc:chgData name="Cooper, Devin" userId="3f4e5230-b830-4b03-b293-d36b7227fe27" providerId="ADAL" clId="{386F9400-7084-4B63-9583-7915DE150D64}" dt="2023-06-29T13:19:52.484" v="20" actId="14100"/>
        <pc:sldMkLst>
          <pc:docMk/>
          <pc:sldMk cId="3597312824" sldId="2147375316"/>
        </pc:sldMkLst>
        <pc:picChg chg="del">
          <ac:chgData name="Cooper, Devin" userId="3f4e5230-b830-4b03-b293-d36b7227fe27" providerId="ADAL" clId="{386F9400-7084-4B63-9583-7915DE150D64}" dt="2023-06-29T13:19:46.541" v="17" actId="478"/>
          <ac:picMkLst>
            <pc:docMk/>
            <pc:sldMk cId="3597312824" sldId="2147375316"/>
            <ac:picMk id="3" creationId="{326F3F1D-9C3C-9AD4-1DE0-7E50A535F1AD}"/>
          </ac:picMkLst>
        </pc:picChg>
        <pc:picChg chg="add mod">
          <ac:chgData name="Cooper, Devin" userId="3f4e5230-b830-4b03-b293-d36b7227fe27" providerId="ADAL" clId="{386F9400-7084-4B63-9583-7915DE150D64}" dt="2023-06-29T13:19:52.484" v="20" actId="14100"/>
          <ac:picMkLst>
            <pc:docMk/>
            <pc:sldMk cId="3597312824" sldId="2147375316"/>
            <ac:picMk id="4" creationId="{49180C74-2EAF-5457-BE6B-27F15FDBF832}"/>
          </ac:picMkLst>
        </pc:picChg>
      </pc:sldChg>
    </pc:docChg>
  </pc:docChgLst>
  <pc:docChgLst>
    <pc:chgData name="Cooper, Devin" userId="3f4e5230-b830-4b03-b293-d36b7227fe27" providerId="ADAL" clId="{48B31A84-C58D-47B4-AC53-DEF77A669106}"/>
    <pc:docChg chg="custSel addSld modSld">
      <pc:chgData name="Cooper, Devin" userId="3f4e5230-b830-4b03-b293-d36b7227fe27" providerId="ADAL" clId="{48B31A84-C58D-47B4-AC53-DEF77A669106}" dt="2023-07-13T15:38:15.409" v="12" actId="14826"/>
      <pc:docMkLst>
        <pc:docMk/>
      </pc:docMkLst>
      <pc:sldChg chg="mod modShow">
        <pc:chgData name="Cooper, Devin" userId="3f4e5230-b830-4b03-b293-d36b7227fe27" providerId="ADAL" clId="{48B31A84-C58D-47B4-AC53-DEF77A669106}" dt="2023-07-12T15:03:51.009" v="7" actId="729"/>
        <pc:sldMkLst>
          <pc:docMk/>
          <pc:sldMk cId="3167372716" sldId="1797"/>
        </pc:sldMkLst>
      </pc:sldChg>
      <pc:sldChg chg="addSp delSp modSp new mod chgLayout">
        <pc:chgData name="Cooper, Devin" userId="3f4e5230-b830-4b03-b293-d36b7227fe27" providerId="ADAL" clId="{48B31A84-C58D-47B4-AC53-DEF77A669106}" dt="2023-07-13T15:38:15.409" v="12" actId="14826"/>
        <pc:sldMkLst>
          <pc:docMk/>
          <pc:sldMk cId="2296728650" sldId="2147375324"/>
        </pc:sldMkLst>
        <pc:spChg chg="del">
          <ac:chgData name="Cooper, Devin" userId="3f4e5230-b830-4b03-b293-d36b7227fe27" providerId="ADAL" clId="{48B31A84-C58D-47B4-AC53-DEF77A669106}" dt="2023-07-12T15:03:10.876" v="1" actId="700"/>
          <ac:spMkLst>
            <pc:docMk/>
            <pc:sldMk cId="2296728650" sldId="2147375324"/>
            <ac:spMk id="2" creationId="{49FED2D5-4DB2-41C8-53A8-D9F49529C634}"/>
          </ac:spMkLst>
        </pc:spChg>
        <pc:spChg chg="del">
          <ac:chgData name="Cooper, Devin" userId="3f4e5230-b830-4b03-b293-d36b7227fe27" providerId="ADAL" clId="{48B31A84-C58D-47B4-AC53-DEF77A669106}" dt="2023-07-12T15:03:10.876" v="1" actId="700"/>
          <ac:spMkLst>
            <pc:docMk/>
            <pc:sldMk cId="2296728650" sldId="2147375324"/>
            <ac:spMk id="3" creationId="{2CBF4F1C-661C-9A26-9B79-0AC7C9F9F35C}"/>
          </ac:spMkLst>
        </pc:spChg>
        <pc:spChg chg="add del mod ord">
          <ac:chgData name="Cooper, Devin" userId="3f4e5230-b830-4b03-b293-d36b7227fe27" providerId="ADAL" clId="{48B31A84-C58D-47B4-AC53-DEF77A669106}" dt="2023-07-12T15:04:05.132" v="9" actId="478"/>
          <ac:spMkLst>
            <pc:docMk/>
            <pc:sldMk cId="2296728650" sldId="2147375324"/>
            <ac:spMk id="4" creationId="{13E1326A-5425-2723-85C0-DE9E54A236FD}"/>
          </ac:spMkLst>
        </pc:spChg>
        <pc:spChg chg="add del mod ord">
          <ac:chgData name="Cooper, Devin" userId="3f4e5230-b830-4b03-b293-d36b7227fe27" providerId="ADAL" clId="{48B31A84-C58D-47B4-AC53-DEF77A669106}" dt="2023-07-12T15:03:14.877" v="2" actId="478"/>
          <ac:spMkLst>
            <pc:docMk/>
            <pc:sldMk cId="2296728650" sldId="2147375324"/>
            <ac:spMk id="5" creationId="{7C8BA8D0-4243-8288-9BE8-B35F332B9743}"/>
          </ac:spMkLst>
        </pc:spChg>
        <pc:spChg chg="add mod">
          <ac:chgData name="Cooper, Devin" userId="3f4e5230-b830-4b03-b293-d36b7227fe27" providerId="ADAL" clId="{48B31A84-C58D-47B4-AC53-DEF77A669106}" dt="2023-07-12T15:04:11.828" v="11" actId="1076"/>
          <ac:spMkLst>
            <pc:docMk/>
            <pc:sldMk cId="2296728650" sldId="2147375324"/>
            <ac:spMk id="8" creationId="{A4F0634B-C72E-54A4-730A-F6375A097D5E}"/>
          </ac:spMkLst>
        </pc:spChg>
        <pc:picChg chg="add mod">
          <ac:chgData name="Cooper, Devin" userId="3f4e5230-b830-4b03-b293-d36b7227fe27" providerId="ADAL" clId="{48B31A84-C58D-47B4-AC53-DEF77A669106}" dt="2023-07-13T15:38:15.409" v="12" actId="14826"/>
          <ac:picMkLst>
            <pc:docMk/>
            <pc:sldMk cId="2296728650" sldId="2147375324"/>
            <ac:picMk id="7" creationId="{8BFA9380-C74B-B2A2-0917-A7E712CD288A}"/>
          </ac:picMkLst>
        </pc:picChg>
      </pc:sldChg>
    </pc:docChg>
  </pc:docChgLst>
  <pc:docChgLst>
    <pc:chgData name="Cooper, Devin" userId="3f4e5230-b830-4b03-b293-d36b7227fe27" providerId="ADAL" clId="{5D457A2A-7BAF-4B7C-A452-9FC14DF6BC47}"/>
    <pc:docChg chg="undo redo custSel addSld modSld">
      <pc:chgData name="Cooper, Devin" userId="3f4e5230-b830-4b03-b293-d36b7227fe27" providerId="ADAL" clId="{5D457A2A-7BAF-4B7C-A452-9FC14DF6BC47}" dt="2023-06-22T16:04:51.671" v="285" actId="14100"/>
      <pc:docMkLst>
        <pc:docMk/>
      </pc:docMkLst>
      <pc:sldChg chg="addSp delSp modSp mod modShow">
        <pc:chgData name="Cooper, Devin" userId="3f4e5230-b830-4b03-b293-d36b7227fe27" providerId="ADAL" clId="{5D457A2A-7BAF-4B7C-A452-9FC14DF6BC47}" dt="2023-06-22T16:02:53.362" v="280" actId="729"/>
        <pc:sldMkLst>
          <pc:docMk/>
          <pc:sldMk cId="2145453126" sldId="2147375306"/>
        </pc:sldMkLst>
        <pc:spChg chg="add del mod">
          <ac:chgData name="Cooper, Devin" userId="3f4e5230-b830-4b03-b293-d36b7227fe27" providerId="ADAL" clId="{5D457A2A-7BAF-4B7C-A452-9FC14DF6BC47}" dt="2023-06-22T15:23:22.792" v="7"/>
          <ac:spMkLst>
            <pc:docMk/>
            <pc:sldMk cId="2145453126" sldId="2147375306"/>
            <ac:spMk id="2" creationId="{B6809500-0296-21BC-3F41-8F028E7C1CBB}"/>
          </ac:spMkLst>
        </pc:spChg>
      </pc:sldChg>
      <pc:sldChg chg="modSp mod modShow">
        <pc:chgData name="Cooper, Devin" userId="3f4e5230-b830-4b03-b293-d36b7227fe27" providerId="ADAL" clId="{5D457A2A-7BAF-4B7C-A452-9FC14DF6BC47}" dt="2023-06-22T16:02:56.915" v="281" actId="729"/>
        <pc:sldMkLst>
          <pc:docMk/>
          <pc:sldMk cId="1075962840" sldId="2147375309"/>
        </pc:sldMkLst>
        <pc:spChg chg="mod">
          <ac:chgData name="Cooper, Devin" userId="3f4e5230-b830-4b03-b293-d36b7227fe27" providerId="ADAL" clId="{5D457A2A-7BAF-4B7C-A452-9FC14DF6BC47}" dt="2023-06-22T15:45:24.799" v="155" actId="20578"/>
          <ac:spMkLst>
            <pc:docMk/>
            <pc:sldMk cId="1075962840" sldId="2147375309"/>
            <ac:spMk id="12" creationId="{64E12F57-4938-B0AB-AB56-D3DDC266F8DF}"/>
          </ac:spMkLst>
        </pc:spChg>
      </pc:sldChg>
      <pc:sldChg chg="addSp modSp new mod">
        <pc:chgData name="Cooper, Devin" userId="3f4e5230-b830-4b03-b293-d36b7227fe27" providerId="ADAL" clId="{5D457A2A-7BAF-4B7C-A452-9FC14DF6BC47}" dt="2023-06-22T16:04:51.671" v="285" actId="14100"/>
        <pc:sldMkLst>
          <pc:docMk/>
          <pc:sldMk cId="1014250166" sldId="2147375323"/>
        </pc:sldMkLst>
        <pc:spChg chg="mod">
          <ac:chgData name="Cooper, Devin" userId="3f4e5230-b830-4b03-b293-d36b7227fe27" providerId="ADAL" clId="{5D457A2A-7BAF-4B7C-A452-9FC14DF6BC47}" dt="2023-06-22T15:44:52.325" v="153" actId="27636"/>
          <ac:spMkLst>
            <pc:docMk/>
            <pc:sldMk cId="1014250166" sldId="2147375323"/>
            <ac:spMk id="2" creationId="{918A8EDC-8B59-854C-4C38-21CCF0056BCA}"/>
          </ac:spMkLst>
        </pc:spChg>
        <pc:spChg chg="mod">
          <ac:chgData name="Cooper, Devin" userId="3f4e5230-b830-4b03-b293-d36b7227fe27" providerId="ADAL" clId="{5D457A2A-7BAF-4B7C-A452-9FC14DF6BC47}" dt="2023-06-22T16:03:55.564" v="284"/>
          <ac:spMkLst>
            <pc:docMk/>
            <pc:sldMk cId="1014250166" sldId="2147375323"/>
            <ac:spMk id="3" creationId="{C484EA48-C5A5-7DCC-1BDD-AF98A40363C9}"/>
          </ac:spMkLst>
        </pc:spChg>
        <pc:spChg chg="add mod">
          <ac:chgData name="Cooper, Devin" userId="3f4e5230-b830-4b03-b293-d36b7227fe27" providerId="ADAL" clId="{5D457A2A-7BAF-4B7C-A452-9FC14DF6BC47}" dt="2023-06-22T16:04:51.671" v="285" actId="14100"/>
          <ac:spMkLst>
            <pc:docMk/>
            <pc:sldMk cId="1014250166" sldId="2147375323"/>
            <ac:spMk id="4" creationId="{24E5A2C7-5A79-48A3-0E1B-CC763FA1CBC1}"/>
          </ac:spMkLst>
        </pc:spChg>
        <pc:graphicFrameChg chg="add mod modGraphic">
          <ac:chgData name="Cooper, Devin" userId="3f4e5230-b830-4b03-b293-d36b7227fe27" providerId="ADAL" clId="{5D457A2A-7BAF-4B7C-A452-9FC14DF6BC47}" dt="2023-06-22T16:03:20.696" v="282" actId="1076"/>
          <ac:graphicFrameMkLst>
            <pc:docMk/>
            <pc:sldMk cId="1014250166" sldId="2147375323"/>
            <ac:graphicFrameMk id="5" creationId="{32359EC5-C36D-56B6-6B16-F1C59D369A57}"/>
          </ac:graphicFrameMkLst>
        </pc:graphicFrameChg>
        <pc:graphicFrameChg chg="add mod modGraphic">
          <ac:chgData name="Cooper, Devin" userId="3f4e5230-b830-4b03-b293-d36b7227fe27" providerId="ADAL" clId="{5D457A2A-7BAF-4B7C-A452-9FC14DF6BC47}" dt="2023-06-22T16:03:27.941" v="283" actId="1076"/>
          <ac:graphicFrameMkLst>
            <pc:docMk/>
            <pc:sldMk cId="1014250166" sldId="2147375323"/>
            <ac:graphicFrameMk id="6" creationId="{E65899C0-E7F5-5E0B-3EF2-353F2C91F463}"/>
          </ac:graphicFrameMkLst>
        </pc:graphicFrameChg>
      </pc:sldChg>
    </pc:docChg>
  </pc:docChgLst>
  <pc:docChgLst>
    <pc:chgData name="Ramirez, Matias" userId="f9287b4f-ca9e-4784-af21-619bdecb5da9" providerId="ADAL" clId="{0281B5E7-AF16-4DC9-91EE-911B17F486F4}"/>
    <pc:docChg chg="undo custSel modSld replTag delTag">
      <pc:chgData name="Ramirez, Matias" userId="f9287b4f-ca9e-4784-af21-619bdecb5da9" providerId="ADAL" clId="{0281B5E7-AF16-4DC9-91EE-911B17F486F4}" dt="2023-06-29T16:56:09.281" v="15"/>
      <pc:docMkLst>
        <pc:docMk/>
      </pc:docMkLst>
      <pc:sldChg chg="replTag delTag">
        <pc:chgData name="Ramirez, Matias" userId="f9287b4f-ca9e-4784-af21-619bdecb5da9" providerId="ADAL" clId="{0281B5E7-AF16-4DC9-91EE-911B17F486F4}" dt="2023-06-29T16:56:09.281" v="15"/>
        <pc:sldMkLst>
          <pc:docMk/>
          <pc:sldMk cId="723307061" sldId="1750"/>
        </pc:sldMkLst>
      </pc:sldChg>
      <pc:sldChg chg="modSp mod replTag delTag">
        <pc:chgData name="Ramirez, Matias" userId="f9287b4f-ca9e-4784-af21-619bdecb5da9" providerId="ADAL" clId="{0281B5E7-AF16-4DC9-91EE-911B17F486F4}" dt="2023-06-29T16:56:08.159" v="13"/>
        <pc:sldMkLst>
          <pc:docMk/>
          <pc:sldMk cId="3491555197" sldId="2147375288"/>
        </pc:sldMkLst>
        <pc:spChg chg="mod">
          <ac:chgData name="Ramirez, Matias" userId="f9287b4f-ca9e-4784-af21-619bdecb5da9" providerId="ADAL" clId="{0281B5E7-AF16-4DC9-91EE-911B17F486F4}" dt="2023-06-29T16:54:15.702" v="11" actId="20577"/>
          <ac:spMkLst>
            <pc:docMk/>
            <pc:sldMk cId="3491555197" sldId="2147375288"/>
            <ac:spMk id="27" creationId="{B56643AB-99C1-E984-9897-675C59F3EE4E}"/>
          </ac:spMkLst>
        </pc:spChg>
      </pc:sldChg>
    </pc:docChg>
  </pc:docChgLst>
  <pc:docChgLst>
    <pc:chgData name="Ramirez, Matias" userId="f9287b4f-ca9e-4784-af21-619bdecb5da9" providerId="ADAL" clId="{AE93F109-7249-45FE-9000-194D444D46A1}"/>
    <pc:docChg chg="undo custSel modSld replTag delTag">
      <pc:chgData name="Ramirez, Matias" userId="f9287b4f-ca9e-4784-af21-619bdecb5da9" providerId="ADAL" clId="{AE93F109-7249-45FE-9000-194D444D46A1}" dt="2023-06-19T15:27:20.904" v="172"/>
      <pc:docMkLst>
        <pc:docMk/>
      </pc:docMkLst>
      <pc:sldChg chg="replTag delTag">
        <pc:chgData name="Ramirez, Matias" userId="f9287b4f-ca9e-4784-af21-619bdecb5da9" providerId="ADAL" clId="{AE93F109-7249-45FE-9000-194D444D46A1}" dt="2023-06-19T15:11:21.906" v="5"/>
        <pc:sldMkLst>
          <pc:docMk/>
          <pc:sldMk cId="3418360313" sldId="256"/>
        </pc:sldMkLst>
      </pc:sldChg>
      <pc:sldChg chg="replTag delTag">
        <pc:chgData name="Ramirez, Matias" userId="f9287b4f-ca9e-4784-af21-619bdecb5da9" providerId="ADAL" clId="{AE93F109-7249-45FE-9000-194D444D46A1}" dt="2023-06-19T15:12:13.815" v="32"/>
        <pc:sldMkLst>
          <pc:docMk/>
          <pc:sldMk cId="1736517628" sldId="1721"/>
        </pc:sldMkLst>
      </pc:sldChg>
      <pc:sldChg chg="replTag delTag">
        <pc:chgData name="Ramirez, Matias" userId="f9287b4f-ca9e-4784-af21-619bdecb5da9" providerId="ADAL" clId="{AE93F109-7249-45FE-9000-194D444D46A1}" dt="2023-06-19T15:27:16.233" v="170"/>
        <pc:sldMkLst>
          <pc:docMk/>
          <pc:sldMk cId="2886805870" sldId="2451"/>
        </pc:sldMkLst>
      </pc:sldChg>
      <pc:sldChg chg="replTag delTag">
        <pc:chgData name="Ramirez, Matias" userId="f9287b4f-ca9e-4784-af21-619bdecb5da9" providerId="ADAL" clId="{AE93F109-7249-45FE-9000-194D444D46A1}" dt="2023-06-19T15:12:03.874" v="28"/>
        <pc:sldMkLst>
          <pc:docMk/>
          <pc:sldMk cId="1749613719" sldId="2147375256"/>
        </pc:sldMkLst>
      </pc:sldChg>
      <pc:sldChg chg="replTag delTag">
        <pc:chgData name="Ramirez, Matias" userId="f9287b4f-ca9e-4784-af21-619bdecb5da9" providerId="ADAL" clId="{AE93F109-7249-45FE-9000-194D444D46A1}" dt="2023-06-19T15:12:32.436" v="34"/>
        <pc:sldMkLst>
          <pc:docMk/>
          <pc:sldMk cId="3268369863" sldId="2147375257"/>
        </pc:sldMkLst>
      </pc:sldChg>
      <pc:sldChg chg="replTag delTag">
        <pc:chgData name="Ramirez, Matias" userId="f9287b4f-ca9e-4784-af21-619bdecb5da9" providerId="ADAL" clId="{AE93F109-7249-45FE-9000-194D444D46A1}" dt="2023-06-19T15:13:03.563" v="36"/>
        <pc:sldMkLst>
          <pc:docMk/>
          <pc:sldMk cId="959724185" sldId="2147375258"/>
        </pc:sldMkLst>
      </pc:sldChg>
      <pc:sldChg chg="replTag delTag">
        <pc:chgData name="Ramirez, Matias" userId="f9287b4f-ca9e-4784-af21-619bdecb5da9" providerId="ADAL" clId="{AE93F109-7249-45FE-9000-194D444D46A1}" dt="2023-06-19T15:13:33.390" v="38"/>
        <pc:sldMkLst>
          <pc:docMk/>
          <pc:sldMk cId="1564550048" sldId="2147375260"/>
        </pc:sldMkLst>
      </pc:sldChg>
      <pc:sldChg chg="replTag delTag">
        <pc:chgData name="Ramirez, Matias" userId="f9287b4f-ca9e-4784-af21-619bdecb5da9" providerId="ADAL" clId="{AE93F109-7249-45FE-9000-194D444D46A1}" dt="2023-06-19T15:12:12.137" v="30"/>
        <pc:sldMkLst>
          <pc:docMk/>
          <pc:sldMk cId="2140185540" sldId="2147375261"/>
        </pc:sldMkLst>
      </pc:sldChg>
      <pc:sldChg chg="replTag delTag">
        <pc:chgData name="Ramirez, Matias" userId="f9287b4f-ca9e-4784-af21-619bdecb5da9" providerId="ADAL" clId="{AE93F109-7249-45FE-9000-194D444D46A1}" dt="2023-06-19T15:13:57.330" v="44"/>
        <pc:sldMkLst>
          <pc:docMk/>
          <pc:sldMk cId="1100248525" sldId="2147375266"/>
        </pc:sldMkLst>
      </pc:sldChg>
      <pc:sldChg chg="replTag delTag">
        <pc:chgData name="Ramirez, Matias" userId="f9287b4f-ca9e-4784-af21-619bdecb5da9" providerId="ADAL" clId="{AE93F109-7249-45FE-9000-194D444D46A1}" dt="2023-06-19T15:14:32.556" v="48"/>
        <pc:sldMkLst>
          <pc:docMk/>
          <pc:sldMk cId="3441663454" sldId="2147375267"/>
        </pc:sldMkLst>
      </pc:sldChg>
      <pc:sldChg chg="replTag delTag">
        <pc:chgData name="Ramirez, Matias" userId="f9287b4f-ca9e-4784-af21-619bdecb5da9" providerId="ADAL" clId="{AE93F109-7249-45FE-9000-194D444D46A1}" dt="2023-06-19T15:19:56.986" v="62"/>
        <pc:sldMkLst>
          <pc:docMk/>
          <pc:sldMk cId="2344242694" sldId="2147375268"/>
        </pc:sldMkLst>
      </pc:sldChg>
      <pc:sldChg chg="replTag delTag">
        <pc:chgData name="Ramirez, Matias" userId="f9287b4f-ca9e-4784-af21-619bdecb5da9" providerId="ADAL" clId="{AE93F109-7249-45FE-9000-194D444D46A1}" dt="2023-06-19T15:21:40.684" v="70"/>
        <pc:sldMkLst>
          <pc:docMk/>
          <pc:sldMk cId="3971871717" sldId="2147375269"/>
        </pc:sldMkLst>
      </pc:sldChg>
      <pc:sldChg chg="replTag delTag">
        <pc:chgData name="Ramirez, Matias" userId="f9287b4f-ca9e-4784-af21-619bdecb5da9" providerId="ADAL" clId="{AE93F109-7249-45FE-9000-194D444D46A1}" dt="2023-06-19T15:22:00.640" v="74"/>
        <pc:sldMkLst>
          <pc:docMk/>
          <pc:sldMk cId="3209762521" sldId="2147375270"/>
        </pc:sldMkLst>
      </pc:sldChg>
      <pc:sldChg chg="replTag delTag">
        <pc:chgData name="Ramirez, Matias" userId="f9287b4f-ca9e-4784-af21-619bdecb5da9" providerId="ADAL" clId="{AE93F109-7249-45FE-9000-194D444D46A1}" dt="2023-06-19T15:22:24.471" v="76"/>
        <pc:sldMkLst>
          <pc:docMk/>
          <pc:sldMk cId="3562827180" sldId="2147375272"/>
        </pc:sldMkLst>
      </pc:sldChg>
      <pc:sldChg chg="delSp modSp mod replTag delTag">
        <pc:chgData name="Ramirez, Matias" userId="f9287b4f-ca9e-4784-af21-619bdecb5da9" providerId="ADAL" clId="{AE93F109-7249-45FE-9000-194D444D46A1}" dt="2023-06-19T15:24:10.638" v="84"/>
        <pc:sldMkLst>
          <pc:docMk/>
          <pc:sldMk cId="3667055864" sldId="2147375273"/>
        </pc:sldMkLst>
        <pc:spChg chg="del">
          <ac:chgData name="Ramirez, Matias" userId="f9287b4f-ca9e-4784-af21-619bdecb5da9" providerId="ADAL" clId="{AE93F109-7249-45FE-9000-194D444D46A1}" dt="2023-06-19T15:23:51.126" v="81" actId="478"/>
          <ac:spMkLst>
            <pc:docMk/>
            <pc:sldMk cId="3667055864" sldId="2147375273"/>
            <ac:spMk id="7" creationId="{EAEE3BD3-36E7-6B5E-7758-11718347D875}"/>
          </ac:spMkLst>
        </pc:spChg>
        <pc:picChg chg="mod">
          <ac:chgData name="Ramirez, Matias" userId="f9287b4f-ca9e-4784-af21-619bdecb5da9" providerId="ADAL" clId="{AE93F109-7249-45FE-9000-194D444D46A1}" dt="2023-06-19T15:24:00.149" v="82" actId="14861"/>
          <ac:picMkLst>
            <pc:docMk/>
            <pc:sldMk cId="3667055864" sldId="2147375273"/>
            <ac:picMk id="3" creationId="{7C63C1B7-541F-A5E4-5EF5-B9536D3769A6}"/>
          </ac:picMkLst>
        </pc:picChg>
      </pc:sldChg>
      <pc:sldChg chg="delSp modSp mod replTag delTag">
        <pc:chgData name="Ramirez, Matias" userId="f9287b4f-ca9e-4784-af21-619bdecb5da9" providerId="ADAL" clId="{AE93F109-7249-45FE-9000-194D444D46A1}" dt="2023-06-19T15:24:46.617" v="92"/>
        <pc:sldMkLst>
          <pc:docMk/>
          <pc:sldMk cId="519384335" sldId="2147375274"/>
        </pc:sldMkLst>
        <pc:spChg chg="del">
          <ac:chgData name="Ramirez, Matias" userId="f9287b4f-ca9e-4784-af21-619bdecb5da9" providerId="ADAL" clId="{AE93F109-7249-45FE-9000-194D444D46A1}" dt="2023-06-19T15:24:16.919" v="89" actId="478"/>
          <ac:spMkLst>
            <pc:docMk/>
            <pc:sldMk cId="519384335" sldId="2147375274"/>
            <ac:spMk id="8" creationId="{6DAB348A-F3A8-1594-BEFE-742DD8E37D6E}"/>
          </ac:spMkLst>
        </pc:spChg>
        <pc:picChg chg="mod">
          <ac:chgData name="Ramirez, Matias" userId="f9287b4f-ca9e-4784-af21-619bdecb5da9" providerId="ADAL" clId="{AE93F109-7249-45FE-9000-194D444D46A1}" dt="2023-06-19T15:24:24.294" v="90" actId="14861"/>
          <ac:picMkLst>
            <pc:docMk/>
            <pc:sldMk cId="519384335" sldId="2147375274"/>
            <ac:picMk id="7" creationId="{31724A88-D506-7C2F-76F5-E63380A703CD}"/>
          </ac:picMkLst>
        </pc:picChg>
      </pc:sldChg>
      <pc:sldChg chg="addSp delSp mod replTag delTag">
        <pc:chgData name="Ramirez, Matias" userId="f9287b4f-ca9e-4784-af21-619bdecb5da9" providerId="ADAL" clId="{AE93F109-7249-45FE-9000-194D444D46A1}" dt="2023-06-19T15:26:29.766" v="125"/>
        <pc:sldMkLst>
          <pc:docMk/>
          <pc:sldMk cId="4104115543" sldId="2147375276"/>
        </pc:sldMkLst>
        <pc:spChg chg="add del">
          <ac:chgData name="Ramirez, Matias" userId="f9287b4f-ca9e-4784-af21-619bdecb5da9" providerId="ADAL" clId="{AE93F109-7249-45FE-9000-194D444D46A1}" dt="2023-06-19T15:26:19.161" v="121" actId="478"/>
          <ac:spMkLst>
            <pc:docMk/>
            <pc:sldMk cId="4104115543" sldId="2147375276"/>
            <ac:spMk id="3" creationId="{72539401-D142-4C1F-8D53-D79FD1C39743}"/>
          </ac:spMkLst>
        </pc:spChg>
      </pc:sldChg>
      <pc:sldChg chg="delSp modSp mod replTag delTag">
        <pc:chgData name="Ramirez, Matias" userId="f9287b4f-ca9e-4784-af21-619bdecb5da9" providerId="ADAL" clId="{AE93F109-7249-45FE-9000-194D444D46A1}" dt="2023-06-19T15:27:20.904" v="172"/>
        <pc:sldMkLst>
          <pc:docMk/>
          <pc:sldMk cId="1845552086" sldId="2147375291"/>
        </pc:sldMkLst>
        <pc:spChg chg="del">
          <ac:chgData name="Ramirez, Matias" userId="f9287b4f-ca9e-4784-af21-619bdecb5da9" providerId="ADAL" clId="{AE93F109-7249-45FE-9000-194D444D46A1}" dt="2023-06-19T15:27:14.361" v="168" actId="478"/>
          <ac:spMkLst>
            <pc:docMk/>
            <pc:sldMk cId="1845552086" sldId="2147375291"/>
            <ac:spMk id="2" creationId="{EA52C2CF-C6E0-4EDD-83DD-81BD86B9F2BB}"/>
          </ac:spMkLst>
        </pc:spChg>
        <pc:spChg chg="mod">
          <ac:chgData name="Ramirez, Matias" userId="f9287b4f-ca9e-4784-af21-619bdecb5da9" providerId="ADAL" clId="{AE93F109-7249-45FE-9000-194D444D46A1}" dt="2023-06-19T15:27:11.797" v="167" actId="207"/>
          <ac:spMkLst>
            <pc:docMk/>
            <pc:sldMk cId="1845552086" sldId="2147375291"/>
            <ac:spMk id="5" creationId="{71E150F0-CAEF-2F3D-E5E6-975532BA05C4}"/>
          </ac:spMkLst>
        </pc:spChg>
      </pc:sldChg>
      <pc:sldChg chg="replTag delTag">
        <pc:chgData name="Ramirez, Matias" userId="f9287b4f-ca9e-4784-af21-619bdecb5da9" providerId="ADAL" clId="{AE93F109-7249-45FE-9000-194D444D46A1}" dt="2023-06-19T15:11:34.701" v="13"/>
        <pc:sldMkLst>
          <pc:docMk/>
          <pc:sldMk cId="3557834136" sldId="2147375310"/>
        </pc:sldMkLst>
      </pc:sldChg>
      <pc:sldChg chg="delSp mod replTag delTag">
        <pc:chgData name="Ramirez, Matias" userId="f9287b4f-ca9e-4784-af21-619bdecb5da9" providerId="ADAL" clId="{AE93F109-7249-45FE-9000-194D444D46A1}" dt="2023-06-19T15:14:27.831" v="46"/>
        <pc:sldMkLst>
          <pc:docMk/>
          <pc:sldMk cId="2360765496" sldId="2147375311"/>
        </pc:sldMkLst>
        <pc:spChg chg="del">
          <ac:chgData name="Ramirez, Matias" userId="f9287b4f-ca9e-4784-af21-619bdecb5da9" providerId="ADAL" clId="{AE93F109-7249-45FE-9000-194D444D46A1}" dt="2023-06-19T15:11:46.325" v="22" actId="478"/>
          <ac:spMkLst>
            <pc:docMk/>
            <pc:sldMk cId="2360765496" sldId="2147375311"/>
            <ac:spMk id="4" creationId="{9E4FF6B6-240A-4E68-B089-D8BBD84D3B2B}"/>
          </ac:spMkLst>
        </pc:spChg>
      </pc:sldChg>
      <pc:sldChg chg="replTag delTag">
        <pc:chgData name="Ramirez, Matias" userId="f9287b4f-ca9e-4784-af21-619bdecb5da9" providerId="ADAL" clId="{AE93F109-7249-45FE-9000-194D444D46A1}" dt="2023-06-19T15:21:56.566" v="72"/>
        <pc:sldMkLst>
          <pc:docMk/>
          <pc:sldMk cId="1551961389" sldId="2147375313"/>
        </pc:sldMkLst>
      </pc:sldChg>
      <pc:sldChg chg="replTag delTag">
        <pc:chgData name="Ramirez, Matias" userId="f9287b4f-ca9e-4784-af21-619bdecb5da9" providerId="ADAL" clId="{AE93F109-7249-45FE-9000-194D444D46A1}" dt="2023-06-19T15:19:23.217" v="60"/>
        <pc:sldMkLst>
          <pc:docMk/>
          <pc:sldMk cId="1597188224" sldId="2147375317"/>
        </pc:sldMkLst>
      </pc:sldChg>
      <pc:sldChg chg="replTag delTag">
        <pc:chgData name="Ramirez, Matias" userId="f9287b4f-ca9e-4784-af21-619bdecb5da9" providerId="ADAL" clId="{AE93F109-7249-45FE-9000-194D444D46A1}" dt="2023-06-19T15:16:09.202" v="50"/>
        <pc:sldMkLst>
          <pc:docMk/>
          <pc:sldMk cId="380476859" sldId="2147375318"/>
        </pc:sldMkLst>
      </pc:sldChg>
      <pc:sldChg chg="replTag delTag">
        <pc:chgData name="Ramirez, Matias" userId="f9287b4f-ca9e-4784-af21-619bdecb5da9" providerId="ADAL" clId="{AE93F109-7249-45FE-9000-194D444D46A1}" dt="2023-06-19T15:16:51.614" v="52"/>
        <pc:sldMkLst>
          <pc:docMk/>
          <pc:sldMk cId="1070655936" sldId="2147375319"/>
        </pc:sldMkLst>
      </pc:sldChg>
      <pc:sldChg chg="replTag delTag">
        <pc:chgData name="Ramirez, Matias" userId="f9287b4f-ca9e-4784-af21-619bdecb5da9" providerId="ADAL" clId="{AE93F109-7249-45FE-9000-194D444D46A1}" dt="2023-06-19T15:18:13.465" v="58"/>
        <pc:sldMkLst>
          <pc:docMk/>
          <pc:sldMk cId="2299224544" sldId="2147375320"/>
        </pc:sldMkLst>
      </pc:sldChg>
    </pc:docChg>
  </pc:docChgLst>
  <pc:docChgLst>
    <pc:chgData name="Ramirez, Matias" userId="f9287b4f-ca9e-4784-af21-619bdecb5da9" providerId="ADAL" clId="{98D9ABDB-35D1-4222-9E07-AA7903FFAAEC}"/>
    <pc:docChg chg="undo custSel delSld modSld sldOrd replTag delTag">
      <pc:chgData name="Ramirez, Matias" userId="f9287b4f-ca9e-4784-af21-619bdecb5da9" providerId="ADAL" clId="{98D9ABDB-35D1-4222-9E07-AA7903FFAAEC}" dt="2023-06-22T16:05:51.377" v="82"/>
      <pc:docMkLst>
        <pc:docMk/>
      </pc:docMkLst>
      <pc:sldChg chg="replTag delTag">
        <pc:chgData name="Ramirez, Matias" userId="f9287b4f-ca9e-4784-af21-619bdecb5da9" providerId="ADAL" clId="{98D9ABDB-35D1-4222-9E07-AA7903FFAAEC}" dt="2023-06-22T15:45:57.228" v="24"/>
        <pc:sldMkLst>
          <pc:docMk/>
          <pc:sldMk cId="1736517628" sldId="1721"/>
        </pc:sldMkLst>
      </pc:sldChg>
      <pc:sldChg chg="replTag delTag">
        <pc:chgData name="Ramirez, Matias" userId="f9287b4f-ca9e-4784-af21-619bdecb5da9" providerId="ADAL" clId="{98D9ABDB-35D1-4222-9E07-AA7903FFAAEC}" dt="2023-06-22T15:43:38.113" v="11"/>
        <pc:sldMkLst>
          <pc:docMk/>
          <pc:sldMk cId="723307061" sldId="1750"/>
        </pc:sldMkLst>
      </pc:sldChg>
      <pc:sldChg chg="replTag delTag">
        <pc:chgData name="Ramirez, Matias" userId="f9287b4f-ca9e-4784-af21-619bdecb5da9" providerId="ADAL" clId="{98D9ABDB-35D1-4222-9E07-AA7903FFAAEC}" dt="2023-06-22T15:45:40.686" v="20"/>
        <pc:sldMkLst>
          <pc:docMk/>
          <pc:sldMk cId="3548993169" sldId="2448"/>
        </pc:sldMkLst>
      </pc:sldChg>
      <pc:sldChg chg="replTag delTag">
        <pc:chgData name="Ramirez, Matias" userId="f9287b4f-ca9e-4784-af21-619bdecb5da9" providerId="ADAL" clId="{98D9ABDB-35D1-4222-9E07-AA7903FFAAEC}" dt="2023-06-22T15:45:49.051" v="22"/>
        <pc:sldMkLst>
          <pc:docMk/>
          <pc:sldMk cId="555600377" sldId="2449"/>
        </pc:sldMkLst>
      </pc:sldChg>
      <pc:sldChg chg="replTag delTag">
        <pc:chgData name="Ramirez, Matias" userId="f9287b4f-ca9e-4784-af21-619bdecb5da9" providerId="ADAL" clId="{98D9ABDB-35D1-4222-9E07-AA7903FFAAEC}" dt="2023-06-22T15:45:59.480" v="28"/>
        <pc:sldMkLst>
          <pc:docMk/>
          <pc:sldMk cId="1749613719" sldId="2147375256"/>
        </pc:sldMkLst>
      </pc:sldChg>
      <pc:sldChg chg="replTag delTag">
        <pc:chgData name="Ramirez, Matias" userId="f9287b4f-ca9e-4784-af21-619bdecb5da9" providerId="ADAL" clId="{98D9ABDB-35D1-4222-9E07-AA7903FFAAEC}" dt="2023-06-22T15:45:58.293" v="26"/>
        <pc:sldMkLst>
          <pc:docMk/>
          <pc:sldMk cId="2140185540" sldId="2147375261"/>
        </pc:sldMkLst>
      </pc:sldChg>
      <pc:sldChg chg="replTag delTag">
        <pc:chgData name="Ramirez, Matias" userId="f9287b4f-ca9e-4784-af21-619bdecb5da9" providerId="ADAL" clId="{98D9ABDB-35D1-4222-9E07-AA7903FFAAEC}" dt="2023-06-22T15:46:02.300" v="30"/>
        <pc:sldMkLst>
          <pc:docMk/>
          <pc:sldMk cId="1100248525" sldId="2147375266"/>
        </pc:sldMkLst>
      </pc:sldChg>
      <pc:sldChg chg="replTag delTag">
        <pc:chgData name="Ramirez, Matias" userId="f9287b4f-ca9e-4784-af21-619bdecb5da9" providerId="ADAL" clId="{98D9ABDB-35D1-4222-9E07-AA7903FFAAEC}" dt="2023-06-22T15:46:08.696" v="34"/>
        <pc:sldMkLst>
          <pc:docMk/>
          <pc:sldMk cId="3971871717" sldId="2147375269"/>
        </pc:sldMkLst>
      </pc:sldChg>
      <pc:sldChg chg="del replTag delTag">
        <pc:chgData name="Ramirez, Matias" userId="f9287b4f-ca9e-4784-af21-619bdecb5da9" providerId="ADAL" clId="{98D9ABDB-35D1-4222-9E07-AA7903FFAAEC}" dt="2023-06-22T16:05:08.541" v="41" actId="2696"/>
        <pc:sldMkLst>
          <pc:docMk/>
          <pc:sldMk cId="2145453126" sldId="2147375306"/>
        </pc:sldMkLst>
      </pc:sldChg>
      <pc:sldChg chg="ord replTag delTag">
        <pc:chgData name="Ramirez, Matias" userId="f9287b4f-ca9e-4784-af21-619bdecb5da9" providerId="ADAL" clId="{98D9ABDB-35D1-4222-9E07-AA7903FFAAEC}" dt="2023-06-22T16:05:51.377" v="82"/>
        <pc:sldMkLst>
          <pc:docMk/>
          <pc:sldMk cId="3036119996" sldId="2147375307"/>
        </pc:sldMkLst>
      </pc:sldChg>
      <pc:sldChg chg="del replTag delTag">
        <pc:chgData name="Ramirez, Matias" userId="f9287b4f-ca9e-4784-af21-619bdecb5da9" providerId="ADAL" clId="{98D9ABDB-35D1-4222-9E07-AA7903FFAAEC}" dt="2023-06-22T16:05:11.860" v="46" actId="2696"/>
        <pc:sldMkLst>
          <pc:docMk/>
          <pc:sldMk cId="1075962840" sldId="2147375309"/>
        </pc:sldMkLst>
      </pc:sldChg>
      <pc:sldChg chg="replTag delTag">
        <pc:chgData name="Ramirez, Matias" userId="f9287b4f-ca9e-4784-af21-619bdecb5da9" providerId="ADAL" clId="{98D9ABDB-35D1-4222-9E07-AA7903FFAAEC}" dt="2023-06-22T16:05:48.088" v="78"/>
        <pc:sldMkLst>
          <pc:docMk/>
          <pc:sldMk cId="3288799733" sldId="2147375315"/>
        </pc:sldMkLst>
      </pc:sldChg>
      <pc:sldChg chg="replTag delTag">
        <pc:chgData name="Ramirez, Matias" userId="f9287b4f-ca9e-4784-af21-619bdecb5da9" providerId="ADAL" clId="{98D9ABDB-35D1-4222-9E07-AA7903FFAAEC}" dt="2023-06-22T15:46:05.925" v="32"/>
        <pc:sldMkLst>
          <pc:docMk/>
          <pc:sldMk cId="2771505722" sldId="2147375321"/>
        </pc:sldMkLst>
      </pc:sldChg>
      <pc:sldChg chg="replTag delTag">
        <pc:chgData name="Ramirez, Matias" userId="f9287b4f-ca9e-4784-af21-619bdecb5da9" providerId="ADAL" clId="{98D9ABDB-35D1-4222-9E07-AA7903FFAAEC}" dt="2023-06-22T15:46:11.987" v="36"/>
        <pc:sldMkLst>
          <pc:docMk/>
          <pc:sldMk cId="2170399171" sldId="2147375322"/>
        </pc:sldMkLst>
      </pc:sldChg>
      <pc:sldChg chg="replTag delTag">
        <pc:chgData name="Ramirez, Matias" userId="f9287b4f-ca9e-4784-af21-619bdecb5da9" providerId="ADAL" clId="{98D9ABDB-35D1-4222-9E07-AA7903FFAAEC}" dt="2023-06-22T16:05:21.730" v="54"/>
        <pc:sldMkLst>
          <pc:docMk/>
          <pc:sldMk cId="1014250166" sldId="2147375323"/>
        </pc:sldMkLst>
      </pc:sldChg>
    </pc:docChg>
  </pc:docChgLst>
  <pc:docChgLst>
    <pc:chgData name="Ramirez, Matias" userId="f9287b4f-ca9e-4784-af21-619bdecb5da9" providerId="ADAL" clId="{D9D5DAFB-B25B-498C-98D8-C74740EFA33C}"/>
    <pc:docChg chg="custSel delSld modSld replTag delTag">
      <pc:chgData name="Ramirez, Matias" userId="f9287b4f-ca9e-4784-af21-619bdecb5da9" providerId="ADAL" clId="{D9D5DAFB-B25B-498C-98D8-C74740EFA33C}" dt="2023-06-29T15:54:32.243" v="143" actId="20578"/>
      <pc:docMkLst>
        <pc:docMk/>
      </pc:docMkLst>
      <pc:sldChg chg="replTag delTag">
        <pc:chgData name="Ramirez, Matias" userId="f9287b4f-ca9e-4784-af21-619bdecb5da9" providerId="ADAL" clId="{D9D5DAFB-B25B-498C-98D8-C74740EFA33C}" dt="2023-06-29T15:36:56.644" v="9"/>
        <pc:sldMkLst>
          <pc:docMk/>
          <pc:sldMk cId="3418360313" sldId="256"/>
        </pc:sldMkLst>
      </pc:sldChg>
      <pc:sldChg chg="replTag delTag">
        <pc:chgData name="Ramirez, Matias" userId="f9287b4f-ca9e-4784-af21-619bdecb5da9" providerId="ADAL" clId="{D9D5DAFB-B25B-498C-98D8-C74740EFA33C}" dt="2023-06-29T15:37:01.684" v="13"/>
        <pc:sldMkLst>
          <pc:docMk/>
          <pc:sldMk cId="3946116605" sldId="1022"/>
        </pc:sldMkLst>
      </pc:sldChg>
      <pc:sldChg chg="replTag delTag">
        <pc:chgData name="Ramirez, Matias" userId="f9287b4f-ca9e-4784-af21-619bdecb5da9" providerId="ADAL" clId="{D9D5DAFB-B25B-498C-98D8-C74740EFA33C}" dt="2023-06-29T15:36:27.488" v="7"/>
        <pc:sldMkLst>
          <pc:docMk/>
          <pc:sldMk cId="723307061" sldId="1750"/>
        </pc:sldMkLst>
      </pc:sldChg>
      <pc:sldChg chg="replTag delTag">
        <pc:chgData name="Ramirez, Matias" userId="f9287b4f-ca9e-4784-af21-619bdecb5da9" providerId="ADAL" clId="{D9D5DAFB-B25B-498C-98D8-C74740EFA33C}" dt="2023-06-29T15:39:06.871" v="23"/>
        <pc:sldMkLst>
          <pc:docMk/>
          <pc:sldMk cId="3548993169" sldId="2448"/>
        </pc:sldMkLst>
      </pc:sldChg>
      <pc:sldChg chg="replTag delTag">
        <pc:chgData name="Ramirez, Matias" userId="f9287b4f-ca9e-4784-af21-619bdecb5da9" providerId="ADAL" clId="{D9D5DAFB-B25B-498C-98D8-C74740EFA33C}" dt="2023-06-29T15:39:25.568" v="27"/>
        <pc:sldMkLst>
          <pc:docMk/>
          <pc:sldMk cId="3645271381" sldId="2147375180"/>
        </pc:sldMkLst>
      </pc:sldChg>
      <pc:sldChg chg="replTag delTag">
        <pc:chgData name="Ramirez, Matias" userId="f9287b4f-ca9e-4784-af21-619bdecb5da9" providerId="ADAL" clId="{D9D5DAFB-B25B-498C-98D8-C74740EFA33C}" dt="2023-06-29T15:40:40.544" v="31"/>
        <pc:sldMkLst>
          <pc:docMk/>
          <pc:sldMk cId="404675390" sldId="2147375181"/>
        </pc:sldMkLst>
      </pc:sldChg>
      <pc:sldChg chg="replTag delTag">
        <pc:chgData name="Ramirez, Matias" userId="f9287b4f-ca9e-4784-af21-619bdecb5da9" providerId="ADAL" clId="{D9D5DAFB-B25B-498C-98D8-C74740EFA33C}" dt="2023-06-29T15:51:39.291" v="119"/>
        <pc:sldMkLst>
          <pc:docMk/>
          <pc:sldMk cId="787702904" sldId="2147375184"/>
        </pc:sldMkLst>
      </pc:sldChg>
      <pc:sldChg chg="replTag delTag">
        <pc:chgData name="Ramirez, Matias" userId="f9287b4f-ca9e-4784-af21-619bdecb5da9" providerId="ADAL" clId="{D9D5DAFB-B25B-498C-98D8-C74740EFA33C}" dt="2023-06-29T15:51:03.275" v="113"/>
        <pc:sldMkLst>
          <pc:docMk/>
          <pc:sldMk cId="3582428444" sldId="2147375188"/>
        </pc:sldMkLst>
      </pc:sldChg>
      <pc:sldChg chg="replTag delTag">
        <pc:chgData name="Ramirez, Matias" userId="f9287b4f-ca9e-4784-af21-619bdecb5da9" providerId="ADAL" clId="{D9D5DAFB-B25B-498C-98D8-C74740EFA33C}" dt="2023-06-29T15:53:19.772" v="123"/>
        <pc:sldMkLst>
          <pc:docMk/>
          <pc:sldMk cId="3854541600" sldId="2147375189"/>
        </pc:sldMkLst>
      </pc:sldChg>
      <pc:sldChg chg="replTag delTag">
        <pc:chgData name="Ramirez, Matias" userId="f9287b4f-ca9e-4784-af21-619bdecb5da9" providerId="ADAL" clId="{D9D5DAFB-B25B-498C-98D8-C74740EFA33C}" dt="2023-06-29T15:52:43.949" v="121"/>
        <pc:sldMkLst>
          <pc:docMk/>
          <pc:sldMk cId="4239976878" sldId="2147375190"/>
        </pc:sldMkLst>
      </pc:sldChg>
      <pc:sldChg chg="replTag delTag">
        <pc:chgData name="Ramirez, Matias" userId="f9287b4f-ca9e-4784-af21-619bdecb5da9" providerId="ADAL" clId="{D9D5DAFB-B25B-498C-98D8-C74740EFA33C}" dt="2023-06-29T15:50:39.970" v="105"/>
        <pc:sldMkLst>
          <pc:docMk/>
          <pc:sldMk cId="3768238942" sldId="2147375192"/>
        </pc:sldMkLst>
      </pc:sldChg>
      <pc:sldChg chg="modSp replTag delTag">
        <pc:chgData name="Ramirez, Matias" userId="f9287b4f-ca9e-4784-af21-619bdecb5da9" providerId="ADAL" clId="{D9D5DAFB-B25B-498C-98D8-C74740EFA33C}" dt="2023-06-29T15:54:32.243" v="143" actId="20578"/>
        <pc:sldMkLst>
          <pc:docMk/>
          <pc:sldMk cId="4119654719" sldId="2147375254"/>
        </pc:sldMkLst>
        <pc:spChg chg="mod">
          <ac:chgData name="Ramirez, Matias" userId="f9287b4f-ca9e-4784-af21-619bdecb5da9" providerId="ADAL" clId="{D9D5DAFB-B25B-498C-98D8-C74740EFA33C}" dt="2023-06-29T15:54:32.243" v="143" actId="20578"/>
          <ac:spMkLst>
            <pc:docMk/>
            <pc:sldMk cId="4119654719" sldId="2147375254"/>
            <ac:spMk id="6" creationId="{3E312AD7-EDB5-1725-2C73-4B6C3A09E04D}"/>
          </ac:spMkLst>
        </pc:spChg>
      </pc:sldChg>
      <pc:sldChg chg="del replTag delTag">
        <pc:chgData name="Ramirez, Matias" userId="f9287b4f-ca9e-4784-af21-619bdecb5da9" providerId="ADAL" clId="{D9D5DAFB-B25B-498C-98D8-C74740EFA33C}" dt="2023-06-29T15:53:49.337" v="128" actId="2696"/>
        <pc:sldMkLst>
          <pc:docMk/>
          <pc:sldMk cId="888172000" sldId="2147375259"/>
        </pc:sldMkLst>
      </pc:sldChg>
      <pc:sldChg chg="replTag delTag">
        <pc:chgData name="Ramirez, Matias" userId="f9287b4f-ca9e-4784-af21-619bdecb5da9" providerId="ADAL" clId="{D9D5DAFB-B25B-498C-98D8-C74740EFA33C}" dt="2023-06-29T15:39:03.717" v="21"/>
        <pc:sldMkLst>
          <pc:docMk/>
          <pc:sldMk cId="2067881296" sldId="2147375287"/>
        </pc:sldMkLst>
      </pc:sldChg>
      <pc:sldChg chg="replTag delTag">
        <pc:chgData name="Ramirez, Matias" userId="f9287b4f-ca9e-4784-af21-619bdecb5da9" providerId="ADAL" clId="{D9D5DAFB-B25B-498C-98D8-C74740EFA33C}" dt="2023-06-29T15:38:12.811" v="19"/>
        <pc:sldMkLst>
          <pc:docMk/>
          <pc:sldMk cId="3491555197" sldId="2147375288"/>
        </pc:sldMkLst>
      </pc:sldChg>
      <pc:sldChg chg="replTag delTag">
        <pc:chgData name="Ramirez, Matias" userId="f9287b4f-ca9e-4784-af21-619bdecb5da9" providerId="ADAL" clId="{D9D5DAFB-B25B-498C-98D8-C74740EFA33C}" dt="2023-06-29T15:36:58.384" v="11"/>
        <pc:sldMkLst>
          <pc:docMk/>
          <pc:sldMk cId="1286172361" sldId="2147375290"/>
        </pc:sldMkLst>
      </pc:sldChg>
      <pc:sldChg chg="replTag delTag">
        <pc:chgData name="Ramirez, Matias" userId="f9287b4f-ca9e-4784-af21-619bdecb5da9" providerId="ADAL" clId="{D9D5DAFB-B25B-498C-98D8-C74740EFA33C}" dt="2023-06-29T15:50:40.862" v="107"/>
        <pc:sldMkLst>
          <pc:docMk/>
          <pc:sldMk cId="440002297" sldId="2147375292"/>
        </pc:sldMkLst>
      </pc:sldChg>
      <pc:sldChg chg="replTag delTag">
        <pc:chgData name="Ramirez, Matias" userId="f9287b4f-ca9e-4784-af21-619bdecb5da9" providerId="ADAL" clId="{D9D5DAFB-B25B-498C-98D8-C74740EFA33C}" dt="2023-06-29T15:51:28.523" v="115"/>
        <pc:sldMkLst>
          <pc:docMk/>
          <pc:sldMk cId="659885725" sldId="2147375293"/>
        </pc:sldMkLst>
      </pc:sldChg>
      <pc:sldChg chg="replTag delTag">
        <pc:chgData name="Ramirez, Matias" userId="f9287b4f-ca9e-4784-af21-619bdecb5da9" providerId="ADAL" clId="{D9D5DAFB-B25B-498C-98D8-C74740EFA33C}" dt="2023-06-29T15:54:22.014" v="138"/>
        <pc:sldMkLst>
          <pc:docMk/>
          <pc:sldMk cId="2975695221" sldId="2147375294"/>
        </pc:sldMkLst>
      </pc:sldChg>
      <pc:sldChg chg="replTag delTag">
        <pc:chgData name="Ramirez, Matias" userId="f9287b4f-ca9e-4784-af21-619bdecb5da9" providerId="ADAL" clId="{D9D5DAFB-B25B-498C-98D8-C74740EFA33C}" dt="2023-06-29T15:49:25.869" v="97"/>
        <pc:sldMkLst>
          <pc:docMk/>
          <pc:sldMk cId="1117161691" sldId="2147375297"/>
        </pc:sldMkLst>
      </pc:sldChg>
      <pc:sldChg chg="replTag delTag">
        <pc:chgData name="Ramirez, Matias" userId="f9287b4f-ca9e-4784-af21-619bdecb5da9" providerId="ADAL" clId="{D9D5DAFB-B25B-498C-98D8-C74740EFA33C}" dt="2023-06-29T15:41:23.819" v="37"/>
        <pc:sldMkLst>
          <pc:docMk/>
          <pc:sldMk cId="4120256368" sldId="2147375298"/>
        </pc:sldMkLst>
      </pc:sldChg>
      <pc:sldChg chg="replTag delTag">
        <pc:chgData name="Ramirez, Matias" userId="f9287b4f-ca9e-4784-af21-619bdecb5da9" providerId="ADAL" clId="{D9D5DAFB-B25B-498C-98D8-C74740EFA33C}" dt="2023-06-29T15:40:44.683" v="33"/>
        <pc:sldMkLst>
          <pc:docMk/>
          <pc:sldMk cId="2101828034" sldId="2147375299"/>
        </pc:sldMkLst>
      </pc:sldChg>
      <pc:sldChg chg="replTag delTag">
        <pc:chgData name="Ramirez, Matias" userId="f9287b4f-ca9e-4784-af21-619bdecb5da9" providerId="ADAL" clId="{D9D5DAFB-B25B-498C-98D8-C74740EFA33C}" dt="2023-06-29T15:43:29.606" v="51"/>
        <pc:sldMkLst>
          <pc:docMk/>
          <pc:sldMk cId="4223713636" sldId="2147375301"/>
        </pc:sldMkLst>
      </pc:sldChg>
      <pc:sldChg chg="replTag delTag">
        <pc:chgData name="Ramirez, Matias" userId="f9287b4f-ca9e-4784-af21-619bdecb5da9" providerId="ADAL" clId="{D9D5DAFB-B25B-498C-98D8-C74740EFA33C}" dt="2023-06-29T15:45:13.702" v="89"/>
        <pc:sldMkLst>
          <pc:docMk/>
          <pc:sldMk cId="3036119996" sldId="2147375307"/>
        </pc:sldMkLst>
      </pc:sldChg>
      <pc:sldChg chg="replTag delTag">
        <pc:chgData name="Ramirez, Matias" userId="f9287b4f-ca9e-4784-af21-619bdecb5da9" providerId="ADAL" clId="{D9D5DAFB-B25B-498C-98D8-C74740EFA33C}" dt="2023-06-29T15:43:06.940" v="49"/>
        <pc:sldMkLst>
          <pc:docMk/>
          <pc:sldMk cId="133011093" sldId="2147375308"/>
        </pc:sldMkLst>
      </pc:sldChg>
      <pc:sldChg chg="replTag delTag">
        <pc:chgData name="Ramirez, Matias" userId="f9287b4f-ca9e-4784-af21-619bdecb5da9" providerId="ADAL" clId="{D9D5DAFB-B25B-498C-98D8-C74740EFA33C}" dt="2023-06-29T15:49:21.885" v="95"/>
        <pc:sldMkLst>
          <pc:docMk/>
          <pc:sldMk cId="3288799733" sldId="2147375315"/>
        </pc:sldMkLst>
      </pc:sldChg>
      <pc:sldChg chg="replTag delTag modNotesTx">
        <pc:chgData name="Ramirez, Matias" userId="f9287b4f-ca9e-4784-af21-619bdecb5da9" providerId="ADAL" clId="{D9D5DAFB-B25B-498C-98D8-C74740EFA33C}" dt="2023-06-29T15:45:11.977" v="87"/>
        <pc:sldMkLst>
          <pc:docMk/>
          <pc:sldMk cId="1014250166" sldId="2147375323"/>
        </pc:sldMkLst>
      </pc:sldChg>
    </pc:docChg>
  </pc:docChgLst>
  <pc:docChgLst>
    <pc:chgData name="Cooper, Devin" userId="3f4e5230-b830-4b03-b293-d36b7227fe27" providerId="ADAL" clId="{D6D5FE63-BEC7-476D-9FA7-B57F1F57CEC6}"/>
    <pc:docChg chg="addSld modSld">
      <pc:chgData name="Cooper, Devin" userId="3f4e5230-b830-4b03-b293-d36b7227fe27" providerId="ADAL" clId="{D6D5FE63-BEC7-476D-9FA7-B57F1F57CEC6}" dt="2023-07-21T14:22:37.681" v="6" actId="20577"/>
      <pc:docMkLst>
        <pc:docMk/>
      </pc:docMkLst>
      <pc:sldChg chg="modSp add mod">
        <pc:chgData name="Cooper, Devin" userId="3f4e5230-b830-4b03-b293-d36b7227fe27" providerId="ADAL" clId="{D6D5FE63-BEC7-476D-9FA7-B57F1F57CEC6}" dt="2023-07-21T14:22:37.681" v="6" actId="20577"/>
        <pc:sldMkLst>
          <pc:docMk/>
          <pc:sldMk cId="3014957257" sldId="2147375325"/>
        </pc:sldMkLst>
        <pc:spChg chg="mod">
          <ac:chgData name="Cooper, Devin" userId="3f4e5230-b830-4b03-b293-d36b7227fe27" providerId="ADAL" clId="{D6D5FE63-BEC7-476D-9FA7-B57F1F57CEC6}" dt="2023-07-21T14:22:37.681" v="6" actId="20577"/>
          <ac:spMkLst>
            <pc:docMk/>
            <pc:sldMk cId="3014957257" sldId="2147375325"/>
            <ac:spMk id="2" creationId="{CABE5517-717E-F6E0-6672-BF659E4345E6}"/>
          </ac:spMkLst>
        </pc:spChg>
        <pc:spChg chg="mod">
          <ac:chgData name="Cooper, Devin" userId="3f4e5230-b830-4b03-b293-d36b7227fe27" providerId="ADAL" clId="{D6D5FE63-BEC7-476D-9FA7-B57F1F57CEC6}" dt="2023-07-21T14:21:52.115" v="1" actId="1076"/>
          <ac:spMkLst>
            <pc:docMk/>
            <pc:sldMk cId="3014957257" sldId="2147375325"/>
            <ac:spMk id="22" creationId="{30AF01E3-8095-3087-FD78-DFBB4E53A5AD}"/>
          </ac:spMkLst>
        </pc:spChg>
      </pc:sldChg>
    </pc:docChg>
  </pc:docChgLst>
  <pc:docChgLst>
    <pc:chgData name="Ramirez, Matias" userId="f9287b4f-ca9e-4784-af21-619bdecb5da9" providerId="ADAL" clId="{038C3782-92C6-477C-BE43-B1FC7470F3B3}"/>
    <pc:docChg chg="custSel delSld modSld replTag delTag">
      <pc:chgData name="Ramirez, Matias" userId="f9287b4f-ca9e-4784-af21-619bdecb5da9" providerId="ADAL" clId="{038C3782-92C6-477C-BE43-B1FC7470F3B3}" dt="2023-07-21T14:16:02.332" v="50"/>
      <pc:docMkLst>
        <pc:docMk/>
      </pc:docMkLst>
      <pc:sldChg chg="replTag delTag">
        <pc:chgData name="Ramirez, Matias" userId="f9287b4f-ca9e-4784-af21-619bdecb5da9" providerId="ADAL" clId="{038C3782-92C6-477C-BE43-B1FC7470F3B3}" dt="2023-07-21T14:15:59.591" v="48"/>
        <pc:sldMkLst>
          <pc:docMk/>
          <pc:sldMk cId="723307061" sldId="1750"/>
        </pc:sldMkLst>
      </pc:sldChg>
      <pc:sldChg chg="del replTag delTag">
        <pc:chgData name="Ramirez, Matias" userId="f9287b4f-ca9e-4784-af21-619bdecb5da9" providerId="ADAL" clId="{038C3782-92C6-477C-BE43-B1FC7470F3B3}" dt="2023-07-18T15:50:02.717" v="30" actId="2696"/>
        <pc:sldMkLst>
          <pc:docMk/>
          <pc:sldMk cId="3167372716" sldId="1797"/>
        </pc:sldMkLst>
      </pc:sldChg>
      <pc:sldChg chg="replTag delTag">
        <pc:chgData name="Ramirez, Matias" userId="f9287b4f-ca9e-4784-af21-619bdecb5da9" providerId="ADAL" clId="{038C3782-92C6-477C-BE43-B1FC7470F3B3}" dt="2023-07-21T14:16:02.332" v="50"/>
        <pc:sldMkLst>
          <pc:docMk/>
          <pc:sldMk cId="3019779158" sldId="2461"/>
        </pc:sldMkLst>
      </pc:sldChg>
      <pc:sldChg chg="modSp mod replTag delTag">
        <pc:chgData name="Ramirez, Matias" userId="f9287b4f-ca9e-4784-af21-619bdecb5da9" providerId="ADAL" clId="{038C3782-92C6-477C-BE43-B1FC7470F3B3}" dt="2023-07-10T20:34:57.093" v="16" actId="6549"/>
        <pc:sldMkLst>
          <pc:docMk/>
          <pc:sldMk cId="4223713636" sldId="2147375301"/>
        </pc:sldMkLst>
        <pc:spChg chg="mod">
          <ac:chgData name="Ramirez, Matias" userId="f9287b4f-ca9e-4784-af21-619bdecb5da9" providerId="ADAL" clId="{038C3782-92C6-477C-BE43-B1FC7470F3B3}" dt="2023-07-10T20:34:57.093" v="16" actId="6549"/>
          <ac:spMkLst>
            <pc:docMk/>
            <pc:sldMk cId="4223713636" sldId="2147375301"/>
            <ac:spMk id="5" creationId="{4F5B5F26-F220-A340-36BD-BE624B97269C}"/>
          </ac:spMkLst>
        </pc:spChg>
      </pc:sldChg>
      <pc:sldChg chg="replTag delTag">
        <pc:chgData name="Ramirez, Matias" userId="f9287b4f-ca9e-4784-af21-619bdecb5da9" providerId="ADAL" clId="{038C3782-92C6-477C-BE43-B1FC7470F3B3}" dt="2023-07-10T20:34:20.563" v="7"/>
        <pc:sldMkLst>
          <pc:docMk/>
          <pc:sldMk cId="3036119996" sldId="2147375307"/>
        </pc:sldMkLst>
      </pc:sldChg>
      <pc:sldChg chg="replTag delTag">
        <pc:chgData name="Ramirez, Matias" userId="f9287b4f-ca9e-4784-af21-619bdecb5da9" providerId="ADAL" clId="{038C3782-92C6-477C-BE43-B1FC7470F3B3}" dt="2023-07-10T20:34:36.704" v="9"/>
        <pc:sldMkLst>
          <pc:docMk/>
          <pc:sldMk cId="3288799733" sldId="2147375315"/>
        </pc:sldMkLst>
      </pc:sldChg>
      <pc:sldChg chg="replTag delTag">
        <pc:chgData name="Ramirez, Matias" userId="f9287b4f-ca9e-4784-af21-619bdecb5da9" providerId="ADAL" clId="{038C3782-92C6-477C-BE43-B1FC7470F3B3}" dt="2023-07-10T20:34:37.917" v="11"/>
        <pc:sldMkLst>
          <pc:docMk/>
          <pc:sldMk cId="1014250166" sldId="2147375323"/>
        </pc:sldMkLst>
      </pc:sldChg>
      <pc:sldChg chg="replTag delTag">
        <pc:chgData name="Ramirez, Matias" userId="f9287b4f-ca9e-4784-af21-619bdecb5da9" providerId="ADAL" clId="{038C3782-92C6-477C-BE43-B1FC7470F3B3}" dt="2023-07-18T15:50:03.941" v="36"/>
        <pc:sldMkLst>
          <pc:docMk/>
          <pc:sldMk cId="2296728650" sldId="2147375324"/>
        </pc:sldMkLst>
      </pc:sldChg>
    </pc:docChg>
  </pc:docChgLst>
  <pc:docChgLst>
    <pc:chgData name="Ramirez, Matias" userId="f9287b4f-ca9e-4784-af21-619bdecb5da9" providerId="ADAL" clId="{180438E6-51BB-4BF7-B2CE-55118CDCC1EB}"/>
    <pc:docChg chg="undo custSel addSld delSld modSld replTag delTag">
      <pc:chgData name="Ramirez, Matias" userId="f9287b4f-ca9e-4784-af21-619bdecb5da9" providerId="ADAL" clId="{180438E6-51BB-4BF7-B2CE-55118CDCC1EB}" dt="2023-06-19T15:09:36.973" v="1169" actId="14861"/>
      <pc:docMkLst>
        <pc:docMk/>
      </pc:docMkLst>
      <pc:sldChg chg="modSp mod replTag delTag">
        <pc:chgData name="Ramirez, Matias" userId="f9287b4f-ca9e-4784-af21-619bdecb5da9" providerId="ADAL" clId="{180438E6-51BB-4BF7-B2CE-55118CDCC1EB}" dt="2023-06-16T19:37:21.371" v="75" actId="1076"/>
        <pc:sldMkLst>
          <pc:docMk/>
          <pc:sldMk cId="3418360313" sldId="256"/>
        </pc:sldMkLst>
        <pc:spChg chg="mod">
          <ac:chgData name="Ramirez, Matias" userId="f9287b4f-ca9e-4784-af21-619bdecb5da9" providerId="ADAL" clId="{180438E6-51BB-4BF7-B2CE-55118CDCC1EB}" dt="2023-06-16T19:37:21.371" v="75" actId="1076"/>
          <ac:spMkLst>
            <pc:docMk/>
            <pc:sldMk cId="3418360313" sldId="256"/>
            <ac:spMk id="4" creationId="{2D406775-A2E3-0349-212F-C5D07DC75251}"/>
          </ac:spMkLst>
        </pc:spChg>
      </pc:sldChg>
      <pc:sldChg chg="replTag delTag">
        <pc:chgData name="Ramirez, Matias" userId="f9287b4f-ca9e-4784-af21-619bdecb5da9" providerId="ADAL" clId="{180438E6-51BB-4BF7-B2CE-55118CDCC1EB}" dt="2023-06-19T14:41:45.607" v="619"/>
        <pc:sldMkLst>
          <pc:docMk/>
          <pc:sldMk cId="723307061" sldId="1750"/>
        </pc:sldMkLst>
      </pc:sldChg>
      <pc:sldChg chg="replTag delTag">
        <pc:chgData name="Ramirez, Matias" userId="f9287b4f-ca9e-4784-af21-619bdecb5da9" providerId="ADAL" clId="{180438E6-51BB-4BF7-B2CE-55118CDCC1EB}" dt="2023-06-16T19:50:22.218" v="483"/>
        <pc:sldMkLst>
          <pc:docMk/>
          <pc:sldMk cId="4108535163" sldId="1790"/>
        </pc:sldMkLst>
      </pc:sldChg>
      <pc:sldChg chg="replTag delTag">
        <pc:chgData name="Ramirez, Matias" userId="f9287b4f-ca9e-4784-af21-619bdecb5da9" providerId="ADAL" clId="{180438E6-51BB-4BF7-B2CE-55118CDCC1EB}" dt="2023-06-19T14:43:21.351" v="625"/>
        <pc:sldMkLst>
          <pc:docMk/>
          <pc:sldMk cId="3548993169" sldId="2448"/>
        </pc:sldMkLst>
      </pc:sldChg>
      <pc:sldChg chg="delSp modSp mod replTag delTag">
        <pc:chgData name="Ramirez, Matias" userId="f9287b4f-ca9e-4784-af21-619bdecb5da9" providerId="ADAL" clId="{180438E6-51BB-4BF7-B2CE-55118CDCC1EB}" dt="2023-06-16T19:35:01.436" v="63"/>
        <pc:sldMkLst>
          <pc:docMk/>
          <pc:sldMk cId="3019779158" sldId="2461"/>
        </pc:sldMkLst>
        <pc:spChg chg="del">
          <ac:chgData name="Ramirez, Matias" userId="f9287b4f-ca9e-4784-af21-619bdecb5da9" providerId="ADAL" clId="{180438E6-51BB-4BF7-B2CE-55118CDCC1EB}" dt="2023-06-16T19:34:59.502" v="61" actId="478"/>
          <ac:spMkLst>
            <pc:docMk/>
            <pc:sldMk cId="3019779158" sldId="2461"/>
            <ac:spMk id="3" creationId="{7A692745-4742-4D30-8141-48BF45667F01}"/>
          </ac:spMkLst>
        </pc:spChg>
        <pc:spChg chg="mod">
          <ac:chgData name="Ramirez, Matias" userId="f9287b4f-ca9e-4784-af21-619bdecb5da9" providerId="ADAL" clId="{180438E6-51BB-4BF7-B2CE-55118CDCC1EB}" dt="2023-06-16T19:34:49.716" v="60" actId="20577"/>
          <ac:spMkLst>
            <pc:docMk/>
            <pc:sldMk cId="3019779158" sldId="2461"/>
            <ac:spMk id="6" creationId="{02BE8D94-7C42-6410-4291-0A4E25FA673A}"/>
          </ac:spMkLst>
        </pc:spChg>
      </pc:sldChg>
      <pc:sldChg chg="replTag delTag">
        <pc:chgData name="Ramirez, Matias" userId="f9287b4f-ca9e-4784-af21-619bdecb5da9" providerId="ADAL" clId="{180438E6-51BB-4BF7-B2CE-55118CDCC1EB}" dt="2023-06-19T14:43:50.722" v="627"/>
        <pc:sldMkLst>
          <pc:docMk/>
          <pc:sldMk cId="3645271381" sldId="2147375180"/>
        </pc:sldMkLst>
      </pc:sldChg>
      <pc:sldChg chg="replTag delTag">
        <pc:chgData name="Ramirez, Matias" userId="f9287b4f-ca9e-4784-af21-619bdecb5da9" providerId="ADAL" clId="{180438E6-51BB-4BF7-B2CE-55118CDCC1EB}" dt="2023-06-19T14:43:54.244" v="629"/>
        <pc:sldMkLst>
          <pc:docMk/>
          <pc:sldMk cId="404675390" sldId="2147375181"/>
        </pc:sldMkLst>
      </pc:sldChg>
      <pc:sldChg chg="del replTag delTag">
        <pc:chgData name="Ramirez, Matias" userId="f9287b4f-ca9e-4784-af21-619bdecb5da9" providerId="ADAL" clId="{180438E6-51BB-4BF7-B2CE-55118CDCC1EB}" dt="2023-06-16T19:50:29.495" v="490" actId="2696"/>
        <pc:sldMkLst>
          <pc:docMk/>
          <pc:sldMk cId="1450119155" sldId="2147375201"/>
        </pc:sldMkLst>
      </pc:sldChg>
      <pc:sldChg chg="replTag delTag">
        <pc:chgData name="Ramirez, Matias" userId="f9287b4f-ca9e-4784-af21-619bdecb5da9" providerId="ADAL" clId="{180438E6-51BB-4BF7-B2CE-55118CDCC1EB}" dt="2023-06-16T19:56:13.282" v="559"/>
        <pc:sldMkLst>
          <pc:docMk/>
          <pc:sldMk cId="1749613719" sldId="2147375256"/>
        </pc:sldMkLst>
      </pc:sldChg>
      <pc:sldChg chg="replTag delTag">
        <pc:chgData name="Ramirez, Matias" userId="f9287b4f-ca9e-4784-af21-619bdecb5da9" providerId="ADAL" clId="{180438E6-51BB-4BF7-B2CE-55118CDCC1EB}" dt="2023-06-16T19:56:24.769" v="563"/>
        <pc:sldMkLst>
          <pc:docMk/>
          <pc:sldMk cId="3268369863" sldId="2147375257"/>
        </pc:sldMkLst>
      </pc:sldChg>
      <pc:sldChg chg="replTag delTag">
        <pc:chgData name="Ramirez, Matias" userId="f9287b4f-ca9e-4784-af21-619bdecb5da9" providerId="ADAL" clId="{180438E6-51BB-4BF7-B2CE-55118CDCC1EB}" dt="2023-06-19T14:13:01.355" v="595"/>
        <pc:sldMkLst>
          <pc:docMk/>
          <pc:sldMk cId="959724185" sldId="2147375258"/>
        </pc:sldMkLst>
      </pc:sldChg>
      <pc:sldChg chg="replTag delTag">
        <pc:chgData name="Ramirez, Matias" userId="f9287b4f-ca9e-4784-af21-619bdecb5da9" providerId="ADAL" clId="{180438E6-51BB-4BF7-B2CE-55118CDCC1EB}" dt="2023-06-19T14:55:16.583" v="663"/>
        <pc:sldMkLst>
          <pc:docMk/>
          <pc:sldMk cId="1564550048" sldId="2147375260"/>
        </pc:sldMkLst>
      </pc:sldChg>
      <pc:sldChg chg="modSp mod replTag delTag">
        <pc:chgData name="Ramirez, Matias" userId="f9287b4f-ca9e-4784-af21-619bdecb5da9" providerId="ADAL" clId="{180438E6-51BB-4BF7-B2CE-55118CDCC1EB}" dt="2023-06-19T14:56:00.648" v="668" actId="20577"/>
        <pc:sldMkLst>
          <pc:docMk/>
          <pc:sldMk cId="1100248525" sldId="2147375266"/>
        </pc:sldMkLst>
        <pc:spChg chg="mod">
          <ac:chgData name="Ramirez, Matias" userId="f9287b4f-ca9e-4784-af21-619bdecb5da9" providerId="ADAL" clId="{180438E6-51BB-4BF7-B2CE-55118CDCC1EB}" dt="2023-06-19T14:56:00.648" v="668" actId="20577"/>
          <ac:spMkLst>
            <pc:docMk/>
            <pc:sldMk cId="1100248525" sldId="2147375266"/>
            <ac:spMk id="5" creationId="{4F5B5F26-F220-A340-36BD-BE624B97269C}"/>
          </ac:spMkLst>
        </pc:spChg>
      </pc:sldChg>
      <pc:sldChg chg="addSp delSp modSp mod replTag delTag">
        <pc:chgData name="Ramirez, Matias" userId="f9287b4f-ca9e-4784-af21-619bdecb5da9" providerId="ADAL" clId="{180438E6-51BB-4BF7-B2CE-55118CDCC1EB}" dt="2023-06-19T15:03:42.636" v="1056"/>
        <pc:sldMkLst>
          <pc:docMk/>
          <pc:sldMk cId="3441663454" sldId="2147375267"/>
        </pc:sldMkLst>
        <pc:spChg chg="mod">
          <ac:chgData name="Ramirez, Matias" userId="f9287b4f-ca9e-4784-af21-619bdecb5da9" providerId="ADAL" clId="{180438E6-51BB-4BF7-B2CE-55118CDCC1EB}" dt="2023-06-19T14:59:53.316" v="964" actId="6549"/>
          <ac:spMkLst>
            <pc:docMk/>
            <pc:sldMk cId="3441663454" sldId="2147375267"/>
            <ac:spMk id="5" creationId="{94CA3E51-F6C8-64D6-3567-98E0A78EF91B}"/>
          </ac:spMkLst>
        </pc:spChg>
        <pc:spChg chg="mod">
          <ac:chgData name="Ramirez, Matias" userId="f9287b4f-ca9e-4784-af21-619bdecb5da9" providerId="ADAL" clId="{180438E6-51BB-4BF7-B2CE-55118CDCC1EB}" dt="2023-06-19T14:56:23.172" v="683" actId="20577"/>
          <ac:spMkLst>
            <pc:docMk/>
            <pc:sldMk cId="3441663454" sldId="2147375267"/>
            <ac:spMk id="6" creationId="{73EC3D92-0CB2-58D2-5A17-C141225F198B}"/>
          </ac:spMkLst>
        </pc:spChg>
        <pc:spChg chg="add del mod">
          <ac:chgData name="Ramirez, Matias" userId="f9287b4f-ca9e-4784-af21-619bdecb5da9" providerId="ADAL" clId="{180438E6-51BB-4BF7-B2CE-55118CDCC1EB}" dt="2023-06-19T15:00:31.728" v="980" actId="478"/>
          <ac:spMkLst>
            <pc:docMk/>
            <pc:sldMk cId="3441663454" sldId="2147375267"/>
            <ac:spMk id="9" creationId="{501C5B11-767E-C8D8-3727-4564BEFD992C}"/>
          </ac:spMkLst>
        </pc:spChg>
        <pc:spChg chg="mod">
          <ac:chgData name="Ramirez, Matias" userId="f9287b4f-ca9e-4784-af21-619bdecb5da9" providerId="ADAL" clId="{180438E6-51BB-4BF7-B2CE-55118CDCC1EB}" dt="2023-06-19T14:56:52.321" v="779" actId="20577"/>
          <ac:spMkLst>
            <pc:docMk/>
            <pc:sldMk cId="3441663454" sldId="2147375267"/>
            <ac:spMk id="11" creationId="{25F64B95-1325-F765-B70F-FDDBD13DAD89}"/>
          </ac:spMkLst>
        </pc:spChg>
        <pc:picChg chg="del">
          <ac:chgData name="Ramirez, Matias" userId="f9287b4f-ca9e-4784-af21-619bdecb5da9" providerId="ADAL" clId="{180438E6-51BB-4BF7-B2CE-55118CDCC1EB}" dt="2023-06-19T15:00:02.649" v="976" actId="478"/>
          <ac:picMkLst>
            <pc:docMk/>
            <pc:sldMk cId="3441663454" sldId="2147375267"/>
            <ac:picMk id="4" creationId="{EAF76BC7-877E-4036-A0C6-8006617E9E27}"/>
          </ac:picMkLst>
        </pc:picChg>
        <pc:picChg chg="add mod">
          <ac:chgData name="Ramirez, Matias" userId="f9287b4f-ca9e-4784-af21-619bdecb5da9" providerId="ADAL" clId="{180438E6-51BB-4BF7-B2CE-55118CDCC1EB}" dt="2023-06-19T15:00:43.338" v="981" actId="14861"/>
          <ac:picMkLst>
            <pc:docMk/>
            <pc:sldMk cId="3441663454" sldId="2147375267"/>
            <ac:picMk id="8" creationId="{9A3D86CC-A320-5FA4-561A-01A47DA26D42}"/>
          </ac:picMkLst>
        </pc:picChg>
      </pc:sldChg>
      <pc:sldChg chg="replTag delTag">
        <pc:chgData name="Ramirez, Matias" userId="f9287b4f-ca9e-4784-af21-619bdecb5da9" providerId="ADAL" clId="{180438E6-51BB-4BF7-B2CE-55118CDCC1EB}" dt="2023-06-19T14:12:36.850" v="587"/>
        <pc:sldMkLst>
          <pc:docMk/>
          <pc:sldMk cId="2344242694" sldId="2147375268"/>
        </pc:sldMkLst>
      </pc:sldChg>
      <pc:sldChg chg="replTag delTag">
        <pc:chgData name="Ramirez, Matias" userId="f9287b4f-ca9e-4784-af21-619bdecb5da9" providerId="ADAL" clId="{180438E6-51BB-4BF7-B2CE-55118CDCC1EB}" dt="2023-06-19T14:12:55.745" v="593"/>
        <pc:sldMkLst>
          <pc:docMk/>
          <pc:sldMk cId="3971871717" sldId="2147375269"/>
        </pc:sldMkLst>
      </pc:sldChg>
      <pc:sldChg chg="replTag delTag">
        <pc:chgData name="Ramirez, Matias" userId="f9287b4f-ca9e-4784-af21-619bdecb5da9" providerId="ADAL" clId="{180438E6-51BB-4BF7-B2CE-55118CDCC1EB}" dt="2023-06-19T14:12:52.475" v="591"/>
        <pc:sldMkLst>
          <pc:docMk/>
          <pc:sldMk cId="3209762521" sldId="2147375270"/>
        </pc:sldMkLst>
      </pc:sldChg>
      <pc:sldChg chg="replTag delTag">
        <pc:chgData name="Ramirez, Matias" userId="f9287b4f-ca9e-4784-af21-619bdecb5da9" providerId="ADAL" clId="{180438E6-51BB-4BF7-B2CE-55118CDCC1EB}" dt="2023-06-16T19:51:49.971" v="502"/>
        <pc:sldMkLst>
          <pc:docMk/>
          <pc:sldMk cId="3667055864" sldId="2147375273"/>
        </pc:sldMkLst>
      </pc:sldChg>
      <pc:sldChg chg="replTag delTag">
        <pc:chgData name="Ramirez, Matias" userId="f9287b4f-ca9e-4784-af21-619bdecb5da9" providerId="ADAL" clId="{180438E6-51BB-4BF7-B2CE-55118CDCC1EB}" dt="2023-06-16T19:36:47.547" v="67"/>
        <pc:sldMkLst>
          <pc:docMk/>
          <pc:sldMk cId="4104115543" sldId="2147375276"/>
        </pc:sldMkLst>
      </pc:sldChg>
      <pc:sldChg chg="replTag delTag">
        <pc:chgData name="Ramirez, Matias" userId="f9287b4f-ca9e-4784-af21-619bdecb5da9" providerId="ADAL" clId="{180438E6-51BB-4BF7-B2CE-55118CDCC1EB}" dt="2023-06-19T14:12:45.975" v="589"/>
        <pc:sldMkLst>
          <pc:docMk/>
          <pc:sldMk cId="1539615347" sldId="2147375285"/>
        </pc:sldMkLst>
      </pc:sldChg>
      <pc:sldChg chg="replTag delTag">
        <pc:chgData name="Ramirez, Matias" userId="f9287b4f-ca9e-4784-af21-619bdecb5da9" providerId="ADAL" clId="{180438E6-51BB-4BF7-B2CE-55118CDCC1EB}" dt="2023-06-19T14:43:19.927" v="623"/>
        <pc:sldMkLst>
          <pc:docMk/>
          <pc:sldMk cId="2067881296" sldId="2147375287"/>
        </pc:sldMkLst>
      </pc:sldChg>
      <pc:sldChg chg="replTag delTag">
        <pc:chgData name="Ramirez, Matias" userId="f9287b4f-ca9e-4784-af21-619bdecb5da9" providerId="ADAL" clId="{180438E6-51BB-4BF7-B2CE-55118CDCC1EB}" dt="2023-06-19T14:43:14.297" v="621"/>
        <pc:sldMkLst>
          <pc:docMk/>
          <pc:sldMk cId="3491555197" sldId="2147375288"/>
        </pc:sldMkLst>
      </pc:sldChg>
      <pc:sldChg chg="replTag delTag">
        <pc:chgData name="Ramirez, Matias" userId="f9287b4f-ca9e-4784-af21-619bdecb5da9" providerId="ADAL" clId="{180438E6-51BB-4BF7-B2CE-55118CDCC1EB}" dt="2023-06-16T19:35:04.725" v="65"/>
        <pc:sldMkLst>
          <pc:docMk/>
          <pc:sldMk cId="1845552086" sldId="2147375291"/>
        </pc:sldMkLst>
      </pc:sldChg>
      <pc:sldChg chg="replTag delTag">
        <pc:chgData name="Ramirez, Matias" userId="f9287b4f-ca9e-4784-af21-619bdecb5da9" providerId="ADAL" clId="{180438E6-51BB-4BF7-B2CE-55118CDCC1EB}" dt="2023-06-19T14:44:04.437" v="631"/>
        <pc:sldMkLst>
          <pc:docMk/>
          <pc:sldMk cId="4120256368" sldId="2147375298"/>
        </pc:sldMkLst>
      </pc:sldChg>
      <pc:sldChg chg="replTag delTag">
        <pc:chgData name="Ramirez, Matias" userId="f9287b4f-ca9e-4784-af21-619bdecb5da9" providerId="ADAL" clId="{180438E6-51BB-4BF7-B2CE-55118CDCC1EB}" dt="2023-06-19T14:44:15.082" v="633"/>
        <pc:sldMkLst>
          <pc:docMk/>
          <pc:sldMk cId="4223713636" sldId="2147375301"/>
        </pc:sldMkLst>
      </pc:sldChg>
      <pc:sldChg chg="delSp modSp mod replTag delTag">
        <pc:chgData name="Ramirez, Matias" userId="f9287b4f-ca9e-4784-af21-619bdecb5da9" providerId="ADAL" clId="{180438E6-51BB-4BF7-B2CE-55118CDCC1EB}" dt="2023-06-19T14:44:29.900" v="637"/>
        <pc:sldMkLst>
          <pc:docMk/>
          <pc:sldMk cId="2145453126" sldId="2147375306"/>
        </pc:sldMkLst>
        <pc:spChg chg="del">
          <ac:chgData name="Ramirez, Matias" userId="f9287b4f-ca9e-4784-af21-619bdecb5da9" providerId="ADAL" clId="{180438E6-51BB-4BF7-B2CE-55118CDCC1EB}" dt="2023-06-16T19:39:59.718" v="86" actId="478"/>
          <ac:spMkLst>
            <pc:docMk/>
            <pc:sldMk cId="2145453126" sldId="2147375306"/>
            <ac:spMk id="2" creationId="{C1ABB24C-CEA8-452F-9B7F-9A3419E8F39F}"/>
          </ac:spMkLst>
        </pc:spChg>
        <pc:spChg chg="mod">
          <ac:chgData name="Ramirez, Matias" userId="f9287b4f-ca9e-4784-af21-619bdecb5da9" providerId="ADAL" clId="{180438E6-51BB-4BF7-B2CE-55118CDCC1EB}" dt="2023-06-16T19:41:16.850" v="169" actId="20577"/>
          <ac:spMkLst>
            <pc:docMk/>
            <pc:sldMk cId="2145453126" sldId="2147375306"/>
            <ac:spMk id="10" creationId="{C4B804EF-8CFD-A398-9AAA-5928B64CC9D0}"/>
          </ac:spMkLst>
        </pc:spChg>
      </pc:sldChg>
      <pc:sldChg chg="delSp modSp mod replTag delTag">
        <pc:chgData name="Ramirez, Matias" userId="f9287b4f-ca9e-4784-af21-619bdecb5da9" providerId="ADAL" clId="{180438E6-51BB-4BF7-B2CE-55118CDCC1EB}" dt="2023-06-19T14:45:03.315" v="641"/>
        <pc:sldMkLst>
          <pc:docMk/>
          <pc:sldMk cId="3036119996" sldId="2147375307"/>
        </pc:sldMkLst>
        <pc:spChg chg="del">
          <ac:chgData name="Ramirez, Matias" userId="f9287b4f-ca9e-4784-af21-619bdecb5da9" providerId="ADAL" clId="{180438E6-51BB-4BF7-B2CE-55118CDCC1EB}" dt="2023-06-16T19:45:33.201" v="446" actId="478"/>
          <ac:spMkLst>
            <pc:docMk/>
            <pc:sldMk cId="3036119996" sldId="2147375307"/>
            <ac:spMk id="2" creationId="{997580AD-66AB-46FF-A5B6-23650C405E6D}"/>
          </ac:spMkLst>
        </pc:spChg>
        <pc:spChg chg="mod">
          <ac:chgData name="Ramirez, Matias" userId="f9287b4f-ca9e-4784-af21-619bdecb5da9" providerId="ADAL" clId="{180438E6-51BB-4BF7-B2CE-55118CDCC1EB}" dt="2023-06-16T19:55:21.474" v="551" actId="207"/>
          <ac:spMkLst>
            <pc:docMk/>
            <pc:sldMk cId="3036119996" sldId="2147375307"/>
            <ac:spMk id="23" creationId="{E457F3D3-0384-C1ED-3BF3-7F4CE4EB30E4}"/>
          </ac:spMkLst>
        </pc:spChg>
        <pc:spChg chg="mod">
          <ac:chgData name="Ramirez, Matias" userId="f9287b4f-ca9e-4784-af21-619bdecb5da9" providerId="ADAL" clId="{180438E6-51BB-4BF7-B2CE-55118CDCC1EB}" dt="2023-06-16T19:55:03.945" v="548" actId="207"/>
          <ac:spMkLst>
            <pc:docMk/>
            <pc:sldMk cId="3036119996" sldId="2147375307"/>
            <ac:spMk id="25" creationId="{6E82E1E1-6CE8-5FF3-ABA9-614CB467F89F}"/>
          </ac:spMkLst>
        </pc:spChg>
      </pc:sldChg>
      <pc:sldChg chg="replTag delTag">
        <pc:chgData name="Ramirez, Matias" userId="f9287b4f-ca9e-4784-af21-619bdecb5da9" providerId="ADAL" clId="{180438E6-51BB-4BF7-B2CE-55118CDCC1EB}" dt="2023-06-19T14:45:00.142" v="639"/>
        <pc:sldMkLst>
          <pc:docMk/>
          <pc:sldMk cId="1075962840" sldId="2147375309"/>
        </pc:sldMkLst>
      </pc:sldChg>
      <pc:sldChg chg="replTag delTag">
        <pc:chgData name="Ramirez, Matias" userId="f9287b4f-ca9e-4784-af21-619bdecb5da9" providerId="ADAL" clId="{180438E6-51BB-4BF7-B2CE-55118CDCC1EB}" dt="2023-06-19T14:53:55.319" v="647"/>
        <pc:sldMkLst>
          <pc:docMk/>
          <pc:sldMk cId="3557834136" sldId="2147375310"/>
        </pc:sldMkLst>
      </pc:sldChg>
      <pc:sldChg chg="replTag delTag">
        <pc:chgData name="Ramirez, Matias" userId="f9287b4f-ca9e-4784-af21-619bdecb5da9" providerId="ADAL" clId="{180438E6-51BB-4BF7-B2CE-55118CDCC1EB}" dt="2023-06-19T14:58:36.176" v="863"/>
        <pc:sldMkLst>
          <pc:docMk/>
          <pc:sldMk cId="2360765496" sldId="2147375311"/>
        </pc:sldMkLst>
      </pc:sldChg>
      <pc:sldChg chg="del replTag delTag">
        <pc:chgData name="Ramirez, Matias" userId="f9287b4f-ca9e-4784-af21-619bdecb5da9" providerId="ADAL" clId="{180438E6-51BB-4BF7-B2CE-55118CDCC1EB}" dt="2023-06-16T19:50:03.482" v="475" actId="47"/>
        <pc:sldMkLst>
          <pc:docMk/>
          <pc:sldMk cId="1436054128" sldId="2147375314"/>
        </pc:sldMkLst>
      </pc:sldChg>
      <pc:sldChg chg="modSp new mod replTag delTag">
        <pc:chgData name="Ramirez, Matias" userId="f9287b4f-ca9e-4784-af21-619bdecb5da9" providerId="ADAL" clId="{180438E6-51BB-4BF7-B2CE-55118CDCC1EB}" dt="2023-06-19T14:53:48.429" v="645"/>
        <pc:sldMkLst>
          <pc:docMk/>
          <pc:sldMk cId="3288799733" sldId="2147375315"/>
        </pc:sldMkLst>
        <pc:spChg chg="mod">
          <ac:chgData name="Ramirez, Matias" userId="f9287b4f-ca9e-4784-af21-619bdecb5da9" providerId="ADAL" clId="{180438E6-51BB-4BF7-B2CE-55118CDCC1EB}" dt="2023-06-16T19:45:41.339" v="454" actId="403"/>
          <ac:spMkLst>
            <pc:docMk/>
            <pc:sldMk cId="3288799733" sldId="2147375315"/>
            <ac:spMk id="2" creationId="{CC54FAF3-2927-1B4B-2486-DF37E74D3F5E}"/>
          </ac:spMkLst>
        </pc:spChg>
        <pc:spChg chg="mod">
          <ac:chgData name="Ramirez, Matias" userId="f9287b4f-ca9e-4784-af21-619bdecb5da9" providerId="ADAL" clId="{180438E6-51BB-4BF7-B2CE-55118CDCC1EB}" dt="2023-06-16T19:41:58.843" v="212" actId="20577"/>
          <ac:spMkLst>
            <pc:docMk/>
            <pc:sldMk cId="3288799733" sldId="2147375315"/>
            <ac:spMk id="3" creationId="{EF2FECCB-C832-FBAD-6CA6-8A7AA7D11B7B}"/>
          </ac:spMkLst>
        </pc:spChg>
      </pc:sldChg>
      <pc:sldChg chg="replTag delTag">
        <pc:chgData name="Ramirez, Matias" userId="f9287b4f-ca9e-4784-af21-619bdecb5da9" providerId="ADAL" clId="{180438E6-51BB-4BF7-B2CE-55118CDCC1EB}" dt="2023-06-16T19:50:55.710" v="496"/>
        <pc:sldMkLst>
          <pc:docMk/>
          <pc:sldMk cId="3597312824" sldId="2147375316"/>
        </pc:sldMkLst>
      </pc:sldChg>
      <pc:sldChg chg="add replTag delTag">
        <pc:chgData name="Ramirez, Matias" userId="f9287b4f-ca9e-4784-af21-619bdecb5da9" providerId="ADAL" clId="{180438E6-51BB-4BF7-B2CE-55118CDCC1EB}" dt="2023-06-19T15:07:18.451" v="1121"/>
        <pc:sldMkLst>
          <pc:docMk/>
          <pc:sldMk cId="1597188224" sldId="2147375317"/>
        </pc:sldMkLst>
      </pc:sldChg>
      <pc:sldChg chg="addSp delSp modSp add mod replTag delTag">
        <pc:chgData name="Ramirez, Matias" userId="f9287b4f-ca9e-4784-af21-619bdecb5da9" providerId="ADAL" clId="{180438E6-51BB-4BF7-B2CE-55118CDCC1EB}" dt="2023-06-19T15:08:13.324" v="1151"/>
        <pc:sldMkLst>
          <pc:docMk/>
          <pc:sldMk cId="380476859" sldId="2147375318"/>
        </pc:sldMkLst>
        <pc:spChg chg="mod">
          <ac:chgData name="Ramirez, Matias" userId="f9287b4f-ca9e-4784-af21-619bdecb5da9" providerId="ADAL" clId="{180438E6-51BB-4BF7-B2CE-55118CDCC1EB}" dt="2023-06-19T15:02:15.907" v="1040" actId="5793"/>
          <ac:spMkLst>
            <pc:docMk/>
            <pc:sldMk cId="380476859" sldId="2147375318"/>
            <ac:spMk id="5" creationId="{94CA3E51-F6C8-64D6-3567-98E0A78EF91B}"/>
          </ac:spMkLst>
        </pc:spChg>
        <pc:spChg chg="mod">
          <ac:chgData name="Ramirez, Matias" userId="f9287b4f-ca9e-4784-af21-619bdecb5da9" providerId="ADAL" clId="{180438E6-51BB-4BF7-B2CE-55118CDCC1EB}" dt="2023-06-19T15:02:02.951" v="1037" actId="20577"/>
          <ac:spMkLst>
            <pc:docMk/>
            <pc:sldMk cId="380476859" sldId="2147375318"/>
            <ac:spMk id="6" creationId="{73EC3D92-0CB2-58D2-5A17-C141225F198B}"/>
          </ac:spMkLst>
        </pc:spChg>
        <pc:spChg chg="add del mod">
          <ac:chgData name="Ramirez, Matias" userId="f9287b4f-ca9e-4784-af21-619bdecb5da9" providerId="ADAL" clId="{180438E6-51BB-4BF7-B2CE-55118CDCC1EB}" dt="2023-06-19T15:02:46.659" v="1043" actId="478"/>
          <ac:spMkLst>
            <pc:docMk/>
            <pc:sldMk cId="380476859" sldId="2147375318"/>
            <ac:spMk id="9" creationId="{E66128AE-A7E1-1489-1DBB-5CB8D581D17D}"/>
          </ac:spMkLst>
        </pc:spChg>
        <pc:spChg chg="mod">
          <ac:chgData name="Ramirez, Matias" userId="f9287b4f-ca9e-4784-af21-619bdecb5da9" providerId="ADAL" clId="{180438E6-51BB-4BF7-B2CE-55118CDCC1EB}" dt="2023-06-19T15:01:14.236" v="989"/>
          <ac:spMkLst>
            <pc:docMk/>
            <pc:sldMk cId="380476859" sldId="2147375318"/>
            <ac:spMk id="11" creationId="{25F64B95-1325-F765-B70F-FDDBD13DAD89}"/>
          </ac:spMkLst>
        </pc:spChg>
        <pc:spChg chg="add del mod">
          <ac:chgData name="Ramirez, Matias" userId="f9287b4f-ca9e-4784-af21-619bdecb5da9" providerId="ADAL" clId="{180438E6-51BB-4BF7-B2CE-55118CDCC1EB}" dt="2023-06-19T15:03:18.885" v="1045" actId="478"/>
          <ac:spMkLst>
            <pc:docMk/>
            <pc:sldMk cId="380476859" sldId="2147375318"/>
            <ac:spMk id="13" creationId="{7ACE2A3E-8074-F71B-BBD9-0A55CC31CF67}"/>
          </ac:spMkLst>
        </pc:spChg>
        <pc:picChg chg="del">
          <ac:chgData name="Ramirez, Matias" userId="f9287b4f-ca9e-4784-af21-619bdecb5da9" providerId="ADAL" clId="{180438E6-51BB-4BF7-B2CE-55118CDCC1EB}" dt="2023-06-19T15:02:19.010" v="1041" actId="478"/>
          <ac:picMkLst>
            <pc:docMk/>
            <pc:sldMk cId="380476859" sldId="2147375318"/>
            <ac:picMk id="4" creationId="{EAF76BC7-877E-4036-A0C6-8006617E9E27}"/>
          </ac:picMkLst>
        </pc:picChg>
        <pc:picChg chg="add del mod">
          <ac:chgData name="Ramirez, Matias" userId="f9287b4f-ca9e-4784-af21-619bdecb5da9" providerId="ADAL" clId="{180438E6-51BB-4BF7-B2CE-55118CDCC1EB}" dt="2023-06-19T15:02:46.659" v="1043" actId="478"/>
          <ac:picMkLst>
            <pc:docMk/>
            <pc:sldMk cId="380476859" sldId="2147375318"/>
            <ac:picMk id="8" creationId="{6BA60C00-FDCB-B2F3-858E-4E58A96D88DC}"/>
          </ac:picMkLst>
        </pc:picChg>
        <pc:picChg chg="add mod">
          <ac:chgData name="Ramirez, Matias" userId="f9287b4f-ca9e-4784-af21-619bdecb5da9" providerId="ADAL" clId="{180438E6-51BB-4BF7-B2CE-55118CDCC1EB}" dt="2023-06-19T15:03:28.830" v="1048" actId="14861"/>
          <ac:picMkLst>
            <pc:docMk/>
            <pc:sldMk cId="380476859" sldId="2147375318"/>
            <ac:picMk id="12" creationId="{FDC22BAA-CF65-96C3-68EE-62E3B0CC0E5C}"/>
          </ac:picMkLst>
        </pc:picChg>
      </pc:sldChg>
      <pc:sldChg chg="addSp delSp modSp add mod replTag delTag">
        <pc:chgData name="Ramirez, Matias" userId="f9287b4f-ca9e-4784-af21-619bdecb5da9" providerId="ADAL" clId="{180438E6-51BB-4BF7-B2CE-55118CDCC1EB}" dt="2023-06-19T15:07:20.411" v="1125"/>
        <pc:sldMkLst>
          <pc:docMk/>
          <pc:sldMk cId="1070655936" sldId="2147375319"/>
        </pc:sldMkLst>
        <pc:spChg chg="mod">
          <ac:chgData name="Ramirez, Matias" userId="f9287b4f-ca9e-4784-af21-619bdecb5da9" providerId="ADAL" clId="{180438E6-51BB-4BF7-B2CE-55118CDCC1EB}" dt="2023-06-19T15:05:57.117" v="1089" actId="14100"/>
          <ac:spMkLst>
            <pc:docMk/>
            <pc:sldMk cId="1070655936" sldId="2147375319"/>
            <ac:spMk id="5" creationId="{94CA3E51-F6C8-64D6-3567-98E0A78EF91B}"/>
          </ac:spMkLst>
        </pc:spChg>
        <pc:spChg chg="mod">
          <ac:chgData name="Ramirez, Matias" userId="f9287b4f-ca9e-4784-af21-619bdecb5da9" providerId="ADAL" clId="{180438E6-51BB-4BF7-B2CE-55118CDCC1EB}" dt="2023-06-19T15:03:54.300" v="1067" actId="20577"/>
          <ac:spMkLst>
            <pc:docMk/>
            <pc:sldMk cId="1070655936" sldId="2147375319"/>
            <ac:spMk id="6" creationId="{73EC3D92-0CB2-58D2-5A17-C141225F198B}"/>
          </ac:spMkLst>
        </pc:spChg>
        <pc:spChg chg="add del mod">
          <ac:chgData name="Ramirez, Matias" userId="f9287b4f-ca9e-4784-af21-619bdecb5da9" providerId="ADAL" clId="{180438E6-51BB-4BF7-B2CE-55118CDCC1EB}" dt="2023-06-19T15:06:43.168" v="1103" actId="478"/>
          <ac:spMkLst>
            <pc:docMk/>
            <pc:sldMk cId="1070655936" sldId="2147375319"/>
            <ac:spMk id="10" creationId="{D81261BE-E04A-6684-4140-F064E9E788DD}"/>
          </ac:spMkLst>
        </pc:spChg>
        <pc:spChg chg="mod">
          <ac:chgData name="Ramirez, Matias" userId="f9287b4f-ca9e-4784-af21-619bdecb5da9" providerId="ADAL" clId="{180438E6-51BB-4BF7-B2CE-55118CDCC1EB}" dt="2023-06-19T15:04:08.752" v="1068"/>
          <ac:spMkLst>
            <pc:docMk/>
            <pc:sldMk cId="1070655936" sldId="2147375319"/>
            <ac:spMk id="11" creationId="{25F64B95-1325-F765-B70F-FDDBD13DAD89}"/>
          </ac:spMkLst>
        </pc:spChg>
        <pc:picChg chg="add mod">
          <ac:chgData name="Ramirez, Matias" userId="f9287b4f-ca9e-4784-af21-619bdecb5da9" providerId="ADAL" clId="{180438E6-51BB-4BF7-B2CE-55118CDCC1EB}" dt="2023-06-19T15:06:01.828" v="1091" actId="1076"/>
          <ac:picMkLst>
            <pc:docMk/>
            <pc:sldMk cId="1070655936" sldId="2147375319"/>
            <ac:picMk id="4" creationId="{F3C76BFF-D141-0D8A-5089-F69F56B8D654}"/>
          </ac:picMkLst>
        </pc:picChg>
        <pc:picChg chg="add mod">
          <ac:chgData name="Ramirez, Matias" userId="f9287b4f-ca9e-4784-af21-619bdecb5da9" providerId="ADAL" clId="{180438E6-51BB-4BF7-B2CE-55118CDCC1EB}" dt="2023-06-19T15:06:55.504" v="1106" actId="14861"/>
          <ac:picMkLst>
            <pc:docMk/>
            <pc:sldMk cId="1070655936" sldId="2147375319"/>
            <ac:picMk id="9" creationId="{4D2197AE-2798-6EB4-8A81-4B95776E5D51}"/>
          </ac:picMkLst>
        </pc:picChg>
        <pc:picChg chg="del">
          <ac:chgData name="Ramirez, Matias" userId="f9287b4f-ca9e-4784-af21-619bdecb5da9" providerId="ADAL" clId="{180438E6-51BB-4BF7-B2CE-55118CDCC1EB}" dt="2023-06-19T15:06:15.685" v="1100" actId="478"/>
          <ac:picMkLst>
            <pc:docMk/>
            <pc:sldMk cId="1070655936" sldId="2147375319"/>
            <ac:picMk id="12" creationId="{FDC22BAA-CF65-96C3-68EE-62E3B0CC0E5C}"/>
          </ac:picMkLst>
        </pc:picChg>
      </pc:sldChg>
      <pc:sldChg chg="new del replTag">
        <pc:chgData name="Ramirez, Matias" userId="f9287b4f-ca9e-4784-af21-619bdecb5da9" providerId="ADAL" clId="{180438E6-51BB-4BF7-B2CE-55118CDCC1EB}" dt="2023-06-19T15:07:18.448" v="1119" actId="47"/>
        <pc:sldMkLst>
          <pc:docMk/>
          <pc:sldMk cId="692355567" sldId="2147375320"/>
        </pc:sldMkLst>
      </pc:sldChg>
      <pc:sldChg chg="addSp delSp modSp add mod replTag delTag">
        <pc:chgData name="Ramirez, Matias" userId="f9287b4f-ca9e-4784-af21-619bdecb5da9" providerId="ADAL" clId="{180438E6-51BB-4BF7-B2CE-55118CDCC1EB}" dt="2023-06-19T15:09:36.973" v="1169" actId="14861"/>
        <pc:sldMkLst>
          <pc:docMk/>
          <pc:sldMk cId="2299224544" sldId="2147375320"/>
        </pc:sldMkLst>
        <pc:spChg chg="mod">
          <ac:chgData name="Ramirez, Matias" userId="f9287b4f-ca9e-4784-af21-619bdecb5da9" providerId="ADAL" clId="{180438E6-51BB-4BF7-B2CE-55118CDCC1EB}" dt="2023-06-19T15:08:21.658" v="1157" actId="1076"/>
          <ac:spMkLst>
            <pc:docMk/>
            <pc:sldMk cId="2299224544" sldId="2147375320"/>
            <ac:spMk id="5" creationId="{94CA3E51-F6C8-64D6-3567-98E0A78EF91B}"/>
          </ac:spMkLst>
        </pc:spChg>
        <pc:spChg chg="mod">
          <ac:chgData name="Ramirez, Matias" userId="f9287b4f-ca9e-4784-af21-619bdecb5da9" providerId="ADAL" clId="{180438E6-51BB-4BF7-B2CE-55118CDCC1EB}" dt="2023-06-19T15:07:28.874" v="1134" actId="20577"/>
          <ac:spMkLst>
            <pc:docMk/>
            <pc:sldMk cId="2299224544" sldId="2147375320"/>
            <ac:spMk id="6" creationId="{73EC3D92-0CB2-58D2-5A17-C141225F198B}"/>
          </ac:spMkLst>
        </pc:spChg>
        <pc:spChg chg="mod">
          <ac:chgData name="Ramirez, Matias" userId="f9287b4f-ca9e-4784-af21-619bdecb5da9" providerId="ADAL" clId="{180438E6-51BB-4BF7-B2CE-55118CDCC1EB}" dt="2023-06-19T15:07:39.485" v="1135"/>
          <ac:spMkLst>
            <pc:docMk/>
            <pc:sldMk cId="2299224544" sldId="2147375320"/>
            <ac:spMk id="11" creationId="{25F64B95-1325-F765-B70F-FDDBD13DAD89}"/>
          </ac:spMkLst>
        </pc:spChg>
        <pc:picChg chg="del">
          <ac:chgData name="Ramirez, Matias" userId="f9287b4f-ca9e-4784-af21-619bdecb5da9" providerId="ADAL" clId="{180438E6-51BB-4BF7-B2CE-55118CDCC1EB}" dt="2023-06-19T15:08:07.174" v="1147" actId="478"/>
          <ac:picMkLst>
            <pc:docMk/>
            <pc:sldMk cId="2299224544" sldId="2147375320"/>
            <ac:picMk id="4" creationId="{F3C76BFF-D141-0D8A-5089-F69F56B8D654}"/>
          </ac:picMkLst>
        </pc:picChg>
        <pc:picChg chg="add del mod">
          <ac:chgData name="Ramirez, Matias" userId="f9287b4f-ca9e-4784-af21-619bdecb5da9" providerId="ADAL" clId="{180438E6-51BB-4BF7-B2CE-55118CDCC1EB}" dt="2023-06-19T15:08:56.993" v="1160" actId="478"/>
          <ac:picMkLst>
            <pc:docMk/>
            <pc:sldMk cId="2299224544" sldId="2147375320"/>
            <ac:picMk id="8" creationId="{68D7939A-5DC5-535D-28F3-F95E36A100CD}"/>
          </ac:picMkLst>
        </pc:picChg>
        <pc:picChg chg="del">
          <ac:chgData name="Ramirez, Matias" userId="f9287b4f-ca9e-4784-af21-619bdecb5da9" providerId="ADAL" clId="{180438E6-51BB-4BF7-B2CE-55118CDCC1EB}" dt="2023-06-19T15:07:24.277" v="1133" actId="478"/>
          <ac:picMkLst>
            <pc:docMk/>
            <pc:sldMk cId="2299224544" sldId="2147375320"/>
            <ac:picMk id="9" creationId="{4D2197AE-2798-6EB4-8A81-4B95776E5D51}"/>
          </ac:picMkLst>
        </pc:picChg>
        <pc:picChg chg="add mod">
          <ac:chgData name="Ramirez, Matias" userId="f9287b4f-ca9e-4784-af21-619bdecb5da9" providerId="ADAL" clId="{180438E6-51BB-4BF7-B2CE-55118CDCC1EB}" dt="2023-06-19T15:08:59.964" v="1162" actId="1076"/>
          <ac:picMkLst>
            <pc:docMk/>
            <pc:sldMk cId="2299224544" sldId="2147375320"/>
            <ac:picMk id="12" creationId="{5BA4B0EA-9C60-F79F-F94C-D80F4D15FFF7}"/>
          </ac:picMkLst>
        </pc:picChg>
        <pc:picChg chg="add mod">
          <ac:chgData name="Ramirez, Matias" userId="f9287b4f-ca9e-4784-af21-619bdecb5da9" providerId="ADAL" clId="{180438E6-51BB-4BF7-B2CE-55118CDCC1EB}" dt="2023-06-19T15:09:36.973" v="1169" actId="14861"/>
          <ac:picMkLst>
            <pc:docMk/>
            <pc:sldMk cId="2299224544" sldId="2147375320"/>
            <ac:picMk id="14" creationId="{03C99E74-E27A-B8D6-72DA-EE482C8A345B}"/>
          </ac:picMkLst>
        </pc:picChg>
      </pc:sldChg>
    </pc:docChg>
  </pc:docChgLst>
  <pc:docChgLst>
    <pc:chgData name="Johnstone, Charlotte" userId="a60ea39f-ecb5-4295-a949-2dc20e04e6ca" providerId="ADAL" clId="{0099BD2F-B773-45E7-8B1F-36D3C9073DA4}"/>
    <pc:docChg chg="undo custSel delSld modSld sldOrd">
      <pc:chgData name="Johnstone, Charlotte" userId="a60ea39f-ecb5-4295-a949-2dc20e04e6ca" providerId="ADAL" clId="{0099BD2F-B773-45E7-8B1F-36D3C9073DA4}" dt="2023-06-23T15:37:51.893" v="250" actId="1076"/>
      <pc:docMkLst>
        <pc:docMk/>
      </pc:docMkLst>
      <pc:sldChg chg="addSp delSp modSp mod">
        <pc:chgData name="Johnstone, Charlotte" userId="a60ea39f-ecb5-4295-a949-2dc20e04e6ca" providerId="ADAL" clId="{0099BD2F-B773-45E7-8B1F-36D3C9073DA4}" dt="2023-06-23T15:37:20.110" v="247" actId="1076"/>
        <pc:sldMkLst>
          <pc:docMk/>
          <pc:sldMk cId="723307061" sldId="1750"/>
        </pc:sldMkLst>
        <pc:spChg chg="mod">
          <ac:chgData name="Johnstone, Charlotte" userId="a60ea39f-ecb5-4295-a949-2dc20e04e6ca" providerId="ADAL" clId="{0099BD2F-B773-45E7-8B1F-36D3C9073DA4}" dt="2023-06-23T15:37:18.871" v="246" actId="1076"/>
          <ac:spMkLst>
            <pc:docMk/>
            <pc:sldMk cId="723307061" sldId="1750"/>
            <ac:spMk id="3" creationId="{E4159C8A-B022-4A34-876B-29BB8DE04A9F}"/>
          </ac:spMkLst>
        </pc:spChg>
        <pc:spChg chg="del mod">
          <ac:chgData name="Johnstone, Charlotte" userId="a60ea39f-ecb5-4295-a949-2dc20e04e6ca" providerId="ADAL" clId="{0099BD2F-B773-45E7-8B1F-36D3C9073DA4}" dt="2023-06-23T15:34:00.371" v="218" actId="478"/>
          <ac:spMkLst>
            <pc:docMk/>
            <pc:sldMk cId="723307061" sldId="1750"/>
            <ac:spMk id="4" creationId="{1BA17FAD-F813-AC8E-6826-16C87B6AFCA0}"/>
          </ac:spMkLst>
        </pc:spChg>
        <pc:spChg chg="add mod">
          <ac:chgData name="Johnstone, Charlotte" userId="a60ea39f-ecb5-4295-a949-2dc20e04e6ca" providerId="ADAL" clId="{0099BD2F-B773-45E7-8B1F-36D3C9073DA4}" dt="2023-06-23T15:37:15.688" v="245" actId="1076"/>
          <ac:spMkLst>
            <pc:docMk/>
            <pc:sldMk cId="723307061" sldId="1750"/>
            <ac:spMk id="8" creationId="{7926F13C-4753-9FA5-57E2-2EFA4E5DC6CD}"/>
          </ac:spMkLst>
        </pc:spChg>
        <pc:picChg chg="del">
          <ac:chgData name="Johnstone, Charlotte" userId="a60ea39f-ecb5-4295-a949-2dc20e04e6ca" providerId="ADAL" clId="{0099BD2F-B773-45E7-8B1F-36D3C9073DA4}" dt="2023-06-23T13:41:39.195" v="50" actId="478"/>
          <ac:picMkLst>
            <pc:docMk/>
            <pc:sldMk cId="723307061" sldId="1750"/>
            <ac:picMk id="6" creationId="{36E790F1-DE75-D66E-AE7F-CD9770713DE7}"/>
          </ac:picMkLst>
        </pc:picChg>
        <pc:picChg chg="add mod modCrop">
          <ac:chgData name="Johnstone, Charlotte" userId="a60ea39f-ecb5-4295-a949-2dc20e04e6ca" providerId="ADAL" clId="{0099BD2F-B773-45E7-8B1F-36D3C9073DA4}" dt="2023-06-23T15:37:20.110" v="247" actId="1076"/>
          <ac:picMkLst>
            <pc:docMk/>
            <pc:sldMk cId="723307061" sldId="1750"/>
            <ac:picMk id="7" creationId="{F7F61DBD-94B7-8F09-1375-49275486B20C}"/>
          </ac:picMkLst>
        </pc:picChg>
      </pc:sldChg>
      <pc:sldChg chg="addSp delSp modSp mod">
        <pc:chgData name="Johnstone, Charlotte" userId="a60ea39f-ecb5-4295-a949-2dc20e04e6ca" providerId="ADAL" clId="{0099BD2F-B773-45E7-8B1F-36D3C9073DA4}" dt="2023-06-23T15:37:51.893" v="250" actId="1076"/>
        <pc:sldMkLst>
          <pc:docMk/>
          <pc:sldMk cId="4108535163" sldId="1790"/>
        </pc:sldMkLst>
        <pc:spChg chg="add mod">
          <ac:chgData name="Johnstone, Charlotte" userId="a60ea39f-ecb5-4295-a949-2dc20e04e6ca" providerId="ADAL" clId="{0099BD2F-B773-45E7-8B1F-36D3C9073DA4}" dt="2023-06-23T15:37:51.893" v="250" actId="1076"/>
          <ac:spMkLst>
            <pc:docMk/>
            <pc:sldMk cId="4108535163" sldId="1790"/>
            <ac:spMk id="6" creationId="{4003EB7E-2BB0-C37E-1C77-B4FB974DF318}"/>
          </ac:spMkLst>
        </pc:spChg>
        <pc:spChg chg="mod">
          <ac:chgData name="Johnstone, Charlotte" userId="a60ea39f-ecb5-4295-a949-2dc20e04e6ca" providerId="ADAL" clId="{0099BD2F-B773-45E7-8B1F-36D3C9073DA4}" dt="2023-06-23T15:33:46.092" v="216" actId="20577"/>
          <ac:spMkLst>
            <pc:docMk/>
            <pc:sldMk cId="4108535163" sldId="1790"/>
            <ac:spMk id="91" creationId="{C6BE8289-18EA-4F37-A06D-E17EC577C7DB}"/>
          </ac:spMkLst>
        </pc:spChg>
        <pc:picChg chg="del">
          <ac:chgData name="Johnstone, Charlotte" userId="a60ea39f-ecb5-4295-a949-2dc20e04e6ca" providerId="ADAL" clId="{0099BD2F-B773-45E7-8B1F-36D3C9073DA4}" dt="2023-06-23T13:46:16.701" v="84" actId="478"/>
          <ac:picMkLst>
            <pc:docMk/>
            <pc:sldMk cId="4108535163" sldId="1790"/>
            <ac:picMk id="3" creationId="{50FEB8B0-53BE-A79A-8E9B-9AC0B7058D7C}"/>
          </ac:picMkLst>
        </pc:picChg>
        <pc:picChg chg="add mod modCrop">
          <ac:chgData name="Johnstone, Charlotte" userId="a60ea39f-ecb5-4295-a949-2dc20e04e6ca" providerId="ADAL" clId="{0099BD2F-B773-45E7-8B1F-36D3C9073DA4}" dt="2023-06-23T15:37:48.960" v="249" actId="1076"/>
          <ac:picMkLst>
            <pc:docMk/>
            <pc:sldMk cId="4108535163" sldId="1790"/>
            <ac:picMk id="5" creationId="{4EA0A83F-C696-148A-8DE9-0358EA63CF46}"/>
          </ac:picMkLst>
        </pc:picChg>
      </pc:sldChg>
      <pc:sldChg chg="del mod modShow">
        <pc:chgData name="Johnstone, Charlotte" userId="a60ea39f-ecb5-4295-a949-2dc20e04e6ca" providerId="ADAL" clId="{0099BD2F-B773-45E7-8B1F-36D3C9073DA4}" dt="2023-06-23T14:18:50.826" v="160" actId="2696"/>
        <pc:sldMkLst>
          <pc:docMk/>
          <pc:sldMk cId="1272436851" sldId="2147375324"/>
        </pc:sldMkLst>
      </pc:sldChg>
      <pc:sldChg chg="del mod ord modShow">
        <pc:chgData name="Johnstone, Charlotte" userId="a60ea39f-ecb5-4295-a949-2dc20e04e6ca" providerId="ADAL" clId="{0099BD2F-B773-45E7-8B1F-36D3C9073DA4}" dt="2023-06-23T14:18:57.808" v="161" actId="2696"/>
        <pc:sldMkLst>
          <pc:docMk/>
          <pc:sldMk cId="1264546999" sldId="2147375325"/>
        </pc:sldMkLst>
      </pc:sldChg>
    </pc:docChg>
  </pc:docChgLst>
  <pc:docChgLst>
    <pc:chgData name="Johnstone, Charlotte" userId="S::charlottejohnstone@kpmg.com::a60ea39f-ecb5-4295-a949-2dc20e04e6ca" providerId="AD" clId="Web-{DE2392C4-A8B2-4DF0-A67E-06DB6FAD7B19}"/>
    <pc:docChg chg="addSld">
      <pc:chgData name="Johnstone, Charlotte" userId="S::charlottejohnstone@kpmg.com::a60ea39f-ecb5-4295-a949-2dc20e04e6ca" providerId="AD" clId="Web-{DE2392C4-A8B2-4DF0-A67E-06DB6FAD7B19}" dt="2023-06-23T13:36:59.625" v="0"/>
      <pc:docMkLst>
        <pc:docMk/>
      </pc:docMkLst>
      <pc:sldChg chg="add replId">
        <pc:chgData name="Johnstone, Charlotte" userId="S::charlottejohnstone@kpmg.com::a60ea39f-ecb5-4295-a949-2dc20e04e6ca" providerId="AD" clId="Web-{DE2392C4-A8B2-4DF0-A67E-06DB6FAD7B19}" dt="2023-06-23T13:36:59.625" v="0"/>
        <pc:sldMkLst>
          <pc:docMk/>
          <pc:sldMk cId="1272436851" sldId="2147375324"/>
        </pc:sldMkLst>
      </pc:sldChg>
    </pc:docChg>
  </pc:docChgLst>
</pc:chgInfo>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6-06T21:28:08.023"/>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763'0,"-1749"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6-06T21:37:57.65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2204'0,"-218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6-06T21:28:18"/>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879'0,"-1861"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6-06T21:28:31.832"/>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1,'1415'0,"-1396"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6-06T21:28:34.393"/>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1,'1569'0,"-1550"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6-06T21:28:57.06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2965'0,"-2956"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6-06T21:37:17.180"/>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5547'0,"-5527"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6-06T21:37:25.132"/>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2808'0,"-2790"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6-06T21:37:27.743"/>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395'0,"-381"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6-06T21:37:38.306"/>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2545'0,"-2535"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6ED4220-0A93-439F-95A5-F113E9AD8A14}" type="datetimeFigureOut">
              <a:rPr lang="en-US" smtClean="0"/>
              <a:t>7/2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55EA309-E189-4F13-9A6D-3FD728B66684}" type="slidenum">
              <a:rPr lang="en-US" smtClean="0"/>
              <a:t>‹#›</a:t>
            </a:fld>
            <a:endParaRPr lang="en-US"/>
          </a:p>
        </p:txBody>
      </p:sp>
    </p:spTree>
    <p:extLst>
      <p:ext uri="{BB962C8B-B14F-4D97-AF65-F5344CB8AC3E}">
        <p14:creationId xmlns:p14="http://schemas.microsoft.com/office/powerpoint/2010/main" val="14974435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Facilitator – update before you present location and date.</a:t>
            </a:r>
          </a:p>
          <a:p>
            <a:endParaRPr lang="en-US"/>
          </a:p>
        </p:txBody>
      </p:sp>
      <p:sp>
        <p:nvSpPr>
          <p:cNvPr id="4" name="Slide Number Placeholder 3"/>
          <p:cNvSpPr>
            <a:spLocks noGrp="1"/>
          </p:cNvSpPr>
          <p:nvPr>
            <p:ph type="sldNum" sz="quarter" idx="5"/>
          </p:nvPr>
        </p:nvSpPr>
        <p:spPr/>
        <p:txBody>
          <a:bodyPr/>
          <a:lstStyle/>
          <a:p>
            <a:fld id="{E55EA309-E189-4F13-9A6D-3FD728B66684}" type="slidenum">
              <a:rPr lang="en-US" smtClean="0"/>
              <a:t>2</a:t>
            </a:fld>
            <a:endParaRPr lang="en-US"/>
          </a:p>
        </p:txBody>
      </p:sp>
    </p:spTree>
    <p:extLst>
      <p:ext uri="{BB962C8B-B14F-4D97-AF65-F5344CB8AC3E}">
        <p14:creationId xmlns:p14="http://schemas.microsoft.com/office/powerpoint/2010/main" val="4645040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2252D9A-2AE6-49B6-9BFF-156BA80CE8B3}" type="slidenum">
              <a:rPr lang="en-US" smtClean="0"/>
              <a:t>21</a:t>
            </a:fld>
            <a:endParaRPr lang="en-US"/>
          </a:p>
        </p:txBody>
      </p:sp>
    </p:spTree>
    <p:extLst>
      <p:ext uri="{BB962C8B-B14F-4D97-AF65-F5344CB8AC3E}">
        <p14:creationId xmlns:p14="http://schemas.microsoft.com/office/powerpoint/2010/main" val="26216768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2252D9A-2AE6-49B6-9BFF-156BA80CE8B3}" type="slidenum">
              <a:rPr lang="en-US" smtClean="0"/>
              <a:t>23</a:t>
            </a:fld>
            <a:endParaRPr lang="en-US"/>
          </a:p>
        </p:txBody>
      </p:sp>
    </p:spTree>
    <p:extLst>
      <p:ext uri="{BB962C8B-B14F-4D97-AF65-F5344CB8AC3E}">
        <p14:creationId xmlns:p14="http://schemas.microsoft.com/office/powerpoint/2010/main" val="6578324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2252D9A-2AE6-49B6-9BFF-156BA80CE8B3}" type="slidenum">
              <a:rPr lang="en-US" smtClean="0"/>
              <a:t>27</a:t>
            </a:fld>
            <a:endParaRPr lang="en-US"/>
          </a:p>
        </p:txBody>
      </p:sp>
    </p:spTree>
    <p:extLst>
      <p:ext uri="{BB962C8B-B14F-4D97-AF65-F5344CB8AC3E}">
        <p14:creationId xmlns:p14="http://schemas.microsoft.com/office/powerpoint/2010/main" val="21217647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FC41E6-9C47-4E4F-A47D-01B377CDE6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16695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2252D9A-2AE6-49B6-9BFF-156BA80CE8B3}" type="slidenum">
              <a:rPr lang="en-US" smtClean="0"/>
              <a:t>41</a:t>
            </a:fld>
            <a:endParaRPr lang="en-US"/>
          </a:p>
        </p:txBody>
      </p:sp>
    </p:spTree>
    <p:extLst>
      <p:ext uri="{BB962C8B-B14F-4D97-AF65-F5344CB8AC3E}">
        <p14:creationId xmlns:p14="http://schemas.microsoft.com/office/powerpoint/2010/main" val="40586887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2252D9A-2AE6-49B6-9BFF-156BA80CE8B3}" type="slidenum">
              <a:rPr lang="en-US" smtClean="0"/>
              <a:t>43</a:t>
            </a:fld>
            <a:endParaRPr lang="en-US"/>
          </a:p>
        </p:txBody>
      </p:sp>
    </p:spTree>
    <p:extLst>
      <p:ext uri="{BB962C8B-B14F-4D97-AF65-F5344CB8AC3E}">
        <p14:creationId xmlns:p14="http://schemas.microsoft.com/office/powerpoint/2010/main" val="36964554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ention something about RPA</a:t>
            </a:r>
          </a:p>
        </p:txBody>
      </p:sp>
      <p:sp>
        <p:nvSpPr>
          <p:cNvPr id="4" name="Slide Number Placeholder 3"/>
          <p:cNvSpPr>
            <a:spLocks noGrp="1"/>
          </p:cNvSpPr>
          <p:nvPr>
            <p:ph type="sldNum" sz="quarter" idx="5"/>
          </p:nvPr>
        </p:nvSpPr>
        <p:spPr/>
        <p:txBody>
          <a:bodyPr/>
          <a:lstStyle/>
          <a:p>
            <a:fld id="{E55EA309-E189-4F13-9A6D-3FD728B66684}" type="slidenum">
              <a:rPr lang="en-US" smtClean="0"/>
              <a:t>52</a:t>
            </a:fld>
            <a:endParaRPr lang="en-US"/>
          </a:p>
        </p:txBody>
      </p:sp>
    </p:spTree>
    <p:extLst>
      <p:ext uri="{BB962C8B-B14F-4D97-AF65-F5344CB8AC3E}">
        <p14:creationId xmlns:p14="http://schemas.microsoft.com/office/powerpoint/2010/main" val="31679519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5580CC4-1A92-410C-AAE2-1E434803E04A}" type="slidenum">
              <a:rPr lang="en-US" smtClean="0"/>
              <a:t>57</a:t>
            </a:fld>
            <a:endParaRPr lang="en-US"/>
          </a:p>
        </p:txBody>
      </p:sp>
    </p:spTree>
    <p:extLst>
      <p:ext uri="{BB962C8B-B14F-4D97-AF65-F5344CB8AC3E}">
        <p14:creationId xmlns:p14="http://schemas.microsoft.com/office/powerpoint/2010/main" val="26885454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C89C23-D3D9-42EB-A474-F429485D5D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84210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acilitator – update before you present with your photo.</a:t>
            </a:r>
          </a:p>
        </p:txBody>
      </p:sp>
      <p:sp>
        <p:nvSpPr>
          <p:cNvPr id="4" name="Slide Number Placeholder 3"/>
          <p:cNvSpPr>
            <a:spLocks noGrp="1"/>
          </p:cNvSpPr>
          <p:nvPr>
            <p:ph type="sldNum" sz="quarter" idx="5"/>
          </p:nvPr>
        </p:nvSpPr>
        <p:spPr/>
        <p:txBody>
          <a:bodyPr/>
          <a:lstStyle/>
          <a:p>
            <a:fld id="{E55EA309-E189-4F13-9A6D-3FD728B66684}" type="slidenum">
              <a:rPr lang="en-US" smtClean="0"/>
              <a:t>3</a:t>
            </a:fld>
            <a:endParaRPr lang="en-US"/>
          </a:p>
        </p:txBody>
      </p:sp>
    </p:spTree>
    <p:extLst>
      <p:ext uri="{BB962C8B-B14F-4D97-AF65-F5344CB8AC3E}">
        <p14:creationId xmlns:p14="http://schemas.microsoft.com/office/powerpoint/2010/main" val="31356848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3EB823-FCE5-4BE1-85C3-92881CCD672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20761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55EA309-E189-4F13-9A6D-3FD728B66684}" type="slidenum">
              <a:rPr lang="en-US" smtClean="0"/>
              <a:t>5</a:t>
            </a:fld>
            <a:endParaRPr lang="en-US"/>
          </a:p>
        </p:txBody>
      </p:sp>
    </p:spTree>
    <p:extLst>
      <p:ext uri="{BB962C8B-B14F-4D97-AF65-F5344CB8AC3E}">
        <p14:creationId xmlns:p14="http://schemas.microsoft.com/office/powerpoint/2010/main" val="34246184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b="1" i="0" u="none" strike="noStrike" kern="1200" cap="none" spc="0" normalizeH="0" baseline="0" noProof="0">
              <a:ln>
                <a:noFill/>
              </a:ln>
              <a:solidFill>
                <a:prstClr val="white"/>
              </a:solidFill>
              <a:effectLst/>
              <a:uLnTx/>
              <a:uFillTx/>
              <a:latin typeface="+mn-lt"/>
              <a:ea typeface="Roboto" panose="02000000000000000000" pitchFamily="2" charset="0"/>
              <a:cs typeface="Roboto" panose="02000000000000000000" pitchFamily="2"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b="1" i="0" u="none" strike="noStrike" kern="1200" cap="none" spc="0" normalizeH="0" baseline="0" noProof="0">
              <a:ln>
                <a:noFill/>
              </a:ln>
              <a:solidFill>
                <a:prstClr val="white"/>
              </a:solidFill>
              <a:effectLst/>
              <a:uLnTx/>
              <a:uFillTx/>
              <a:latin typeface="+mn-lt"/>
              <a:ea typeface="Roboto" panose="02000000000000000000" pitchFamily="2" charset="0"/>
              <a:cs typeface="Roboto" panose="02000000000000000000" pitchFamily="2"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b="1" i="0" u="none" strike="noStrike" kern="1200" cap="none" spc="0" normalizeH="0" baseline="0" noProof="0">
              <a:ln>
                <a:noFill/>
              </a:ln>
              <a:solidFill>
                <a:prstClr val="white"/>
              </a:solidFill>
              <a:effectLst/>
              <a:uLnTx/>
              <a:uFillTx/>
              <a:latin typeface="+mn-lt"/>
              <a:ea typeface="Roboto" panose="02000000000000000000" pitchFamily="2" charset="0"/>
              <a:cs typeface="Roboto" panose="02000000000000000000" pitchFamily="2"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2060"/>
              </a:solidFill>
              <a:effectLst/>
              <a:uLnTx/>
              <a:uFillTx/>
              <a:latin typeface="Calibri" panose="020F0502020204030204"/>
              <a:ea typeface="+mn-ea"/>
              <a:cs typeface="Arial" panose="020B0604020202020204" pitchFamily="34" charset="0"/>
            </a:endParaRPr>
          </a:p>
          <a:p>
            <a:pPr mar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FC41E6-9C47-4E4F-A47D-01B377CDE6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11448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a:solidFill>
                <a:srgbClr val="002060"/>
              </a:solidFill>
              <a:latin typeface="Roboto" panose="02000000000000000000" pitchFamily="2" charset="0"/>
              <a:ea typeface="Roboto" panose="02000000000000000000" pitchFamily="2"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FC41E6-9C47-4E4F-A47D-01B377CDE6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05279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15 minutes</a:t>
            </a:r>
          </a:p>
        </p:txBody>
      </p:sp>
      <p:sp>
        <p:nvSpPr>
          <p:cNvPr id="4" name="Slide Number Placeholder 3"/>
          <p:cNvSpPr>
            <a:spLocks noGrp="1"/>
          </p:cNvSpPr>
          <p:nvPr>
            <p:ph type="sldNum" sz="quarter" idx="5"/>
          </p:nvPr>
        </p:nvSpPr>
        <p:spPr/>
        <p:txBody>
          <a:bodyPr/>
          <a:lstStyle/>
          <a:p>
            <a:fld id="{E55EA309-E189-4F13-9A6D-3FD728B66684}" type="slidenum">
              <a:rPr lang="en-US" smtClean="0"/>
              <a:t>16</a:t>
            </a:fld>
            <a:endParaRPr lang="en-US"/>
          </a:p>
        </p:txBody>
      </p:sp>
    </p:spTree>
    <p:extLst>
      <p:ext uri="{BB962C8B-B14F-4D97-AF65-F5344CB8AC3E}">
        <p14:creationId xmlns:p14="http://schemas.microsoft.com/office/powerpoint/2010/main" val="9773364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55EA309-E189-4F13-9A6D-3FD728B66684}" type="slidenum">
              <a:rPr lang="en-US" smtClean="0"/>
              <a:t>17</a:t>
            </a:fld>
            <a:endParaRPr lang="en-US"/>
          </a:p>
        </p:txBody>
      </p:sp>
    </p:spTree>
    <p:extLst>
      <p:ext uri="{BB962C8B-B14F-4D97-AF65-F5344CB8AC3E}">
        <p14:creationId xmlns:p14="http://schemas.microsoft.com/office/powerpoint/2010/main" val="31325034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2252D9A-2AE6-49B6-9BFF-156BA80CE8B3}" type="slidenum">
              <a:rPr lang="en-US" smtClean="0"/>
              <a:t>20</a:t>
            </a:fld>
            <a:endParaRPr lang="en-US"/>
          </a:p>
        </p:txBody>
      </p:sp>
    </p:spTree>
    <p:extLst>
      <p:ext uri="{BB962C8B-B14F-4D97-AF65-F5344CB8AC3E}">
        <p14:creationId xmlns:p14="http://schemas.microsoft.com/office/powerpoint/2010/main" val="36746041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4" Type="http://schemas.openxmlformats.org/officeDocument/2006/relationships/image" Target="../media/image6.jpe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png"/><Relationship Id="rId7" Type="http://schemas.openxmlformats.org/officeDocument/2006/relationships/hyperlink" Target="https://twitter.com/kpmguk" TargetMode="External"/><Relationship Id="rId2" Type="http://schemas.openxmlformats.org/officeDocument/2006/relationships/slideMaster" Target="../slideMasters/slideMaster2.xml"/><Relationship Id="rId1" Type="http://schemas.openxmlformats.org/officeDocument/2006/relationships/tags" Target="../tags/tag24.xml"/><Relationship Id="rId6" Type="http://schemas.openxmlformats.org/officeDocument/2006/relationships/image" Target="../media/image24.png"/><Relationship Id="rId5" Type="http://schemas.openxmlformats.org/officeDocument/2006/relationships/image" Target="../media/image23.png"/><Relationship Id="rId10" Type="http://schemas.openxmlformats.org/officeDocument/2006/relationships/hyperlink" Target="https://www.youtube.com/user/KPMGUK" TargetMode="External"/><Relationship Id="rId4" Type="http://schemas.openxmlformats.org/officeDocument/2006/relationships/image" Target="../media/image3.svg"/><Relationship Id="rId9" Type="http://schemas.openxmlformats.org/officeDocument/2006/relationships/hyperlink" Target="https://www.linkedin.com/company/1080" TargetMode="Externa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4.png"/><Relationship Id="rId7" Type="http://schemas.openxmlformats.org/officeDocument/2006/relationships/hyperlink" Target="https://twitter.com/kpmguk" TargetMode="External"/><Relationship Id="rId2" Type="http://schemas.openxmlformats.org/officeDocument/2006/relationships/slideMaster" Target="../slideMasters/slideMaster2.xml"/><Relationship Id="rId1" Type="http://schemas.openxmlformats.org/officeDocument/2006/relationships/tags" Target="../tags/tag25.xml"/><Relationship Id="rId6" Type="http://schemas.openxmlformats.org/officeDocument/2006/relationships/image" Target="../media/image24.png"/><Relationship Id="rId5" Type="http://schemas.openxmlformats.org/officeDocument/2006/relationships/image" Target="../media/image23.png"/><Relationship Id="rId10" Type="http://schemas.openxmlformats.org/officeDocument/2006/relationships/hyperlink" Target="https://www.youtube.com/user/KPMGUK" TargetMode="External"/><Relationship Id="rId4" Type="http://schemas.openxmlformats.org/officeDocument/2006/relationships/image" Target="../media/image26.svg"/><Relationship Id="rId9" Type="http://schemas.openxmlformats.org/officeDocument/2006/relationships/hyperlink" Target="https://www.linkedin.com/company/1080" TargetMode="Externa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58C6E5-33A8-4F7E-B160-18F4BF74A942}"/>
              </a:ext>
            </a:extLst>
          </p:cNvPr>
          <p:cNvSpPr>
            <a:spLocks noGrp="1"/>
          </p:cNvSpPr>
          <p:nvPr>
            <p:ph type="title"/>
          </p:nvPr>
        </p:nvSpPr>
        <p:spPr/>
        <p:txBody>
          <a:bodyPr/>
          <a:lstStyle>
            <a:lvl1pPr>
              <a:defRPr>
                <a:solidFill>
                  <a:schemeClr val="bg1"/>
                </a:solidFill>
                <a:latin typeface="+mn-lt"/>
              </a:defRPr>
            </a:lvl1pPr>
          </a:lstStyle>
          <a:p>
            <a:r>
              <a:rPr lang="en-US"/>
              <a:t>Click to edit Master title style</a:t>
            </a:r>
          </a:p>
        </p:txBody>
      </p:sp>
      <p:sp>
        <p:nvSpPr>
          <p:cNvPr id="3" name="Content Placeholder 2">
            <a:extLst>
              <a:ext uri="{FF2B5EF4-FFF2-40B4-BE49-F238E27FC236}">
                <a16:creationId xmlns:a16="http://schemas.microsoft.com/office/drawing/2014/main" id="{65D8271F-DC32-43FE-93CE-B0D5EC0BACE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F386690-B695-4891-ACCC-F44438953CD9}"/>
              </a:ext>
            </a:extLst>
          </p:cNvPr>
          <p:cNvSpPr>
            <a:spLocks noGrp="1"/>
          </p:cNvSpPr>
          <p:nvPr>
            <p:ph type="dt" sz="half" idx="10"/>
          </p:nvPr>
        </p:nvSpPr>
        <p:spPr>
          <a:xfrm>
            <a:off x="838200" y="6356350"/>
            <a:ext cx="2743200" cy="365125"/>
          </a:xfrm>
          <a:prstGeom prst="rect">
            <a:avLst/>
          </a:prstGeom>
        </p:spPr>
        <p:txBody>
          <a:bodyPr/>
          <a:lstStyle/>
          <a:p>
            <a:fld id="{4C5196D0-1F06-458C-93ED-A00534262B1E}" type="datetimeFigureOut">
              <a:rPr lang="en-US" smtClean="0"/>
              <a:t>7/21/2023</a:t>
            </a:fld>
            <a:endParaRPr lang="en-US"/>
          </a:p>
        </p:txBody>
      </p:sp>
      <p:sp>
        <p:nvSpPr>
          <p:cNvPr id="5" name="Footer Placeholder 4">
            <a:extLst>
              <a:ext uri="{FF2B5EF4-FFF2-40B4-BE49-F238E27FC236}">
                <a16:creationId xmlns:a16="http://schemas.microsoft.com/office/drawing/2014/main" id="{1E397036-11AC-42CF-B582-C46B8E24C2A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459A0D6-2C63-424C-988D-E9FE8B5BD3A0}"/>
              </a:ext>
            </a:extLst>
          </p:cNvPr>
          <p:cNvSpPr>
            <a:spLocks noGrp="1"/>
          </p:cNvSpPr>
          <p:nvPr>
            <p:ph type="sldNum" sz="quarter" idx="12"/>
          </p:nvPr>
        </p:nvSpPr>
        <p:spPr>
          <a:xfrm>
            <a:off x="8610600" y="6356350"/>
            <a:ext cx="2743200" cy="365125"/>
          </a:xfrm>
          <a:prstGeom prst="rect">
            <a:avLst/>
          </a:prstGeom>
        </p:spPr>
        <p:txBody>
          <a:bodyPr/>
          <a:lstStyle/>
          <a:p>
            <a:fld id="{425190C6-7B3E-465D-8846-AA81F2046AC6}" type="slidenum">
              <a:rPr lang="en-US" smtClean="0"/>
              <a:t>‹#›</a:t>
            </a:fld>
            <a:endParaRPr lang="en-US"/>
          </a:p>
        </p:txBody>
      </p:sp>
    </p:spTree>
    <p:custDataLst>
      <p:tags r:id="rId1"/>
    </p:custDataLst>
    <p:extLst>
      <p:ext uri="{BB962C8B-B14F-4D97-AF65-F5344CB8AC3E}">
        <p14:creationId xmlns:p14="http://schemas.microsoft.com/office/powerpoint/2010/main" val="6308905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 Image_Cobalt Blue">
    <p:bg>
      <p:bgPr>
        <a:solidFill>
          <a:schemeClr val="accent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323EE304-3FCA-4CF8-84B4-178F6B5C57AE}"/>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
        <p:nvSpPr>
          <p:cNvPr id="34" name="Title 1">
            <a:extLst>
              <a:ext uri="{FF2B5EF4-FFF2-40B4-BE49-F238E27FC236}">
                <a16:creationId xmlns:a16="http://schemas.microsoft.com/office/drawing/2014/main" id="{E8E14845-BB2E-4EA2-8CBD-F35A520E366D}"/>
              </a:ext>
            </a:extLst>
          </p:cNvPr>
          <p:cNvSpPr>
            <a:spLocks noGrp="1"/>
          </p:cNvSpPr>
          <p:nvPr>
            <p:ph type="ctrTitle" hasCustomPrompt="1"/>
          </p:nvPr>
        </p:nvSpPr>
        <p:spPr>
          <a:xfrm>
            <a:off x="998478" y="1456388"/>
            <a:ext cx="3174866" cy="342774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40" name="Text Placeholder 3">
            <a:extLst>
              <a:ext uri="{FF2B5EF4-FFF2-40B4-BE49-F238E27FC236}">
                <a16:creationId xmlns:a16="http://schemas.microsoft.com/office/drawing/2014/main" id="{423222F2-0E39-45E4-8918-49125CD7C1EA}"/>
              </a:ext>
            </a:extLst>
          </p:cNvPr>
          <p:cNvSpPr>
            <a:spLocks noGrp="1"/>
          </p:cNvSpPr>
          <p:nvPr>
            <p:ph type="body" sz="quarter" idx="11"/>
          </p:nvPr>
        </p:nvSpPr>
        <p:spPr>
          <a:xfrm>
            <a:off x="998478" y="5007010"/>
            <a:ext cx="317486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28" name="Picture Placeholder 3">
            <a:extLst>
              <a:ext uri="{FF2B5EF4-FFF2-40B4-BE49-F238E27FC236}">
                <a16:creationId xmlns:a16="http://schemas.microsoft.com/office/drawing/2014/main" id="{1D0B9D96-907F-4E37-B5A7-830AD095F223}"/>
              </a:ext>
            </a:extLst>
          </p:cNvPr>
          <p:cNvSpPr>
            <a:spLocks noGrp="1" noChangeAspect="1"/>
          </p:cNvSpPr>
          <p:nvPr>
            <p:ph type="pic" sz="quarter" idx="12"/>
          </p:nvPr>
        </p:nvSpPr>
        <p:spPr>
          <a:xfrm>
            <a:off x="4915965" y="1456388"/>
            <a:ext cx="6283848" cy="4364991"/>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Tree>
    <p:extLst>
      <p:ext uri="{BB962C8B-B14F-4D97-AF65-F5344CB8AC3E}">
        <p14:creationId xmlns:p14="http://schemas.microsoft.com/office/powerpoint/2010/main" val="1131247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 Image_Cobalt Blue">
    <p:bg>
      <p:bgPr>
        <a:solidFill>
          <a:schemeClr val="accent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A9325F0-DADC-43A7-A4FF-97033BB2202D}"/>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
        <p:nvSpPr>
          <p:cNvPr id="2" name="Title 1"/>
          <p:cNvSpPr>
            <a:spLocks noGrp="1"/>
          </p:cNvSpPr>
          <p:nvPr>
            <p:ph type="ctrTitle" hasCustomPrompt="1"/>
          </p:nvPr>
        </p:nvSpPr>
        <p:spPr>
          <a:xfrm>
            <a:off x="998478" y="1456388"/>
            <a:ext cx="5249471" cy="3442681"/>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6" name="Text Placeholder 3"/>
          <p:cNvSpPr>
            <a:spLocks noGrp="1"/>
          </p:cNvSpPr>
          <p:nvPr userDrawn="1">
            <p:ph type="body" sz="quarter" idx="11"/>
          </p:nvPr>
        </p:nvSpPr>
        <p:spPr>
          <a:xfrm>
            <a:off x="998478" y="5007009"/>
            <a:ext cx="5249471"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28" name="Picture Placeholder 3">
            <a:extLst>
              <a:ext uri="{FF2B5EF4-FFF2-40B4-BE49-F238E27FC236}">
                <a16:creationId xmlns:a16="http://schemas.microsoft.com/office/drawing/2014/main" id="{13BD1F9C-C7CA-4162-BCD4-0E8701D30076}"/>
              </a:ext>
            </a:extLst>
          </p:cNvPr>
          <p:cNvSpPr>
            <a:spLocks noGrp="1" noChangeAspect="1"/>
          </p:cNvSpPr>
          <p:nvPr>
            <p:ph type="pic" sz="quarter" idx="12"/>
          </p:nvPr>
        </p:nvSpPr>
        <p:spPr>
          <a:xfrm>
            <a:off x="7428967" y="371311"/>
            <a:ext cx="3764557" cy="5445698"/>
          </a:xfrm>
          <a:solidFill>
            <a:schemeClr val="accent2"/>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Tree>
    <p:extLst>
      <p:ext uri="{BB962C8B-B14F-4D97-AF65-F5344CB8AC3E}">
        <p14:creationId xmlns:p14="http://schemas.microsoft.com/office/powerpoint/2010/main" val="38219482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33821-7F6E-47FF-89CD-D057DAFB6B1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1123503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Only - Dark BG colour">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C06C60-BBAD-4B44-9D69-53684892203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0"/>
              </a:ext>
            </a:extLst>
          </p:cNvPr>
          <p:cNvSpPr txBox="1"/>
          <p:nvPr userDrawn="1">
            <p:custDataLst>
              <p:tags r:id="rId1"/>
            </p:custDataLst>
          </p:nvPr>
        </p:nvSpPr>
        <p:spPr>
          <a:xfrm>
            <a:off x="8813800" y="6295536"/>
            <a:ext cx="2020193"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cxnSp>
        <p:nvCxnSpPr>
          <p:cNvPr id="8" name="Straight Connector 7">
            <a:extLst>
              <a:ext uri="{FF2B5EF4-FFF2-40B4-BE49-F238E27FC236}">
                <a16:creationId xmlns:a16="http://schemas.microsoft.com/office/drawing/2014/main" id="{156A5C29-C797-4C37-9F34-9C206DC1B640}"/>
              </a:ext>
              <a:ext uri="{C183D7F6-B498-43B3-948B-1728B52AA6E4}">
                <adec:decorative xmlns:adec="http://schemas.microsoft.com/office/drawing/2017/decorative" val="1"/>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Graphic 8">
            <a:extLst>
              <a:ext uri="{FF2B5EF4-FFF2-40B4-BE49-F238E27FC236}">
                <a16:creationId xmlns:a16="http://schemas.microsoft.com/office/drawing/2014/main" id="{147A601A-3AE8-4889-A026-9740E00CCFBB}"/>
              </a:ext>
              <a:ext uri="{C183D7F6-B498-43B3-948B-1728B52AA6E4}">
                <adec:decorative xmlns:adec="http://schemas.microsoft.com/office/drawing/2017/decorative" val="1"/>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10" name="TextBox 9">
            <a:extLst>
              <a:ext uri="{FF2B5EF4-FFF2-40B4-BE49-F238E27FC236}">
                <a16:creationId xmlns:a16="http://schemas.microsoft.com/office/drawing/2014/main" id="{B339DC52-BE5A-4DB1-A59B-9DD871F00820}"/>
              </a:ext>
              <a:ext uri="{C183D7F6-B498-43B3-948B-1728B52AA6E4}">
                <adec:decorative xmlns:adec="http://schemas.microsoft.com/office/drawing/2017/decorative" val="0"/>
              </a:ext>
            </a:extLst>
          </p:cNvPr>
          <p:cNvSpPr txBox="1"/>
          <p:nvPr userDrawn="1">
            <p:custDataLst>
              <p:tags r:id="rId2"/>
            </p:custDataLst>
          </p:nvPr>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a:solidFill>
                  <a:schemeClr val="bg1"/>
                </a:solidFill>
                <a:latin typeface="+mn-lt"/>
                <a:ea typeface="+mn-ea"/>
                <a:cs typeface="+mn-cs"/>
              </a:rPr>
              <a:t>© 2022 KPMG LLP, a UK limited liability partnership and a member firm of the KPMG global organisation of independent member firms affiliated with KPMG International Limited, a private English company limited by guarantee. All rights reserved.</a:t>
            </a:r>
            <a:endParaRPr lang="en-US" sz="600" kern="1200" noProof="0">
              <a:solidFill>
                <a:schemeClr val="bg1"/>
              </a:solidFill>
              <a:latin typeface="+mn-lt"/>
              <a:ea typeface="+mn-ea"/>
              <a:cs typeface="+mn-cs"/>
            </a:endParaRPr>
          </a:p>
        </p:txBody>
      </p:sp>
    </p:spTree>
    <p:extLst>
      <p:ext uri="{BB962C8B-B14F-4D97-AF65-F5344CB8AC3E}">
        <p14:creationId xmlns:p14="http://schemas.microsoft.com/office/powerpoint/2010/main" val="23788504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_Title Only - Dark BG colour">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C06C60-BBAD-4B44-9D69-53684892203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0"/>
              </a:ext>
            </a:extLst>
          </p:cNvPr>
          <p:cNvSpPr txBox="1"/>
          <p:nvPr userDrawn="1">
            <p:custDataLst>
              <p:tags r:id="rId1"/>
            </p:custDataLst>
          </p:nvPr>
        </p:nvSpPr>
        <p:spPr>
          <a:xfrm>
            <a:off x="8813800" y="6295536"/>
            <a:ext cx="2020193"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cxnSp>
        <p:nvCxnSpPr>
          <p:cNvPr id="8" name="Straight Connector 7">
            <a:extLst>
              <a:ext uri="{FF2B5EF4-FFF2-40B4-BE49-F238E27FC236}">
                <a16:creationId xmlns:a16="http://schemas.microsoft.com/office/drawing/2014/main" id="{156A5C29-C797-4C37-9F34-9C206DC1B640}"/>
              </a:ext>
              <a:ext uri="{C183D7F6-B498-43B3-948B-1728B52AA6E4}">
                <adec:decorative xmlns:adec="http://schemas.microsoft.com/office/drawing/2017/decorative" val="1"/>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Graphic 8">
            <a:extLst>
              <a:ext uri="{FF2B5EF4-FFF2-40B4-BE49-F238E27FC236}">
                <a16:creationId xmlns:a16="http://schemas.microsoft.com/office/drawing/2014/main" id="{147A601A-3AE8-4889-A026-9740E00CCFBB}"/>
              </a:ext>
              <a:ext uri="{C183D7F6-B498-43B3-948B-1728B52AA6E4}">
                <adec:decorative xmlns:adec="http://schemas.microsoft.com/office/drawing/2017/decorative" val="1"/>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10" name="TextBox 9">
            <a:extLst>
              <a:ext uri="{FF2B5EF4-FFF2-40B4-BE49-F238E27FC236}">
                <a16:creationId xmlns:a16="http://schemas.microsoft.com/office/drawing/2014/main" id="{B339DC52-BE5A-4DB1-A59B-9DD871F00820}"/>
              </a:ext>
              <a:ext uri="{C183D7F6-B498-43B3-948B-1728B52AA6E4}">
                <adec:decorative xmlns:adec="http://schemas.microsoft.com/office/drawing/2017/decorative" val="0"/>
              </a:ext>
            </a:extLst>
          </p:cNvPr>
          <p:cNvSpPr txBox="1"/>
          <p:nvPr userDrawn="1">
            <p:custDataLst>
              <p:tags r:id="rId2"/>
            </p:custDataLst>
          </p:nvPr>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a:solidFill>
                  <a:schemeClr val="bg1"/>
                </a:solidFill>
                <a:latin typeface="+mn-lt"/>
                <a:ea typeface="+mn-ea"/>
                <a:cs typeface="+mn-cs"/>
              </a:rPr>
              <a:t>© 2022 KPMG LLP, a UK limited liability partnership and a member firm of the KPMG global organisation of independent member firms affiliated with KPMG International Limited, a private English company limited by guarantee. All rights reserved.</a:t>
            </a:r>
            <a:endParaRPr lang="en-US" sz="600" kern="1200" noProof="0">
              <a:solidFill>
                <a:schemeClr val="bg1"/>
              </a:solidFill>
              <a:latin typeface="+mn-lt"/>
              <a:ea typeface="+mn-ea"/>
              <a:cs typeface="+mn-cs"/>
            </a:endParaRPr>
          </a:p>
        </p:txBody>
      </p:sp>
    </p:spTree>
    <p:extLst>
      <p:ext uri="{BB962C8B-B14F-4D97-AF65-F5344CB8AC3E}">
        <p14:creationId xmlns:p14="http://schemas.microsoft.com/office/powerpoint/2010/main" val="37240160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Title Only - Dark BG colour">
    <p:bg>
      <p:bgPr>
        <a:solidFill>
          <a:srgbClr val="76D2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C06C60-BBAD-4B44-9D69-536848922030}"/>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en-GB"/>
          </a:p>
        </p:txBody>
      </p:sp>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tx2"/>
                </a:solidFill>
                <a:latin typeface="+mn-lt"/>
                <a:ea typeface="Arial"/>
                <a:cs typeface="Arial" panose="020B0604020202020204" pitchFamily="34" charset="0"/>
              </a:rPr>
              <a:pPr algn="r"/>
              <a:t>‹#›</a:t>
            </a:fld>
            <a:endParaRPr lang="en-GB" sz="1000">
              <a:solidFill>
                <a:schemeClr val="tx2"/>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0"/>
              </a:ext>
            </a:extLst>
          </p:cNvPr>
          <p:cNvSpPr txBox="1"/>
          <p:nvPr userDrawn="1">
            <p:custDataLst>
              <p:tags r:id="rId1"/>
            </p:custDataLst>
          </p:nvPr>
        </p:nvSpPr>
        <p:spPr>
          <a:xfrm>
            <a:off x="8813800" y="6295536"/>
            <a:ext cx="2020193"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lumMod val="65000"/>
                  </a:schemeClr>
                </a:solidFill>
                <a:latin typeface="+mn-lt"/>
                <a:ea typeface="+mn-ea"/>
                <a:cs typeface="+mn-cs"/>
              </a:rPr>
              <a:t>Document Classification: KPMG Confidential</a:t>
            </a:r>
          </a:p>
        </p:txBody>
      </p:sp>
      <p:cxnSp>
        <p:nvCxnSpPr>
          <p:cNvPr id="8" name="Straight Connector 7">
            <a:extLst>
              <a:ext uri="{FF2B5EF4-FFF2-40B4-BE49-F238E27FC236}">
                <a16:creationId xmlns:a16="http://schemas.microsoft.com/office/drawing/2014/main" id="{156A5C29-C797-4C37-9F34-9C206DC1B640}"/>
              </a:ext>
              <a:ext uri="{C183D7F6-B498-43B3-948B-1728B52AA6E4}">
                <adec:decorative xmlns:adec="http://schemas.microsoft.com/office/drawing/2017/decorative" val="1"/>
              </a:ext>
            </a:extLst>
          </p:cNvPr>
          <p:cNvCxnSpPr/>
          <p:nvPr userDrawn="1"/>
        </p:nvCxnSpPr>
        <p:spPr>
          <a:xfrm>
            <a:off x="10928548" y="6266997"/>
            <a:ext cx="0" cy="149412"/>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Graphic 8">
            <a:extLst>
              <a:ext uri="{FF2B5EF4-FFF2-40B4-BE49-F238E27FC236}">
                <a16:creationId xmlns:a16="http://schemas.microsoft.com/office/drawing/2014/main" id="{147A601A-3AE8-4889-A026-9740E00CCFBB}"/>
              </a:ext>
              <a:ext uri="{C183D7F6-B498-43B3-948B-1728B52AA6E4}">
                <adec:decorative xmlns:adec="http://schemas.microsoft.com/office/drawing/2017/decorative" val="1"/>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
        <p:nvSpPr>
          <p:cNvPr id="10" name="TextBox 9">
            <a:extLst>
              <a:ext uri="{FF2B5EF4-FFF2-40B4-BE49-F238E27FC236}">
                <a16:creationId xmlns:a16="http://schemas.microsoft.com/office/drawing/2014/main" id="{B339DC52-BE5A-4DB1-A59B-9DD871F00820}"/>
              </a:ext>
              <a:ext uri="{C183D7F6-B498-43B3-948B-1728B52AA6E4}">
                <adec:decorative xmlns:adec="http://schemas.microsoft.com/office/drawing/2017/decorative" val="0"/>
              </a:ext>
            </a:extLst>
          </p:cNvPr>
          <p:cNvSpPr txBox="1"/>
          <p:nvPr userDrawn="1">
            <p:custDataLst>
              <p:tags r:id="rId2"/>
            </p:custDataLst>
          </p:nvPr>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a:solidFill>
                  <a:schemeClr val="bg1">
                    <a:lumMod val="65000"/>
                  </a:schemeClr>
                </a:solidFill>
                <a:latin typeface="+mn-lt"/>
                <a:ea typeface="+mn-ea"/>
                <a:cs typeface="+mn-cs"/>
              </a:rPr>
              <a:t>© 2022 KPMG LLP, a UK limited liability partnership and a member firm of the KPMG global organisation of independent member firms affiliated with KPMG International Limited, a private English company limited by guarantee. All rights reserved.</a:t>
            </a:r>
            <a:endParaRPr lang="en-US" sz="600" kern="1200" noProof="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29474634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3_Title Only - Dark BG colour">
    <p:bg>
      <p:bgPr>
        <a:solidFill>
          <a:schemeClr val="accent3"/>
        </a:solidFill>
        <a:effectLst/>
      </p:bgPr>
    </p:bg>
    <p:spTree>
      <p:nvGrpSpPr>
        <p:cNvPr id="1" name=""/>
        <p:cNvGrpSpPr/>
        <p:nvPr/>
      </p:nvGrpSpPr>
      <p:grpSpPr>
        <a:xfrm>
          <a:off x="0" y="0"/>
          <a:ext cx="0" cy="0"/>
          <a:chOff x="0" y="0"/>
          <a:chExt cx="0" cy="0"/>
        </a:xfrm>
      </p:grpSpPr>
      <p:pic>
        <p:nvPicPr>
          <p:cNvPr id="12" name="Picture 11" descr="A picture containing water, sky, outdoor, boat&#10;&#10;Description automatically generated">
            <a:extLst>
              <a:ext uri="{FF2B5EF4-FFF2-40B4-BE49-F238E27FC236}">
                <a16:creationId xmlns:a16="http://schemas.microsoft.com/office/drawing/2014/main" id="{8DD8D10E-7E88-4238-BB30-9F0D9AE7C2EA}"/>
              </a:ext>
            </a:extLst>
          </p:cNvPr>
          <p:cNvPicPr>
            <a:picLocks noChangeAspect="1"/>
          </p:cNvPicPr>
          <p:nvPr userDrawn="1"/>
        </p:nvPicPr>
        <p:blipFill rotWithShape="1">
          <a:blip r:embed="rId4"/>
          <a:srcRect l="1186" t="12387" b="13404"/>
          <a:stretch/>
        </p:blipFill>
        <p:spPr>
          <a:xfrm flipH="1">
            <a:off x="0" y="0"/>
            <a:ext cx="12192000" cy="6858000"/>
          </a:xfrm>
          <a:prstGeom prst="rect">
            <a:avLst/>
          </a:prstGeom>
        </p:spPr>
      </p:pic>
      <p:sp>
        <p:nvSpPr>
          <p:cNvPr id="2" name="Title 1">
            <a:extLst>
              <a:ext uri="{FF2B5EF4-FFF2-40B4-BE49-F238E27FC236}">
                <a16:creationId xmlns:a16="http://schemas.microsoft.com/office/drawing/2014/main" id="{32C06C60-BBAD-4B44-9D69-53684892203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0"/>
              </a:ext>
            </a:extLst>
          </p:cNvPr>
          <p:cNvSpPr txBox="1"/>
          <p:nvPr userDrawn="1">
            <p:custDataLst>
              <p:tags r:id="rId1"/>
            </p:custDataLst>
          </p:nvPr>
        </p:nvSpPr>
        <p:spPr>
          <a:xfrm>
            <a:off x="8813800" y="6295536"/>
            <a:ext cx="2020193"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cxnSp>
        <p:nvCxnSpPr>
          <p:cNvPr id="8" name="Straight Connector 7">
            <a:extLst>
              <a:ext uri="{FF2B5EF4-FFF2-40B4-BE49-F238E27FC236}">
                <a16:creationId xmlns:a16="http://schemas.microsoft.com/office/drawing/2014/main" id="{156A5C29-C797-4C37-9F34-9C206DC1B640}"/>
              </a:ext>
              <a:ext uri="{C183D7F6-B498-43B3-948B-1728B52AA6E4}">
                <adec:decorative xmlns:adec="http://schemas.microsoft.com/office/drawing/2017/decorative" val="1"/>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Graphic 8">
            <a:extLst>
              <a:ext uri="{FF2B5EF4-FFF2-40B4-BE49-F238E27FC236}">
                <a16:creationId xmlns:a16="http://schemas.microsoft.com/office/drawing/2014/main" id="{147A601A-3AE8-4889-A026-9740E00CCFBB}"/>
              </a:ext>
              <a:ext uri="{C183D7F6-B498-43B3-948B-1728B52AA6E4}">
                <adec:decorative xmlns:adec="http://schemas.microsoft.com/office/drawing/2017/decorative" val="1"/>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10" name="TextBox 9">
            <a:extLst>
              <a:ext uri="{FF2B5EF4-FFF2-40B4-BE49-F238E27FC236}">
                <a16:creationId xmlns:a16="http://schemas.microsoft.com/office/drawing/2014/main" id="{B339DC52-BE5A-4DB1-A59B-9DD871F00820}"/>
              </a:ext>
              <a:ext uri="{C183D7F6-B498-43B3-948B-1728B52AA6E4}">
                <adec:decorative xmlns:adec="http://schemas.microsoft.com/office/drawing/2017/decorative" val="0"/>
              </a:ext>
            </a:extLst>
          </p:cNvPr>
          <p:cNvSpPr txBox="1"/>
          <p:nvPr userDrawn="1">
            <p:custDataLst>
              <p:tags r:id="rId2"/>
            </p:custDataLst>
          </p:nvPr>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a:solidFill>
                  <a:schemeClr val="bg1"/>
                </a:solidFill>
                <a:latin typeface="+mn-lt"/>
                <a:ea typeface="+mn-ea"/>
                <a:cs typeface="+mn-cs"/>
              </a:rPr>
              <a:t>© 2022 KPMG LLP, a UK limited liability partnership and a member firm of the KPMG global organisation of independent member firms affiliated with KPMG International Limited, a private English company limited by guarantee. All rights reserved.</a:t>
            </a:r>
            <a:endParaRPr lang="en-US" sz="600" kern="1200" noProof="0">
              <a:solidFill>
                <a:schemeClr val="bg1"/>
              </a:solidFill>
              <a:latin typeface="+mn-lt"/>
              <a:ea typeface="+mn-ea"/>
              <a:cs typeface="+mn-cs"/>
            </a:endParaRPr>
          </a:p>
        </p:txBody>
      </p:sp>
      <p:sp>
        <p:nvSpPr>
          <p:cNvPr id="11" name="Rectangle 10">
            <a:extLst>
              <a:ext uri="{FF2B5EF4-FFF2-40B4-BE49-F238E27FC236}">
                <a16:creationId xmlns:a16="http://schemas.microsoft.com/office/drawing/2014/main" id="{6F797EF3-C8C3-471F-BD9D-3B178EC33994}"/>
              </a:ext>
            </a:extLst>
          </p:cNvPr>
          <p:cNvSpPr/>
          <p:nvPr userDrawn="1"/>
        </p:nvSpPr>
        <p:spPr>
          <a:xfrm>
            <a:off x="0" y="0"/>
            <a:ext cx="12192000" cy="6858000"/>
          </a:xfrm>
          <a:prstGeom prst="rect">
            <a:avLst/>
          </a:prstGeom>
          <a:gradFill>
            <a:gsLst>
              <a:gs pos="63000">
                <a:srgbClr val="E8DCE0">
                  <a:alpha val="0"/>
                </a:srgbClr>
              </a:gs>
              <a:gs pos="7000">
                <a:srgbClr val="E8DCE0">
                  <a:alpha val="75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Tree>
    <p:extLst>
      <p:ext uri="{BB962C8B-B14F-4D97-AF65-F5344CB8AC3E}">
        <p14:creationId xmlns:p14="http://schemas.microsoft.com/office/powerpoint/2010/main" val="15714608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FC99C-7410-4D22-BA8D-48877FCFB6C0}"/>
              </a:ext>
            </a:extLst>
          </p:cNvPr>
          <p:cNvSpPr>
            <a:spLocks noGrp="1"/>
          </p:cNvSpPr>
          <p:nvPr>
            <p:ph type="title"/>
          </p:nvPr>
        </p:nvSpPr>
        <p:spPr/>
        <p:txBody>
          <a:bodyPr/>
          <a:lstStyle/>
          <a:p>
            <a:r>
              <a:rPr lang="en-US"/>
              <a:t>Click to edit Master title style</a:t>
            </a:r>
            <a:endParaRPr lang="en-GB"/>
          </a:p>
        </p:txBody>
      </p:sp>
      <p:sp>
        <p:nvSpPr>
          <p:cNvPr id="9" name="Text Placeholder 8"/>
          <p:cNvSpPr>
            <a:spLocks noGrp="1"/>
          </p:cNvSpPr>
          <p:nvPr>
            <p:ph type="body" sz="quarter" idx="10"/>
          </p:nvPr>
        </p:nvSpPr>
        <p:spPr>
          <a:xfrm>
            <a:off x="995363" y="1330126"/>
            <a:ext cx="10198237" cy="45467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917342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ne Column Text_doubl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C733E-E364-489F-B7AF-D2002EE59732}"/>
              </a:ext>
            </a:extLst>
          </p:cNvPr>
          <p:cNvSpPr>
            <a:spLocks noGrp="1"/>
          </p:cNvSpPr>
          <p:nvPr>
            <p:ph type="title" hasCustomPrompt="1"/>
          </p:nvPr>
        </p:nvSpPr>
        <p:spPr/>
        <p:txBody>
          <a:bodyPr/>
          <a:lstStyle>
            <a:lvl1pPr>
              <a:defRPr/>
            </a:lvl1pPr>
          </a:lstStyle>
          <a:p>
            <a:r>
              <a:rPr lang="en-US"/>
              <a:t>Click to edit </a:t>
            </a:r>
            <a:br>
              <a:rPr lang="en-US"/>
            </a:br>
            <a:r>
              <a:rPr lang="en-US"/>
              <a:t>Master title style</a:t>
            </a:r>
            <a:endParaRPr lang="en-GB"/>
          </a:p>
        </p:txBody>
      </p:sp>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998538" y="1700213"/>
            <a:ext cx="10201275"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08824854"/>
      </p:ext>
    </p:extLst>
  </p:cSld>
  <p:clrMapOvr>
    <a:masterClrMapping/>
  </p:clrMapOvr>
  <p:extLst>
    <p:ext uri="{DCECCB84-F9BA-43D5-87BE-67443E8EF086}">
      <p15:sldGuideLst xmlns:p15="http://schemas.microsoft.com/office/powerpoint/2012/main">
        <p15:guide id="1" orient="horz" pos="107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One Column Text_double title_KPMG Blu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3AAE32-05EB-420A-97AB-3254804D32FD}"/>
              </a:ext>
            </a:extLst>
          </p:cNvPr>
          <p:cNvSpPr>
            <a:spLocks noGrp="1"/>
          </p:cNvSpPr>
          <p:nvPr>
            <p:ph type="title" hasCustomPrompt="1"/>
          </p:nvPr>
        </p:nvSpPr>
        <p:spPr/>
        <p:txBody>
          <a:bodyPr/>
          <a:lstStyle>
            <a:lvl1pPr>
              <a:defRPr>
                <a:solidFill>
                  <a:schemeClr val="bg1"/>
                </a:solidFill>
              </a:defRPr>
            </a:lvl1pPr>
          </a:lstStyle>
          <a:p>
            <a:r>
              <a:rPr lang="en-US"/>
              <a:t>Click to edit </a:t>
            </a:r>
            <a:br>
              <a:rPr lang="en-US"/>
            </a:br>
            <a:r>
              <a:rPr lang="en-US"/>
              <a:t>Master title style</a:t>
            </a:r>
            <a:endParaRPr lang="en-GB"/>
          </a:p>
        </p:txBody>
      </p:sp>
      <p:sp>
        <p:nvSpPr>
          <p:cNvPr id="4" name="Text Placeholder 3">
            <a:extLst>
              <a:ext uri="{FF2B5EF4-FFF2-40B4-BE49-F238E27FC236}">
                <a16:creationId xmlns:a16="http://schemas.microsoft.com/office/drawing/2014/main" id="{29D2B9FA-46EE-4504-A8DE-8C56CCE29B0B}"/>
              </a:ext>
            </a:extLst>
          </p:cNvPr>
          <p:cNvSpPr>
            <a:spLocks noGrp="1"/>
          </p:cNvSpPr>
          <p:nvPr>
            <p:ph type="body" sz="quarter" idx="10"/>
          </p:nvPr>
        </p:nvSpPr>
        <p:spPr>
          <a:xfrm>
            <a:off x="998538" y="1700213"/>
            <a:ext cx="10201275" cy="4176712"/>
          </a:xfrm>
        </p:spPr>
        <p:txBody>
          <a:bodyPr/>
          <a:lstStyle>
            <a:lvl1pPr>
              <a:defRPr>
                <a:solidFill>
                  <a:schemeClr val="bg1"/>
                </a:solidFill>
              </a:defRPr>
            </a:lvl1pPr>
            <a:lvl2pPr>
              <a:defRPr>
                <a:solidFill>
                  <a:schemeClr val="bg1"/>
                </a:solidFill>
              </a:defRPr>
            </a:lvl2pPr>
            <a:lvl3pPr>
              <a:buClrTx/>
              <a:defRPr>
                <a:solidFill>
                  <a:schemeClr val="bg1"/>
                </a:solidFill>
              </a:defRPr>
            </a:lvl3pPr>
            <a:lvl4pPr marL="361950" indent="-180975">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Box 5">
            <a:extLst>
              <a:ext uri="{FF2B5EF4-FFF2-40B4-BE49-F238E27FC236}">
                <a16:creationId xmlns:a16="http://schemas.microsoft.com/office/drawing/2014/main" id="{EC919669-F96A-4239-990D-B48E0AE682F3}"/>
              </a:ext>
              <a:ext uri="{C183D7F6-B498-43B3-948B-1728B52AA6E4}">
                <adec:decorative xmlns:adec="http://schemas.microsoft.com/office/drawing/2017/decorative" val="0"/>
              </a:ext>
            </a:extLst>
          </p:cNvPr>
          <p:cNvSpPr txBox="1"/>
          <p:nvPr userDrawn="1">
            <p:custDataLst>
              <p:tags r:id="rId1"/>
            </p:custDataLst>
          </p:nvPr>
        </p:nvSpPr>
        <p:spPr>
          <a:xfrm>
            <a:off x="8820154" y="6295536"/>
            <a:ext cx="201384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sp>
        <p:nvSpPr>
          <p:cNvPr id="5" name="Shape 8">
            <a:extLst>
              <a:ext uri="{FF2B5EF4-FFF2-40B4-BE49-F238E27FC236}">
                <a16:creationId xmlns:a16="http://schemas.microsoft.com/office/drawing/2014/main" id="{F4561A05-7671-4539-AB97-A9979F67EB4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cxnSp>
        <p:nvCxnSpPr>
          <p:cNvPr id="9" name="Straight Connector 8">
            <a:extLst>
              <a:ext uri="{FF2B5EF4-FFF2-40B4-BE49-F238E27FC236}">
                <a16:creationId xmlns:a16="http://schemas.microsoft.com/office/drawing/2014/main" id="{89D5ED2D-F17F-4481-8AE6-4D9EA0535145}"/>
              </a:ext>
              <a:ext uri="{C183D7F6-B498-43B3-948B-1728B52AA6E4}">
                <adec:decorative xmlns:adec="http://schemas.microsoft.com/office/drawing/2017/decorative" val="1"/>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Graphic 8">
            <a:extLst>
              <a:ext uri="{FF2B5EF4-FFF2-40B4-BE49-F238E27FC236}">
                <a16:creationId xmlns:a16="http://schemas.microsoft.com/office/drawing/2014/main" id="{567897B5-3A96-440B-8018-FDD880280B2A}"/>
              </a:ext>
              <a:ext uri="{C183D7F6-B498-43B3-948B-1728B52AA6E4}">
                <adec:decorative xmlns:adec="http://schemas.microsoft.com/office/drawing/2017/decorative" val="1"/>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11" name="TextBox 10">
            <a:extLst>
              <a:ext uri="{FF2B5EF4-FFF2-40B4-BE49-F238E27FC236}">
                <a16:creationId xmlns:a16="http://schemas.microsoft.com/office/drawing/2014/main" id="{60B3EAF3-28E7-4D7B-8406-7C5439890330}"/>
              </a:ext>
              <a:ext uri="{C183D7F6-B498-43B3-948B-1728B52AA6E4}">
                <adec:decorative xmlns:adec="http://schemas.microsoft.com/office/drawing/2017/decorative" val="0"/>
              </a:ext>
            </a:extLst>
          </p:cNvPr>
          <p:cNvSpPr txBox="1"/>
          <p:nvPr userDrawn="1">
            <p:custDataLst>
              <p:tags r:id="rId2"/>
            </p:custDataLst>
          </p:nvPr>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a:solidFill>
                  <a:schemeClr val="bg1"/>
                </a:solidFill>
                <a:latin typeface="+mn-lt"/>
                <a:ea typeface="+mn-ea"/>
                <a:cs typeface="+mn-cs"/>
              </a:rPr>
              <a:t>© 2022 KPMG LLP, a UK limited liability partnership and a member firm of the KPMG global organisation of independent member firms affiliated with KPMG International Limited, a private English company limited by guarantee. All rights reserved.</a:t>
            </a:r>
            <a:endParaRPr lang="en-US" sz="600" kern="1200" noProof="0">
              <a:solidFill>
                <a:schemeClr val="bg1"/>
              </a:solidFill>
              <a:latin typeface="+mn-lt"/>
              <a:ea typeface="+mn-ea"/>
              <a:cs typeface="+mn-cs"/>
            </a:endParaRPr>
          </a:p>
        </p:txBody>
      </p:sp>
    </p:spTree>
    <p:extLst>
      <p:ext uri="{BB962C8B-B14F-4D97-AF65-F5344CB8AC3E}">
        <p14:creationId xmlns:p14="http://schemas.microsoft.com/office/powerpoint/2010/main" val="4256098614"/>
      </p:ext>
    </p:extLst>
  </p:cSld>
  <p:clrMapOvr>
    <a:masterClrMapping/>
  </p:clrMapOvr>
  <p:extLst>
    <p:ext uri="{DCECCB84-F9BA-43D5-87BE-67443E8EF086}">
      <p15:sldGuideLst xmlns:p15="http://schemas.microsoft.com/office/powerpoint/2012/main">
        <p15:guide id="1" orient="horz" pos="107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2"/>
          </p:nvPr>
        </p:nvSpPr>
        <p:spPr>
          <a:xfrm>
            <a:off x="609600" y="1521085"/>
            <a:ext cx="10972800" cy="241690"/>
          </a:xfrm>
        </p:spPr>
        <p:txBody>
          <a:bodyPr>
            <a:noAutofit/>
          </a:bodyPr>
          <a:lstStyle>
            <a:lvl1pPr>
              <a:lnSpc>
                <a:spcPts val="1600"/>
              </a:lnSpc>
              <a:spcBef>
                <a:spcPts val="0"/>
              </a:spcBef>
              <a:defRPr sz="1300" b="1" i="0" cap="none"/>
            </a:lvl1pPr>
            <a:lvl2pPr>
              <a:lnSpc>
                <a:spcPts val="1600"/>
              </a:lnSpc>
              <a:spcBef>
                <a:spcPts val="0"/>
              </a:spcBef>
              <a:defRPr sz="1100" b="1" i="0" cap="all"/>
            </a:lvl2pPr>
            <a:lvl3pPr>
              <a:lnSpc>
                <a:spcPts val="1600"/>
              </a:lnSpc>
              <a:spcBef>
                <a:spcPts val="0"/>
              </a:spcBef>
              <a:defRPr sz="1100" b="1" i="0" cap="all"/>
            </a:lvl3pPr>
            <a:lvl4pPr>
              <a:lnSpc>
                <a:spcPts val="1600"/>
              </a:lnSpc>
              <a:spcBef>
                <a:spcPts val="0"/>
              </a:spcBef>
              <a:defRPr sz="1100" b="1" i="0" cap="all"/>
            </a:lvl4pPr>
            <a:lvl5pPr>
              <a:lnSpc>
                <a:spcPts val="1600"/>
              </a:lnSpc>
              <a:spcBef>
                <a:spcPts val="0"/>
              </a:spcBef>
              <a:defRPr sz="1100" b="1" i="0" cap="all"/>
            </a:lvl5pPr>
          </a:lstStyle>
          <a:p>
            <a:pPr lvl="0"/>
            <a:r>
              <a:rPr lang="en-US"/>
              <a:t>Click to edit Master text styles</a:t>
            </a:r>
          </a:p>
          <a:p>
            <a:pPr lvl="0"/>
            <a:endParaRPr lang="en-US"/>
          </a:p>
          <a:p>
            <a:pPr lvl="0"/>
            <a:endParaRPr lang="en-US"/>
          </a:p>
        </p:txBody>
      </p:sp>
    </p:spTree>
    <p:custDataLst>
      <p:tags r:id="rId1"/>
    </p:custDataLst>
    <p:extLst>
      <p:ext uri="{BB962C8B-B14F-4D97-AF65-F5344CB8AC3E}">
        <p14:creationId xmlns:p14="http://schemas.microsoft.com/office/powerpoint/2010/main" val="117532658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One Column Text - Dark BG colour">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3FD8B3-A559-4E34-BA53-32A7F9278785}"/>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998400" y="1330126"/>
            <a:ext cx="10201275"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0"/>
              </a:ext>
            </a:extLst>
          </p:cNvPr>
          <p:cNvSpPr txBox="1"/>
          <p:nvPr userDrawn="1">
            <p:custDataLst>
              <p:tags r:id="rId1"/>
            </p:custDataLst>
          </p:nvPr>
        </p:nvSpPr>
        <p:spPr>
          <a:xfrm>
            <a:off x="8896358" y="6295536"/>
            <a:ext cx="1937636"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cxnSp>
        <p:nvCxnSpPr>
          <p:cNvPr id="8" name="Straight Connector 7">
            <a:extLst>
              <a:ext uri="{FF2B5EF4-FFF2-40B4-BE49-F238E27FC236}">
                <a16:creationId xmlns:a16="http://schemas.microsoft.com/office/drawing/2014/main" id="{156A5C29-C797-4C37-9F34-9C206DC1B640}"/>
              </a:ext>
              <a:ext uri="{C183D7F6-B498-43B3-948B-1728B52AA6E4}">
                <adec:decorative xmlns:adec="http://schemas.microsoft.com/office/drawing/2017/decorative" val="1"/>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Graphic 8">
            <a:extLst>
              <a:ext uri="{FF2B5EF4-FFF2-40B4-BE49-F238E27FC236}">
                <a16:creationId xmlns:a16="http://schemas.microsoft.com/office/drawing/2014/main" id="{48947F85-E5F1-445E-BD2C-8963D165668D}"/>
              </a:ext>
              <a:ext uri="{C183D7F6-B498-43B3-948B-1728B52AA6E4}">
                <adec:decorative xmlns:adec="http://schemas.microsoft.com/office/drawing/2017/decorative" val="1"/>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10" name="TextBox 9">
            <a:extLst>
              <a:ext uri="{FF2B5EF4-FFF2-40B4-BE49-F238E27FC236}">
                <a16:creationId xmlns:a16="http://schemas.microsoft.com/office/drawing/2014/main" id="{5E763086-F07A-4E58-92AE-44C859D2AE6D}"/>
              </a:ext>
              <a:ext uri="{C183D7F6-B498-43B3-948B-1728B52AA6E4}">
                <adec:decorative xmlns:adec="http://schemas.microsoft.com/office/drawing/2017/decorative" val="0"/>
              </a:ext>
            </a:extLst>
          </p:cNvPr>
          <p:cNvSpPr txBox="1"/>
          <p:nvPr userDrawn="1">
            <p:custDataLst>
              <p:tags r:id="rId2"/>
            </p:custDataLst>
          </p:nvPr>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a:solidFill>
                  <a:schemeClr val="bg1"/>
                </a:solidFill>
                <a:latin typeface="+mn-lt"/>
                <a:ea typeface="+mn-ea"/>
                <a:cs typeface="+mn-cs"/>
              </a:rPr>
              <a:t>© 2022 KPMG LLP, a UK limited liability partnership and a member firm of the KPMG global organisation of independent member firms affiliated with KPMG International Limited, a private English company limited by guarantee. All rights reserved.</a:t>
            </a:r>
            <a:endParaRPr lang="en-US" sz="600" kern="1200" noProof="0">
              <a:solidFill>
                <a:schemeClr val="bg1"/>
              </a:solidFill>
              <a:latin typeface="+mn-lt"/>
              <a:ea typeface="+mn-ea"/>
              <a:cs typeface="+mn-cs"/>
            </a:endParaRPr>
          </a:p>
        </p:txBody>
      </p:sp>
    </p:spTree>
    <p:extLst>
      <p:ext uri="{BB962C8B-B14F-4D97-AF65-F5344CB8AC3E}">
        <p14:creationId xmlns:p14="http://schemas.microsoft.com/office/powerpoint/2010/main" val="39690132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F69D30F-5094-425F-A158-0850AE27D366}"/>
              </a:ext>
            </a:extLst>
          </p:cNvPr>
          <p:cNvSpPr>
            <a:spLocks noGrp="1"/>
          </p:cNvSpPr>
          <p:nvPr>
            <p:ph type="title"/>
          </p:nvPr>
        </p:nvSpPr>
        <p:spPr/>
        <p:txBody>
          <a:bodyPr/>
          <a:lstStyle/>
          <a:p>
            <a:r>
              <a:rPr lang="en-US"/>
              <a:t>Click to edit Master title style</a:t>
            </a:r>
            <a:endParaRPr lang="en-GB"/>
          </a:p>
        </p:txBody>
      </p:sp>
      <p:sp>
        <p:nvSpPr>
          <p:cNvPr id="9" name="Text Placeholder 8"/>
          <p:cNvSpPr>
            <a:spLocks noGrp="1"/>
          </p:cNvSpPr>
          <p:nvPr>
            <p:ph type="body" sz="quarter" idx="10"/>
          </p:nvPr>
        </p:nvSpPr>
        <p:spPr>
          <a:xfrm>
            <a:off x="1003200" y="1330126"/>
            <a:ext cx="4968000" cy="45467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6220800" y="1330126"/>
            <a:ext cx="4968000" cy="45467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294772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wo Column Text - Dark BG colour">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C918AE-52AC-4531-9640-0D2CA3A28F2B}"/>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27" name="Text Placeholder 26">
            <a:extLst>
              <a:ext uri="{FF2B5EF4-FFF2-40B4-BE49-F238E27FC236}">
                <a16:creationId xmlns:a16="http://schemas.microsoft.com/office/drawing/2014/main" id="{2D4DF521-FBEB-4C5C-80DB-DDFC4B7E350A}"/>
              </a:ext>
            </a:extLst>
          </p:cNvPr>
          <p:cNvSpPr>
            <a:spLocks noGrp="1"/>
          </p:cNvSpPr>
          <p:nvPr>
            <p:ph type="body" sz="quarter" idx="10"/>
          </p:nvPr>
        </p:nvSpPr>
        <p:spPr>
          <a:xfrm>
            <a:off x="998400" y="1330126"/>
            <a:ext cx="4968000"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27">
            <a:extLst>
              <a:ext uri="{FF2B5EF4-FFF2-40B4-BE49-F238E27FC236}">
                <a16:creationId xmlns:a16="http://schemas.microsoft.com/office/drawing/2014/main" id="{6ED3211B-3C86-4413-BA20-A4F81B443BE8}"/>
              </a:ext>
            </a:extLst>
          </p:cNvPr>
          <p:cNvSpPr>
            <a:spLocks noGrp="1"/>
          </p:cNvSpPr>
          <p:nvPr>
            <p:ph type="body" sz="quarter" idx="11"/>
          </p:nvPr>
        </p:nvSpPr>
        <p:spPr>
          <a:xfrm>
            <a:off x="6220800" y="1330126"/>
            <a:ext cx="4968875" cy="4546600"/>
          </a:xfrm>
        </p:spPr>
        <p:txBody>
          <a:bodyPr/>
          <a:lstStyle>
            <a:lvl1pPr>
              <a:defRPr>
                <a:solidFill>
                  <a:schemeClr val="bg1"/>
                </a:solidFill>
              </a:defRPr>
            </a:lvl1pPr>
            <a:lvl2pPr>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23B13141-5B21-49DB-9803-98F4E6E17F5A}"/>
              </a:ext>
              <a:ext uri="{C183D7F6-B498-43B3-948B-1728B52AA6E4}">
                <adec:decorative xmlns:adec="http://schemas.microsoft.com/office/drawing/2017/decorative" val="0"/>
              </a:ext>
            </a:extLst>
          </p:cNvPr>
          <p:cNvSpPr txBox="1"/>
          <p:nvPr userDrawn="1">
            <p:custDataLst>
              <p:tags r:id="rId1"/>
            </p:custDataLst>
          </p:nvPr>
        </p:nvSpPr>
        <p:spPr>
          <a:xfrm>
            <a:off x="8864606" y="6295536"/>
            <a:ext cx="1969388"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sp>
        <p:nvSpPr>
          <p:cNvPr id="4" name="Shape 8">
            <a:extLst>
              <a:ext uri="{FF2B5EF4-FFF2-40B4-BE49-F238E27FC236}">
                <a16:creationId xmlns:a16="http://schemas.microsoft.com/office/drawing/2014/main" id="{FEACBC9C-FDC2-4718-A261-6371F0F60DE3}"/>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cxnSp>
        <p:nvCxnSpPr>
          <p:cNvPr id="8" name="Straight Connector 7">
            <a:extLst>
              <a:ext uri="{FF2B5EF4-FFF2-40B4-BE49-F238E27FC236}">
                <a16:creationId xmlns:a16="http://schemas.microsoft.com/office/drawing/2014/main" id="{156A5C29-C797-4C37-9F34-9C206DC1B640}"/>
              </a:ext>
              <a:ext uri="{C183D7F6-B498-43B3-948B-1728B52AA6E4}">
                <adec:decorative xmlns:adec="http://schemas.microsoft.com/office/drawing/2017/decorative" val="1"/>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Graphic 8">
            <a:extLst>
              <a:ext uri="{FF2B5EF4-FFF2-40B4-BE49-F238E27FC236}">
                <a16:creationId xmlns:a16="http://schemas.microsoft.com/office/drawing/2014/main" id="{79D6C947-06F1-4188-A558-E10C77FF12CE}"/>
              </a:ext>
              <a:ext uri="{C183D7F6-B498-43B3-948B-1728B52AA6E4}">
                <adec:decorative xmlns:adec="http://schemas.microsoft.com/office/drawing/2017/decorative" val="1"/>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11" name="TextBox 10">
            <a:extLst>
              <a:ext uri="{FF2B5EF4-FFF2-40B4-BE49-F238E27FC236}">
                <a16:creationId xmlns:a16="http://schemas.microsoft.com/office/drawing/2014/main" id="{D3D4BF12-7F8F-40CA-B1A4-F208FE1D4045}"/>
              </a:ext>
              <a:ext uri="{C183D7F6-B498-43B3-948B-1728B52AA6E4}">
                <adec:decorative xmlns:adec="http://schemas.microsoft.com/office/drawing/2017/decorative" val="0"/>
              </a:ext>
            </a:extLst>
          </p:cNvPr>
          <p:cNvSpPr txBox="1"/>
          <p:nvPr userDrawn="1">
            <p:custDataLst>
              <p:tags r:id="rId2"/>
            </p:custDataLst>
          </p:nvPr>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a:solidFill>
                  <a:schemeClr val="bg1"/>
                </a:solidFill>
                <a:latin typeface="+mn-lt"/>
                <a:ea typeface="+mn-ea"/>
                <a:cs typeface="+mn-cs"/>
              </a:rPr>
              <a:t>© 2022 KPMG LLP, a UK limited liability partnership and a member firm of the KPMG global organisation of independent member firms affiliated with KPMG International Limited, a private English company limited by guarantee. All rights reserved.</a:t>
            </a:r>
            <a:endParaRPr lang="en-US" sz="600" kern="1200" noProof="0">
              <a:solidFill>
                <a:schemeClr val="bg1"/>
              </a:solidFill>
              <a:latin typeface="+mn-lt"/>
              <a:ea typeface="+mn-ea"/>
              <a:cs typeface="+mn-cs"/>
            </a:endParaRPr>
          </a:p>
        </p:txBody>
      </p:sp>
    </p:spTree>
    <p:extLst>
      <p:ext uri="{BB962C8B-B14F-4D97-AF65-F5344CB8AC3E}">
        <p14:creationId xmlns:p14="http://schemas.microsoft.com/office/powerpoint/2010/main" val="8037506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1C8742-D774-4F89-A78A-3FE2DD10535D}"/>
              </a:ext>
            </a:extLst>
          </p:cNvPr>
          <p:cNvSpPr>
            <a:spLocks noGrp="1"/>
          </p:cNvSpPr>
          <p:nvPr>
            <p:ph type="title"/>
          </p:nvPr>
        </p:nvSpPr>
        <p:spPr/>
        <p:txBody>
          <a:bodyPr/>
          <a:lstStyle/>
          <a:p>
            <a:r>
              <a:rPr lang="en-US"/>
              <a:t>Click to edit Master title style</a:t>
            </a:r>
            <a:endParaRPr lang="en-GB"/>
          </a:p>
        </p:txBody>
      </p:sp>
      <p:sp>
        <p:nvSpPr>
          <p:cNvPr id="9" name="Text Placeholder 8"/>
          <p:cNvSpPr>
            <a:spLocks noGrp="1"/>
          </p:cNvSpPr>
          <p:nvPr>
            <p:ph type="body" sz="quarter" idx="10"/>
          </p:nvPr>
        </p:nvSpPr>
        <p:spPr>
          <a:xfrm>
            <a:off x="1003200" y="1330126"/>
            <a:ext cx="49680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4"/>
          <p:cNvSpPr>
            <a:spLocks noGrp="1"/>
          </p:cNvSpPr>
          <p:nvPr>
            <p:ph type="chart" sz="quarter" idx="13"/>
          </p:nvPr>
        </p:nvSpPr>
        <p:spPr>
          <a:xfrm>
            <a:off x="6220800" y="1330126"/>
            <a:ext cx="4968000" cy="4546800"/>
          </a:xfrm>
        </p:spPr>
        <p:txBody>
          <a:bodyPr anchor="ctr"/>
          <a:lstStyle>
            <a:lvl1pPr algn="ctr">
              <a:defRPr/>
            </a:lvl1pPr>
          </a:lstStyle>
          <a:p>
            <a:r>
              <a:rPr lang="en-US"/>
              <a:t>Click icon to add chart</a:t>
            </a:r>
            <a:endParaRPr lang="en-GB"/>
          </a:p>
        </p:txBody>
      </p:sp>
    </p:spTree>
    <p:extLst>
      <p:ext uri="{BB962C8B-B14F-4D97-AF65-F5344CB8AC3E}">
        <p14:creationId xmlns:p14="http://schemas.microsoft.com/office/powerpoint/2010/main" val="8350698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D32ADA-D319-4A1F-BF43-8C0B259FADD8}"/>
              </a:ext>
            </a:extLst>
          </p:cNvPr>
          <p:cNvSpPr>
            <a:spLocks noGrp="1"/>
          </p:cNvSpPr>
          <p:nvPr>
            <p:ph type="title"/>
          </p:nvPr>
        </p:nvSpPr>
        <p:spPr/>
        <p:txBody>
          <a:bodyPr/>
          <a:lstStyle/>
          <a:p>
            <a:r>
              <a:rPr lang="en-US"/>
              <a:t>Click to edit Master title style</a:t>
            </a:r>
            <a:endParaRPr lang="en-GB"/>
          </a:p>
        </p:txBody>
      </p:sp>
      <p:sp>
        <p:nvSpPr>
          <p:cNvPr id="9" name="Text Placeholder 8"/>
          <p:cNvSpPr>
            <a:spLocks noGrp="1"/>
          </p:cNvSpPr>
          <p:nvPr>
            <p:ph type="body" sz="quarter" idx="10"/>
          </p:nvPr>
        </p:nvSpPr>
        <p:spPr>
          <a:xfrm>
            <a:off x="1003200" y="1331360"/>
            <a:ext cx="10195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4"/>
          <p:cNvSpPr>
            <a:spLocks noGrp="1"/>
          </p:cNvSpPr>
          <p:nvPr>
            <p:ph type="chart" sz="quarter" idx="11"/>
          </p:nvPr>
        </p:nvSpPr>
        <p:spPr>
          <a:xfrm>
            <a:off x="1003200" y="3742126"/>
            <a:ext cx="10195200" cy="2135740"/>
          </a:xfrm>
        </p:spPr>
        <p:txBody>
          <a:bodyPr anchor="ctr"/>
          <a:lstStyle>
            <a:lvl1pPr algn="ctr">
              <a:defRPr/>
            </a:lvl1pPr>
          </a:lstStyle>
          <a:p>
            <a:r>
              <a:rPr lang="en-US"/>
              <a:t>Click icon to add chart</a:t>
            </a:r>
            <a:endParaRPr lang="en-GB"/>
          </a:p>
        </p:txBody>
      </p:sp>
    </p:spTree>
    <p:extLst>
      <p:ext uri="{BB962C8B-B14F-4D97-AF65-F5344CB8AC3E}">
        <p14:creationId xmlns:p14="http://schemas.microsoft.com/office/powerpoint/2010/main" val="317906751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 Char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443F486-864A-4617-9E68-0A1C3CD9BA80}"/>
              </a:ext>
            </a:extLst>
          </p:cNvPr>
          <p:cNvSpPr>
            <a:spLocks noGrp="1"/>
          </p:cNvSpPr>
          <p:nvPr>
            <p:ph type="title"/>
          </p:nvPr>
        </p:nvSpPr>
        <p:spPr/>
        <p:txBody>
          <a:bodyPr/>
          <a:lstStyle/>
          <a:p>
            <a:r>
              <a:rPr lang="en-US"/>
              <a:t>Click to edit Master title style</a:t>
            </a:r>
            <a:endParaRPr lang="en-GB"/>
          </a:p>
        </p:txBody>
      </p:sp>
      <p:sp>
        <p:nvSpPr>
          <p:cNvPr id="6" name="Chart Placeholder 4"/>
          <p:cNvSpPr>
            <a:spLocks noGrp="1"/>
          </p:cNvSpPr>
          <p:nvPr>
            <p:ph type="chart" sz="quarter" idx="12"/>
          </p:nvPr>
        </p:nvSpPr>
        <p:spPr>
          <a:xfrm>
            <a:off x="1003200" y="1330126"/>
            <a:ext cx="4968000" cy="4546800"/>
          </a:xfrm>
        </p:spPr>
        <p:txBody>
          <a:bodyPr anchor="ctr"/>
          <a:lstStyle>
            <a:lvl1pPr algn="ctr">
              <a:defRPr/>
            </a:lvl1pPr>
          </a:lstStyle>
          <a:p>
            <a:r>
              <a:rPr lang="en-US"/>
              <a:t>Click icon to add chart</a:t>
            </a:r>
            <a:endParaRPr lang="en-GB"/>
          </a:p>
        </p:txBody>
      </p:sp>
      <p:sp>
        <p:nvSpPr>
          <p:cNvPr id="5" name="Chart Placeholder 4"/>
          <p:cNvSpPr>
            <a:spLocks noGrp="1"/>
          </p:cNvSpPr>
          <p:nvPr>
            <p:ph type="chart" sz="quarter" idx="11"/>
          </p:nvPr>
        </p:nvSpPr>
        <p:spPr>
          <a:xfrm>
            <a:off x="6220800" y="1330126"/>
            <a:ext cx="4968000" cy="4546800"/>
          </a:xfrm>
        </p:spPr>
        <p:txBody>
          <a:bodyPr anchor="ctr"/>
          <a:lstStyle>
            <a:lvl1pPr algn="ctr">
              <a:defRPr/>
            </a:lvl1pPr>
          </a:lstStyle>
          <a:p>
            <a:r>
              <a:rPr lang="en-US"/>
              <a:t>Click icon to add chart</a:t>
            </a:r>
            <a:endParaRPr lang="en-GB"/>
          </a:p>
        </p:txBody>
      </p:sp>
    </p:spTree>
    <p:extLst>
      <p:ext uri="{BB962C8B-B14F-4D97-AF65-F5344CB8AC3E}">
        <p14:creationId xmlns:p14="http://schemas.microsoft.com/office/powerpoint/2010/main" val="42511476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Column Chart &amp;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93B809-7A30-47BC-953E-AF9FE10FDFBB}"/>
              </a:ext>
            </a:extLst>
          </p:cNvPr>
          <p:cNvSpPr>
            <a:spLocks noGrp="1"/>
          </p:cNvSpPr>
          <p:nvPr>
            <p:ph type="title"/>
          </p:nvPr>
        </p:nvSpPr>
        <p:spPr/>
        <p:txBody>
          <a:bodyPr/>
          <a:lstStyle/>
          <a:p>
            <a:r>
              <a:rPr lang="en-US"/>
              <a:t>Click to edit Master title style</a:t>
            </a:r>
            <a:endParaRPr lang="en-GB"/>
          </a:p>
        </p:txBody>
      </p:sp>
      <p:sp>
        <p:nvSpPr>
          <p:cNvPr id="7" name="Text Placeholder 8"/>
          <p:cNvSpPr>
            <a:spLocks noGrp="1"/>
          </p:cNvSpPr>
          <p:nvPr>
            <p:ph type="body" sz="quarter" idx="10"/>
          </p:nvPr>
        </p:nvSpPr>
        <p:spPr>
          <a:xfrm>
            <a:off x="1003200"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hart Placeholder 4"/>
          <p:cNvSpPr>
            <a:spLocks noGrp="1"/>
          </p:cNvSpPr>
          <p:nvPr>
            <p:ph type="chart" sz="quarter" idx="12"/>
          </p:nvPr>
        </p:nvSpPr>
        <p:spPr>
          <a:xfrm>
            <a:off x="1003200" y="3742126"/>
            <a:ext cx="3187200" cy="2134800"/>
          </a:xfrm>
        </p:spPr>
        <p:txBody>
          <a:bodyPr anchor="ctr"/>
          <a:lstStyle>
            <a:lvl1pPr algn="ctr">
              <a:defRPr/>
            </a:lvl1pPr>
          </a:lstStyle>
          <a:p>
            <a:r>
              <a:rPr lang="en-US"/>
              <a:t>Click icon to add chart</a:t>
            </a:r>
            <a:endParaRPr lang="en-GB"/>
          </a:p>
        </p:txBody>
      </p:sp>
      <p:sp>
        <p:nvSpPr>
          <p:cNvPr id="9" name="Text Placeholder 8"/>
          <p:cNvSpPr>
            <a:spLocks noGrp="1"/>
          </p:cNvSpPr>
          <p:nvPr>
            <p:ph type="body" sz="quarter" idx="14"/>
          </p:nvPr>
        </p:nvSpPr>
        <p:spPr>
          <a:xfrm>
            <a:off x="4507546"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hart Placeholder 4"/>
          <p:cNvSpPr>
            <a:spLocks noGrp="1"/>
          </p:cNvSpPr>
          <p:nvPr>
            <p:ph type="chart" sz="quarter" idx="11"/>
          </p:nvPr>
        </p:nvSpPr>
        <p:spPr>
          <a:xfrm>
            <a:off x="4507546" y="3742126"/>
            <a:ext cx="3187200" cy="2134800"/>
          </a:xfrm>
        </p:spPr>
        <p:txBody>
          <a:bodyPr anchor="ctr"/>
          <a:lstStyle>
            <a:lvl1pPr algn="ctr">
              <a:defRPr/>
            </a:lvl1pPr>
          </a:lstStyle>
          <a:p>
            <a:r>
              <a:rPr lang="en-US"/>
              <a:t>Click icon to add chart</a:t>
            </a:r>
            <a:endParaRPr lang="en-GB"/>
          </a:p>
        </p:txBody>
      </p:sp>
      <p:sp>
        <p:nvSpPr>
          <p:cNvPr id="10" name="Text Placeholder 8"/>
          <p:cNvSpPr>
            <a:spLocks noGrp="1"/>
          </p:cNvSpPr>
          <p:nvPr>
            <p:ph type="body" sz="quarter" idx="15"/>
          </p:nvPr>
        </p:nvSpPr>
        <p:spPr>
          <a:xfrm>
            <a:off x="8011892" y="1331360"/>
            <a:ext cx="3187200" cy="213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hart Placeholder 4"/>
          <p:cNvSpPr>
            <a:spLocks noGrp="1"/>
          </p:cNvSpPr>
          <p:nvPr>
            <p:ph type="chart" sz="quarter" idx="13"/>
          </p:nvPr>
        </p:nvSpPr>
        <p:spPr>
          <a:xfrm>
            <a:off x="8011892" y="3742126"/>
            <a:ext cx="3187200" cy="2134800"/>
          </a:xfrm>
        </p:spPr>
        <p:txBody>
          <a:bodyPr anchor="ctr"/>
          <a:lstStyle>
            <a:lvl1pPr algn="ctr">
              <a:defRPr/>
            </a:lvl1pPr>
          </a:lstStyle>
          <a:p>
            <a:r>
              <a:rPr lang="en-US"/>
              <a:t>Click icon to add chart</a:t>
            </a:r>
            <a:endParaRPr lang="en-GB"/>
          </a:p>
        </p:txBody>
      </p:sp>
    </p:spTree>
    <p:extLst>
      <p:ext uri="{BB962C8B-B14F-4D97-AF65-F5344CB8AC3E}">
        <p14:creationId xmlns:p14="http://schemas.microsoft.com/office/powerpoint/2010/main" val="264344025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rocess 5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6F9AD75-9C5D-491A-8EB6-1E4763A9BC35}"/>
              </a:ext>
            </a:extLst>
          </p:cNvPr>
          <p:cNvSpPr>
            <a:spLocks noGrp="1"/>
          </p:cNvSpPr>
          <p:nvPr>
            <p:ph type="title"/>
          </p:nvPr>
        </p:nvSpPr>
        <p:spPr/>
        <p:txBody>
          <a:bodyPr/>
          <a:lstStyle/>
          <a:p>
            <a:r>
              <a:rPr lang="en-US"/>
              <a:t>Click to edit Master title style</a:t>
            </a:r>
            <a:endParaRPr lang="en-GB"/>
          </a:p>
        </p:txBody>
      </p:sp>
      <p:sp>
        <p:nvSpPr>
          <p:cNvPr id="13" name="Text Placeholder 12"/>
          <p:cNvSpPr>
            <a:spLocks noGrp="1"/>
          </p:cNvSpPr>
          <p:nvPr>
            <p:ph type="body" sz="quarter" idx="14" hasCustomPrompt="1"/>
          </p:nvPr>
        </p:nvSpPr>
        <p:spPr>
          <a:xfrm>
            <a:off x="1003200"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9" name="Text Placeholder 8"/>
          <p:cNvSpPr>
            <a:spLocks noGrp="1"/>
          </p:cNvSpPr>
          <p:nvPr>
            <p:ph type="body" sz="quarter" idx="10"/>
          </p:nvPr>
        </p:nvSpPr>
        <p:spPr>
          <a:xfrm>
            <a:off x="1003201"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2"/>
          <p:cNvSpPr>
            <a:spLocks noGrp="1"/>
          </p:cNvSpPr>
          <p:nvPr>
            <p:ph type="body" sz="quarter" idx="15" hasCustomPrompt="1"/>
          </p:nvPr>
        </p:nvSpPr>
        <p:spPr>
          <a:xfrm>
            <a:off x="3068984"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4" name="Text Placeholder 8"/>
          <p:cNvSpPr>
            <a:spLocks noGrp="1"/>
          </p:cNvSpPr>
          <p:nvPr>
            <p:ph type="body" sz="quarter" idx="11"/>
          </p:nvPr>
        </p:nvSpPr>
        <p:spPr>
          <a:xfrm>
            <a:off x="3068984"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2"/>
          <p:cNvSpPr>
            <a:spLocks noGrp="1"/>
          </p:cNvSpPr>
          <p:nvPr>
            <p:ph type="body" sz="quarter" idx="16" hasCustomPrompt="1"/>
          </p:nvPr>
        </p:nvSpPr>
        <p:spPr>
          <a:xfrm>
            <a:off x="5134768"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5" name="Text Placeholder 8"/>
          <p:cNvSpPr>
            <a:spLocks noGrp="1"/>
          </p:cNvSpPr>
          <p:nvPr>
            <p:ph type="body" sz="quarter" idx="12"/>
          </p:nvPr>
        </p:nvSpPr>
        <p:spPr>
          <a:xfrm>
            <a:off x="5134768"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12"/>
          <p:cNvSpPr>
            <a:spLocks noGrp="1"/>
          </p:cNvSpPr>
          <p:nvPr>
            <p:ph type="body" sz="quarter" idx="17" hasCustomPrompt="1"/>
          </p:nvPr>
        </p:nvSpPr>
        <p:spPr>
          <a:xfrm>
            <a:off x="7200552"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6" name="Text Placeholder 8"/>
          <p:cNvSpPr>
            <a:spLocks noGrp="1"/>
          </p:cNvSpPr>
          <p:nvPr>
            <p:ph type="body" sz="quarter" idx="13"/>
          </p:nvPr>
        </p:nvSpPr>
        <p:spPr>
          <a:xfrm>
            <a:off x="7200552"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2"/>
          <p:cNvSpPr>
            <a:spLocks noGrp="1"/>
          </p:cNvSpPr>
          <p:nvPr>
            <p:ph type="body" sz="quarter" idx="18" hasCustomPrompt="1"/>
          </p:nvPr>
        </p:nvSpPr>
        <p:spPr>
          <a:xfrm>
            <a:off x="9266337" y="1331913"/>
            <a:ext cx="1935163"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2" name="Text Placeholder 8"/>
          <p:cNvSpPr>
            <a:spLocks noGrp="1"/>
          </p:cNvSpPr>
          <p:nvPr>
            <p:ph type="body" sz="quarter" idx="19"/>
          </p:nvPr>
        </p:nvSpPr>
        <p:spPr>
          <a:xfrm>
            <a:off x="9266337"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802122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rocess 5 Columns_Cobalt Blu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B51C022-C0B7-4310-BC9F-D7C63034FE3A}"/>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31" name="Text Placeholder 12">
            <a:extLst>
              <a:ext uri="{FF2B5EF4-FFF2-40B4-BE49-F238E27FC236}">
                <a16:creationId xmlns:a16="http://schemas.microsoft.com/office/drawing/2014/main" id="{D3A5B3AC-C2E0-40CF-9D31-036461F790D0}"/>
              </a:ext>
            </a:extLst>
          </p:cNvPr>
          <p:cNvSpPr>
            <a:spLocks noGrp="1"/>
          </p:cNvSpPr>
          <p:nvPr>
            <p:ph type="body" sz="quarter" idx="14" hasCustomPrompt="1"/>
          </p:nvPr>
        </p:nvSpPr>
        <p:spPr>
          <a:xfrm>
            <a:off x="1003200"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7" name="Text Placeholder 8">
            <a:extLst>
              <a:ext uri="{FF2B5EF4-FFF2-40B4-BE49-F238E27FC236}">
                <a16:creationId xmlns:a16="http://schemas.microsoft.com/office/drawing/2014/main" id="{A68D3E60-F95F-4250-92C1-89CF93433E23}"/>
              </a:ext>
            </a:extLst>
          </p:cNvPr>
          <p:cNvSpPr>
            <a:spLocks noGrp="1"/>
          </p:cNvSpPr>
          <p:nvPr>
            <p:ph type="body" sz="quarter" idx="10"/>
          </p:nvPr>
        </p:nvSpPr>
        <p:spPr>
          <a:xfrm>
            <a:off x="1003201"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2" name="Text Placeholder 12">
            <a:extLst>
              <a:ext uri="{FF2B5EF4-FFF2-40B4-BE49-F238E27FC236}">
                <a16:creationId xmlns:a16="http://schemas.microsoft.com/office/drawing/2014/main" id="{969E3860-942E-40E2-A1C8-AF5DF29675F7}"/>
              </a:ext>
            </a:extLst>
          </p:cNvPr>
          <p:cNvSpPr>
            <a:spLocks noGrp="1"/>
          </p:cNvSpPr>
          <p:nvPr>
            <p:ph type="body" sz="quarter" idx="15" hasCustomPrompt="1"/>
          </p:nvPr>
        </p:nvSpPr>
        <p:spPr>
          <a:xfrm>
            <a:off x="3068984"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8" name="Text Placeholder 8">
            <a:extLst>
              <a:ext uri="{FF2B5EF4-FFF2-40B4-BE49-F238E27FC236}">
                <a16:creationId xmlns:a16="http://schemas.microsoft.com/office/drawing/2014/main" id="{8D8E592C-F128-4E4B-970B-BFB5C0F2A492}"/>
              </a:ext>
            </a:extLst>
          </p:cNvPr>
          <p:cNvSpPr>
            <a:spLocks noGrp="1"/>
          </p:cNvSpPr>
          <p:nvPr>
            <p:ph type="body" sz="quarter" idx="11"/>
          </p:nvPr>
        </p:nvSpPr>
        <p:spPr>
          <a:xfrm>
            <a:off x="3068984"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3" name="Text Placeholder 12">
            <a:extLst>
              <a:ext uri="{FF2B5EF4-FFF2-40B4-BE49-F238E27FC236}">
                <a16:creationId xmlns:a16="http://schemas.microsoft.com/office/drawing/2014/main" id="{8E580107-2025-4C04-9884-4A6DBB63DE03}"/>
              </a:ext>
            </a:extLst>
          </p:cNvPr>
          <p:cNvSpPr>
            <a:spLocks noGrp="1"/>
          </p:cNvSpPr>
          <p:nvPr>
            <p:ph type="body" sz="quarter" idx="16" hasCustomPrompt="1"/>
          </p:nvPr>
        </p:nvSpPr>
        <p:spPr>
          <a:xfrm>
            <a:off x="5134768"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29" name="Text Placeholder 8">
            <a:extLst>
              <a:ext uri="{FF2B5EF4-FFF2-40B4-BE49-F238E27FC236}">
                <a16:creationId xmlns:a16="http://schemas.microsoft.com/office/drawing/2014/main" id="{EE6B17CD-E0EF-40A4-A171-4E4B731CE0D9}"/>
              </a:ext>
            </a:extLst>
          </p:cNvPr>
          <p:cNvSpPr>
            <a:spLocks noGrp="1"/>
          </p:cNvSpPr>
          <p:nvPr>
            <p:ph type="body" sz="quarter" idx="12"/>
          </p:nvPr>
        </p:nvSpPr>
        <p:spPr>
          <a:xfrm>
            <a:off x="5134768"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4" name="Text Placeholder 12">
            <a:extLst>
              <a:ext uri="{FF2B5EF4-FFF2-40B4-BE49-F238E27FC236}">
                <a16:creationId xmlns:a16="http://schemas.microsoft.com/office/drawing/2014/main" id="{BC4D5128-392D-4FC9-A83F-FA43203A40D7}"/>
              </a:ext>
            </a:extLst>
          </p:cNvPr>
          <p:cNvSpPr>
            <a:spLocks noGrp="1"/>
          </p:cNvSpPr>
          <p:nvPr>
            <p:ph type="body" sz="quarter" idx="17" hasCustomPrompt="1"/>
          </p:nvPr>
        </p:nvSpPr>
        <p:spPr>
          <a:xfrm>
            <a:off x="7200552"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0" name="Text Placeholder 8">
            <a:extLst>
              <a:ext uri="{FF2B5EF4-FFF2-40B4-BE49-F238E27FC236}">
                <a16:creationId xmlns:a16="http://schemas.microsoft.com/office/drawing/2014/main" id="{03C9A44B-2A8F-416D-A76B-F3A018572E3F}"/>
              </a:ext>
            </a:extLst>
          </p:cNvPr>
          <p:cNvSpPr>
            <a:spLocks noGrp="1"/>
          </p:cNvSpPr>
          <p:nvPr>
            <p:ph type="body" sz="quarter" idx="13"/>
          </p:nvPr>
        </p:nvSpPr>
        <p:spPr>
          <a:xfrm>
            <a:off x="7200552"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5" name="Text Placeholder 12">
            <a:extLst>
              <a:ext uri="{FF2B5EF4-FFF2-40B4-BE49-F238E27FC236}">
                <a16:creationId xmlns:a16="http://schemas.microsoft.com/office/drawing/2014/main" id="{A8EB5529-8601-4864-9983-FBB672B8B9FF}"/>
              </a:ext>
            </a:extLst>
          </p:cNvPr>
          <p:cNvSpPr>
            <a:spLocks noGrp="1"/>
          </p:cNvSpPr>
          <p:nvPr>
            <p:ph type="body" sz="quarter" idx="18" hasCustomPrompt="1"/>
          </p:nvPr>
        </p:nvSpPr>
        <p:spPr>
          <a:xfrm>
            <a:off x="9266337" y="1331913"/>
            <a:ext cx="1935163"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36" name="Text Placeholder 8">
            <a:extLst>
              <a:ext uri="{FF2B5EF4-FFF2-40B4-BE49-F238E27FC236}">
                <a16:creationId xmlns:a16="http://schemas.microsoft.com/office/drawing/2014/main" id="{4715BC67-F699-49E6-B5D7-22ED9DFA817E}"/>
              </a:ext>
            </a:extLst>
          </p:cNvPr>
          <p:cNvSpPr>
            <a:spLocks noGrp="1"/>
          </p:cNvSpPr>
          <p:nvPr>
            <p:ph type="body" sz="quarter" idx="19"/>
          </p:nvPr>
        </p:nvSpPr>
        <p:spPr>
          <a:xfrm>
            <a:off x="9266337" y="1936712"/>
            <a:ext cx="1728000" cy="3940213"/>
          </a:xfrm>
          <a:solidFill>
            <a:schemeClr val="accent1">
              <a:lumMod val="20000"/>
              <a:lumOff val="80000"/>
            </a:schemeClr>
          </a:solidFill>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975882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rocess 6 Column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3580C36-1E70-46DD-9783-AFD66B7DEC90}"/>
              </a:ext>
              <a:ext uri="{C183D7F6-B498-43B3-948B-1728B52AA6E4}">
                <adec:decorative xmlns:adec="http://schemas.microsoft.com/office/drawing/2017/decorative" val="1"/>
              </a:ext>
            </a:extLst>
          </p:cNvPr>
          <p:cNvSpPr/>
          <p:nvPr userDrawn="1"/>
        </p:nvSpPr>
        <p:spPr>
          <a:xfrm>
            <a:off x="0" y="0"/>
            <a:ext cx="12192000" cy="26860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err="1">
              <a:solidFill>
                <a:schemeClr val="bg1"/>
              </a:solidFill>
            </a:endParaRPr>
          </a:p>
        </p:txBody>
      </p:sp>
      <p:sp>
        <p:nvSpPr>
          <p:cNvPr id="7" name="Title 6">
            <a:extLst>
              <a:ext uri="{FF2B5EF4-FFF2-40B4-BE49-F238E27FC236}">
                <a16:creationId xmlns:a16="http://schemas.microsoft.com/office/drawing/2014/main" id="{59724627-195E-4BFD-9A60-FFD6EECF128B}"/>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Text Placeholder 9">
            <a:extLst>
              <a:ext uri="{FF2B5EF4-FFF2-40B4-BE49-F238E27FC236}">
                <a16:creationId xmlns:a16="http://schemas.microsoft.com/office/drawing/2014/main" id="{38557E01-A30E-46EA-BAB3-4F33E0992F32}"/>
              </a:ext>
            </a:extLst>
          </p:cNvPr>
          <p:cNvSpPr>
            <a:spLocks noGrp="1"/>
          </p:cNvSpPr>
          <p:nvPr>
            <p:ph type="body" sz="quarter" idx="21"/>
          </p:nvPr>
        </p:nvSpPr>
        <p:spPr>
          <a:xfrm>
            <a:off x="995363" y="1330325"/>
            <a:ext cx="10185400" cy="538609"/>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9" name="Text Placeholder 8"/>
          <p:cNvSpPr>
            <a:spLocks noGrp="1"/>
          </p:cNvSpPr>
          <p:nvPr>
            <p:ph type="body" sz="quarter" idx="10"/>
          </p:nvPr>
        </p:nvSpPr>
        <p:spPr>
          <a:xfrm>
            <a:off x="1003200"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p:cNvSpPr>
            <a:spLocks noGrp="1"/>
          </p:cNvSpPr>
          <p:nvPr>
            <p:ph type="body" sz="quarter" idx="11"/>
          </p:nvPr>
        </p:nvSpPr>
        <p:spPr>
          <a:xfrm>
            <a:off x="2720597"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2"/>
          </p:nvPr>
        </p:nvSpPr>
        <p:spPr>
          <a:xfrm>
            <a:off x="4437994"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8"/>
          <p:cNvSpPr>
            <a:spLocks noGrp="1"/>
          </p:cNvSpPr>
          <p:nvPr>
            <p:ph type="body" sz="quarter" idx="13"/>
          </p:nvPr>
        </p:nvSpPr>
        <p:spPr>
          <a:xfrm>
            <a:off x="6155391"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8">
            <a:extLst>
              <a:ext uri="{FF2B5EF4-FFF2-40B4-BE49-F238E27FC236}">
                <a16:creationId xmlns:a16="http://schemas.microsoft.com/office/drawing/2014/main" id="{E469478F-D315-4922-A7E4-E575455BF352}"/>
              </a:ext>
            </a:extLst>
          </p:cNvPr>
          <p:cNvSpPr>
            <a:spLocks noGrp="1"/>
          </p:cNvSpPr>
          <p:nvPr>
            <p:ph type="body" sz="quarter" idx="20"/>
          </p:nvPr>
        </p:nvSpPr>
        <p:spPr>
          <a:xfrm>
            <a:off x="7872788"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8"/>
          <p:cNvSpPr>
            <a:spLocks noGrp="1"/>
          </p:cNvSpPr>
          <p:nvPr>
            <p:ph type="body" sz="quarter" idx="19"/>
          </p:nvPr>
        </p:nvSpPr>
        <p:spPr>
          <a:xfrm>
            <a:off x="9590187" y="2009775"/>
            <a:ext cx="1598613" cy="3867150"/>
          </a:xfrm>
          <a:solidFill>
            <a:schemeClr val="bg1"/>
          </a:solidFill>
          <a:ln w="6350">
            <a:solidFill>
              <a:schemeClr val="accent1"/>
            </a:solidFill>
          </a:ln>
        </p:spPr>
        <p:txBody>
          <a:bodyPr lIns="108000" tIns="108000" rIns="108000" bIns="10800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997976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5468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p:cNvSpPr>
            <a:spLocks noGrp="1"/>
          </p:cNvSpPr>
          <p:nvPr>
            <p:ph type="title"/>
          </p:nvPr>
        </p:nvSpPr>
        <p:spPr/>
        <p:txBody>
          <a:bodyPr/>
          <a:lstStyle/>
          <a:p>
            <a:r>
              <a:rPr lang="en-US"/>
              <a:t>Click to edit Master title style</a:t>
            </a:r>
            <a:endParaRPr lang="en-GB"/>
          </a:p>
        </p:txBody>
      </p:sp>
    </p:spTree>
    <p:custDataLst>
      <p:tags r:id="rId1"/>
    </p:custDataLst>
    <p:extLst>
      <p:ext uri="{BB962C8B-B14F-4D97-AF65-F5344CB8AC3E}">
        <p14:creationId xmlns:p14="http://schemas.microsoft.com/office/powerpoint/2010/main" val="40177775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rocess 4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E70D7C0-6953-439A-A54E-CED56520F828}"/>
              </a:ext>
            </a:extLst>
          </p:cNvPr>
          <p:cNvSpPr>
            <a:spLocks noGrp="1"/>
          </p:cNvSpPr>
          <p:nvPr>
            <p:ph type="title"/>
          </p:nvPr>
        </p:nvSpPr>
        <p:spPr/>
        <p:txBody>
          <a:bodyPr/>
          <a:lstStyle/>
          <a:p>
            <a:r>
              <a:rPr lang="en-US"/>
              <a:t>Click to edit Master title style</a:t>
            </a:r>
            <a:endParaRPr lang="en-GB"/>
          </a:p>
        </p:txBody>
      </p:sp>
      <p:sp>
        <p:nvSpPr>
          <p:cNvPr id="13" name="Text Placeholder 12"/>
          <p:cNvSpPr>
            <a:spLocks noGrp="1"/>
          </p:cNvSpPr>
          <p:nvPr>
            <p:ph type="body" sz="quarter" idx="14" hasCustomPrompt="1"/>
          </p:nvPr>
        </p:nvSpPr>
        <p:spPr>
          <a:xfrm>
            <a:off x="1003200"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9" name="Text Placeholder 8"/>
          <p:cNvSpPr>
            <a:spLocks noGrp="1"/>
          </p:cNvSpPr>
          <p:nvPr>
            <p:ph type="body" sz="quarter" idx="10"/>
          </p:nvPr>
        </p:nvSpPr>
        <p:spPr>
          <a:xfrm>
            <a:off x="1003200"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2"/>
          <p:cNvSpPr>
            <a:spLocks noGrp="1"/>
          </p:cNvSpPr>
          <p:nvPr>
            <p:ph type="body" sz="quarter" idx="15" hasCustomPrompt="1"/>
          </p:nvPr>
        </p:nvSpPr>
        <p:spPr>
          <a:xfrm>
            <a:off x="3593775"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4" name="Text Placeholder 8"/>
          <p:cNvSpPr>
            <a:spLocks noGrp="1"/>
          </p:cNvSpPr>
          <p:nvPr>
            <p:ph type="body" sz="quarter" idx="11"/>
          </p:nvPr>
        </p:nvSpPr>
        <p:spPr>
          <a:xfrm>
            <a:off x="3593775"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2"/>
          <p:cNvSpPr>
            <a:spLocks noGrp="1"/>
          </p:cNvSpPr>
          <p:nvPr>
            <p:ph type="body" sz="quarter" idx="16" hasCustomPrompt="1"/>
          </p:nvPr>
        </p:nvSpPr>
        <p:spPr>
          <a:xfrm>
            <a:off x="6184350"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5" name="Text Placeholder 8"/>
          <p:cNvSpPr>
            <a:spLocks noGrp="1"/>
          </p:cNvSpPr>
          <p:nvPr>
            <p:ph type="body" sz="quarter" idx="12"/>
          </p:nvPr>
        </p:nvSpPr>
        <p:spPr>
          <a:xfrm>
            <a:off x="6184350"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12"/>
          <p:cNvSpPr>
            <a:spLocks noGrp="1"/>
          </p:cNvSpPr>
          <p:nvPr>
            <p:ph type="body" sz="quarter" idx="17" hasCustomPrompt="1"/>
          </p:nvPr>
        </p:nvSpPr>
        <p:spPr>
          <a:xfrm>
            <a:off x="8774926" y="1331913"/>
            <a:ext cx="2424887" cy="604800"/>
          </a:xfrm>
          <a:prstGeom prst="homePlate">
            <a:avLst>
              <a:gd name="adj" fmla="val 34200"/>
            </a:avLst>
          </a:prstGeom>
          <a:solidFill>
            <a:schemeClr val="accent2"/>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6" name="Text Placeholder 8"/>
          <p:cNvSpPr>
            <a:spLocks noGrp="1"/>
          </p:cNvSpPr>
          <p:nvPr>
            <p:ph type="body" sz="quarter" idx="13"/>
          </p:nvPr>
        </p:nvSpPr>
        <p:spPr>
          <a:xfrm>
            <a:off x="8774926"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203852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rocess 4 Columns_Cobalt Blu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890D0D6-CEB9-47AA-B0BF-EB213FE3B803}"/>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9" name="Text Placeholder 12">
            <a:extLst>
              <a:ext uri="{FF2B5EF4-FFF2-40B4-BE49-F238E27FC236}">
                <a16:creationId xmlns:a16="http://schemas.microsoft.com/office/drawing/2014/main" id="{3C84B130-9B9F-460C-87A1-4E3012ECEA7A}"/>
              </a:ext>
            </a:extLst>
          </p:cNvPr>
          <p:cNvSpPr>
            <a:spLocks noGrp="1"/>
          </p:cNvSpPr>
          <p:nvPr>
            <p:ph type="body" sz="quarter" idx="14" hasCustomPrompt="1"/>
          </p:nvPr>
        </p:nvSpPr>
        <p:spPr>
          <a:xfrm>
            <a:off x="1003200"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1" name="Text Placeholder 8">
            <a:extLst>
              <a:ext uri="{FF2B5EF4-FFF2-40B4-BE49-F238E27FC236}">
                <a16:creationId xmlns:a16="http://schemas.microsoft.com/office/drawing/2014/main" id="{ABA5FBEF-FE77-4CC8-B2D5-D94327DAF658}"/>
              </a:ext>
            </a:extLst>
          </p:cNvPr>
          <p:cNvSpPr>
            <a:spLocks noGrp="1"/>
          </p:cNvSpPr>
          <p:nvPr>
            <p:ph type="body" sz="quarter" idx="10"/>
          </p:nvPr>
        </p:nvSpPr>
        <p:spPr>
          <a:xfrm>
            <a:off x="1003200"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12">
            <a:extLst>
              <a:ext uri="{FF2B5EF4-FFF2-40B4-BE49-F238E27FC236}">
                <a16:creationId xmlns:a16="http://schemas.microsoft.com/office/drawing/2014/main" id="{FC076374-F8FA-413A-9C7F-81C823512353}"/>
              </a:ext>
            </a:extLst>
          </p:cNvPr>
          <p:cNvSpPr>
            <a:spLocks noGrp="1"/>
          </p:cNvSpPr>
          <p:nvPr>
            <p:ph type="body" sz="quarter" idx="15" hasCustomPrompt="1"/>
          </p:nvPr>
        </p:nvSpPr>
        <p:spPr>
          <a:xfrm>
            <a:off x="3593775"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2" name="Text Placeholder 8">
            <a:extLst>
              <a:ext uri="{FF2B5EF4-FFF2-40B4-BE49-F238E27FC236}">
                <a16:creationId xmlns:a16="http://schemas.microsoft.com/office/drawing/2014/main" id="{659D9BAA-2BF4-4A94-BAA4-5D091A296246}"/>
              </a:ext>
            </a:extLst>
          </p:cNvPr>
          <p:cNvSpPr>
            <a:spLocks noGrp="1"/>
          </p:cNvSpPr>
          <p:nvPr>
            <p:ph type="body" sz="quarter" idx="11"/>
          </p:nvPr>
        </p:nvSpPr>
        <p:spPr>
          <a:xfrm>
            <a:off x="3593775"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12">
            <a:extLst>
              <a:ext uri="{FF2B5EF4-FFF2-40B4-BE49-F238E27FC236}">
                <a16:creationId xmlns:a16="http://schemas.microsoft.com/office/drawing/2014/main" id="{92DC24D7-E120-435A-8A2A-98E939AC4C9C}"/>
              </a:ext>
            </a:extLst>
          </p:cNvPr>
          <p:cNvSpPr>
            <a:spLocks noGrp="1"/>
          </p:cNvSpPr>
          <p:nvPr>
            <p:ph type="body" sz="quarter" idx="16" hasCustomPrompt="1"/>
          </p:nvPr>
        </p:nvSpPr>
        <p:spPr>
          <a:xfrm>
            <a:off x="6184350"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4" name="Text Placeholder 8">
            <a:extLst>
              <a:ext uri="{FF2B5EF4-FFF2-40B4-BE49-F238E27FC236}">
                <a16:creationId xmlns:a16="http://schemas.microsoft.com/office/drawing/2014/main" id="{E3D170C1-7106-44D2-A62F-A804F244A090}"/>
              </a:ext>
            </a:extLst>
          </p:cNvPr>
          <p:cNvSpPr>
            <a:spLocks noGrp="1"/>
          </p:cNvSpPr>
          <p:nvPr>
            <p:ph type="body" sz="quarter" idx="12"/>
          </p:nvPr>
        </p:nvSpPr>
        <p:spPr>
          <a:xfrm>
            <a:off x="6184350"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12">
            <a:extLst>
              <a:ext uri="{FF2B5EF4-FFF2-40B4-BE49-F238E27FC236}">
                <a16:creationId xmlns:a16="http://schemas.microsoft.com/office/drawing/2014/main" id="{41F15369-328E-43E6-894F-1F86414EB3F0}"/>
              </a:ext>
            </a:extLst>
          </p:cNvPr>
          <p:cNvSpPr>
            <a:spLocks noGrp="1"/>
          </p:cNvSpPr>
          <p:nvPr>
            <p:ph type="body" sz="quarter" idx="17" hasCustomPrompt="1"/>
          </p:nvPr>
        </p:nvSpPr>
        <p:spPr>
          <a:xfrm>
            <a:off x="8774926" y="1331913"/>
            <a:ext cx="2424887" cy="604800"/>
          </a:xfrm>
          <a:prstGeom prst="homePlate">
            <a:avLst>
              <a:gd name="adj" fmla="val 34200"/>
            </a:avLst>
          </a:prstGeom>
          <a:solidFill>
            <a:schemeClr val="accent1"/>
          </a:solidFill>
        </p:spPr>
        <p:txBody>
          <a:bodyPr lIns="108000" tIns="108000" rIns="108000" bIns="108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add text</a:t>
            </a:r>
            <a:endParaRPr lang="en-GB"/>
          </a:p>
        </p:txBody>
      </p:sp>
      <p:sp>
        <p:nvSpPr>
          <p:cNvPr id="18" name="Text Placeholder 8">
            <a:extLst>
              <a:ext uri="{FF2B5EF4-FFF2-40B4-BE49-F238E27FC236}">
                <a16:creationId xmlns:a16="http://schemas.microsoft.com/office/drawing/2014/main" id="{5DDAC4CF-AC2F-4D83-9FB0-DDFB71EE9A2C}"/>
              </a:ext>
            </a:extLst>
          </p:cNvPr>
          <p:cNvSpPr>
            <a:spLocks noGrp="1"/>
          </p:cNvSpPr>
          <p:nvPr>
            <p:ph type="body" sz="quarter" idx="13"/>
          </p:nvPr>
        </p:nvSpPr>
        <p:spPr>
          <a:xfrm>
            <a:off x="8774926" y="1936713"/>
            <a:ext cx="2196000" cy="3940213"/>
          </a:xfrm>
          <a:solidFill>
            <a:schemeClr val="accent1">
              <a:lumMod val="20000"/>
              <a:lumOff val="80000"/>
            </a:schemeClr>
          </a:solidFill>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1872694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ad Box with Icon and Center Text Box">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1CCA206-C726-4930-8059-66751EC1483B}"/>
              </a:ext>
            </a:extLst>
          </p:cNvPr>
          <p:cNvSpPr>
            <a:spLocks noGrp="1"/>
          </p:cNvSpPr>
          <p:nvPr>
            <p:ph type="title"/>
          </p:nvPr>
        </p:nvSpPr>
        <p:spPr/>
        <p:txBody>
          <a:bodyPr/>
          <a:lstStyle>
            <a:lvl1pPr>
              <a:defRPr>
                <a:solidFill>
                  <a:schemeClr val="tx2"/>
                </a:solidFill>
              </a:defRPr>
            </a:lvl1pPr>
          </a:lstStyle>
          <a:p>
            <a:r>
              <a:rPr lang="en-US"/>
              <a:t>Click to edit Master title style</a:t>
            </a:r>
            <a:endParaRPr lang="en-GB"/>
          </a:p>
        </p:txBody>
      </p:sp>
      <p:sp>
        <p:nvSpPr>
          <p:cNvPr id="17" name="Text Placeholder 16">
            <a:extLst>
              <a:ext uri="{FF2B5EF4-FFF2-40B4-BE49-F238E27FC236}">
                <a16:creationId xmlns:a16="http://schemas.microsoft.com/office/drawing/2014/main" id="{919862B5-E58D-4F98-8070-F04E6659AC38}"/>
              </a:ext>
            </a:extLst>
          </p:cNvPr>
          <p:cNvSpPr>
            <a:spLocks noGrp="1"/>
          </p:cNvSpPr>
          <p:nvPr>
            <p:ph type="body" sz="quarter" idx="53"/>
          </p:nvPr>
        </p:nvSpPr>
        <p:spPr>
          <a:xfrm>
            <a:off x="1003346" y="1330325"/>
            <a:ext cx="4967685" cy="2132614"/>
          </a:xfrm>
          <a:custGeom>
            <a:avLst/>
            <a:gdLst>
              <a:gd name="connsiteX0" fmla="*/ 0 w 4967685"/>
              <a:gd name="connsiteY0" fmla="*/ 0 h 2132614"/>
              <a:gd name="connsiteX1" fmla="*/ 4967685 w 4967685"/>
              <a:gd name="connsiteY1" fmla="*/ 0 h 2132614"/>
              <a:gd name="connsiteX2" fmla="*/ 4967685 w 4967685"/>
              <a:gd name="connsiteY2" fmla="*/ 1013538 h 2132614"/>
              <a:gd name="connsiteX3" fmla="*/ 3364916 w 4967685"/>
              <a:gd name="connsiteY3" fmla="*/ 1013538 h 2132614"/>
              <a:gd name="connsiteX4" fmla="*/ 3364916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4967685" y="0"/>
                </a:lnTo>
                <a:lnTo>
                  <a:pt x="4967685" y="1013538"/>
                </a:lnTo>
                <a:lnTo>
                  <a:pt x="3364916" y="1013538"/>
                </a:lnTo>
                <a:lnTo>
                  <a:pt x="3364916" y="2132614"/>
                </a:lnTo>
                <a:lnTo>
                  <a:pt x="0" y="2132614"/>
                </a:lnTo>
                <a:close/>
              </a:path>
            </a:pathLst>
          </a:custGeom>
          <a:solidFill>
            <a:schemeClr val="accent1">
              <a:lumMod val="20000"/>
              <a:lumOff val="80000"/>
            </a:schemeClr>
          </a:solidFill>
          <a:ln w="12700">
            <a:noFill/>
          </a:ln>
        </p:spPr>
        <p:txBody>
          <a:bodyPr wrap="square" lIns="108000" tIns="108000" rIns="1872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17">
            <a:extLst>
              <a:ext uri="{FF2B5EF4-FFF2-40B4-BE49-F238E27FC236}">
                <a16:creationId xmlns:a16="http://schemas.microsoft.com/office/drawing/2014/main" id="{AEEBDCDC-F212-4ED4-8D32-7B1BC919EF2D}"/>
              </a:ext>
            </a:extLst>
          </p:cNvPr>
          <p:cNvSpPr>
            <a:spLocks noGrp="1"/>
          </p:cNvSpPr>
          <p:nvPr>
            <p:ph type="body" sz="quarter" idx="55"/>
          </p:nvPr>
        </p:nvSpPr>
        <p:spPr>
          <a:xfrm>
            <a:off x="6232260" y="1330325"/>
            <a:ext cx="4970724" cy="2132614"/>
          </a:xfrm>
          <a:custGeom>
            <a:avLst/>
            <a:gdLst>
              <a:gd name="connsiteX0" fmla="*/ 0 w 4970724"/>
              <a:gd name="connsiteY0" fmla="*/ 0 h 2132614"/>
              <a:gd name="connsiteX1" fmla="*/ 4970724 w 4970724"/>
              <a:gd name="connsiteY1" fmla="*/ 0 h 2132614"/>
              <a:gd name="connsiteX2" fmla="*/ 4970724 w 4970724"/>
              <a:gd name="connsiteY2" fmla="*/ 2132614 h 2132614"/>
              <a:gd name="connsiteX3" fmla="*/ 1602767 w 4970724"/>
              <a:gd name="connsiteY3" fmla="*/ 2132614 h 2132614"/>
              <a:gd name="connsiteX4" fmla="*/ 1602767 w 4970724"/>
              <a:gd name="connsiteY4" fmla="*/ 1013538 h 2132614"/>
              <a:gd name="connsiteX5" fmla="*/ 0 w 4970724"/>
              <a:gd name="connsiteY5" fmla="*/ 1013538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0" y="0"/>
                </a:moveTo>
                <a:lnTo>
                  <a:pt x="4970724" y="0"/>
                </a:lnTo>
                <a:lnTo>
                  <a:pt x="4970724" y="2132614"/>
                </a:lnTo>
                <a:lnTo>
                  <a:pt x="1602767" y="2132614"/>
                </a:lnTo>
                <a:lnTo>
                  <a:pt x="1602767" y="1013538"/>
                </a:lnTo>
                <a:lnTo>
                  <a:pt x="0" y="1013538"/>
                </a:lnTo>
                <a:close/>
              </a:path>
            </a:pathLst>
          </a:custGeom>
          <a:solidFill>
            <a:schemeClr val="accent1">
              <a:lumMod val="20000"/>
              <a:lumOff val="80000"/>
            </a:schemeClr>
          </a:solidFill>
          <a:ln w="12700">
            <a:noFill/>
          </a:ln>
        </p:spPr>
        <p:txBody>
          <a:bodyPr wrap="square" lIns="1872000" tIns="108000" rIns="108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10"/>
          <p:cNvSpPr>
            <a:spLocks noGrp="1"/>
          </p:cNvSpPr>
          <p:nvPr>
            <p:ph type="body" sz="quarter" idx="21"/>
          </p:nvPr>
        </p:nvSpPr>
        <p:spPr bwMode="gray">
          <a:xfrm>
            <a:off x="4571176" y="2546022"/>
            <a:ext cx="3049649" cy="2118398"/>
          </a:xfrm>
          <a:prstGeom prst="rect">
            <a:avLst/>
          </a:prstGeom>
          <a:solidFill>
            <a:schemeClr val="accent1"/>
          </a:solidFill>
          <a:ln>
            <a:noFill/>
          </a:ln>
        </p:spPr>
        <p:txBody>
          <a:bodyPr lIns="108000" tIns="108000" rIns="108000" bIns="108000" anchor="ctr" anchorCtr="1">
            <a:noAutofit/>
          </a:bodyPr>
          <a:lstStyle>
            <a:lvl1pPr algn="ctr">
              <a:defRPr sz="1400">
                <a:solidFill>
                  <a:schemeClr val="bg1"/>
                </a:solidFill>
                <a:latin typeface="+mn-lt"/>
                <a:cs typeface="Arial" panose="020B0604020202020204" pitchFamily="34" charset="0"/>
              </a:defRPr>
            </a:lvl1pPr>
          </a:lstStyle>
          <a:p>
            <a:pPr lvl="0"/>
            <a:r>
              <a:rPr lang="en-US"/>
              <a:t>Click to edit Master text styles</a:t>
            </a:r>
          </a:p>
        </p:txBody>
      </p:sp>
      <p:sp>
        <p:nvSpPr>
          <p:cNvPr id="20" name="Text Placeholder 19">
            <a:extLst>
              <a:ext uri="{FF2B5EF4-FFF2-40B4-BE49-F238E27FC236}">
                <a16:creationId xmlns:a16="http://schemas.microsoft.com/office/drawing/2014/main" id="{BE0E984E-3A85-42BD-A2C6-26D3EB300D8B}"/>
              </a:ext>
            </a:extLst>
          </p:cNvPr>
          <p:cNvSpPr>
            <a:spLocks noGrp="1"/>
          </p:cNvSpPr>
          <p:nvPr>
            <p:ph type="body" sz="quarter" idx="54"/>
          </p:nvPr>
        </p:nvSpPr>
        <p:spPr>
          <a:xfrm>
            <a:off x="1003346" y="3747502"/>
            <a:ext cx="4967685" cy="2132614"/>
          </a:xfrm>
          <a:custGeom>
            <a:avLst/>
            <a:gdLst>
              <a:gd name="connsiteX0" fmla="*/ 0 w 4967685"/>
              <a:gd name="connsiteY0" fmla="*/ 0 h 2132614"/>
              <a:gd name="connsiteX1" fmla="*/ 3364916 w 4967685"/>
              <a:gd name="connsiteY1" fmla="*/ 0 h 2132614"/>
              <a:gd name="connsiteX2" fmla="*/ 3364916 w 4967685"/>
              <a:gd name="connsiteY2" fmla="*/ 1119077 h 2132614"/>
              <a:gd name="connsiteX3" fmla="*/ 4967685 w 4967685"/>
              <a:gd name="connsiteY3" fmla="*/ 1119077 h 2132614"/>
              <a:gd name="connsiteX4" fmla="*/ 4967685 w 4967685"/>
              <a:gd name="connsiteY4" fmla="*/ 2132614 h 2132614"/>
              <a:gd name="connsiteX5" fmla="*/ 0 w 4967685"/>
              <a:gd name="connsiteY5" fmla="*/ 2132614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7685" h="2132614">
                <a:moveTo>
                  <a:pt x="0" y="0"/>
                </a:moveTo>
                <a:lnTo>
                  <a:pt x="3364916" y="0"/>
                </a:lnTo>
                <a:lnTo>
                  <a:pt x="3364916" y="1119077"/>
                </a:lnTo>
                <a:lnTo>
                  <a:pt x="4967685" y="1119077"/>
                </a:lnTo>
                <a:lnTo>
                  <a:pt x="4967685" y="2132614"/>
                </a:lnTo>
                <a:lnTo>
                  <a:pt x="0" y="2132614"/>
                </a:lnTo>
                <a:close/>
              </a:path>
            </a:pathLst>
          </a:custGeom>
          <a:solidFill>
            <a:schemeClr val="accent1">
              <a:lumMod val="20000"/>
              <a:lumOff val="80000"/>
            </a:schemeClr>
          </a:solidFill>
          <a:ln w="12700">
            <a:noFill/>
          </a:ln>
        </p:spPr>
        <p:txBody>
          <a:bodyPr wrap="square" lIns="108000" tIns="108000" rIns="1872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18">
            <a:extLst>
              <a:ext uri="{FF2B5EF4-FFF2-40B4-BE49-F238E27FC236}">
                <a16:creationId xmlns:a16="http://schemas.microsoft.com/office/drawing/2014/main" id="{4DB6DB5B-6EBB-4E77-8ECE-2DE4424BD660}"/>
              </a:ext>
            </a:extLst>
          </p:cNvPr>
          <p:cNvSpPr>
            <a:spLocks noGrp="1"/>
          </p:cNvSpPr>
          <p:nvPr>
            <p:ph type="body" sz="quarter" idx="56"/>
          </p:nvPr>
        </p:nvSpPr>
        <p:spPr>
          <a:xfrm>
            <a:off x="6232260" y="3747502"/>
            <a:ext cx="4970724" cy="2132614"/>
          </a:xfrm>
          <a:custGeom>
            <a:avLst/>
            <a:gdLst>
              <a:gd name="connsiteX0" fmla="*/ 1602767 w 4970724"/>
              <a:gd name="connsiteY0" fmla="*/ 0 h 2132614"/>
              <a:gd name="connsiteX1" fmla="*/ 4970724 w 4970724"/>
              <a:gd name="connsiteY1" fmla="*/ 0 h 2132614"/>
              <a:gd name="connsiteX2" fmla="*/ 4970724 w 4970724"/>
              <a:gd name="connsiteY2" fmla="*/ 2132614 h 2132614"/>
              <a:gd name="connsiteX3" fmla="*/ 0 w 4970724"/>
              <a:gd name="connsiteY3" fmla="*/ 2132614 h 2132614"/>
              <a:gd name="connsiteX4" fmla="*/ 0 w 4970724"/>
              <a:gd name="connsiteY4" fmla="*/ 1119077 h 2132614"/>
              <a:gd name="connsiteX5" fmla="*/ 1602767 w 4970724"/>
              <a:gd name="connsiteY5" fmla="*/ 1119077 h 2132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70724" h="2132614">
                <a:moveTo>
                  <a:pt x="1602767" y="0"/>
                </a:moveTo>
                <a:lnTo>
                  <a:pt x="4970724" y="0"/>
                </a:lnTo>
                <a:lnTo>
                  <a:pt x="4970724" y="2132614"/>
                </a:lnTo>
                <a:lnTo>
                  <a:pt x="0" y="2132614"/>
                </a:lnTo>
                <a:lnTo>
                  <a:pt x="0" y="1119077"/>
                </a:lnTo>
                <a:lnTo>
                  <a:pt x="1602767" y="1119077"/>
                </a:lnTo>
                <a:close/>
              </a:path>
            </a:pathLst>
          </a:custGeom>
          <a:solidFill>
            <a:schemeClr val="accent1">
              <a:lumMod val="20000"/>
              <a:lumOff val="80000"/>
            </a:schemeClr>
          </a:solidFill>
          <a:ln w="12700">
            <a:noFill/>
          </a:ln>
        </p:spPr>
        <p:txBody>
          <a:bodyPr wrap="square" lIns="1872000" tIns="108000" rIns="108000" bIns="108000">
            <a:noAutofit/>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7940631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Column Blue Headin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C76913D-77B2-43C9-9A9E-B86D68E16B74}"/>
              </a:ext>
            </a:extLst>
          </p:cNvPr>
          <p:cNvSpPr>
            <a:spLocks noGrp="1"/>
          </p:cNvSpPr>
          <p:nvPr>
            <p:ph type="title"/>
          </p:nvPr>
        </p:nvSpPr>
        <p:spPr/>
        <p:txBody>
          <a:bodyPr/>
          <a:lstStyle/>
          <a:p>
            <a:r>
              <a:rPr lang="en-US"/>
              <a:t>Click to edit Master title style</a:t>
            </a:r>
            <a:endParaRPr lang="en-GB"/>
          </a:p>
        </p:txBody>
      </p:sp>
      <p:sp>
        <p:nvSpPr>
          <p:cNvPr id="20"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9" name="Text Placeholder 8"/>
          <p:cNvSpPr>
            <a:spLocks noGrp="1"/>
          </p:cNvSpPr>
          <p:nvPr>
            <p:ph type="body" sz="quarter" idx="19"/>
          </p:nvPr>
        </p:nvSpPr>
        <p:spPr>
          <a:xfrm>
            <a:off x="1003200" y="1720713"/>
            <a:ext cx="4968000" cy="4156211"/>
          </a:xfrm>
          <a:solidFill>
            <a:schemeClr val="accent1">
              <a:lumMod val="20000"/>
              <a:lumOff val="80000"/>
            </a:schemeClr>
          </a:solidFill>
          <a:ln w="12700">
            <a:noFill/>
          </a:ln>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8"/>
          <p:cNvSpPr>
            <a:spLocks noGrp="1"/>
          </p:cNvSpPr>
          <p:nvPr>
            <p:ph type="body" sz="quarter" idx="22"/>
          </p:nvPr>
        </p:nvSpPr>
        <p:spPr>
          <a:xfrm>
            <a:off x="623604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6" name="Text Placeholder 8"/>
          <p:cNvSpPr>
            <a:spLocks noGrp="1"/>
          </p:cNvSpPr>
          <p:nvPr>
            <p:ph type="body" sz="quarter" idx="21"/>
          </p:nvPr>
        </p:nvSpPr>
        <p:spPr>
          <a:xfrm>
            <a:off x="6236040" y="1720713"/>
            <a:ext cx="4968000" cy="4156211"/>
          </a:xfrm>
          <a:solidFill>
            <a:schemeClr val="accent1">
              <a:lumMod val="20000"/>
              <a:lumOff val="80000"/>
            </a:schemeClr>
          </a:solidFill>
          <a:ln w="12700">
            <a:noFill/>
          </a:ln>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1584324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our Quad Box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EF8E881-FC4C-4F00-9389-FF3C71D7CB78}"/>
              </a:ext>
            </a:extLst>
          </p:cNvPr>
          <p:cNvSpPr>
            <a:spLocks noGrp="1"/>
          </p:cNvSpPr>
          <p:nvPr>
            <p:ph type="title"/>
          </p:nvPr>
        </p:nvSpPr>
        <p:spPr/>
        <p:txBody>
          <a:bodyPr/>
          <a:lstStyle/>
          <a:p>
            <a:r>
              <a:rPr lang="en-US"/>
              <a:t>Click to edit Master title style</a:t>
            </a:r>
            <a:endParaRPr lang="en-GB"/>
          </a:p>
        </p:txBody>
      </p:sp>
      <p:sp>
        <p:nvSpPr>
          <p:cNvPr id="14" name="Text Placeholder 8"/>
          <p:cNvSpPr>
            <a:spLocks noGrp="1"/>
          </p:cNvSpPr>
          <p:nvPr>
            <p:ph type="body" sz="quarter" idx="20"/>
          </p:nvPr>
        </p:nvSpPr>
        <p:spPr>
          <a:xfrm>
            <a:off x="100320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3" name="Text Placeholder 8"/>
          <p:cNvSpPr>
            <a:spLocks noGrp="1"/>
          </p:cNvSpPr>
          <p:nvPr>
            <p:ph type="body" sz="quarter" idx="19"/>
          </p:nvPr>
        </p:nvSpPr>
        <p:spPr>
          <a:xfrm>
            <a:off x="100320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8"/>
          <p:cNvSpPr>
            <a:spLocks noGrp="1"/>
          </p:cNvSpPr>
          <p:nvPr>
            <p:ph type="body" sz="quarter" idx="22"/>
          </p:nvPr>
        </p:nvSpPr>
        <p:spPr>
          <a:xfrm>
            <a:off x="6236040" y="1331913"/>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5" name="Text Placeholder 8"/>
          <p:cNvSpPr>
            <a:spLocks noGrp="1"/>
          </p:cNvSpPr>
          <p:nvPr>
            <p:ph type="body" sz="quarter" idx="21"/>
          </p:nvPr>
        </p:nvSpPr>
        <p:spPr>
          <a:xfrm>
            <a:off x="623604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8"/>
          <p:cNvSpPr>
            <a:spLocks noGrp="1"/>
          </p:cNvSpPr>
          <p:nvPr>
            <p:ph type="body" sz="quarter" idx="24"/>
          </p:nvPr>
        </p:nvSpPr>
        <p:spPr>
          <a:xfrm>
            <a:off x="1003200" y="3741920"/>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1" name="Text Placeholder 8"/>
          <p:cNvSpPr>
            <a:spLocks noGrp="1"/>
          </p:cNvSpPr>
          <p:nvPr>
            <p:ph type="body" sz="quarter" idx="23"/>
          </p:nvPr>
        </p:nvSpPr>
        <p:spPr>
          <a:xfrm>
            <a:off x="100320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Text Placeholder 8"/>
          <p:cNvSpPr>
            <a:spLocks noGrp="1"/>
          </p:cNvSpPr>
          <p:nvPr>
            <p:ph type="body" sz="quarter" idx="26"/>
          </p:nvPr>
        </p:nvSpPr>
        <p:spPr>
          <a:xfrm>
            <a:off x="6236040" y="3741920"/>
            <a:ext cx="4968000" cy="388800"/>
          </a:xfrm>
          <a:solidFill>
            <a:schemeClr val="accent2"/>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23" name="Text Placeholder 8"/>
          <p:cNvSpPr>
            <a:spLocks noGrp="1"/>
          </p:cNvSpPr>
          <p:nvPr>
            <p:ph type="body" sz="quarter" idx="25"/>
          </p:nvPr>
        </p:nvSpPr>
        <p:spPr>
          <a:xfrm>
            <a:off x="623604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89903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Four Quad Boxes BG Dark Colour">
    <p:bg>
      <p:bgPr>
        <a:solidFill>
          <a:schemeClr val="accent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9275135-3A5F-40EA-83D5-8A21BF90397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0" name="Text Placeholder 8">
            <a:extLst>
              <a:ext uri="{FF2B5EF4-FFF2-40B4-BE49-F238E27FC236}">
                <a16:creationId xmlns:a16="http://schemas.microsoft.com/office/drawing/2014/main" id="{E8B6691E-17EA-480D-B598-F314E1A68EB3}"/>
              </a:ext>
            </a:extLst>
          </p:cNvPr>
          <p:cNvSpPr>
            <a:spLocks noGrp="1"/>
          </p:cNvSpPr>
          <p:nvPr>
            <p:ph type="body" sz="quarter" idx="20"/>
          </p:nvPr>
        </p:nvSpPr>
        <p:spPr>
          <a:xfrm>
            <a:off x="1003200" y="1331913"/>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69" name="Text Placeholder 8">
            <a:extLst>
              <a:ext uri="{FF2B5EF4-FFF2-40B4-BE49-F238E27FC236}">
                <a16:creationId xmlns:a16="http://schemas.microsoft.com/office/drawing/2014/main" id="{2086F202-0162-4310-A956-FCCC9474338A}"/>
              </a:ext>
            </a:extLst>
          </p:cNvPr>
          <p:cNvSpPr>
            <a:spLocks noGrp="1"/>
          </p:cNvSpPr>
          <p:nvPr>
            <p:ph type="body" sz="quarter" idx="19"/>
          </p:nvPr>
        </p:nvSpPr>
        <p:spPr>
          <a:xfrm>
            <a:off x="100320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2" name="Text Placeholder 8">
            <a:extLst>
              <a:ext uri="{FF2B5EF4-FFF2-40B4-BE49-F238E27FC236}">
                <a16:creationId xmlns:a16="http://schemas.microsoft.com/office/drawing/2014/main" id="{B2FCC9C9-35DE-4F3C-A352-30EE65DD5B86}"/>
              </a:ext>
            </a:extLst>
          </p:cNvPr>
          <p:cNvSpPr>
            <a:spLocks noGrp="1"/>
          </p:cNvSpPr>
          <p:nvPr>
            <p:ph type="body" sz="quarter" idx="22"/>
          </p:nvPr>
        </p:nvSpPr>
        <p:spPr>
          <a:xfrm>
            <a:off x="6236040" y="1331913"/>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1" name="Text Placeholder 8">
            <a:extLst>
              <a:ext uri="{FF2B5EF4-FFF2-40B4-BE49-F238E27FC236}">
                <a16:creationId xmlns:a16="http://schemas.microsoft.com/office/drawing/2014/main" id="{59F2358C-C167-462D-9F76-6D66B9B409BE}"/>
              </a:ext>
            </a:extLst>
          </p:cNvPr>
          <p:cNvSpPr>
            <a:spLocks noGrp="1"/>
          </p:cNvSpPr>
          <p:nvPr>
            <p:ph type="body" sz="quarter" idx="21"/>
          </p:nvPr>
        </p:nvSpPr>
        <p:spPr>
          <a:xfrm>
            <a:off x="6236040" y="1720714"/>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4" name="Text Placeholder 8">
            <a:extLst>
              <a:ext uri="{FF2B5EF4-FFF2-40B4-BE49-F238E27FC236}">
                <a16:creationId xmlns:a16="http://schemas.microsoft.com/office/drawing/2014/main" id="{0383342E-84C2-404C-8D37-45747A191605}"/>
              </a:ext>
            </a:extLst>
          </p:cNvPr>
          <p:cNvSpPr>
            <a:spLocks noGrp="1"/>
          </p:cNvSpPr>
          <p:nvPr>
            <p:ph type="body" sz="quarter" idx="24"/>
          </p:nvPr>
        </p:nvSpPr>
        <p:spPr>
          <a:xfrm>
            <a:off x="1003200" y="3741920"/>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3" name="Text Placeholder 8">
            <a:extLst>
              <a:ext uri="{FF2B5EF4-FFF2-40B4-BE49-F238E27FC236}">
                <a16:creationId xmlns:a16="http://schemas.microsoft.com/office/drawing/2014/main" id="{EA017BC0-9170-4186-94F7-40E80F981A05}"/>
              </a:ext>
            </a:extLst>
          </p:cNvPr>
          <p:cNvSpPr>
            <a:spLocks noGrp="1"/>
          </p:cNvSpPr>
          <p:nvPr>
            <p:ph type="body" sz="quarter" idx="23"/>
          </p:nvPr>
        </p:nvSpPr>
        <p:spPr>
          <a:xfrm>
            <a:off x="100320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6" name="Text Placeholder 8">
            <a:extLst>
              <a:ext uri="{FF2B5EF4-FFF2-40B4-BE49-F238E27FC236}">
                <a16:creationId xmlns:a16="http://schemas.microsoft.com/office/drawing/2014/main" id="{4C0C9B8C-19B0-44D7-9F0F-975D45D4007F}"/>
              </a:ext>
            </a:extLst>
          </p:cNvPr>
          <p:cNvSpPr>
            <a:spLocks noGrp="1"/>
          </p:cNvSpPr>
          <p:nvPr>
            <p:ph type="body" sz="quarter" idx="26"/>
          </p:nvPr>
        </p:nvSpPr>
        <p:spPr>
          <a:xfrm>
            <a:off x="6236040" y="3741920"/>
            <a:ext cx="4968000" cy="388800"/>
          </a:xfrm>
          <a:solidFill>
            <a:schemeClr val="accent1"/>
          </a:solidFill>
          <a:ln w="12700">
            <a:noFill/>
          </a:ln>
        </p:spPr>
        <p:txBody>
          <a:bodyPr lIns="108000" tIns="108000" rIns="108000" bIns="108000" anchor="ctr"/>
          <a:lstStyle>
            <a:lvl1pPr>
              <a:defRPr sz="16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75" name="Text Placeholder 8">
            <a:extLst>
              <a:ext uri="{FF2B5EF4-FFF2-40B4-BE49-F238E27FC236}">
                <a16:creationId xmlns:a16="http://schemas.microsoft.com/office/drawing/2014/main" id="{BE27B3E2-E887-473C-8464-38B061F67EA7}"/>
              </a:ext>
            </a:extLst>
          </p:cNvPr>
          <p:cNvSpPr>
            <a:spLocks noGrp="1"/>
          </p:cNvSpPr>
          <p:nvPr>
            <p:ph type="body" sz="quarter" idx="25"/>
          </p:nvPr>
        </p:nvSpPr>
        <p:spPr>
          <a:xfrm>
            <a:off x="6236040" y="4130720"/>
            <a:ext cx="4968000" cy="1746205"/>
          </a:xfrm>
          <a:solidFill>
            <a:schemeClr val="accent1">
              <a:lumMod val="20000"/>
              <a:lumOff val="80000"/>
            </a:schemeClr>
          </a:solidFill>
          <a:ln w="12700">
            <a:noFill/>
          </a:ln>
        </p:spPr>
        <p:txBody>
          <a:bodyPr lIns="108000" tIns="108000" rIns="108000" bIns="108000"/>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Box 11">
            <a:extLst>
              <a:ext uri="{FF2B5EF4-FFF2-40B4-BE49-F238E27FC236}">
                <a16:creationId xmlns:a16="http://schemas.microsoft.com/office/drawing/2014/main" id="{2F13A210-92DD-4299-9F1D-B2FE60EC3160}"/>
              </a:ext>
              <a:ext uri="{C183D7F6-B498-43B3-948B-1728B52AA6E4}">
                <adec:decorative xmlns:adec="http://schemas.microsoft.com/office/drawing/2017/decorative" val="0"/>
              </a:ext>
            </a:extLst>
          </p:cNvPr>
          <p:cNvSpPr txBox="1"/>
          <p:nvPr userDrawn="1">
            <p:custDataLst>
              <p:tags r:id="rId1"/>
            </p:custDataLst>
          </p:nvPr>
        </p:nvSpPr>
        <p:spPr>
          <a:xfrm>
            <a:off x="8902702" y="6295536"/>
            <a:ext cx="1931292"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solidFill>
                <a:latin typeface="+mn-lt"/>
                <a:ea typeface="+mn-ea"/>
                <a:cs typeface="+mn-cs"/>
              </a:rPr>
              <a:t>Document Classification: KPMG Confidential</a:t>
            </a:r>
          </a:p>
        </p:txBody>
      </p:sp>
      <p:sp>
        <p:nvSpPr>
          <p:cNvPr id="11" name="Shape 8">
            <a:extLst>
              <a:ext uri="{FF2B5EF4-FFF2-40B4-BE49-F238E27FC236}">
                <a16:creationId xmlns:a16="http://schemas.microsoft.com/office/drawing/2014/main" id="{1763B05F-830B-4267-AD78-15D92D15E48D}"/>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bg1"/>
                </a:solidFill>
                <a:latin typeface="+mn-lt"/>
                <a:ea typeface="Arial"/>
                <a:cs typeface="Arial" panose="020B0604020202020204" pitchFamily="34" charset="0"/>
              </a:rPr>
              <a:pPr algn="r"/>
              <a:t>‹#›</a:t>
            </a:fld>
            <a:endParaRPr lang="en-GB" sz="1000">
              <a:solidFill>
                <a:schemeClr val="bg1"/>
              </a:solidFill>
              <a:latin typeface="+mn-lt"/>
              <a:ea typeface="Arial"/>
              <a:cs typeface="Arial" panose="020B0604020202020204" pitchFamily="34" charset="0"/>
            </a:endParaRPr>
          </a:p>
        </p:txBody>
      </p:sp>
      <p:cxnSp>
        <p:nvCxnSpPr>
          <p:cNvPr id="19" name="Straight Connector 18">
            <a:extLst>
              <a:ext uri="{FF2B5EF4-FFF2-40B4-BE49-F238E27FC236}">
                <a16:creationId xmlns:a16="http://schemas.microsoft.com/office/drawing/2014/main" id="{E4C51904-D930-45AA-AF92-A006847C8BF5}"/>
              </a:ext>
              <a:ext uri="{C183D7F6-B498-43B3-948B-1728B52AA6E4}">
                <adec:decorative xmlns:adec="http://schemas.microsoft.com/office/drawing/2017/decorative" val="1"/>
              </a:ext>
            </a:extLst>
          </p:cNvPr>
          <p:cNvCxnSpPr/>
          <p:nvPr userDrawn="1"/>
        </p:nvCxnSpPr>
        <p:spPr>
          <a:xfrm>
            <a:off x="10928548" y="6266997"/>
            <a:ext cx="0" cy="14941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Graphic 8">
            <a:extLst>
              <a:ext uri="{FF2B5EF4-FFF2-40B4-BE49-F238E27FC236}">
                <a16:creationId xmlns:a16="http://schemas.microsoft.com/office/drawing/2014/main" id="{3FE807FD-1F53-40C0-958E-7B645C12F831}"/>
              </a:ext>
              <a:ext uri="{C183D7F6-B498-43B3-948B-1728B52AA6E4}">
                <adec:decorative xmlns:adec="http://schemas.microsoft.com/office/drawing/2017/decorative" val="1"/>
              </a:ext>
            </a:extLst>
          </p:cNvPr>
          <p:cNvSpPr/>
          <p:nvPr userDrawn="1"/>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bg1"/>
          </a:solidFill>
          <a:ln w="1683" cap="flat">
            <a:noFill/>
            <a:prstDash val="solid"/>
            <a:miter/>
          </a:ln>
        </p:spPr>
        <p:txBody>
          <a:bodyPr rtlCol="0" anchor="ctr"/>
          <a:lstStyle/>
          <a:p>
            <a:endParaRPr lang="en-GB"/>
          </a:p>
        </p:txBody>
      </p:sp>
      <p:sp>
        <p:nvSpPr>
          <p:cNvPr id="16" name="TextBox 15">
            <a:extLst>
              <a:ext uri="{FF2B5EF4-FFF2-40B4-BE49-F238E27FC236}">
                <a16:creationId xmlns:a16="http://schemas.microsoft.com/office/drawing/2014/main" id="{5F74BEB4-0965-42B5-93CA-8952D5BB7D39}"/>
              </a:ext>
              <a:ext uri="{C183D7F6-B498-43B3-948B-1728B52AA6E4}">
                <adec:decorative xmlns:adec="http://schemas.microsoft.com/office/drawing/2017/decorative" val="0"/>
              </a:ext>
            </a:extLst>
          </p:cNvPr>
          <p:cNvSpPr txBox="1"/>
          <p:nvPr userDrawn="1">
            <p:custDataLst>
              <p:tags r:id="rId2"/>
            </p:custDataLst>
          </p:nvPr>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a:solidFill>
                  <a:schemeClr val="bg1"/>
                </a:solidFill>
                <a:latin typeface="+mn-lt"/>
                <a:ea typeface="+mn-ea"/>
                <a:cs typeface="+mn-cs"/>
              </a:rPr>
              <a:t>© 2022 KPMG LLP, a UK limited liability partnership and a member firm of the KPMG global organisation of independent member firms affiliated with KPMG International Limited, a private English company limited by guarantee. All rights reserved.</a:t>
            </a:r>
            <a:endParaRPr lang="en-US" sz="600" kern="1200" noProof="0">
              <a:solidFill>
                <a:schemeClr val="bg1"/>
              </a:solidFill>
              <a:latin typeface="+mn-lt"/>
              <a:ea typeface="+mn-ea"/>
              <a:cs typeface="+mn-cs"/>
            </a:endParaRPr>
          </a:p>
        </p:txBody>
      </p:sp>
    </p:spTree>
    <p:extLst>
      <p:ext uri="{BB962C8B-B14F-4D97-AF65-F5344CB8AC3E}">
        <p14:creationId xmlns:p14="http://schemas.microsoft.com/office/powerpoint/2010/main" val="63552794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2"/>
        </a:solidFill>
        <a:effectLst/>
      </p:bgPr>
    </p: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79D65585-570B-4F7D-B4BC-0F7CFAF52BAF}"/>
              </a:ext>
              <a:ext uri="{C183D7F6-B498-43B3-948B-1728B52AA6E4}">
                <adec:decorative xmlns:adec="http://schemas.microsoft.com/office/drawing/2017/decorative" val="1"/>
              </a:ext>
            </a:extLst>
          </p:cNvPr>
          <p:cNvSpPr>
            <a:spLocks noChangeAspect="1"/>
          </p:cNvSpPr>
          <p:nvPr userDrawn="1"/>
        </p:nvSpPr>
        <p:spPr>
          <a:xfrm>
            <a:off x="998476" y="971550"/>
            <a:ext cx="7061787" cy="490537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bg1"/>
                </a:solidFill>
              </a:defRPr>
            </a:lvl1pPr>
          </a:lstStyle>
          <a:p>
            <a:r>
              <a:rPr lang="en-US"/>
              <a:t>Click to edit Master title style</a:t>
            </a:r>
          </a:p>
        </p:txBody>
      </p:sp>
      <p:sp>
        <p:nvSpPr>
          <p:cNvPr id="6" name="Text Placeholder 3">
            <a:extLst>
              <a:ext uri="{FF2B5EF4-FFF2-40B4-BE49-F238E27FC236}">
                <a16:creationId xmlns:a16="http://schemas.microsoft.com/office/drawing/2014/main" id="{F014AE30-3464-4B6F-AD2C-2AECE7250189}"/>
              </a:ext>
            </a:extLst>
          </p:cNvPr>
          <p:cNvSpPr>
            <a:spLocks noGrp="1"/>
          </p:cNvSpPr>
          <p:nvPr>
            <p:ph type="body" sz="quarter" idx="12" hasCustomPrompt="1"/>
          </p:nvPr>
        </p:nvSpPr>
        <p:spPr>
          <a:xfrm>
            <a:off x="1289860" y="1140069"/>
            <a:ext cx="1082675" cy="812530"/>
          </a:xfrm>
        </p:spPr>
        <p:txBody>
          <a:bodyPr>
            <a:spAutoFit/>
          </a:bodyPr>
          <a:lstStyle>
            <a:lvl1pPr>
              <a:lnSpc>
                <a:spcPct val="80000"/>
              </a:lnSpc>
              <a:defRPr lang="en-US" sz="6600" kern="1200" baseline="0" dirty="0" smtClean="0">
                <a:solidFill>
                  <a:schemeClr val="bg1"/>
                </a:solidFill>
                <a:latin typeface="+mj-lt"/>
                <a:ea typeface="+mj-ea"/>
                <a:cs typeface="+mj-cs"/>
              </a:defRPr>
            </a:lvl1pPr>
          </a:lstStyle>
          <a:p>
            <a:pPr lvl="0"/>
            <a:r>
              <a:rPr lang="en-US"/>
              <a:t>00</a:t>
            </a:r>
          </a:p>
        </p:txBody>
      </p:sp>
      <p:sp>
        <p:nvSpPr>
          <p:cNvPr id="7" name="Text Placeholder 3">
            <a:extLst>
              <a:ext uri="{FF2B5EF4-FFF2-40B4-BE49-F238E27FC236}">
                <a16:creationId xmlns:a16="http://schemas.microsoft.com/office/drawing/2014/main" id="{226D1C61-DFFA-4616-9BF6-6877233CE1B8}"/>
              </a:ext>
            </a:extLst>
          </p:cNvPr>
          <p:cNvSpPr>
            <a:spLocks noGrp="1"/>
          </p:cNvSpPr>
          <p:nvPr>
            <p:ph type="body" sz="quarter" idx="11"/>
          </p:nvPr>
        </p:nvSpPr>
        <p:spPr>
          <a:xfrm>
            <a:off x="1289860" y="5046651"/>
            <a:ext cx="5252400" cy="507831"/>
          </a:xfrm>
        </p:spPr>
        <p:txBody>
          <a:bodyPr wrap="square" anchor="b">
            <a:sp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1144462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Divider 1">
    <p:bg>
      <p:bgPr>
        <a:solidFill>
          <a:schemeClr val="accent3"/>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995363" y="2398601"/>
            <a:ext cx="5252400" cy="2367199"/>
          </a:xfrm>
          <a:noFill/>
        </p:spPr>
        <p:txBody>
          <a:bodyPr lIns="0" tIns="0" rIns="0" bIns="0" anchor="t" anchorCtr="0"/>
          <a:lstStyle>
            <a:lvl1pPr algn="l">
              <a:defRPr sz="8000" baseline="0">
                <a:solidFill>
                  <a:schemeClr val="bg1"/>
                </a:solidFill>
              </a:defRPr>
            </a:lvl1pPr>
          </a:lstStyle>
          <a:p>
            <a:r>
              <a:rPr lang="en-US"/>
              <a:t>Click to edit Master title style</a:t>
            </a:r>
          </a:p>
        </p:txBody>
      </p:sp>
      <p:sp>
        <p:nvSpPr>
          <p:cNvPr id="6" name="Text Placeholder 3">
            <a:extLst>
              <a:ext uri="{FF2B5EF4-FFF2-40B4-BE49-F238E27FC236}">
                <a16:creationId xmlns:a16="http://schemas.microsoft.com/office/drawing/2014/main" id="{F014AE30-3464-4B6F-AD2C-2AECE7250189}"/>
              </a:ext>
            </a:extLst>
          </p:cNvPr>
          <p:cNvSpPr>
            <a:spLocks noGrp="1"/>
          </p:cNvSpPr>
          <p:nvPr>
            <p:ph type="body" sz="quarter" idx="12" hasCustomPrompt="1"/>
          </p:nvPr>
        </p:nvSpPr>
        <p:spPr>
          <a:xfrm>
            <a:off x="995363" y="1140069"/>
            <a:ext cx="1082675" cy="812530"/>
          </a:xfrm>
        </p:spPr>
        <p:txBody>
          <a:bodyPr>
            <a:spAutoFit/>
          </a:bodyPr>
          <a:lstStyle>
            <a:lvl1pPr>
              <a:lnSpc>
                <a:spcPct val="80000"/>
              </a:lnSpc>
              <a:defRPr lang="en-US" sz="6600" kern="1200" baseline="0" dirty="0" smtClean="0">
                <a:solidFill>
                  <a:schemeClr val="bg1"/>
                </a:solidFill>
                <a:latin typeface="+mj-lt"/>
                <a:ea typeface="+mj-ea"/>
                <a:cs typeface="+mj-cs"/>
              </a:defRPr>
            </a:lvl1pPr>
          </a:lstStyle>
          <a:p>
            <a:pPr lvl="0"/>
            <a:r>
              <a:rPr lang="en-US"/>
              <a:t>00</a:t>
            </a:r>
          </a:p>
        </p:txBody>
      </p:sp>
      <p:sp>
        <p:nvSpPr>
          <p:cNvPr id="7" name="Text Placeholder 3">
            <a:extLst>
              <a:ext uri="{FF2B5EF4-FFF2-40B4-BE49-F238E27FC236}">
                <a16:creationId xmlns:a16="http://schemas.microsoft.com/office/drawing/2014/main" id="{226D1C61-DFFA-4616-9BF6-6877233CE1B8}"/>
              </a:ext>
            </a:extLst>
          </p:cNvPr>
          <p:cNvSpPr>
            <a:spLocks noGrp="1"/>
          </p:cNvSpPr>
          <p:nvPr>
            <p:ph type="body" sz="quarter" idx="11"/>
          </p:nvPr>
        </p:nvSpPr>
        <p:spPr>
          <a:xfrm>
            <a:off x="995363" y="5046651"/>
            <a:ext cx="5252400" cy="507831"/>
          </a:xfrm>
        </p:spPr>
        <p:txBody>
          <a:bodyPr wrap="square" anchor="b">
            <a:sp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854777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gradFill flip="none" rotWithShape="1">
          <a:gsLst>
            <a:gs pos="0">
              <a:schemeClr val="accent5"/>
            </a:gs>
            <a:gs pos="100000">
              <a:schemeClr val="accent1"/>
            </a:gs>
          </a:gsLst>
          <a:lin ang="0" scaled="0"/>
          <a:tileRect/>
        </a:gra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BAF31653-DA95-4567-9106-71E1E49BA627}"/>
              </a:ext>
              <a:ext uri="{C183D7F6-B498-43B3-948B-1728B52AA6E4}">
                <adec:decorative xmlns:adec="http://schemas.microsoft.com/office/drawing/2017/decorative" val="1"/>
              </a:ext>
            </a:extLst>
          </p:cNvPr>
          <p:cNvSpPr>
            <a:spLocks noChangeAspect="1"/>
          </p:cNvSpPr>
          <p:nvPr userDrawn="1"/>
        </p:nvSpPr>
        <p:spPr>
          <a:xfrm>
            <a:off x="998476" y="971550"/>
            <a:ext cx="7061787" cy="4905375"/>
          </a:xfrm>
          <a:prstGeom prst="rect">
            <a:avLst/>
          </a:prstGeom>
          <a:gradFill>
            <a:gsLst>
              <a:gs pos="100000">
                <a:srgbClr val="ACEAFF"/>
              </a:gs>
              <a:gs pos="0">
                <a:schemeClr val="accent4"/>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61" name="Text Placeholder 3">
            <a:extLst>
              <a:ext uri="{FF2B5EF4-FFF2-40B4-BE49-F238E27FC236}">
                <a16:creationId xmlns:a16="http://schemas.microsoft.com/office/drawing/2014/main" id="{C346F2F1-AF73-4284-8702-745152AF5399}"/>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US"/>
              <a:t>Click to edit Master title style</a:t>
            </a:r>
          </a:p>
        </p:txBody>
      </p:sp>
      <p:sp>
        <p:nvSpPr>
          <p:cNvPr id="60" name="Text Placeholder 3">
            <a:extLst>
              <a:ext uri="{FF2B5EF4-FFF2-40B4-BE49-F238E27FC236}">
                <a16:creationId xmlns:a16="http://schemas.microsoft.com/office/drawing/2014/main" id="{2925CE2F-8945-49DE-BCC2-8BCACF480E4F}"/>
              </a:ext>
            </a:extLst>
          </p:cNvPr>
          <p:cNvSpPr>
            <a:spLocks noGrp="1"/>
          </p:cNvSpPr>
          <p:nvPr>
            <p:ph type="body" sz="quarter" idx="13"/>
          </p:nvPr>
        </p:nvSpPr>
        <p:spPr>
          <a:xfrm>
            <a:off x="1289860" y="5046651"/>
            <a:ext cx="5252400" cy="507831"/>
          </a:xfrm>
        </p:spPr>
        <p:txBody>
          <a:bodyPr wrap="square" anchor="b">
            <a:spAutoFit/>
          </a:bodyPr>
          <a:lstStyle>
            <a:lvl1pPr>
              <a:defRPr sz="1400">
                <a:solidFill>
                  <a:schemeClr val="accent2"/>
                </a:solidFill>
              </a:defRPr>
            </a:lvl1pPr>
            <a:lvl2pPr>
              <a:defRPr sz="14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024355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accent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EA87A788-0BF5-4419-BCFC-809F6D2E93AA}"/>
              </a:ext>
              <a:ext uri="{C183D7F6-B498-43B3-948B-1728B52AA6E4}">
                <adec:decorative xmlns:adec="http://schemas.microsoft.com/office/drawing/2017/decorative" val="1"/>
              </a:ext>
            </a:extLst>
          </p:cNvPr>
          <p:cNvSpPr>
            <a:spLocks noChangeAspect="1"/>
          </p:cNvSpPr>
          <p:nvPr userDrawn="1"/>
        </p:nvSpPr>
        <p:spPr>
          <a:xfrm>
            <a:off x="998476" y="971550"/>
            <a:ext cx="7061787" cy="4905375"/>
          </a:xfrm>
          <a:prstGeom prst="rect">
            <a:avLst/>
          </a:prstGeom>
          <a:gradFill>
            <a:gsLst>
              <a:gs pos="0">
                <a:schemeClr val="accent4"/>
              </a:gs>
              <a:gs pos="100000">
                <a:srgbClr val="ACEAFF"/>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61" name="Text Placeholder 3">
            <a:extLst>
              <a:ext uri="{FF2B5EF4-FFF2-40B4-BE49-F238E27FC236}">
                <a16:creationId xmlns:a16="http://schemas.microsoft.com/office/drawing/2014/main" id="{17B18B8B-EB09-48D8-AC31-3A9DFAC0B74C}"/>
              </a:ext>
            </a:extLst>
          </p:cNvPr>
          <p:cNvSpPr>
            <a:spLocks noGrp="1"/>
          </p:cNvSpPr>
          <p:nvPr>
            <p:ph type="body" sz="quarter" idx="14" hasCustomPrompt="1"/>
          </p:nvPr>
        </p:nvSpPr>
        <p:spPr>
          <a:xfrm>
            <a:off x="1289860" y="1140069"/>
            <a:ext cx="1082675" cy="812530"/>
          </a:xfrm>
        </p:spPr>
        <p:txBody>
          <a:bodyPr>
            <a:spAutoFit/>
          </a:bodyPr>
          <a:lstStyle>
            <a:lvl1pPr>
              <a:lnSpc>
                <a:spcPct val="80000"/>
              </a:lnSpc>
              <a:defRPr lang="en-US" sz="6600" kern="1200" baseline="0" dirty="0" smtClean="0">
                <a:solidFill>
                  <a:schemeClr val="accent2"/>
                </a:solidFill>
                <a:latin typeface="+mj-lt"/>
                <a:ea typeface="+mj-ea"/>
                <a:cs typeface="+mj-cs"/>
              </a:defRPr>
            </a:lvl1pPr>
          </a:lstStyle>
          <a:p>
            <a:pPr lvl="0"/>
            <a:r>
              <a:rPr lang="en-US"/>
              <a:t>00</a:t>
            </a: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accent2"/>
                </a:solidFill>
              </a:defRPr>
            </a:lvl1pPr>
          </a:lstStyle>
          <a:p>
            <a:r>
              <a:rPr lang="en-US"/>
              <a:t>Click to edit Master title style</a:t>
            </a:r>
          </a:p>
        </p:txBody>
      </p:sp>
      <p:sp>
        <p:nvSpPr>
          <p:cNvPr id="60" name="Text Placeholder 3">
            <a:extLst>
              <a:ext uri="{FF2B5EF4-FFF2-40B4-BE49-F238E27FC236}">
                <a16:creationId xmlns:a16="http://schemas.microsoft.com/office/drawing/2014/main" id="{5F7723F4-8321-43A3-962F-3DEEE5C6DEAE}"/>
              </a:ext>
            </a:extLst>
          </p:cNvPr>
          <p:cNvSpPr>
            <a:spLocks noGrp="1"/>
          </p:cNvSpPr>
          <p:nvPr>
            <p:ph type="body" sz="quarter" idx="13"/>
          </p:nvPr>
        </p:nvSpPr>
        <p:spPr>
          <a:xfrm>
            <a:off x="1289860" y="5046651"/>
            <a:ext cx="5252400" cy="507831"/>
          </a:xfrm>
        </p:spPr>
        <p:txBody>
          <a:bodyPr wrap="square" anchor="b">
            <a:spAutoFit/>
          </a:bodyPr>
          <a:lstStyle>
            <a:lvl1pPr>
              <a:defRPr sz="1400">
                <a:solidFill>
                  <a:schemeClr val="accent2"/>
                </a:solidFill>
              </a:defRPr>
            </a:lvl1pPr>
            <a:lvl2pPr>
              <a:defRPr sz="1400">
                <a:solidFill>
                  <a:schemeClr val="accent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676420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_KPMG Blue">
    <p:bg>
      <p:bgPr>
        <a:solidFill>
          <a:schemeClr val="accent2"/>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F680A8EA-2B0E-411E-90AD-02F7AF476749}"/>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
        <p:nvSpPr>
          <p:cNvPr id="4" name="Rectangle 3">
            <a:extLst>
              <a:ext uri="{FF2B5EF4-FFF2-40B4-BE49-F238E27FC236}">
                <a16:creationId xmlns:a16="http://schemas.microsoft.com/office/drawing/2014/main" id="{1E96C774-8B31-4EC8-BF6C-ACF71C2F0C15}"/>
              </a:ext>
              <a:ext uri="{C183D7F6-B498-43B3-948B-1728B52AA6E4}">
                <adec:decorative xmlns:adec="http://schemas.microsoft.com/office/drawing/2017/decorative" val="1"/>
              </a:ext>
            </a:extLst>
          </p:cNvPr>
          <p:cNvSpPr>
            <a:spLocks noChangeAspect="1"/>
          </p:cNvSpPr>
          <p:nvPr userDrawn="1"/>
        </p:nvSpPr>
        <p:spPr>
          <a:xfrm>
            <a:off x="998476" y="1470479"/>
            <a:ext cx="6350010" cy="441094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1274841" y="1759937"/>
            <a:ext cx="5765982" cy="2903488"/>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6" name="Text Placeholder 3"/>
          <p:cNvSpPr>
            <a:spLocks noGrp="1"/>
          </p:cNvSpPr>
          <p:nvPr>
            <p:ph type="body" sz="quarter" idx="11"/>
          </p:nvPr>
        </p:nvSpPr>
        <p:spPr>
          <a:xfrm>
            <a:off x="1274841" y="4752153"/>
            <a:ext cx="5765982" cy="816606"/>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3307039"/>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2_Divider 1">
    <p:bg>
      <p:bgPr>
        <a:solidFill>
          <a:schemeClr val="accent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9619977-3DA2-45FA-95EA-6E6C2054971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42" t="3137" r="3345" b="2940"/>
          <a:stretch/>
        </p:blipFill>
        <p:spPr>
          <a:xfrm>
            <a:off x="0" y="0"/>
            <a:ext cx="12192000" cy="6858000"/>
          </a:xfrm>
          <a:prstGeom prst="rect">
            <a:avLst/>
          </a:prstGeom>
        </p:spPr>
      </p:pic>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995363" y="2398601"/>
            <a:ext cx="5252400" cy="2367199"/>
          </a:xfrm>
          <a:noFill/>
        </p:spPr>
        <p:txBody>
          <a:bodyPr lIns="0" tIns="0" rIns="0" bIns="0" anchor="t" anchorCtr="0"/>
          <a:lstStyle>
            <a:lvl1pPr algn="l">
              <a:defRPr sz="8000" baseline="0">
                <a:solidFill>
                  <a:schemeClr val="bg1"/>
                </a:solidFill>
              </a:defRPr>
            </a:lvl1pPr>
          </a:lstStyle>
          <a:p>
            <a:r>
              <a:rPr lang="en-US"/>
              <a:t>Click to edit Master title style</a:t>
            </a:r>
          </a:p>
        </p:txBody>
      </p:sp>
      <p:sp>
        <p:nvSpPr>
          <p:cNvPr id="6" name="Text Placeholder 3">
            <a:extLst>
              <a:ext uri="{FF2B5EF4-FFF2-40B4-BE49-F238E27FC236}">
                <a16:creationId xmlns:a16="http://schemas.microsoft.com/office/drawing/2014/main" id="{F014AE30-3464-4B6F-AD2C-2AECE7250189}"/>
              </a:ext>
            </a:extLst>
          </p:cNvPr>
          <p:cNvSpPr>
            <a:spLocks noGrp="1"/>
          </p:cNvSpPr>
          <p:nvPr>
            <p:ph type="body" sz="quarter" idx="12" hasCustomPrompt="1"/>
          </p:nvPr>
        </p:nvSpPr>
        <p:spPr>
          <a:xfrm>
            <a:off x="995363" y="1140069"/>
            <a:ext cx="1082675" cy="812530"/>
          </a:xfrm>
        </p:spPr>
        <p:txBody>
          <a:bodyPr>
            <a:spAutoFit/>
          </a:bodyPr>
          <a:lstStyle>
            <a:lvl1pPr>
              <a:lnSpc>
                <a:spcPct val="80000"/>
              </a:lnSpc>
              <a:defRPr lang="en-US" sz="6600" kern="1200" baseline="0" dirty="0" smtClean="0">
                <a:solidFill>
                  <a:schemeClr val="bg1"/>
                </a:solidFill>
                <a:latin typeface="+mj-lt"/>
                <a:ea typeface="+mj-ea"/>
                <a:cs typeface="+mj-cs"/>
              </a:defRPr>
            </a:lvl1pPr>
          </a:lstStyle>
          <a:p>
            <a:pPr lvl="0"/>
            <a:r>
              <a:rPr lang="en-US"/>
              <a:t>00</a:t>
            </a:r>
          </a:p>
        </p:txBody>
      </p:sp>
      <p:sp>
        <p:nvSpPr>
          <p:cNvPr id="7" name="Text Placeholder 3">
            <a:extLst>
              <a:ext uri="{FF2B5EF4-FFF2-40B4-BE49-F238E27FC236}">
                <a16:creationId xmlns:a16="http://schemas.microsoft.com/office/drawing/2014/main" id="{226D1C61-DFFA-4616-9BF6-6877233CE1B8}"/>
              </a:ext>
            </a:extLst>
          </p:cNvPr>
          <p:cNvSpPr>
            <a:spLocks noGrp="1"/>
          </p:cNvSpPr>
          <p:nvPr>
            <p:ph type="body" sz="quarter" idx="11"/>
          </p:nvPr>
        </p:nvSpPr>
        <p:spPr>
          <a:xfrm>
            <a:off x="995363" y="5046651"/>
            <a:ext cx="5252400" cy="507831"/>
          </a:xfrm>
        </p:spPr>
        <p:txBody>
          <a:bodyPr wrap="square" anchor="b">
            <a:sp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4992344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3_Divider 1">
    <p:bg>
      <p:bgPr>
        <a:solidFill>
          <a:schemeClr val="accent3"/>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1F2EF89-449F-475B-B701-92D9639C06FD}"/>
              </a:ext>
            </a:extLst>
          </p:cNvPr>
          <p:cNvPicPr>
            <a:picLocks noChangeAspect="1"/>
          </p:cNvPicPr>
          <p:nvPr userDrawn="1"/>
        </p:nvPicPr>
        <p:blipFill rotWithShape="1">
          <a:blip r:embed="rId2"/>
          <a:srcRect l="37851" t="22847" b="23582"/>
          <a:stretch/>
        </p:blipFill>
        <p:spPr>
          <a:xfrm flipH="1">
            <a:off x="0" y="0"/>
            <a:ext cx="12192000" cy="6858000"/>
          </a:xfrm>
          <a:prstGeom prst="rect">
            <a:avLst/>
          </a:prstGeom>
        </p:spPr>
      </p:pic>
      <p:sp>
        <p:nvSpPr>
          <p:cNvPr id="8" name="Rectangle 7">
            <a:extLst>
              <a:ext uri="{FF2B5EF4-FFF2-40B4-BE49-F238E27FC236}">
                <a16:creationId xmlns:a16="http://schemas.microsoft.com/office/drawing/2014/main" id="{DACFBE7F-019F-4EE4-A352-C5009B9B29F4}"/>
              </a:ext>
            </a:extLst>
          </p:cNvPr>
          <p:cNvSpPr/>
          <p:nvPr userDrawn="1"/>
        </p:nvSpPr>
        <p:spPr>
          <a:xfrm>
            <a:off x="0" y="0"/>
            <a:ext cx="12192000" cy="6857999"/>
          </a:xfrm>
          <a:prstGeom prst="rect">
            <a:avLst/>
          </a:prstGeom>
          <a:gradFill>
            <a:gsLst>
              <a:gs pos="84956">
                <a:schemeClr val="bg1">
                  <a:alpha val="0"/>
                </a:schemeClr>
              </a:gs>
              <a:gs pos="36000">
                <a:schemeClr val="bg1">
                  <a:alpha val="83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995363" y="2398601"/>
            <a:ext cx="5252400" cy="2367199"/>
          </a:xfrm>
          <a:noFill/>
        </p:spPr>
        <p:txBody>
          <a:bodyPr lIns="0" tIns="0" rIns="0" bIns="0" anchor="t" anchorCtr="0"/>
          <a:lstStyle>
            <a:lvl1pPr algn="l">
              <a:defRPr sz="8000" baseline="0">
                <a:solidFill>
                  <a:schemeClr val="tx2"/>
                </a:solidFill>
              </a:defRPr>
            </a:lvl1pPr>
          </a:lstStyle>
          <a:p>
            <a:r>
              <a:rPr lang="en-US"/>
              <a:t>Click to edit Master title style</a:t>
            </a:r>
          </a:p>
        </p:txBody>
      </p:sp>
      <p:sp>
        <p:nvSpPr>
          <p:cNvPr id="6" name="Text Placeholder 3">
            <a:extLst>
              <a:ext uri="{FF2B5EF4-FFF2-40B4-BE49-F238E27FC236}">
                <a16:creationId xmlns:a16="http://schemas.microsoft.com/office/drawing/2014/main" id="{F014AE30-3464-4B6F-AD2C-2AECE7250189}"/>
              </a:ext>
            </a:extLst>
          </p:cNvPr>
          <p:cNvSpPr>
            <a:spLocks noGrp="1"/>
          </p:cNvSpPr>
          <p:nvPr>
            <p:ph type="body" sz="quarter" idx="12" hasCustomPrompt="1"/>
          </p:nvPr>
        </p:nvSpPr>
        <p:spPr>
          <a:xfrm>
            <a:off x="995363" y="1140069"/>
            <a:ext cx="1082675" cy="812530"/>
          </a:xfrm>
        </p:spPr>
        <p:txBody>
          <a:bodyPr>
            <a:spAutoFit/>
          </a:bodyPr>
          <a:lstStyle>
            <a:lvl1pPr>
              <a:lnSpc>
                <a:spcPct val="80000"/>
              </a:lnSpc>
              <a:defRPr lang="en-US" sz="6600" kern="1200" baseline="0" dirty="0" smtClean="0">
                <a:solidFill>
                  <a:schemeClr val="tx2"/>
                </a:solidFill>
                <a:latin typeface="+mj-lt"/>
                <a:ea typeface="+mj-ea"/>
                <a:cs typeface="+mj-cs"/>
              </a:defRPr>
            </a:lvl1pPr>
          </a:lstStyle>
          <a:p>
            <a:pPr lvl="0"/>
            <a:r>
              <a:rPr lang="en-US"/>
              <a:t>00</a:t>
            </a:r>
          </a:p>
        </p:txBody>
      </p:sp>
      <p:sp>
        <p:nvSpPr>
          <p:cNvPr id="7" name="Text Placeholder 3">
            <a:extLst>
              <a:ext uri="{FF2B5EF4-FFF2-40B4-BE49-F238E27FC236}">
                <a16:creationId xmlns:a16="http://schemas.microsoft.com/office/drawing/2014/main" id="{226D1C61-DFFA-4616-9BF6-6877233CE1B8}"/>
              </a:ext>
            </a:extLst>
          </p:cNvPr>
          <p:cNvSpPr>
            <a:spLocks noGrp="1"/>
          </p:cNvSpPr>
          <p:nvPr>
            <p:ph type="body" sz="quarter" idx="11"/>
          </p:nvPr>
        </p:nvSpPr>
        <p:spPr>
          <a:xfrm>
            <a:off x="995363" y="5046651"/>
            <a:ext cx="5252400" cy="507831"/>
          </a:xfrm>
        </p:spPr>
        <p:txBody>
          <a:bodyPr wrap="square" anchor="b">
            <a:spAutoFit/>
          </a:bodyPr>
          <a:lstStyle>
            <a:lvl1pPr>
              <a:defRPr sz="1400">
                <a:solidFill>
                  <a:schemeClr val="tx2"/>
                </a:solidFill>
              </a:defRPr>
            </a:lvl1pPr>
            <a:lvl2pPr>
              <a:defRPr sz="1400">
                <a:solidFill>
                  <a:schemeClr val="tx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175110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4_Divider 1">
    <p:bg>
      <p:bgPr>
        <a:solidFill>
          <a:schemeClr val="accent3"/>
        </a:solidFill>
        <a:effectLst/>
      </p:bgPr>
    </p:bg>
    <p:spTree>
      <p:nvGrpSpPr>
        <p:cNvPr id="1" name=""/>
        <p:cNvGrpSpPr/>
        <p:nvPr/>
      </p:nvGrpSpPr>
      <p:grpSpPr>
        <a:xfrm>
          <a:off x="0" y="0"/>
          <a:ext cx="0" cy="0"/>
          <a:chOff x="0" y="0"/>
          <a:chExt cx="0" cy="0"/>
        </a:xfrm>
      </p:grpSpPr>
      <p:pic>
        <p:nvPicPr>
          <p:cNvPr id="9" name="Picture 8" descr="A person talking on a cell phone&#10;&#10;Description automatically generated with medium confidence">
            <a:extLst>
              <a:ext uri="{FF2B5EF4-FFF2-40B4-BE49-F238E27FC236}">
                <a16:creationId xmlns:a16="http://schemas.microsoft.com/office/drawing/2014/main" id="{3B03A184-FFCC-45F7-AEC8-2A2C26FB071D}"/>
              </a:ext>
            </a:extLst>
          </p:cNvPr>
          <p:cNvPicPr>
            <a:picLocks noChangeAspect="1"/>
          </p:cNvPicPr>
          <p:nvPr userDrawn="1"/>
        </p:nvPicPr>
        <p:blipFill rotWithShape="1">
          <a:blip r:embed="rId2"/>
          <a:srcRect t="12358" r="21307" b="22215"/>
          <a:stretch/>
        </p:blipFill>
        <p:spPr>
          <a:xfrm>
            <a:off x="0" y="0"/>
            <a:ext cx="12192000" cy="6858000"/>
          </a:xfrm>
          <a:prstGeom prst="rect">
            <a:avLst/>
          </a:prstGeom>
        </p:spPr>
      </p:pic>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995363" y="2398601"/>
            <a:ext cx="5252400" cy="2367199"/>
          </a:xfrm>
          <a:noFill/>
        </p:spPr>
        <p:txBody>
          <a:bodyPr lIns="0" tIns="0" rIns="0" bIns="0" anchor="t" anchorCtr="0"/>
          <a:lstStyle>
            <a:lvl1pPr algn="l">
              <a:defRPr sz="8000" baseline="0">
                <a:solidFill>
                  <a:schemeClr val="tx2"/>
                </a:solidFill>
              </a:defRPr>
            </a:lvl1pPr>
          </a:lstStyle>
          <a:p>
            <a:r>
              <a:rPr lang="en-US"/>
              <a:t>Click to edit Master title style</a:t>
            </a:r>
          </a:p>
        </p:txBody>
      </p:sp>
      <p:sp>
        <p:nvSpPr>
          <p:cNvPr id="6" name="Text Placeholder 3">
            <a:extLst>
              <a:ext uri="{FF2B5EF4-FFF2-40B4-BE49-F238E27FC236}">
                <a16:creationId xmlns:a16="http://schemas.microsoft.com/office/drawing/2014/main" id="{F014AE30-3464-4B6F-AD2C-2AECE7250189}"/>
              </a:ext>
            </a:extLst>
          </p:cNvPr>
          <p:cNvSpPr>
            <a:spLocks noGrp="1"/>
          </p:cNvSpPr>
          <p:nvPr>
            <p:ph type="body" sz="quarter" idx="12" hasCustomPrompt="1"/>
          </p:nvPr>
        </p:nvSpPr>
        <p:spPr>
          <a:xfrm>
            <a:off x="995363" y="1140069"/>
            <a:ext cx="1082675" cy="812530"/>
          </a:xfrm>
        </p:spPr>
        <p:txBody>
          <a:bodyPr>
            <a:spAutoFit/>
          </a:bodyPr>
          <a:lstStyle>
            <a:lvl1pPr>
              <a:lnSpc>
                <a:spcPct val="80000"/>
              </a:lnSpc>
              <a:defRPr lang="en-US" sz="6600" kern="1200" baseline="0" dirty="0" smtClean="0">
                <a:solidFill>
                  <a:schemeClr val="tx2"/>
                </a:solidFill>
                <a:latin typeface="+mj-lt"/>
                <a:ea typeface="+mj-ea"/>
                <a:cs typeface="+mj-cs"/>
              </a:defRPr>
            </a:lvl1pPr>
          </a:lstStyle>
          <a:p>
            <a:pPr lvl="0"/>
            <a:r>
              <a:rPr lang="en-US"/>
              <a:t>00</a:t>
            </a:r>
          </a:p>
        </p:txBody>
      </p:sp>
      <p:sp>
        <p:nvSpPr>
          <p:cNvPr id="7" name="Text Placeholder 3">
            <a:extLst>
              <a:ext uri="{FF2B5EF4-FFF2-40B4-BE49-F238E27FC236}">
                <a16:creationId xmlns:a16="http://schemas.microsoft.com/office/drawing/2014/main" id="{226D1C61-DFFA-4616-9BF6-6877233CE1B8}"/>
              </a:ext>
            </a:extLst>
          </p:cNvPr>
          <p:cNvSpPr>
            <a:spLocks noGrp="1"/>
          </p:cNvSpPr>
          <p:nvPr>
            <p:ph type="body" sz="quarter" idx="11"/>
          </p:nvPr>
        </p:nvSpPr>
        <p:spPr>
          <a:xfrm>
            <a:off x="995363" y="5046651"/>
            <a:ext cx="5252400" cy="507831"/>
          </a:xfrm>
        </p:spPr>
        <p:txBody>
          <a:bodyPr wrap="square" anchor="b">
            <a:spAutoFit/>
          </a:bodyPr>
          <a:lstStyle>
            <a:lvl1pPr>
              <a:defRPr sz="1400">
                <a:solidFill>
                  <a:schemeClr val="tx2"/>
                </a:solidFill>
              </a:defRPr>
            </a:lvl1pPr>
            <a:lvl2pPr>
              <a:defRPr sz="1400">
                <a:solidFill>
                  <a:schemeClr val="tx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001167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5_Divider 1">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091D551-343D-4E0C-845E-A6FDF39040B5}"/>
              </a:ext>
            </a:extLst>
          </p:cNvPr>
          <p:cNvPicPr>
            <a:picLocks/>
          </p:cNvPicPr>
          <p:nvPr userDrawn="1"/>
        </p:nvPicPr>
        <p:blipFill rotWithShape="1">
          <a:blip r:embed="rId2"/>
          <a:srcRect l="16985" t="14650" b="15031"/>
          <a:stretch/>
        </p:blipFill>
        <p:spPr>
          <a:xfrm flipH="1">
            <a:off x="0" y="-1"/>
            <a:ext cx="12192000" cy="6858001"/>
          </a:xfrm>
          <a:prstGeom prst="rect">
            <a:avLst/>
          </a:prstGeom>
        </p:spPr>
      </p:pic>
      <p:sp>
        <p:nvSpPr>
          <p:cNvPr id="10" name="Rectangle 9">
            <a:extLst>
              <a:ext uri="{FF2B5EF4-FFF2-40B4-BE49-F238E27FC236}">
                <a16:creationId xmlns:a16="http://schemas.microsoft.com/office/drawing/2014/main" id="{4DF1FDD4-1E88-4609-8EE0-33F9A3B35B4B}"/>
              </a:ext>
            </a:extLst>
          </p:cNvPr>
          <p:cNvSpPr/>
          <p:nvPr userDrawn="1"/>
        </p:nvSpPr>
        <p:spPr>
          <a:xfrm>
            <a:off x="0" y="-1"/>
            <a:ext cx="12192000" cy="6883400"/>
          </a:xfrm>
          <a:prstGeom prst="rect">
            <a:avLst/>
          </a:prstGeom>
          <a:gradFill>
            <a:gsLst>
              <a:gs pos="63000">
                <a:srgbClr val="E8DCE0">
                  <a:alpha val="0"/>
                </a:srgbClr>
              </a:gs>
              <a:gs pos="7000">
                <a:srgbClr val="E8DCE0">
                  <a:alpha val="75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995363" y="2398601"/>
            <a:ext cx="5252400" cy="2367199"/>
          </a:xfrm>
          <a:noFill/>
        </p:spPr>
        <p:txBody>
          <a:bodyPr lIns="0" tIns="0" rIns="0" bIns="0" anchor="t" anchorCtr="0"/>
          <a:lstStyle>
            <a:lvl1pPr algn="l">
              <a:defRPr sz="8000" baseline="0">
                <a:solidFill>
                  <a:schemeClr val="tx2"/>
                </a:solidFill>
              </a:defRPr>
            </a:lvl1pPr>
          </a:lstStyle>
          <a:p>
            <a:r>
              <a:rPr lang="en-US"/>
              <a:t>Click to edit Master title style</a:t>
            </a:r>
          </a:p>
        </p:txBody>
      </p:sp>
      <p:sp>
        <p:nvSpPr>
          <p:cNvPr id="6" name="Text Placeholder 3">
            <a:extLst>
              <a:ext uri="{FF2B5EF4-FFF2-40B4-BE49-F238E27FC236}">
                <a16:creationId xmlns:a16="http://schemas.microsoft.com/office/drawing/2014/main" id="{F014AE30-3464-4B6F-AD2C-2AECE7250189}"/>
              </a:ext>
            </a:extLst>
          </p:cNvPr>
          <p:cNvSpPr>
            <a:spLocks noGrp="1"/>
          </p:cNvSpPr>
          <p:nvPr>
            <p:ph type="body" sz="quarter" idx="12" hasCustomPrompt="1"/>
          </p:nvPr>
        </p:nvSpPr>
        <p:spPr>
          <a:xfrm>
            <a:off x="995363" y="1140069"/>
            <a:ext cx="1082675" cy="812530"/>
          </a:xfrm>
        </p:spPr>
        <p:txBody>
          <a:bodyPr>
            <a:spAutoFit/>
          </a:bodyPr>
          <a:lstStyle>
            <a:lvl1pPr>
              <a:lnSpc>
                <a:spcPct val="80000"/>
              </a:lnSpc>
              <a:defRPr lang="en-US" sz="6600" kern="1200" baseline="0" dirty="0" smtClean="0">
                <a:solidFill>
                  <a:schemeClr val="tx2"/>
                </a:solidFill>
                <a:latin typeface="+mj-lt"/>
                <a:ea typeface="+mj-ea"/>
                <a:cs typeface="+mj-cs"/>
              </a:defRPr>
            </a:lvl1pPr>
          </a:lstStyle>
          <a:p>
            <a:pPr lvl="0"/>
            <a:r>
              <a:rPr lang="en-US"/>
              <a:t>00</a:t>
            </a:r>
          </a:p>
        </p:txBody>
      </p:sp>
      <p:sp>
        <p:nvSpPr>
          <p:cNvPr id="7" name="Text Placeholder 3">
            <a:extLst>
              <a:ext uri="{FF2B5EF4-FFF2-40B4-BE49-F238E27FC236}">
                <a16:creationId xmlns:a16="http://schemas.microsoft.com/office/drawing/2014/main" id="{226D1C61-DFFA-4616-9BF6-6877233CE1B8}"/>
              </a:ext>
            </a:extLst>
          </p:cNvPr>
          <p:cNvSpPr>
            <a:spLocks noGrp="1"/>
          </p:cNvSpPr>
          <p:nvPr>
            <p:ph type="body" sz="quarter" idx="11"/>
          </p:nvPr>
        </p:nvSpPr>
        <p:spPr>
          <a:xfrm>
            <a:off x="995363" y="5046651"/>
            <a:ext cx="5252400" cy="507831"/>
          </a:xfrm>
        </p:spPr>
        <p:txBody>
          <a:bodyPr wrap="square" anchor="b">
            <a:spAutoFit/>
          </a:bodyPr>
          <a:lstStyle>
            <a:lvl1pPr>
              <a:defRPr sz="1400">
                <a:solidFill>
                  <a:schemeClr val="tx2"/>
                </a:solidFill>
              </a:defRPr>
            </a:lvl1pPr>
            <a:lvl2pPr>
              <a:defRPr sz="1400">
                <a:solidFill>
                  <a:schemeClr val="tx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209239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6_Divider 1">
    <p:bg>
      <p:bgPr>
        <a:solidFill>
          <a:schemeClr val="accent3"/>
        </a:solidFill>
        <a:effectLst/>
      </p:bgPr>
    </p:bg>
    <p:spTree>
      <p:nvGrpSpPr>
        <p:cNvPr id="1" name=""/>
        <p:cNvGrpSpPr/>
        <p:nvPr/>
      </p:nvGrpSpPr>
      <p:grpSpPr>
        <a:xfrm>
          <a:off x="0" y="0"/>
          <a:ext cx="0" cy="0"/>
          <a:chOff x="0" y="0"/>
          <a:chExt cx="0" cy="0"/>
        </a:xfrm>
      </p:grpSpPr>
      <p:pic>
        <p:nvPicPr>
          <p:cNvPr id="9" name="Picture 8" descr="A picture containing water, sky, outdoor, boat&#10;&#10;Description automatically generated">
            <a:extLst>
              <a:ext uri="{FF2B5EF4-FFF2-40B4-BE49-F238E27FC236}">
                <a16:creationId xmlns:a16="http://schemas.microsoft.com/office/drawing/2014/main" id="{1BD36578-9322-4EF7-A255-FD2801E2F156}"/>
              </a:ext>
            </a:extLst>
          </p:cNvPr>
          <p:cNvPicPr>
            <a:picLocks noChangeAspect="1"/>
          </p:cNvPicPr>
          <p:nvPr userDrawn="1"/>
        </p:nvPicPr>
        <p:blipFill rotWithShape="1">
          <a:blip r:embed="rId2"/>
          <a:srcRect l="1186" t="12387" b="13404"/>
          <a:stretch/>
        </p:blipFill>
        <p:spPr>
          <a:xfrm flipH="1">
            <a:off x="0" y="0"/>
            <a:ext cx="12192000" cy="6858000"/>
          </a:xfrm>
          <a:prstGeom prst="rect">
            <a:avLst/>
          </a:prstGeom>
        </p:spPr>
      </p:pic>
      <p:sp>
        <p:nvSpPr>
          <p:cNvPr id="12" name="Rectangle 11">
            <a:extLst>
              <a:ext uri="{FF2B5EF4-FFF2-40B4-BE49-F238E27FC236}">
                <a16:creationId xmlns:a16="http://schemas.microsoft.com/office/drawing/2014/main" id="{49D59D93-3D51-42A0-B848-02A233C756D0}"/>
              </a:ext>
            </a:extLst>
          </p:cNvPr>
          <p:cNvSpPr/>
          <p:nvPr userDrawn="1"/>
        </p:nvSpPr>
        <p:spPr>
          <a:xfrm>
            <a:off x="0" y="0"/>
            <a:ext cx="12192000" cy="6858000"/>
          </a:xfrm>
          <a:prstGeom prst="rect">
            <a:avLst/>
          </a:prstGeom>
          <a:gradFill>
            <a:gsLst>
              <a:gs pos="63000">
                <a:srgbClr val="E8DCE0">
                  <a:alpha val="0"/>
                </a:srgbClr>
              </a:gs>
              <a:gs pos="7000">
                <a:srgbClr val="E8DCE0">
                  <a:alpha val="75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995363" y="2398601"/>
            <a:ext cx="5252400" cy="2367199"/>
          </a:xfrm>
          <a:noFill/>
        </p:spPr>
        <p:txBody>
          <a:bodyPr lIns="0" tIns="0" rIns="0" bIns="0" anchor="t" anchorCtr="0"/>
          <a:lstStyle>
            <a:lvl1pPr algn="l">
              <a:defRPr sz="8000" baseline="0">
                <a:solidFill>
                  <a:schemeClr val="tx2"/>
                </a:solidFill>
              </a:defRPr>
            </a:lvl1pPr>
          </a:lstStyle>
          <a:p>
            <a:r>
              <a:rPr lang="en-US"/>
              <a:t>Click to edit Master title style</a:t>
            </a:r>
          </a:p>
        </p:txBody>
      </p:sp>
      <p:sp>
        <p:nvSpPr>
          <p:cNvPr id="6" name="Text Placeholder 3">
            <a:extLst>
              <a:ext uri="{FF2B5EF4-FFF2-40B4-BE49-F238E27FC236}">
                <a16:creationId xmlns:a16="http://schemas.microsoft.com/office/drawing/2014/main" id="{F014AE30-3464-4B6F-AD2C-2AECE7250189}"/>
              </a:ext>
            </a:extLst>
          </p:cNvPr>
          <p:cNvSpPr>
            <a:spLocks noGrp="1"/>
          </p:cNvSpPr>
          <p:nvPr>
            <p:ph type="body" sz="quarter" idx="12" hasCustomPrompt="1"/>
          </p:nvPr>
        </p:nvSpPr>
        <p:spPr>
          <a:xfrm>
            <a:off x="995363" y="1140069"/>
            <a:ext cx="1082675" cy="812530"/>
          </a:xfrm>
        </p:spPr>
        <p:txBody>
          <a:bodyPr>
            <a:spAutoFit/>
          </a:bodyPr>
          <a:lstStyle>
            <a:lvl1pPr>
              <a:lnSpc>
                <a:spcPct val="80000"/>
              </a:lnSpc>
              <a:defRPr lang="en-US" sz="6600" kern="1200" baseline="0" dirty="0" smtClean="0">
                <a:solidFill>
                  <a:schemeClr val="tx2"/>
                </a:solidFill>
                <a:latin typeface="+mj-lt"/>
                <a:ea typeface="+mj-ea"/>
                <a:cs typeface="+mj-cs"/>
              </a:defRPr>
            </a:lvl1pPr>
          </a:lstStyle>
          <a:p>
            <a:pPr lvl="0"/>
            <a:r>
              <a:rPr lang="en-US"/>
              <a:t>00</a:t>
            </a:r>
          </a:p>
        </p:txBody>
      </p:sp>
      <p:sp>
        <p:nvSpPr>
          <p:cNvPr id="7" name="Text Placeholder 3">
            <a:extLst>
              <a:ext uri="{FF2B5EF4-FFF2-40B4-BE49-F238E27FC236}">
                <a16:creationId xmlns:a16="http://schemas.microsoft.com/office/drawing/2014/main" id="{226D1C61-DFFA-4616-9BF6-6877233CE1B8}"/>
              </a:ext>
            </a:extLst>
          </p:cNvPr>
          <p:cNvSpPr>
            <a:spLocks noGrp="1"/>
          </p:cNvSpPr>
          <p:nvPr>
            <p:ph type="body" sz="quarter" idx="11"/>
          </p:nvPr>
        </p:nvSpPr>
        <p:spPr>
          <a:xfrm>
            <a:off x="995363" y="5046651"/>
            <a:ext cx="5252400" cy="507831"/>
          </a:xfrm>
        </p:spPr>
        <p:txBody>
          <a:bodyPr wrap="square" anchor="b">
            <a:spAutoFit/>
          </a:bodyPr>
          <a:lstStyle>
            <a:lvl1pPr>
              <a:defRPr sz="1400">
                <a:solidFill>
                  <a:schemeClr val="tx2"/>
                </a:solidFill>
              </a:defRPr>
            </a:lvl1pPr>
            <a:lvl2pPr>
              <a:defRPr sz="1400">
                <a:solidFill>
                  <a:schemeClr val="tx2"/>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941001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7_Divider 1">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8681994-B6CB-4540-A615-8D524CF9598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 t="6140" r="18085" b="24749"/>
          <a:stretch/>
        </p:blipFill>
        <p:spPr>
          <a:xfrm>
            <a:off x="-600" y="1"/>
            <a:ext cx="12193200" cy="6857999"/>
          </a:xfrm>
          <a:prstGeom prst="rect">
            <a:avLst/>
          </a:prstGeom>
        </p:spPr>
      </p:pic>
      <p:sp>
        <p:nvSpPr>
          <p:cNvPr id="58" name="Rectangle 57">
            <a:extLst>
              <a:ext uri="{FF2B5EF4-FFF2-40B4-BE49-F238E27FC236}">
                <a16:creationId xmlns:a16="http://schemas.microsoft.com/office/drawing/2014/main" id="{79D65585-570B-4F7D-B4BC-0F7CFAF52BAF}"/>
              </a:ext>
              <a:ext uri="{C183D7F6-B498-43B3-948B-1728B52AA6E4}">
                <adec:decorative xmlns:adec="http://schemas.microsoft.com/office/drawing/2017/decorative" val="1"/>
              </a:ext>
            </a:extLst>
          </p:cNvPr>
          <p:cNvSpPr>
            <a:spLocks noChangeAspect="1"/>
          </p:cNvSpPr>
          <p:nvPr userDrawn="1"/>
        </p:nvSpPr>
        <p:spPr>
          <a:xfrm>
            <a:off x="998476" y="971550"/>
            <a:ext cx="7061787" cy="490537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bg1"/>
                </a:solidFill>
              </a:defRPr>
            </a:lvl1pPr>
          </a:lstStyle>
          <a:p>
            <a:r>
              <a:rPr lang="en-US"/>
              <a:t>Click to edit Master title style</a:t>
            </a:r>
          </a:p>
        </p:txBody>
      </p:sp>
      <p:sp>
        <p:nvSpPr>
          <p:cNvPr id="6" name="Text Placeholder 3">
            <a:extLst>
              <a:ext uri="{FF2B5EF4-FFF2-40B4-BE49-F238E27FC236}">
                <a16:creationId xmlns:a16="http://schemas.microsoft.com/office/drawing/2014/main" id="{F014AE30-3464-4B6F-AD2C-2AECE7250189}"/>
              </a:ext>
            </a:extLst>
          </p:cNvPr>
          <p:cNvSpPr>
            <a:spLocks noGrp="1"/>
          </p:cNvSpPr>
          <p:nvPr>
            <p:ph type="body" sz="quarter" idx="12" hasCustomPrompt="1"/>
          </p:nvPr>
        </p:nvSpPr>
        <p:spPr>
          <a:xfrm>
            <a:off x="1289860" y="1140069"/>
            <a:ext cx="1082675" cy="812530"/>
          </a:xfrm>
        </p:spPr>
        <p:txBody>
          <a:bodyPr>
            <a:spAutoFit/>
          </a:bodyPr>
          <a:lstStyle>
            <a:lvl1pPr>
              <a:lnSpc>
                <a:spcPct val="80000"/>
              </a:lnSpc>
              <a:defRPr lang="en-US" sz="6600" kern="1200" baseline="0" dirty="0" smtClean="0">
                <a:solidFill>
                  <a:schemeClr val="bg1"/>
                </a:solidFill>
                <a:latin typeface="+mj-lt"/>
                <a:ea typeface="+mj-ea"/>
                <a:cs typeface="+mj-cs"/>
              </a:defRPr>
            </a:lvl1pPr>
          </a:lstStyle>
          <a:p>
            <a:pPr lvl="0"/>
            <a:r>
              <a:rPr lang="en-US"/>
              <a:t>00</a:t>
            </a:r>
          </a:p>
        </p:txBody>
      </p:sp>
      <p:sp>
        <p:nvSpPr>
          <p:cNvPr id="7" name="Text Placeholder 3">
            <a:extLst>
              <a:ext uri="{FF2B5EF4-FFF2-40B4-BE49-F238E27FC236}">
                <a16:creationId xmlns:a16="http://schemas.microsoft.com/office/drawing/2014/main" id="{226D1C61-DFFA-4616-9BF6-6877233CE1B8}"/>
              </a:ext>
            </a:extLst>
          </p:cNvPr>
          <p:cNvSpPr>
            <a:spLocks noGrp="1"/>
          </p:cNvSpPr>
          <p:nvPr>
            <p:ph type="body" sz="quarter" idx="11"/>
          </p:nvPr>
        </p:nvSpPr>
        <p:spPr>
          <a:xfrm>
            <a:off x="1289860" y="5046651"/>
            <a:ext cx="5252400" cy="507831"/>
          </a:xfrm>
        </p:spPr>
        <p:txBody>
          <a:bodyPr wrap="square" anchor="b">
            <a:sp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2098161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8_Divider 1">
    <p:bg>
      <p:bgPr>
        <a:solidFill>
          <a:schemeClr val="accent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07707D9-689D-4DB5-99CC-9AAF391D254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646"/>
          <a:stretch/>
        </p:blipFill>
        <p:spPr>
          <a:xfrm>
            <a:off x="0" y="0"/>
            <a:ext cx="12192000" cy="6856293"/>
          </a:xfrm>
          <a:prstGeom prst="rect">
            <a:avLst/>
          </a:prstGeom>
        </p:spPr>
      </p:pic>
      <p:sp>
        <p:nvSpPr>
          <p:cNvPr id="58" name="Rectangle 57">
            <a:extLst>
              <a:ext uri="{FF2B5EF4-FFF2-40B4-BE49-F238E27FC236}">
                <a16:creationId xmlns:a16="http://schemas.microsoft.com/office/drawing/2014/main" id="{79D65585-570B-4F7D-B4BC-0F7CFAF52BAF}"/>
              </a:ext>
              <a:ext uri="{C183D7F6-B498-43B3-948B-1728B52AA6E4}">
                <adec:decorative xmlns:adec="http://schemas.microsoft.com/office/drawing/2017/decorative" val="1"/>
              </a:ext>
            </a:extLst>
          </p:cNvPr>
          <p:cNvSpPr>
            <a:spLocks noChangeAspect="1"/>
          </p:cNvSpPr>
          <p:nvPr userDrawn="1"/>
        </p:nvSpPr>
        <p:spPr>
          <a:xfrm>
            <a:off x="998476" y="971550"/>
            <a:ext cx="7061787" cy="490537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bg1"/>
                </a:solidFill>
              </a:defRPr>
            </a:lvl1pPr>
          </a:lstStyle>
          <a:p>
            <a:r>
              <a:rPr lang="en-US"/>
              <a:t>Click to edit Master title style</a:t>
            </a:r>
          </a:p>
        </p:txBody>
      </p:sp>
      <p:sp>
        <p:nvSpPr>
          <p:cNvPr id="6" name="Text Placeholder 3">
            <a:extLst>
              <a:ext uri="{FF2B5EF4-FFF2-40B4-BE49-F238E27FC236}">
                <a16:creationId xmlns:a16="http://schemas.microsoft.com/office/drawing/2014/main" id="{F014AE30-3464-4B6F-AD2C-2AECE7250189}"/>
              </a:ext>
            </a:extLst>
          </p:cNvPr>
          <p:cNvSpPr>
            <a:spLocks noGrp="1"/>
          </p:cNvSpPr>
          <p:nvPr>
            <p:ph type="body" sz="quarter" idx="12" hasCustomPrompt="1"/>
          </p:nvPr>
        </p:nvSpPr>
        <p:spPr>
          <a:xfrm>
            <a:off x="1289860" y="1140069"/>
            <a:ext cx="1082675" cy="812530"/>
          </a:xfrm>
        </p:spPr>
        <p:txBody>
          <a:bodyPr>
            <a:spAutoFit/>
          </a:bodyPr>
          <a:lstStyle>
            <a:lvl1pPr>
              <a:lnSpc>
                <a:spcPct val="80000"/>
              </a:lnSpc>
              <a:defRPr lang="en-US" sz="6600" kern="1200" baseline="0" dirty="0" smtClean="0">
                <a:solidFill>
                  <a:schemeClr val="bg1"/>
                </a:solidFill>
                <a:latin typeface="+mj-lt"/>
                <a:ea typeface="+mj-ea"/>
                <a:cs typeface="+mj-cs"/>
              </a:defRPr>
            </a:lvl1pPr>
          </a:lstStyle>
          <a:p>
            <a:pPr lvl="0"/>
            <a:r>
              <a:rPr lang="en-US"/>
              <a:t>00</a:t>
            </a:r>
          </a:p>
        </p:txBody>
      </p:sp>
      <p:sp>
        <p:nvSpPr>
          <p:cNvPr id="7" name="Text Placeholder 3">
            <a:extLst>
              <a:ext uri="{FF2B5EF4-FFF2-40B4-BE49-F238E27FC236}">
                <a16:creationId xmlns:a16="http://schemas.microsoft.com/office/drawing/2014/main" id="{226D1C61-DFFA-4616-9BF6-6877233CE1B8}"/>
              </a:ext>
            </a:extLst>
          </p:cNvPr>
          <p:cNvSpPr>
            <a:spLocks noGrp="1"/>
          </p:cNvSpPr>
          <p:nvPr>
            <p:ph type="body" sz="quarter" idx="11"/>
          </p:nvPr>
        </p:nvSpPr>
        <p:spPr>
          <a:xfrm>
            <a:off x="1289860" y="5046651"/>
            <a:ext cx="5252400" cy="507831"/>
          </a:xfrm>
        </p:spPr>
        <p:txBody>
          <a:bodyPr wrap="square" anchor="b">
            <a:sp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332540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9_Divider 1">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D8BA188-1216-4EC5-B696-9FBBB98BEB74}"/>
              </a:ext>
            </a:extLst>
          </p:cNvPr>
          <p:cNvPicPr>
            <a:picLocks noChangeAspect="1"/>
          </p:cNvPicPr>
          <p:nvPr userDrawn="1"/>
        </p:nvPicPr>
        <p:blipFill rotWithShape="1">
          <a:blip r:embed="rId2"/>
          <a:srcRect l="3399" r="43268"/>
          <a:stretch/>
        </p:blipFill>
        <p:spPr>
          <a:xfrm>
            <a:off x="0" y="0"/>
            <a:ext cx="12192000" cy="6858000"/>
          </a:xfrm>
          <a:prstGeom prst="rect">
            <a:avLst/>
          </a:prstGeom>
        </p:spPr>
      </p:pic>
      <p:sp>
        <p:nvSpPr>
          <p:cNvPr id="58" name="Rectangle 57">
            <a:extLst>
              <a:ext uri="{FF2B5EF4-FFF2-40B4-BE49-F238E27FC236}">
                <a16:creationId xmlns:a16="http://schemas.microsoft.com/office/drawing/2014/main" id="{79D65585-570B-4F7D-B4BC-0F7CFAF52BAF}"/>
              </a:ext>
              <a:ext uri="{C183D7F6-B498-43B3-948B-1728B52AA6E4}">
                <adec:decorative xmlns:adec="http://schemas.microsoft.com/office/drawing/2017/decorative" val="1"/>
              </a:ext>
            </a:extLst>
          </p:cNvPr>
          <p:cNvSpPr>
            <a:spLocks noChangeAspect="1"/>
          </p:cNvSpPr>
          <p:nvPr userDrawn="1"/>
        </p:nvSpPr>
        <p:spPr>
          <a:xfrm>
            <a:off x="998476" y="971550"/>
            <a:ext cx="7061787" cy="490537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bg1"/>
                </a:solidFill>
              </a:defRPr>
            </a:lvl1pPr>
          </a:lstStyle>
          <a:p>
            <a:r>
              <a:rPr lang="en-US"/>
              <a:t>Click to edit Master title style</a:t>
            </a:r>
          </a:p>
        </p:txBody>
      </p:sp>
      <p:sp>
        <p:nvSpPr>
          <p:cNvPr id="6" name="Text Placeholder 3">
            <a:extLst>
              <a:ext uri="{FF2B5EF4-FFF2-40B4-BE49-F238E27FC236}">
                <a16:creationId xmlns:a16="http://schemas.microsoft.com/office/drawing/2014/main" id="{F014AE30-3464-4B6F-AD2C-2AECE7250189}"/>
              </a:ext>
            </a:extLst>
          </p:cNvPr>
          <p:cNvSpPr>
            <a:spLocks noGrp="1"/>
          </p:cNvSpPr>
          <p:nvPr>
            <p:ph type="body" sz="quarter" idx="12" hasCustomPrompt="1"/>
          </p:nvPr>
        </p:nvSpPr>
        <p:spPr>
          <a:xfrm>
            <a:off x="1289860" y="1140069"/>
            <a:ext cx="1082675" cy="812530"/>
          </a:xfrm>
        </p:spPr>
        <p:txBody>
          <a:bodyPr>
            <a:spAutoFit/>
          </a:bodyPr>
          <a:lstStyle>
            <a:lvl1pPr>
              <a:lnSpc>
                <a:spcPct val="80000"/>
              </a:lnSpc>
              <a:defRPr lang="en-US" sz="6600" kern="1200" baseline="0" dirty="0" smtClean="0">
                <a:solidFill>
                  <a:schemeClr val="bg1"/>
                </a:solidFill>
                <a:latin typeface="+mj-lt"/>
                <a:ea typeface="+mj-ea"/>
                <a:cs typeface="+mj-cs"/>
              </a:defRPr>
            </a:lvl1pPr>
          </a:lstStyle>
          <a:p>
            <a:pPr lvl="0"/>
            <a:r>
              <a:rPr lang="en-US"/>
              <a:t>00</a:t>
            </a:r>
          </a:p>
        </p:txBody>
      </p:sp>
      <p:sp>
        <p:nvSpPr>
          <p:cNvPr id="7" name="Text Placeholder 3">
            <a:extLst>
              <a:ext uri="{FF2B5EF4-FFF2-40B4-BE49-F238E27FC236}">
                <a16:creationId xmlns:a16="http://schemas.microsoft.com/office/drawing/2014/main" id="{226D1C61-DFFA-4616-9BF6-6877233CE1B8}"/>
              </a:ext>
            </a:extLst>
          </p:cNvPr>
          <p:cNvSpPr>
            <a:spLocks noGrp="1"/>
          </p:cNvSpPr>
          <p:nvPr>
            <p:ph type="body" sz="quarter" idx="11"/>
          </p:nvPr>
        </p:nvSpPr>
        <p:spPr>
          <a:xfrm>
            <a:off x="1289860" y="5046651"/>
            <a:ext cx="5252400" cy="507831"/>
          </a:xfrm>
        </p:spPr>
        <p:txBody>
          <a:bodyPr wrap="square" anchor="b">
            <a:sp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677176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0_Divider 1">
    <p:bg>
      <p:bgPr>
        <a:solidFill>
          <a:schemeClr val="accent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1EC5F3F-6502-43AA-BB6C-FE67BA6E5AC1}"/>
              </a:ext>
            </a:extLst>
          </p:cNvPr>
          <p:cNvPicPr>
            <a:picLocks noChangeAspect="1"/>
          </p:cNvPicPr>
          <p:nvPr userDrawn="1"/>
        </p:nvPicPr>
        <p:blipFill rotWithShape="1">
          <a:blip r:embed="rId2"/>
          <a:srcRect t="19893" b="3805"/>
          <a:stretch/>
        </p:blipFill>
        <p:spPr>
          <a:xfrm>
            <a:off x="0" y="0"/>
            <a:ext cx="12192000" cy="6858001"/>
          </a:xfrm>
          <a:prstGeom prst="rect">
            <a:avLst/>
          </a:prstGeom>
        </p:spPr>
      </p:pic>
      <p:sp>
        <p:nvSpPr>
          <p:cNvPr id="58" name="Rectangle 57">
            <a:extLst>
              <a:ext uri="{FF2B5EF4-FFF2-40B4-BE49-F238E27FC236}">
                <a16:creationId xmlns:a16="http://schemas.microsoft.com/office/drawing/2014/main" id="{79D65585-570B-4F7D-B4BC-0F7CFAF52BAF}"/>
              </a:ext>
              <a:ext uri="{C183D7F6-B498-43B3-948B-1728B52AA6E4}">
                <adec:decorative xmlns:adec="http://schemas.microsoft.com/office/drawing/2017/decorative" val="1"/>
              </a:ext>
            </a:extLst>
          </p:cNvPr>
          <p:cNvSpPr>
            <a:spLocks noChangeAspect="1"/>
          </p:cNvSpPr>
          <p:nvPr userDrawn="1"/>
        </p:nvSpPr>
        <p:spPr>
          <a:xfrm>
            <a:off x="998476" y="971550"/>
            <a:ext cx="7061787" cy="490537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bg1"/>
                </a:solidFill>
              </a:defRPr>
            </a:lvl1pPr>
          </a:lstStyle>
          <a:p>
            <a:r>
              <a:rPr lang="en-US"/>
              <a:t>Click to edit Master title style</a:t>
            </a:r>
          </a:p>
        </p:txBody>
      </p:sp>
      <p:sp>
        <p:nvSpPr>
          <p:cNvPr id="6" name="Text Placeholder 3">
            <a:extLst>
              <a:ext uri="{FF2B5EF4-FFF2-40B4-BE49-F238E27FC236}">
                <a16:creationId xmlns:a16="http://schemas.microsoft.com/office/drawing/2014/main" id="{F014AE30-3464-4B6F-AD2C-2AECE7250189}"/>
              </a:ext>
            </a:extLst>
          </p:cNvPr>
          <p:cNvSpPr>
            <a:spLocks noGrp="1"/>
          </p:cNvSpPr>
          <p:nvPr>
            <p:ph type="body" sz="quarter" idx="12" hasCustomPrompt="1"/>
          </p:nvPr>
        </p:nvSpPr>
        <p:spPr>
          <a:xfrm>
            <a:off x="1289860" y="1140069"/>
            <a:ext cx="1082675" cy="812530"/>
          </a:xfrm>
        </p:spPr>
        <p:txBody>
          <a:bodyPr>
            <a:spAutoFit/>
          </a:bodyPr>
          <a:lstStyle>
            <a:lvl1pPr>
              <a:lnSpc>
                <a:spcPct val="80000"/>
              </a:lnSpc>
              <a:defRPr lang="en-US" sz="6600" kern="1200" baseline="0" dirty="0" smtClean="0">
                <a:solidFill>
                  <a:schemeClr val="bg1"/>
                </a:solidFill>
                <a:latin typeface="+mj-lt"/>
                <a:ea typeface="+mj-ea"/>
                <a:cs typeface="+mj-cs"/>
              </a:defRPr>
            </a:lvl1pPr>
          </a:lstStyle>
          <a:p>
            <a:pPr lvl="0"/>
            <a:r>
              <a:rPr lang="en-US"/>
              <a:t>00</a:t>
            </a:r>
          </a:p>
        </p:txBody>
      </p:sp>
      <p:sp>
        <p:nvSpPr>
          <p:cNvPr id="7" name="Text Placeholder 3">
            <a:extLst>
              <a:ext uri="{FF2B5EF4-FFF2-40B4-BE49-F238E27FC236}">
                <a16:creationId xmlns:a16="http://schemas.microsoft.com/office/drawing/2014/main" id="{226D1C61-DFFA-4616-9BF6-6877233CE1B8}"/>
              </a:ext>
            </a:extLst>
          </p:cNvPr>
          <p:cNvSpPr>
            <a:spLocks noGrp="1"/>
          </p:cNvSpPr>
          <p:nvPr>
            <p:ph type="body" sz="quarter" idx="11"/>
          </p:nvPr>
        </p:nvSpPr>
        <p:spPr>
          <a:xfrm>
            <a:off x="1289860" y="5046651"/>
            <a:ext cx="5252400" cy="507831"/>
          </a:xfrm>
        </p:spPr>
        <p:txBody>
          <a:bodyPr wrap="square" anchor="b">
            <a:sp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919166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1_Divider 1">
    <p:bg>
      <p:bgPr>
        <a:solidFill>
          <a:schemeClr val="accent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66CBE5D-531D-47D5-86CD-21927AA5E551}"/>
              </a:ext>
            </a:extLst>
          </p:cNvPr>
          <p:cNvPicPr>
            <a:picLocks noChangeAspect="1"/>
          </p:cNvPicPr>
          <p:nvPr userDrawn="1"/>
        </p:nvPicPr>
        <p:blipFill rotWithShape="1">
          <a:blip r:embed="rId2"/>
          <a:srcRect t="21907" r="25653" b="15362"/>
          <a:stretch/>
        </p:blipFill>
        <p:spPr>
          <a:xfrm>
            <a:off x="0" y="0"/>
            <a:ext cx="12192000" cy="6858000"/>
          </a:xfrm>
          <a:prstGeom prst="rect">
            <a:avLst/>
          </a:prstGeom>
        </p:spPr>
      </p:pic>
      <p:sp>
        <p:nvSpPr>
          <p:cNvPr id="58" name="Rectangle 57">
            <a:extLst>
              <a:ext uri="{FF2B5EF4-FFF2-40B4-BE49-F238E27FC236}">
                <a16:creationId xmlns:a16="http://schemas.microsoft.com/office/drawing/2014/main" id="{79D65585-570B-4F7D-B4BC-0F7CFAF52BAF}"/>
              </a:ext>
              <a:ext uri="{C183D7F6-B498-43B3-948B-1728B52AA6E4}">
                <adec:decorative xmlns:adec="http://schemas.microsoft.com/office/drawing/2017/decorative" val="1"/>
              </a:ext>
            </a:extLst>
          </p:cNvPr>
          <p:cNvSpPr>
            <a:spLocks noChangeAspect="1"/>
          </p:cNvSpPr>
          <p:nvPr userDrawn="1"/>
        </p:nvSpPr>
        <p:spPr>
          <a:xfrm>
            <a:off x="998476" y="971550"/>
            <a:ext cx="7061787" cy="490537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1" name="Title 1">
            <a:extLst>
              <a:ext uri="{FF2B5EF4-FFF2-40B4-BE49-F238E27FC236}">
                <a16:creationId xmlns:a16="http://schemas.microsoft.com/office/drawing/2014/main" id="{D07C0B89-7E09-423B-A068-1AF6A41E8CE4}"/>
              </a:ext>
            </a:extLst>
          </p:cNvPr>
          <p:cNvSpPr>
            <a:spLocks noGrp="1"/>
          </p:cNvSpPr>
          <p:nvPr>
            <p:ph type="ctrTitle"/>
          </p:nvPr>
        </p:nvSpPr>
        <p:spPr>
          <a:xfrm>
            <a:off x="1289860" y="2398601"/>
            <a:ext cx="5252400" cy="2367199"/>
          </a:xfrm>
          <a:noFill/>
        </p:spPr>
        <p:txBody>
          <a:bodyPr lIns="0" tIns="0" rIns="0" bIns="0" anchor="t" anchorCtr="0"/>
          <a:lstStyle>
            <a:lvl1pPr algn="l">
              <a:defRPr sz="8000" baseline="0">
                <a:solidFill>
                  <a:schemeClr val="bg1"/>
                </a:solidFill>
              </a:defRPr>
            </a:lvl1pPr>
          </a:lstStyle>
          <a:p>
            <a:r>
              <a:rPr lang="en-US"/>
              <a:t>Click to edit Master title style</a:t>
            </a:r>
          </a:p>
        </p:txBody>
      </p:sp>
      <p:sp>
        <p:nvSpPr>
          <p:cNvPr id="6" name="Text Placeholder 3">
            <a:extLst>
              <a:ext uri="{FF2B5EF4-FFF2-40B4-BE49-F238E27FC236}">
                <a16:creationId xmlns:a16="http://schemas.microsoft.com/office/drawing/2014/main" id="{F014AE30-3464-4B6F-AD2C-2AECE7250189}"/>
              </a:ext>
            </a:extLst>
          </p:cNvPr>
          <p:cNvSpPr>
            <a:spLocks noGrp="1"/>
          </p:cNvSpPr>
          <p:nvPr>
            <p:ph type="body" sz="quarter" idx="12" hasCustomPrompt="1"/>
          </p:nvPr>
        </p:nvSpPr>
        <p:spPr>
          <a:xfrm>
            <a:off x="1289860" y="1140069"/>
            <a:ext cx="1082675" cy="812530"/>
          </a:xfrm>
        </p:spPr>
        <p:txBody>
          <a:bodyPr>
            <a:spAutoFit/>
          </a:bodyPr>
          <a:lstStyle>
            <a:lvl1pPr>
              <a:lnSpc>
                <a:spcPct val="80000"/>
              </a:lnSpc>
              <a:defRPr lang="en-US" sz="6600" kern="1200" baseline="0" dirty="0" smtClean="0">
                <a:solidFill>
                  <a:schemeClr val="bg1"/>
                </a:solidFill>
                <a:latin typeface="+mj-lt"/>
                <a:ea typeface="+mj-ea"/>
                <a:cs typeface="+mj-cs"/>
              </a:defRPr>
            </a:lvl1pPr>
          </a:lstStyle>
          <a:p>
            <a:pPr lvl="0"/>
            <a:r>
              <a:rPr lang="en-US"/>
              <a:t>00</a:t>
            </a:r>
          </a:p>
        </p:txBody>
      </p:sp>
      <p:sp>
        <p:nvSpPr>
          <p:cNvPr id="7" name="Text Placeholder 3">
            <a:extLst>
              <a:ext uri="{FF2B5EF4-FFF2-40B4-BE49-F238E27FC236}">
                <a16:creationId xmlns:a16="http://schemas.microsoft.com/office/drawing/2014/main" id="{226D1C61-DFFA-4616-9BF6-6877233CE1B8}"/>
              </a:ext>
            </a:extLst>
          </p:cNvPr>
          <p:cNvSpPr>
            <a:spLocks noGrp="1"/>
          </p:cNvSpPr>
          <p:nvPr>
            <p:ph type="body" sz="quarter" idx="11"/>
          </p:nvPr>
        </p:nvSpPr>
        <p:spPr>
          <a:xfrm>
            <a:off x="1289860" y="5046651"/>
            <a:ext cx="5252400" cy="507831"/>
          </a:xfrm>
        </p:spPr>
        <p:txBody>
          <a:bodyPr wrap="square" anchor="b">
            <a:sp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420107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_KPMG Blue">
    <p:bg>
      <p:bgPr>
        <a:solidFill>
          <a:schemeClr val="accent2"/>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ACB44795-849A-41CE-8B25-0DE9EB09F9BA}"/>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
        <p:nvSpPr>
          <p:cNvPr id="16" name="Rectangle 15">
            <a:extLst>
              <a:ext uri="{FF2B5EF4-FFF2-40B4-BE49-F238E27FC236}">
                <a16:creationId xmlns:a16="http://schemas.microsoft.com/office/drawing/2014/main" id="{7F73FA8F-86B4-4B38-9318-B211F1BBAFEB}"/>
              </a:ext>
              <a:ext uri="{C183D7F6-B498-43B3-948B-1728B52AA6E4}">
                <adec:decorative xmlns:adec="http://schemas.microsoft.com/office/drawing/2017/decorative" val="1"/>
              </a:ext>
            </a:extLst>
          </p:cNvPr>
          <p:cNvSpPr>
            <a:spLocks noChangeAspect="1"/>
          </p:cNvSpPr>
          <p:nvPr userDrawn="1"/>
        </p:nvSpPr>
        <p:spPr>
          <a:xfrm>
            <a:off x="998476" y="1470479"/>
            <a:ext cx="3053689" cy="4410949"/>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1274841" y="1759937"/>
            <a:ext cx="2487266" cy="2900514"/>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6" name="Text Placeholder 3"/>
          <p:cNvSpPr>
            <a:spLocks noGrp="1"/>
          </p:cNvSpPr>
          <p:nvPr userDrawn="1">
            <p:ph type="body" sz="quarter" idx="11"/>
          </p:nvPr>
        </p:nvSpPr>
        <p:spPr>
          <a:xfrm>
            <a:off x="1274841" y="4752153"/>
            <a:ext cx="2487267" cy="81577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625286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2_Divider 1">
    <p:bg>
      <p:bgPr>
        <a:solidFill>
          <a:schemeClr val="accent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785144D-46CC-4182-A3D1-95CC224828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 t="6140" r="18085" b="24749"/>
          <a:stretch/>
        </p:blipFill>
        <p:spPr>
          <a:xfrm>
            <a:off x="-600" y="1"/>
            <a:ext cx="12193200" cy="6857999"/>
          </a:xfrm>
          <a:prstGeom prst="rect">
            <a:avLst/>
          </a:prstGeom>
        </p:spPr>
      </p:pic>
      <p:sp>
        <p:nvSpPr>
          <p:cNvPr id="10" name="Graphic 6">
            <a:extLst>
              <a:ext uri="{FF2B5EF4-FFF2-40B4-BE49-F238E27FC236}">
                <a16:creationId xmlns:a16="http://schemas.microsoft.com/office/drawing/2014/main" id="{4D4DF8AF-1216-40FD-B151-0E3ACCDE118A}"/>
              </a:ext>
            </a:extLst>
          </p:cNvPr>
          <p:cNvSpPr/>
          <p:nvPr userDrawn="1"/>
        </p:nvSpPr>
        <p:spPr>
          <a:xfrm>
            <a:off x="2234933" y="1882443"/>
            <a:ext cx="7718488" cy="3099991"/>
          </a:xfrm>
          <a:custGeom>
            <a:avLst/>
            <a:gdLst>
              <a:gd name="connsiteX0" fmla="*/ 6005027 w 7718488"/>
              <a:gd name="connsiteY0" fmla="*/ -77 h 3099991"/>
              <a:gd name="connsiteX1" fmla="*/ 6005027 w 7718488"/>
              <a:gd name="connsiteY1" fmla="*/ 1546752 h 3099991"/>
              <a:gd name="connsiteX2" fmla="*/ 5861992 w 7718488"/>
              <a:gd name="connsiteY2" fmla="*/ 1684334 h 3099991"/>
              <a:gd name="connsiteX3" fmla="*/ 5861992 w 7718488"/>
              <a:gd name="connsiteY3" fmla="*/ -77 h 3099991"/>
              <a:gd name="connsiteX4" fmla="*/ 4148727 w 7718488"/>
              <a:gd name="connsiteY4" fmla="*/ -77 h 3099991"/>
              <a:gd name="connsiteX5" fmla="*/ 4148727 w 7718488"/>
              <a:gd name="connsiteY5" fmla="*/ 1408466 h 3099991"/>
              <a:gd name="connsiteX6" fmla="*/ 4006746 w 7718488"/>
              <a:gd name="connsiteY6" fmla="*/ 1408466 h 3099991"/>
              <a:gd name="connsiteX7" fmla="*/ 4006746 w 7718488"/>
              <a:gd name="connsiteY7" fmla="*/ -77 h 3099991"/>
              <a:gd name="connsiteX8" fmla="*/ 2292953 w 7718488"/>
              <a:gd name="connsiteY8" fmla="*/ -77 h 3099991"/>
              <a:gd name="connsiteX9" fmla="*/ 2292953 w 7718488"/>
              <a:gd name="connsiteY9" fmla="*/ 1410753 h 3099991"/>
              <a:gd name="connsiteX10" fmla="*/ 2151149 w 7718488"/>
              <a:gd name="connsiteY10" fmla="*/ 1410753 h 3099991"/>
              <a:gd name="connsiteX11" fmla="*/ 2151149 w 7718488"/>
              <a:gd name="connsiteY11" fmla="*/ -77 h 3099991"/>
              <a:gd name="connsiteX12" fmla="*/ 437180 w 7718488"/>
              <a:gd name="connsiteY12" fmla="*/ -77 h 3099991"/>
              <a:gd name="connsiteX13" fmla="*/ 437180 w 7718488"/>
              <a:gd name="connsiteY13" fmla="*/ 1607802 h 3099991"/>
              <a:gd name="connsiteX14" fmla="*/ -21 w 7718488"/>
              <a:gd name="connsiteY14" fmla="*/ 3065783 h 3099991"/>
              <a:gd name="connsiteX15" fmla="*/ 384575 w 7718488"/>
              <a:gd name="connsiteY15" fmla="*/ 3065783 h 3099991"/>
              <a:gd name="connsiteX16" fmla="*/ 578105 w 7718488"/>
              <a:gd name="connsiteY16" fmla="*/ 2420098 h 3099991"/>
              <a:gd name="connsiteX17" fmla="*/ 633701 w 7718488"/>
              <a:gd name="connsiteY17" fmla="*/ 2420098 h 3099991"/>
              <a:gd name="connsiteX18" fmla="*/ 952673 w 7718488"/>
              <a:gd name="connsiteY18" fmla="*/ 3065783 h 3099991"/>
              <a:gd name="connsiteX19" fmla="*/ 1417144 w 7718488"/>
              <a:gd name="connsiteY19" fmla="*/ 3065783 h 3099991"/>
              <a:gd name="connsiteX20" fmla="*/ 1107496 w 7718488"/>
              <a:gd name="connsiteY20" fmla="*/ 2420098 h 3099991"/>
              <a:gd name="connsiteX21" fmla="*/ 1809657 w 7718488"/>
              <a:gd name="connsiteY21" fmla="*/ 2420098 h 3099991"/>
              <a:gd name="connsiteX22" fmla="*/ 1614896 w 7718488"/>
              <a:gd name="connsiteY22" fmla="*/ 3065783 h 3099991"/>
              <a:gd name="connsiteX23" fmla="*/ 2035207 w 7718488"/>
              <a:gd name="connsiteY23" fmla="*/ 3065783 h 3099991"/>
              <a:gd name="connsiteX24" fmla="*/ 2227329 w 7718488"/>
              <a:gd name="connsiteY24" fmla="*/ 2421857 h 3099991"/>
              <a:gd name="connsiteX25" fmla="*/ 2319696 w 7718488"/>
              <a:gd name="connsiteY25" fmla="*/ 2421857 h 3099991"/>
              <a:gd name="connsiteX26" fmla="*/ 2319696 w 7718488"/>
              <a:gd name="connsiteY26" fmla="*/ 2420098 h 3099991"/>
              <a:gd name="connsiteX27" fmla="*/ 3255324 w 7718488"/>
              <a:gd name="connsiteY27" fmla="*/ 2420098 h 3099991"/>
              <a:gd name="connsiteX28" fmla="*/ 3069711 w 7718488"/>
              <a:gd name="connsiteY28" fmla="*/ 3064024 h 3099991"/>
              <a:gd name="connsiteX29" fmla="*/ 3493541 w 7718488"/>
              <a:gd name="connsiteY29" fmla="*/ 3064024 h 3099991"/>
              <a:gd name="connsiteX30" fmla="*/ 3673172 w 7718488"/>
              <a:gd name="connsiteY30" fmla="*/ 2420098 h 3099991"/>
              <a:gd name="connsiteX31" fmla="*/ 3863886 w 7718488"/>
              <a:gd name="connsiteY31" fmla="*/ 2420098 h 3099991"/>
              <a:gd name="connsiteX32" fmla="*/ 3868988 w 7718488"/>
              <a:gd name="connsiteY32" fmla="*/ 3064024 h 3099991"/>
              <a:gd name="connsiteX33" fmla="*/ 4224555 w 7718488"/>
              <a:gd name="connsiteY33" fmla="*/ 3064024 h 3099991"/>
              <a:gd name="connsiteX34" fmla="*/ 4632375 w 7718488"/>
              <a:gd name="connsiteY34" fmla="*/ 2420098 h 3099991"/>
              <a:gd name="connsiteX35" fmla="*/ 4899445 w 7718488"/>
              <a:gd name="connsiteY35" fmla="*/ 2420098 h 3099991"/>
              <a:gd name="connsiteX36" fmla="*/ 4761688 w 7718488"/>
              <a:gd name="connsiteY36" fmla="*/ 3064024 h 3099991"/>
              <a:gd name="connsiteX37" fmla="*/ 5178832 w 7718488"/>
              <a:gd name="connsiteY37" fmla="*/ 3064024 h 3099991"/>
              <a:gd name="connsiteX38" fmla="*/ 5314303 w 7718488"/>
              <a:gd name="connsiteY38" fmla="*/ 2420098 h 3099991"/>
              <a:gd name="connsiteX39" fmla="*/ 5555511 w 7718488"/>
              <a:gd name="connsiteY39" fmla="*/ 2420098 h 3099991"/>
              <a:gd name="connsiteX40" fmla="*/ 5729336 w 7718488"/>
              <a:gd name="connsiteY40" fmla="*/ 2922923 h 3099991"/>
              <a:gd name="connsiteX41" fmla="*/ 6322944 w 7718488"/>
              <a:gd name="connsiteY41" fmla="*/ 3099914 h 3099991"/>
              <a:gd name="connsiteX42" fmla="*/ 7097942 w 7718488"/>
              <a:gd name="connsiteY42" fmla="*/ 3004733 h 3099991"/>
              <a:gd name="connsiteX43" fmla="*/ 7242385 w 7718488"/>
              <a:gd name="connsiteY43" fmla="*/ 2420098 h 3099991"/>
              <a:gd name="connsiteX44" fmla="*/ 7718468 w 7718488"/>
              <a:gd name="connsiteY44" fmla="*/ 2420098 h 3099991"/>
              <a:gd name="connsiteX45" fmla="*/ 7718468 w 7718488"/>
              <a:gd name="connsiteY45" fmla="*/ -77 h 3099991"/>
              <a:gd name="connsiteX46" fmla="*/ 2089395 w 7718488"/>
              <a:gd name="connsiteY46" fmla="*/ 1492915 h 3099991"/>
              <a:gd name="connsiteX47" fmla="*/ 2064413 w 7718488"/>
              <a:gd name="connsiteY47" fmla="*/ 1575429 h 3099991"/>
              <a:gd name="connsiteX48" fmla="*/ 1836575 w 7718488"/>
              <a:gd name="connsiteY48" fmla="*/ 2333889 h 3099991"/>
              <a:gd name="connsiteX49" fmla="*/ 1827603 w 7718488"/>
              <a:gd name="connsiteY49" fmla="*/ 2360808 h 3099991"/>
              <a:gd name="connsiteX50" fmla="*/ 1078291 w 7718488"/>
              <a:gd name="connsiteY50" fmla="*/ 2360808 h 3099991"/>
              <a:gd name="connsiteX51" fmla="*/ 1019704 w 7718488"/>
              <a:gd name="connsiteY51" fmla="*/ 2237652 h 3099991"/>
              <a:gd name="connsiteX52" fmla="*/ 1827603 w 7718488"/>
              <a:gd name="connsiteY52" fmla="*/ 1411985 h 3099991"/>
              <a:gd name="connsiteX53" fmla="*/ 1308591 w 7718488"/>
              <a:gd name="connsiteY53" fmla="*/ 1411985 h 3099991"/>
              <a:gd name="connsiteX54" fmla="*/ 676805 w 7718488"/>
              <a:gd name="connsiteY54" fmla="*/ 2091274 h 3099991"/>
              <a:gd name="connsiteX55" fmla="*/ 881419 w 7718488"/>
              <a:gd name="connsiteY55" fmla="*/ 1410753 h 3099991"/>
              <a:gd name="connsiteX56" fmla="*/ 498582 w 7718488"/>
              <a:gd name="connsiteY56" fmla="*/ 1410753 h 3099991"/>
              <a:gd name="connsiteX57" fmla="*/ 498582 w 7718488"/>
              <a:gd name="connsiteY57" fmla="*/ 60972 h 3099991"/>
              <a:gd name="connsiteX58" fmla="*/ 2089395 w 7718488"/>
              <a:gd name="connsiteY58" fmla="*/ 60972 h 3099991"/>
              <a:gd name="connsiteX59" fmla="*/ 2531874 w 7718488"/>
              <a:gd name="connsiteY59" fmla="*/ 2133498 h 3099991"/>
              <a:gd name="connsiteX60" fmla="*/ 2531874 w 7718488"/>
              <a:gd name="connsiteY60" fmla="*/ 2133498 h 3099991"/>
              <a:gd name="connsiteX61" fmla="*/ 2483140 w 7718488"/>
              <a:gd name="connsiteY61" fmla="*/ 2135786 h 3099991"/>
              <a:gd name="connsiteX62" fmla="*/ 2424554 w 7718488"/>
              <a:gd name="connsiteY62" fmla="*/ 2135786 h 3099991"/>
              <a:gd name="connsiteX63" fmla="*/ 2322863 w 7718488"/>
              <a:gd name="connsiteY63" fmla="*/ 2135786 h 3099991"/>
              <a:gd name="connsiteX64" fmla="*/ 2369838 w 7718488"/>
              <a:gd name="connsiteY64" fmla="*/ 1961609 h 3099991"/>
              <a:gd name="connsiteX65" fmla="*/ 2392005 w 7718488"/>
              <a:gd name="connsiteY65" fmla="*/ 1874872 h 3099991"/>
              <a:gd name="connsiteX66" fmla="*/ 2445666 w 7718488"/>
              <a:gd name="connsiteY66" fmla="*/ 1672546 h 3099991"/>
              <a:gd name="connsiteX67" fmla="*/ 2514633 w 7718488"/>
              <a:gd name="connsiteY67" fmla="*/ 1671491 h 3099991"/>
              <a:gd name="connsiteX68" fmla="*/ 2593452 w 7718488"/>
              <a:gd name="connsiteY68" fmla="*/ 1671491 h 3099991"/>
              <a:gd name="connsiteX69" fmla="*/ 2844337 w 7718488"/>
              <a:gd name="connsiteY69" fmla="*/ 1722512 h 3099991"/>
              <a:gd name="connsiteX70" fmla="*/ 2837124 w 7718488"/>
              <a:gd name="connsiteY70" fmla="*/ 1896688 h 3099991"/>
              <a:gd name="connsiteX71" fmla="*/ 2532402 w 7718488"/>
              <a:gd name="connsiteY71" fmla="*/ 2133498 h 3099991"/>
              <a:gd name="connsiteX72" fmla="*/ 3690941 w 7718488"/>
              <a:gd name="connsiteY72" fmla="*/ 2359928 h 3099991"/>
              <a:gd name="connsiteX73" fmla="*/ 3858432 w 7718488"/>
              <a:gd name="connsiteY73" fmla="*/ 1764736 h 3099991"/>
              <a:gd name="connsiteX74" fmla="*/ 3864414 w 7718488"/>
              <a:gd name="connsiteY74" fmla="*/ 2359928 h 3099991"/>
              <a:gd name="connsiteX75" fmla="*/ 3944641 w 7718488"/>
              <a:gd name="connsiteY75" fmla="*/ 1408466 h 3099991"/>
              <a:gd name="connsiteX76" fmla="*/ 3546674 w 7718488"/>
              <a:gd name="connsiteY76" fmla="*/ 1408466 h 3099991"/>
              <a:gd name="connsiteX77" fmla="*/ 3273445 w 7718488"/>
              <a:gd name="connsiteY77" fmla="*/ 2359928 h 3099991"/>
              <a:gd name="connsiteX78" fmla="*/ 2851198 w 7718488"/>
              <a:gd name="connsiteY78" fmla="*/ 2359928 h 3099991"/>
              <a:gd name="connsiteX79" fmla="*/ 3238258 w 7718488"/>
              <a:gd name="connsiteY79" fmla="*/ 1902494 h 3099991"/>
              <a:gd name="connsiteX80" fmla="*/ 3184421 w 7718488"/>
              <a:gd name="connsiteY80" fmla="*/ 1525287 h 3099991"/>
              <a:gd name="connsiteX81" fmla="*/ 2671040 w 7718488"/>
              <a:gd name="connsiteY81" fmla="*/ 1407938 h 3099991"/>
              <a:gd name="connsiteX82" fmla="*/ 2354355 w 7718488"/>
              <a:gd name="connsiteY82" fmla="*/ 1407938 h 3099991"/>
              <a:gd name="connsiteX83" fmla="*/ 2354355 w 7718488"/>
              <a:gd name="connsiteY83" fmla="*/ 60972 h 3099991"/>
              <a:gd name="connsiteX84" fmla="*/ 3944641 w 7718488"/>
              <a:gd name="connsiteY84" fmla="*/ 60972 h 3099991"/>
              <a:gd name="connsiteX85" fmla="*/ 4912289 w 7718488"/>
              <a:gd name="connsiteY85" fmla="*/ 2359928 h 3099991"/>
              <a:gd name="connsiteX86" fmla="*/ 4672136 w 7718488"/>
              <a:gd name="connsiteY86" fmla="*/ 2359928 h 3099991"/>
              <a:gd name="connsiteX87" fmla="*/ 5035444 w 7718488"/>
              <a:gd name="connsiteY87" fmla="*/ 1789543 h 3099991"/>
              <a:gd name="connsiteX88" fmla="*/ 5801470 w 7718488"/>
              <a:gd name="connsiteY88" fmla="*/ 1435208 h 3099991"/>
              <a:gd name="connsiteX89" fmla="*/ 5800414 w 7718488"/>
              <a:gd name="connsiteY89" fmla="*/ 1764736 h 3099991"/>
              <a:gd name="connsiteX90" fmla="*/ 5588235 w 7718488"/>
              <a:gd name="connsiteY90" fmla="*/ 2220411 h 3099991"/>
              <a:gd name="connsiteX91" fmla="*/ 5563076 w 7718488"/>
              <a:gd name="connsiteY91" fmla="*/ 2359928 h 3099991"/>
              <a:gd name="connsiteX92" fmla="*/ 5329081 w 7718488"/>
              <a:gd name="connsiteY92" fmla="*/ 2359928 h 3099991"/>
              <a:gd name="connsiteX93" fmla="*/ 5528065 w 7718488"/>
              <a:gd name="connsiteY93" fmla="*/ 1410753 h 3099991"/>
              <a:gd name="connsiteX94" fmla="*/ 4854758 w 7718488"/>
              <a:gd name="connsiteY94" fmla="*/ 1410753 h 3099991"/>
              <a:gd name="connsiteX95" fmla="*/ 4252177 w 7718488"/>
              <a:gd name="connsiteY95" fmla="*/ 2360808 h 3099991"/>
              <a:gd name="connsiteX96" fmla="*/ 4208545 w 7718488"/>
              <a:gd name="connsiteY96" fmla="*/ 2360808 h 3099991"/>
              <a:gd name="connsiteX97" fmla="*/ 4208545 w 7718488"/>
              <a:gd name="connsiteY97" fmla="*/ 60972 h 3099991"/>
              <a:gd name="connsiteX98" fmla="*/ 5800766 w 7718488"/>
              <a:gd name="connsiteY98" fmla="*/ 60972 h 3099991"/>
              <a:gd name="connsiteX99" fmla="*/ 6718976 w 7718488"/>
              <a:gd name="connsiteY99" fmla="*/ 2748219 h 3099991"/>
              <a:gd name="connsiteX100" fmla="*/ 6451201 w 7718488"/>
              <a:gd name="connsiteY100" fmla="*/ 2775840 h 3099991"/>
              <a:gd name="connsiteX101" fmla="*/ 6058512 w 7718488"/>
              <a:gd name="connsiteY101" fmla="*/ 2420098 h 3099991"/>
              <a:gd name="connsiteX102" fmla="*/ 6800434 w 7718488"/>
              <a:gd name="connsiteY102" fmla="*/ 2420098 h 3099991"/>
              <a:gd name="connsiteX103" fmla="*/ 7658650 w 7718488"/>
              <a:gd name="connsiteY103" fmla="*/ 2359928 h 3099991"/>
              <a:gd name="connsiteX104" fmla="*/ 7256988 w 7718488"/>
              <a:gd name="connsiteY104" fmla="*/ 2359928 h 3099991"/>
              <a:gd name="connsiteX105" fmla="*/ 7322612 w 7718488"/>
              <a:gd name="connsiteY105" fmla="*/ 2094616 h 3099991"/>
              <a:gd name="connsiteX106" fmla="*/ 6519816 w 7718488"/>
              <a:gd name="connsiteY106" fmla="*/ 2094616 h 3099991"/>
              <a:gd name="connsiteX107" fmla="*/ 6453664 w 7718488"/>
              <a:gd name="connsiteY107" fmla="*/ 2359928 h 3099991"/>
              <a:gd name="connsiteX108" fmla="*/ 6065374 w 7718488"/>
              <a:gd name="connsiteY108" fmla="*/ 2359928 h 3099991"/>
              <a:gd name="connsiteX109" fmla="*/ 6065374 w 7718488"/>
              <a:gd name="connsiteY109" fmla="*/ 2305388 h 3099991"/>
              <a:gd name="connsiteX110" fmla="*/ 6084023 w 7718488"/>
              <a:gd name="connsiteY110" fmla="*/ 2210734 h 3099991"/>
              <a:gd name="connsiteX111" fmla="*/ 6667251 w 7718488"/>
              <a:gd name="connsiteY111" fmla="*/ 1642109 h 3099991"/>
              <a:gd name="connsiteX112" fmla="*/ 6905996 w 7718488"/>
              <a:gd name="connsiteY112" fmla="*/ 1868715 h 3099991"/>
              <a:gd name="connsiteX113" fmla="*/ 7383838 w 7718488"/>
              <a:gd name="connsiteY113" fmla="*/ 1868715 h 3099991"/>
              <a:gd name="connsiteX114" fmla="*/ 7344253 w 7718488"/>
              <a:gd name="connsiteY114" fmla="*/ 1514555 h 3099991"/>
              <a:gd name="connsiteX115" fmla="*/ 6770877 w 7718488"/>
              <a:gd name="connsiteY115" fmla="*/ 1316979 h 3099991"/>
              <a:gd name="connsiteX116" fmla="*/ 6065374 w 7718488"/>
              <a:gd name="connsiteY116" fmla="*/ 1503295 h 3099991"/>
              <a:gd name="connsiteX117" fmla="*/ 6065374 w 7718488"/>
              <a:gd name="connsiteY117" fmla="*/ 60621 h 3099991"/>
              <a:gd name="connsiteX118" fmla="*/ 7657946 w 7718488"/>
              <a:gd name="connsiteY118" fmla="*/ 60621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7718488" h="3099991">
                <a:moveTo>
                  <a:pt x="6005027" y="-77"/>
                </a:moveTo>
                <a:lnTo>
                  <a:pt x="6005027" y="1546752"/>
                </a:lnTo>
                <a:cubicBezTo>
                  <a:pt x="5953197" y="1588097"/>
                  <a:pt x="5905324" y="1634157"/>
                  <a:pt x="5861992" y="1684334"/>
                </a:cubicBezTo>
                <a:lnTo>
                  <a:pt x="5861992" y="-77"/>
                </a:lnTo>
                <a:lnTo>
                  <a:pt x="4148727" y="-77"/>
                </a:lnTo>
                <a:lnTo>
                  <a:pt x="4148727" y="1408466"/>
                </a:lnTo>
                <a:lnTo>
                  <a:pt x="4006746" y="1408466"/>
                </a:lnTo>
                <a:lnTo>
                  <a:pt x="4006746" y="-77"/>
                </a:lnTo>
                <a:lnTo>
                  <a:pt x="2292953" y="-77"/>
                </a:lnTo>
                <a:lnTo>
                  <a:pt x="2292953" y="1410753"/>
                </a:lnTo>
                <a:lnTo>
                  <a:pt x="2151149" y="1410753"/>
                </a:lnTo>
                <a:lnTo>
                  <a:pt x="2151149" y="-77"/>
                </a:lnTo>
                <a:lnTo>
                  <a:pt x="437180" y="-77"/>
                </a:lnTo>
                <a:lnTo>
                  <a:pt x="437180" y="1607802"/>
                </a:lnTo>
                <a:lnTo>
                  <a:pt x="-21" y="3065783"/>
                </a:lnTo>
                <a:lnTo>
                  <a:pt x="384575" y="3065783"/>
                </a:lnTo>
                <a:lnTo>
                  <a:pt x="578105" y="2420098"/>
                </a:lnTo>
                <a:lnTo>
                  <a:pt x="633701" y="2420098"/>
                </a:lnTo>
                <a:lnTo>
                  <a:pt x="952673" y="3065783"/>
                </a:lnTo>
                <a:lnTo>
                  <a:pt x="1417144" y="3065783"/>
                </a:lnTo>
                <a:lnTo>
                  <a:pt x="1107496" y="2420098"/>
                </a:lnTo>
                <a:lnTo>
                  <a:pt x="1809657" y="2420098"/>
                </a:lnTo>
                <a:lnTo>
                  <a:pt x="1614896" y="3065783"/>
                </a:lnTo>
                <a:lnTo>
                  <a:pt x="2035207" y="3065783"/>
                </a:lnTo>
                <a:lnTo>
                  <a:pt x="2227329" y="2421857"/>
                </a:lnTo>
                <a:lnTo>
                  <a:pt x="2319696" y="2421857"/>
                </a:lnTo>
                <a:lnTo>
                  <a:pt x="2319696" y="2420098"/>
                </a:lnTo>
                <a:lnTo>
                  <a:pt x="3255324" y="2420098"/>
                </a:lnTo>
                <a:lnTo>
                  <a:pt x="3069711" y="3064024"/>
                </a:lnTo>
                <a:lnTo>
                  <a:pt x="3493541" y="3064024"/>
                </a:lnTo>
                <a:lnTo>
                  <a:pt x="3673172" y="2420098"/>
                </a:lnTo>
                <a:lnTo>
                  <a:pt x="3863886" y="2420098"/>
                </a:lnTo>
                <a:lnTo>
                  <a:pt x="3868988" y="3064024"/>
                </a:lnTo>
                <a:lnTo>
                  <a:pt x="4224555" y="3064024"/>
                </a:lnTo>
                <a:lnTo>
                  <a:pt x="4632375" y="2420098"/>
                </a:lnTo>
                <a:lnTo>
                  <a:pt x="4899445" y="2420098"/>
                </a:lnTo>
                <a:lnTo>
                  <a:pt x="4761688" y="3064024"/>
                </a:lnTo>
                <a:lnTo>
                  <a:pt x="5178832" y="3064024"/>
                </a:lnTo>
                <a:lnTo>
                  <a:pt x="5314303" y="2420098"/>
                </a:lnTo>
                <a:lnTo>
                  <a:pt x="5555511" y="2420098"/>
                </a:lnTo>
                <a:cubicBezTo>
                  <a:pt x="5546010" y="2619609"/>
                  <a:pt x="5597032" y="2800999"/>
                  <a:pt x="5729336" y="2922923"/>
                </a:cubicBezTo>
                <a:cubicBezTo>
                  <a:pt x="5891197" y="3071413"/>
                  <a:pt x="6139091" y="3099914"/>
                  <a:pt x="6322944" y="3099914"/>
                </a:cubicBezTo>
                <a:cubicBezTo>
                  <a:pt x="6583998" y="3096836"/>
                  <a:pt x="6843908" y="3064903"/>
                  <a:pt x="7097942" y="3004733"/>
                </a:cubicBezTo>
                <a:lnTo>
                  <a:pt x="7242385" y="2420098"/>
                </a:lnTo>
                <a:lnTo>
                  <a:pt x="7718468" y="2420098"/>
                </a:lnTo>
                <a:lnTo>
                  <a:pt x="7718468" y="-77"/>
                </a:lnTo>
                <a:close/>
                <a:moveTo>
                  <a:pt x="2089395" y="1492915"/>
                </a:moveTo>
                <a:lnTo>
                  <a:pt x="2064413" y="1575429"/>
                </a:lnTo>
                <a:lnTo>
                  <a:pt x="1836575" y="2333889"/>
                </a:lnTo>
                <a:lnTo>
                  <a:pt x="1827603" y="2360808"/>
                </a:lnTo>
                <a:lnTo>
                  <a:pt x="1078291" y="2360808"/>
                </a:lnTo>
                <a:lnTo>
                  <a:pt x="1019704" y="2237652"/>
                </a:lnTo>
                <a:lnTo>
                  <a:pt x="1827603" y="1411985"/>
                </a:lnTo>
                <a:lnTo>
                  <a:pt x="1308591" y="1411985"/>
                </a:lnTo>
                <a:lnTo>
                  <a:pt x="676805" y="2091274"/>
                </a:lnTo>
                <a:lnTo>
                  <a:pt x="881419" y="1410753"/>
                </a:lnTo>
                <a:lnTo>
                  <a:pt x="498582" y="1410753"/>
                </a:lnTo>
                <a:lnTo>
                  <a:pt x="498582" y="60972"/>
                </a:lnTo>
                <a:lnTo>
                  <a:pt x="2089395" y="60972"/>
                </a:lnTo>
                <a:close/>
                <a:moveTo>
                  <a:pt x="2531874" y="2133498"/>
                </a:moveTo>
                <a:lnTo>
                  <a:pt x="2531874" y="2133498"/>
                </a:lnTo>
                <a:cubicBezTo>
                  <a:pt x="2516568" y="2133498"/>
                  <a:pt x="2500910" y="2135786"/>
                  <a:pt x="2483140" y="2135786"/>
                </a:cubicBezTo>
                <a:cubicBezTo>
                  <a:pt x="2459741" y="2135786"/>
                  <a:pt x="2441795" y="2135786"/>
                  <a:pt x="2424554" y="2135786"/>
                </a:cubicBezTo>
                <a:lnTo>
                  <a:pt x="2322863" y="2135786"/>
                </a:lnTo>
                <a:lnTo>
                  <a:pt x="2369838" y="1961609"/>
                </a:lnTo>
                <a:lnTo>
                  <a:pt x="2392005" y="1874872"/>
                </a:lnTo>
                <a:lnTo>
                  <a:pt x="2445666" y="1672546"/>
                </a:lnTo>
                <a:cubicBezTo>
                  <a:pt x="2469417" y="1672546"/>
                  <a:pt x="2492465" y="1671491"/>
                  <a:pt x="2514633" y="1671491"/>
                </a:cubicBezTo>
                <a:lnTo>
                  <a:pt x="2593452" y="1671491"/>
                </a:lnTo>
                <a:cubicBezTo>
                  <a:pt x="2728219" y="1671491"/>
                  <a:pt x="2813372" y="1679231"/>
                  <a:pt x="2844337" y="1722512"/>
                </a:cubicBezTo>
                <a:cubicBezTo>
                  <a:pt x="2867912" y="1755060"/>
                  <a:pt x="2865097" y="1811360"/>
                  <a:pt x="2837124" y="1896688"/>
                </a:cubicBezTo>
                <a:cubicBezTo>
                  <a:pt x="2788917" y="2043771"/>
                  <a:pt x="2728219" y="2118544"/>
                  <a:pt x="2532402" y="2133498"/>
                </a:cubicBezTo>
                <a:moveTo>
                  <a:pt x="3690941" y="2359928"/>
                </a:moveTo>
                <a:lnTo>
                  <a:pt x="3858432" y="1764736"/>
                </a:lnTo>
                <a:lnTo>
                  <a:pt x="3864414" y="2359928"/>
                </a:lnTo>
                <a:close/>
                <a:moveTo>
                  <a:pt x="3944641" y="1408466"/>
                </a:moveTo>
                <a:lnTo>
                  <a:pt x="3546674" y="1408466"/>
                </a:lnTo>
                <a:lnTo>
                  <a:pt x="3273445" y="2359928"/>
                </a:lnTo>
                <a:lnTo>
                  <a:pt x="2851198" y="2359928"/>
                </a:lnTo>
                <a:cubicBezTo>
                  <a:pt x="3066368" y="2280229"/>
                  <a:pt x="3197265" y="2128220"/>
                  <a:pt x="3238258" y="1902494"/>
                </a:cubicBezTo>
                <a:cubicBezTo>
                  <a:pt x="3271685" y="1726558"/>
                  <a:pt x="3255851" y="1611672"/>
                  <a:pt x="3184421" y="1525287"/>
                </a:cubicBezTo>
                <a:cubicBezTo>
                  <a:pt x="3077100" y="1396854"/>
                  <a:pt x="2861931" y="1407938"/>
                  <a:pt x="2671040" y="1407938"/>
                </a:cubicBezTo>
                <a:lnTo>
                  <a:pt x="2354355" y="1407938"/>
                </a:lnTo>
                <a:lnTo>
                  <a:pt x="2354355" y="60972"/>
                </a:lnTo>
                <a:lnTo>
                  <a:pt x="3944641" y="60972"/>
                </a:lnTo>
                <a:close/>
                <a:moveTo>
                  <a:pt x="4912289" y="2359928"/>
                </a:moveTo>
                <a:lnTo>
                  <a:pt x="4672136" y="2359928"/>
                </a:lnTo>
                <a:lnTo>
                  <a:pt x="5035444" y="1789543"/>
                </a:lnTo>
                <a:close/>
                <a:moveTo>
                  <a:pt x="5801470" y="1435208"/>
                </a:moveTo>
                <a:lnTo>
                  <a:pt x="5800414" y="1764736"/>
                </a:lnTo>
                <a:cubicBezTo>
                  <a:pt x="5701327" y="1901738"/>
                  <a:pt x="5629298" y="2056403"/>
                  <a:pt x="5588235" y="2220411"/>
                </a:cubicBezTo>
                <a:cubicBezTo>
                  <a:pt x="5576254" y="2266189"/>
                  <a:pt x="5567844" y="2312847"/>
                  <a:pt x="5563076" y="2359928"/>
                </a:cubicBezTo>
                <a:lnTo>
                  <a:pt x="5329081" y="2359928"/>
                </a:lnTo>
                <a:lnTo>
                  <a:pt x="5528065" y="1410753"/>
                </a:lnTo>
                <a:lnTo>
                  <a:pt x="4854758" y="1410753"/>
                </a:lnTo>
                <a:lnTo>
                  <a:pt x="4252177" y="2360808"/>
                </a:lnTo>
                <a:lnTo>
                  <a:pt x="4208545" y="2360808"/>
                </a:lnTo>
                <a:lnTo>
                  <a:pt x="4208545" y="60972"/>
                </a:lnTo>
                <a:lnTo>
                  <a:pt x="5800766" y="60972"/>
                </a:lnTo>
                <a:close/>
                <a:moveTo>
                  <a:pt x="6718976" y="2748219"/>
                </a:moveTo>
                <a:cubicBezTo>
                  <a:pt x="6630709" y="2765355"/>
                  <a:pt x="6541104" y="2774591"/>
                  <a:pt x="6451201" y="2775840"/>
                </a:cubicBezTo>
                <a:cubicBezTo>
                  <a:pt x="6221605" y="2775840"/>
                  <a:pt x="6061855" y="2669047"/>
                  <a:pt x="6058512" y="2420098"/>
                </a:cubicBezTo>
                <a:lnTo>
                  <a:pt x="6800434" y="2420098"/>
                </a:lnTo>
                <a:close/>
                <a:moveTo>
                  <a:pt x="7658650" y="2359928"/>
                </a:moveTo>
                <a:lnTo>
                  <a:pt x="7256988" y="2359928"/>
                </a:lnTo>
                <a:lnTo>
                  <a:pt x="7322612" y="2094616"/>
                </a:lnTo>
                <a:lnTo>
                  <a:pt x="6519816" y="2094616"/>
                </a:lnTo>
                <a:lnTo>
                  <a:pt x="6453664" y="2359928"/>
                </a:lnTo>
                <a:lnTo>
                  <a:pt x="6065374" y="2359928"/>
                </a:lnTo>
                <a:lnTo>
                  <a:pt x="6065374" y="2305388"/>
                </a:lnTo>
                <a:cubicBezTo>
                  <a:pt x="6071355" y="2275479"/>
                  <a:pt x="6076458" y="2244162"/>
                  <a:pt x="6084023" y="2210734"/>
                </a:cubicBezTo>
                <a:cubicBezTo>
                  <a:pt x="6154397" y="1924662"/>
                  <a:pt x="6342648" y="1642109"/>
                  <a:pt x="6667251" y="1642109"/>
                </a:cubicBezTo>
                <a:cubicBezTo>
                  <a:pt x="6795684" y="1642109"/>
                  <a:pt x="6923413" y="1691019"/>
                  <a:pt x="6905996" y="1868715"/>
                </a:cubicBezTo>
                <a:lnTo>
                  <a:pt x="7383838" y="1868715"/>
                </a:lnTo>
                <a:cubicBezTo>
                  <a:pt x="7402839" y="1785849"/>
                  <a:pt x="7434332" y="1644572"/>
                  <a:pt x="7344253" y="1514555"/>
                </a:cubicBezTo>
                <a:cubicBezTo>
                  <a:pt x="7242385" y="1373807"/>
                  <a:pt x="7037244" y="1316979"/>
                  <a:pt x="6770877" y="1316979"/>
                </a:cubicBezTo>
                <a:cubicBezTo>
                  <a:pt x="6581570" y="1316979"/>
                  <a:pt x="6304647" y="1347240"/>
                  <a:pt x="6065374" y="1503295"/>
                </a:cubicBezTo>
                <a:lnTo>
                  <a:pt x="6065374" y="60621"/>
                </a:lnTo>
                <a:lnTo>
                  <a:pt x="7657946" y="60621"/>
                </a:lnTo>
                <a:close/>
              </a:path>
            </a:pathLst>
          </a:custGeom>
          <a:solidFill>
            <a:srgbClr val="EAC8E1"/>
          </a:solidFill>
          <a:ln w="17575" cap="flat">
            <a:noFill/>
            <a:prstDash val="solid"/>
            <a:miter/>
          </a:ln>
        </p:spPr>
        <p:txBody>
          <a:bodyPr rtlCol="0" anchor="ctr"/>
          <a:lstStyle/>
          <a:p>
            <a:endParaRPr lang="en-GB"/>
          </a:p>
        </p:txBody>
      </p:sp>
    </p:spTree>
    <p:extLst>
      <p:ext uri="{BB962C8B-B14F-4D97-AF65-F5344CB8AC3E}">
        <p14:creationId xmlns:p14="http://schemas.microsoft.com/office/powerpoint/2010/main" val="334345258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3_Divider 1">
    <p:bg>
      <p:bgPr>
        <a:solidFill>
          <a:schemeClr val="accent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D2D5E98-CE39-47CC-855B-4B6309FB1B1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158" t="38161" r="29443" b="3297"/>
          <a:stretch/>
        </p:blipFill>
        <p:spPr>
          <a:xfrm>
            <a:off x="0" y="0"/>
            <a:ext cx="12192000" cy="6856293"/>
          </a:xfrm>
          <a:prstGeom prst="rect">
            <a:avLst/>
          </a:prstGeom>
        </p:spPr>
      </p:pic>
      <p:sp>
        <p:nvSpPr>
          <p:cNvPr id="4" name="Rectangle 3">
            <a:extLst>
              <a:ext uri="{FF2B5EF4-FFF2-40B4-BE49-F238E27FC236}">
                <a16:creationId xmlns:a16="http://schemas.microsoft.com/office/drawing/2014/main" id="{15363C5B-40B4-4F64-AE5B-3E2E72489010}"/>
              </a:ext>
            </a:extLst>
          </p:cNvPr>
          <p:cNvSpPr/>
          <p:nvPr userDrawn="1"/>
        </p:nvSpPr>
        <p:spPr>
          <a:xfrm>
            <a:off x="0" y="0"/>
            <a:ext cx="12192000" cy="6858000"/>
          </a:xfrm>
          <a:prstGeom prst="rect">
            <a:avLst/>
          </a:prstGeom>
          <a:gradFill>
            <a:gsLst>
              <a:gs pos="100000">
                <a:srgbClr val="7213EA">
                  <a:alpha val="61000"/>
                </a:srgbClr>
              </a:gs>
              <a:gs pos="0">
                <a:srgbClr val="B497FF">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pic>
        <p:nvPicPr>
          <p:cNvPr id="5" name="Picture 4">
            <a:extLst>
              <a:ext uri="{FF2B5EF4-FFF2-40B4-BE49-F238E27FC236}">
                <a16:creationId xmlns:a16="http://schemas.microsoft.com/office/drawing/2014/main" id="{F353706E-3E17-4ADB-ABD7-5FD804863789}"/>
              </a:ext>
            </a:extLst>
          </p:cNvPr>
          <p:cNvPicPr>
            <a:picLocks noChangeAspect="1"/>
          </p:cNvPicPr>
          <p:nvPr userDrawn="1"/>
        </p:nvPicPr>
        <p:blipFill rotWithShape="1">
          <a:blip r:embed="rId3"/>
          <a:srcRect l="36229" t="38609" r="9603" b="28759"/>
          <a:stretch/>
        </p:blipFill>
        <p:spPr>
          <a:xfrm>
            <a:off x="2234913" y="1882367"/>
            <a:ext cx="7718489" cy="3099991"/>
          </a:xfrm>
          <a:custGeom>
            <a:avLst/>
            <a:gdLst>
              <a:gd name="connsiteX0" fmla="*/ 6058533 w 7718489"/>
              <a:gd name="connsiteY0" fmla="*/ 2420175 h 3099991"/>
              <a:gd name="connsiteX1" fmla="*/ 6451222 w 7718489"/>
              <a:gd name="connsiteY1" fmla="*/ 2775917 h 3099991"/>
              <a:gd name="connsiteX2" fmla="*/ 6718997 w 7718489"/>
              <a:gd name="connsiteY2" fmla="*/ 2748296 h 3099991"/>
              <a:gd name="connsiteX3" fmla="*/ 6800455 w 7718489"/>
              <a:gd name="connsiteY3" fmla="*/ 2420175 h 3099991"/>
              <a:gd name="connsiteX4" fmla="*/ 5035465 w 7718489"/>
              <a:gd name="connsiteY4" fmla="*/ 1789620 h 3099991"/>
              <a:gd name="connsiteX5" fmla="*/ 4672157 w 7718489"/>
              <a:gd name="connsiteY5" fmla="*/ 2360005 h 3099991"/>
              <a:gd name="connsiteX6" fmla="*/ 4912310 w 7718489"/>
              <a:gd name="connsiteY6" fmla="*/ 2360005 h 3099991"/>
              <a:gd name="connsiteX7" fmla="*/ 3858453 w 7718489"/>
              <a:gd name="connsiteY7" fmla="*/ 1764813 h 3099991"/>
              <a:gd name="connsiteX8" fmla="*/ 3690962 w 7718489"/>
              <a:gd name="connsiteY8" fmla="*/ 2360005 h 3099991"/>
              <a:gd name="connsiteX9" fmla="*/ 3864435 w 7718489"/>
              <a:gd name="connsiteY9" fmla="*/ 2360005 h 3099991"/>
              <a:gd name="connsiteX10" fmla="*/ 2514654 w 7718489"/>
              <a:gd name="connsiteY10" fmla="*/ 1671568 h 3099991"/>
              <a:gd name="connsiteX11" fmla="*/ 2445687 w 7718489"/>
              <a:gd name="connsiteY11" fmla="*/ 1672623 h 3099991"/>
              <a:gd name="connsiteX12" fmla="*/ 2392026 w 7718489"/>
              <a:gd name="connsiteY12" fmla="*/ 1874949 h 3099991"/>
              <a:gd name="connsiteX13" fmla="*/ 2369859 w 7718489"/>
              <a:gd name="connsiteY13" fmla="*/ 1961686 h 3099991"/>
              <a:gd name="connsiteX14" fmla="*/ 2322884 w 7718489"/>
              <a:gd name="connsiteY14" fmla="*/ 2135863 h 3099991"/>
              <a:gd name="connsiteX15" fmla="*/ 2424575 w 7718489"/>
              <a:gd name="connsiteY15" fmla="*/ 2135863 h 3099991"/>
              <a:gd name="connsiteX16" fmla="*/ 2483161 w 7718489"/>
              <a:gd name="connsiteY16" fmla="*/ 2135863 h 3099991"/>
              <a:gd name="connsiteX17" fmla="*/ 2531895 w 7718489"/>
              <a:gd name="connsiteY17" fmla="*/ 2133575 h 3099991"/>
              <a:gd name="connsiteX18" fmla="*/ 2532423 w 7718489"/>
              <a:gd name="connsiteY18" fmla="*/ 2133575 h 3099991"/>
              <a:gd name="connsiteX19" fmla="*/ 2837145 w 7718489"/>
              <a:gd name="connsiteY19" fmla="*/ 1896765 h 3099991"/>
              <a:gd name="connsiteX20" fmla="*/ 2844358 w 7718489"/>
              <a:gd name="connsiteY20" fmla="*/ 1722589 h 3099991"/>
              <a:gd name="connsiteX21" fmla="*/ 2593473 w 7718489"/>
              <a:gd name="connsiteY21" fmla="*/ 1671568 h 3099991"/>
              <a:gd name="connsiteX22" fmla="*/ 4208566 w 7718489"/>
              <a:gd name="connsiteY22" fmla="*/ 61049 h 3099991"/>
              <a:gd name="connsiteX23" fmla="*/ 4208566 w 7718489"/>
              <a:gd name="connsiteY23" fmla="*/ 2360885 h 3099991"/>
              <a:gd name="connsiteX24" fmla="*/ 4252198 w 7718489"/>
              <a:gd name="connsiteY24" fmla="*/ 2360885 h 3099991"/>
              <a:gd name="connsiteX25" fmla="*/ 4854779 w 7718489"/>
              <a:gd name="connsiteY25" fmla="*/ 1410830 h 3099991"/>
              <a:gd name="connsiteX26" fmla="*/ 5528086 w 7718489"/>
              <a:gd name="connsiteY26" fmla="*/ 1410830 h 3099991"/>
              <a:gd name="connsiteX27" fmla="*/ 5329102 w 7718489"/>
              <a:gd name="connsiteY27" fmla="*/ 2360005 h 3099991"/>
              <a:gd name="connsiteX28" fmla="*/ 5563097 w 7718489"/>
              <a:gd name="connsiteY28" fmla="*/ 2360005 h 3099991"/>
              <a:gd name="connsiteX29" fmla="*/ 5588256 w 7718489"/>
              <a:gd name="connsiteY29" fmla="*/ 2220488 h 3099991"/>
              <a:gd name="connsiteX30" fmla="*/ 5800435 w 7718489"/>
              <a:gd name="connsiteY30" fmla="*/ 1764813 h 3099991"/>
              <a:gd name="connsiteX31" fmla="*/ 5801491 w 7718489"/>
              <a:gd name="connsiteY31" fmla="*/ 1435285 h 3099991"/>
              <a:gd name="connsiteX32" fmla="*/ 5800787 w 7718489"/>
              <a:gd name="connsiteY32" fmla="*/ 61049 h 3099991"/>
              <a:gd name="connsiteX33" fmla="*/ 2354376 w 7718489"/>
              <a:gd name="connsiteY33" fmla="*/ 61049 h 3099991"/>
              <a:gd name="connsiteX34" fmla="*/ 2354376 w 7718489"/>
              <a:gd name="connsiteY34" fmla="*/ 1408015 h 3099991"/>
              <a:gd name="connsiteX35" fmla="*/ 2671061 w 7718489"/>
              <a:gd name="connsiteY35" fmla="*/ 1408015 h 3099991"/>
              <a:gd name="connsiteX36" fmla="*/ 3184442 w 7718489"/>
              <a:gd name="connsiteY36" fmla="*/ 1525364 h 3099991"/>
              <a:gd name="connsiteX37" fmla="*/ 3238279 w 7718489"/>
              <a:gd name="connsiteY37" fmla="*/ 1902571 h 3099991"/>
              <a:gd name="connsiteX38" fmla="*/ 2851219 w 7718489"/>
              <a:gd name="connsiteY38" fmla="*/ 2360005 h 3099991"/>
              <a:gd name="connsiteX39" fmla="*/ 3273466 w 7718489"/>
              <a:gd name="connsiteY39" fmla="*/ 2360005 h 3099991"/>
              <a:gd name="connsiteX40" fmla="*/ 3546695 w 7718489"/>
              <a:gd name="connsiteY40" fmla="*/ 1408543 h 3099991"/>
              <a:gd name="connsiteX41" fmla="*/ 3944662 w 7718489"/>
              <a:gd name="connsiteY41" fmla="*/ 1408543 h 3099991"/>
              <a:gd name="connsiteX42" fmla="*/ 3944662 w 7718489"/>
              <a:gd name="connsiteY42" fmla="*/ 61049 h 3099991"/>
              <a:gd name="connsiteX43" fmla="*/ 498603 w 7718489"/>
              <a:gd name="connsiteY43" fmla="*/ 61049 h 3099991"/>
              <a:gd name="connsiteX44" fmla="*/ 498603 w 7718489"/>
              <a:gd name="connsiteY44" fmla="*/ 1410830 h 3099991"/>
              <a:gd name="connsiteX45" fmla="*/ 881440 w 7718489"/>
              <a:gd name="connsiteY45" fmla="*/ 1410830 h 3099991"/>
              <a:gd name="connsiteX46" fmla="*/ 676826 w 7718489"/>
              <a:gd name="connsiteY46" fmla="*/ 2091351 h 3099991"/>
              <a:gd name="connsiteX47" fmla="*/ 1308612 w 7718489"/>
              <a:gd name="connsiteY47" fmla="*/ 1412062 h 3099991"/>
              <a:gd name="connsiteX48" fmla="*/ 1827624 w 7718489"/>
              <a:gd name="connsiteY48" fmla="*/ 1412062 h 3099991"/>
              <a:gd name="connsiteX49" fmla="*/ 1019725 w 7718489"/>
              <a:gd name="connsiteY49" fmla="*/ 2237729 h 3099991"/>
              <a:gd name="connsiteX50" fmla="*/ 1078312 w 7718489"/>
              <a:gd name="connsiteY50" fmla="*/ 2360885 h 3099991"/>
              <a:gd name="connsiteX51" fmla="*/ 1827624 w 7718489"/>
              <a:gd name="connsiteY51" fmla="*/ 2360885 h 3099991"/>
              <a:gd name="connsiteX52" fmla="*/ 1836596 w 7718489"/>
              <a:gd name="connsiteY52" fmla="*/ 2333966 h 3099991"/>
              <a:gd name="connsiteX53" fmla="*/ 2064434 w 7718489"/>
              <a:gd name="connsiteY53" fmla="*/ 1575506 h 3099991"/>
              <a:gd name="connsiteX54" fmla="*/ 2089416 w 7718489"/>
              <a:gd name="connsiteY54" fmla="*/ 1492992 h 3099991"/>
              <a:gd name="connsiteX55" fmla="*/ 2089416 w 7718489"/>
              <a:gd name="connsiteY55" fmla="*/ 61049 h 3099991"/>
              <a:gd name="connsiteX56" fmla="*/ 6065395 w 7718489"/>
              <a:gd name="connsiteY56" fmla="*/ 60698 h 3099991"/>
              <a:gd name="connsiteX57" fmla="*/ 6065395 w 7718489"/>
              <a:gd name="connsiteY57" fmla="*/ 1503372 h 3099991"/>
              <a:gd name="connsiteX58" fmla="*/ 6770898 w 7718489"/>
              <a:gd name="connsiteY58" fmla="*/ 1317056 h 3099991"/>
              <a:gd name="connsiteX59" fmla="*/ 7344274 w 7718489"/>
              <a:gd name="connsiteY59" fmla="*/ 1514632 h 3099991"/>
              <a:gd name="connsiteX60" fmla="*/ 7383859 w 7718489"/>
              <a:gd name="connsiteY60" fmla="*/ 1868792 h 3099991"/>
              <a:gd name="connsiteX61" fmla="*/ 6906017 w 7718489"/>
              <a:gd name="connsiteY61" fmla="*/ 1868792 h 3099991"/>
              <a:gd name="connsiteX62" fmla="*/ 6667272 w 7718489"/>
              <a:gd name="connsiteY62" fmla="*/ 1642186 h 3099991"/>
              <a:gd name="connsiteX63" fmla="*/ 6084044 w 7718489"/>
              <a:gd name="connsiteY63" fmla="*/ 2210811 h 3099991"/>
              <a:gd name="connsiteX64" fmla="*/ 6065395 w 7718489"/>
              <a:gd name="connsiteY64" fmla="*/ 2305465 h 3099991"/>
              <a:gd name="connsiteX65" fmla="*/ 6065395 w 7718489"/>
              <a:gd name="connsiteY65" fmla="*/ 2360005 h 3099991"/>
              <a:gd name="connsiteX66" fmla="*/ 6453685 w 7718489"/>
              <a:gd name="connsiteY66" fmla="*/ 2360005 h 3099991"/>
              <a:gd name="connsiteX67" fmla="*/ 6519837 w 7718489"/>
              <a:gd name="connsiteY67" fmla="*/ 2094693 h 3099991"/>
              <a:gd name="connsiteX68" fmla="*/ 7322633 w 7718489"/>
              <a:gd name="connsiteY68" fmla="*/ 2094693 h 3099991"/>
              <a:gd name="connsiteX69" fmla="*/ 7257009 w 7718489"/>
              <a:gd name="connsiteY69" fmla="*/ 2360005 h 3099991"/>
              <a:gd name="connsiteX70" fmla="*/ 7658671 w 7718489"/>
              <a:gd name="connsiteY70" fmla="*/ 2360005 h 3099991"/>
              <a:gd name="connsiteX71" fmla="*/ 7657967 w 7718489"/>
              <a:gd name="connsiteY71" fmla="*/ 60698 h 3099991"/>
              <a:gd name="connsiteX72" fmla="*/ 437201 w 7718489"/>
              <a:gd name="connsiteY72" fmla="*/ 0 h 3099991"/>
              <a:gd name="connsiteX73" fmla="*/ 2151170 w 7718489"/>
              <a:gd name="connsiteY73" fmla="*/ 0 h 3099991"/>
              <a:gd name="connsiteX74" fmla="*/ 2151170 w 7718489"/>
              <a:gd name="connsiteY74" fmla="*/ 1410830 h 3099991"/>
              <a:gd name="connsiteX75" fmla="*/ 2292974 w 7718489"/>
              <a:gd name="connsiteY75" fmla="*/ 1410830 h 3099991"/>
              <a:gd name="connsiteX76" fmla="*/ 2292974 w 7718489"/>
              <a:gd name="connsiteY76" fmla="*/ 0 h 3099991"/>
              <a:gd name="connsiteX77" fmla="*/ 4006767 w 7718489"/>
              <a:gd name="connsiteY77" fmla="*/ 0 h 3099991"/>
              <a:gd name="connsiteX78" fmla="*/ 4006767 w 7718489"/>
              <a:gd name="connsiteY78" fmla="*/ 1408543 h 3099991"/>
              <a:gd name="connsiteX79" fmla="*/ 4148748 w 7718489"/>
              <a:gd name="connsiteY79" fmla="*/ 1408543 h 3099991"/>
              <a:gd name="connsiteX80" fmla="*/ 4148748 w 7718489"/>
              <a:gd name="connsiteY80" fmla="*/ 0 h 3099991"/>
              <a:gd name="connsiteX81" fmla="*/ 5862013 w 7718489"/>
              <a:gd name="connsiteY81" fmla="*/ 0 h 3099991"/>
              <a:gd name="connsiteX82" fmla="*/ 5862013 w 7718489"/>
              <a:gd name="connsiteY82" fmla="*/ 1684411 h 3099991"/>
              <a:gd name="connsiteX83" fmla="*/ 6005048 w 7718489"/>
              <a:gd name="connsiteY83" fmla="*/ 1546829 h 3099991"/>
              <a:gd name="connsiteX84" fmla="*/ 6005048 w 7718489"/>
              <a:gd name="connsiteY84" fmla="*/ 0 h 3099991"/>
              <a:gd name="connsiteX85" fmla="*/ 7718489 w 7718489"/>
              <a:gd name="connsiteY85" fmla="*/ 0 h 3099991"/>
              <a:gd name="connsiteX86" fmla="*/ 7718489 w 7718489"/>
              <a:gd name="connsiteY86" fmla="*/ 2420175 h 3099991"/>
              <a:gd name="connsiteX87" fmla="*/ 7242406 w 7718489"/>
              <a:gd name="connsiteY87" fmla="*/ 2420175 h 3099991"/>
              <a:gd name="connsiteX88" fmla="*/ 7097963 w 7718489"/>
              <a:gd name="connsiteY88" fmla="*/ 3004810 h 3099991"/>
              <a:gd name="connsiteX89" fmla="*/ 6322965 w 7718489"/>
              <a:gd name="connsiteY89" fmla="*/ 3099991 h 3099991"/>
              <a:gd name="connsiteX90" fmla="*/ 5729357 w 7718489"/>
              <a:gd name="connsiteY90" fmla="*/ 2923000 h 3099991"/>
              <a:gd name="connsiteX91" fmla="*/ 5555532 w 7718489"/>
              <a:gd name="connsiteY91" fmla="*/ 2420175 h 3099991"/>
              <a:gd name="connsiteX92" fmla="*/ 5314324 w 7718489"/>
              <a:gd name="connsiteY92" fmla="*/ 2420175 h 3099991"/>
              <a:gd name="connsiteX93" fmla="*/ 5178853 w 7718489"/>
              <a:gd name="connsiteY93" fmla="*/ 3064101 h 3099991"/>
              <a:gd name="connsiteX94" fmla="*/ 4761709 w 7718489"/>
              <a:gd name="connsiteY94" fmla="*/ 3064101 h 3099991"/>
              <a:gd name="connsiteX95" fmla="*/ 4899466 w 7718489"/>
              <a:gd name="connsiteY95" fmla="*/ 2420175 h 3099991"/>
              <a:gd name="connsiteX96" fmla="*/ 4632396 w 7718489"/>
              <a:gd name="connsiteY96" fmla="*/ 2420175 h 3099991"/>
              <a:gd name="connsiteX97" fmla="*/ 4224576 w 7718489"/>
              <a:gd name="connsiteY97" fmla="*/ 3064101 h 3099991"/>
              <a:gd name="connsiteX98" fmla="*/ 3869009 w 7718489"/>
              <a:gd name="connsiteY98" fmla="*/ 3064101 h 3099991"/>
              <a:gd name="connsiteX99" fmla="*/ 3863907 w 7718489"/>
              <a:gd name="connsiteY99" fmla="*/ 2420175 h 3099991"/>
              <a:gd name="connsiteX100" fmla="*/ 3673193 w 7718489"/>
              <a:gd name="connsiteY100" fmla="*/ 2420175 h 3099991"/>
              <a:gd name="connsiteX101" fmla="*/ 3493562 w 7718489"/>
              <a:gd name="connsiteY101" fmla="*/ 3064101 h 3099991"/>
              <a:gd name="connsiteX102" fmla="*/ 3069732 w 7718489"/>
              <a:gd name="connsiteY102" fmla="*/ 3064101 h 3099991"/>
              <a:gd name="connsiteX103" fmla="*/ 3255345 w 7718489"/>
              <a:gd name="connsiteY103" fmla="*/ 2420175 h 3099991"/>
              <a:gd name="connsiteX104" fmla="*/ 2319717 w 7718489"/>
              <a:gd name="connsiteY104" fmla="*/ 2420175 h 3099991"/>
              <a:gd name="connsiteX105" fmla="*/ 2319717 w 7718489"/>
              <a:gd name="connsiteY105" fmla="*/ 2421934 h 3099991"/>
              <a:gd name="connsiteX106" fmla="*/ 2227350 w 7718489"/>
              <a:gd name="connsiteY106" fmla="*/ 2421934 h 3099991"/>
              <a:gd name="connsiteX107" fmla="*/ 2035228 w 7718489"/>
              <a:gd name="connsiteY107" fmla="*/ 3065860 h 3099991"/>
              <a:gd name="connsiteX108" fmla="*/ 1614917 w 7718489"/>
              <a:gd name="connsiteY108" fmla="*/ 3065860 h 3099991"/>
              <a:gd name="connsiteX109" fmla="*/ 1809678 w 7718489"/>
              <a:gd name="connsiteY109" fmla="*/ 2420175 h 3099991"/>
              <a:gd name="connsiteX110" fmla="*/ 1107517 w 7718489"/>
              <a:gd name="connsiteY110" fmla="*/ 2420175 h 3099991"/>
              <a:gd name="connsiteX111" fmla="*/ 1417165 w 7718489"/>
              <a:gd name="connsiteY111" fmla="*/ 3065860 h 3099991"/>
              <a:gd name="connsiteX112" fmla="*/ 952694 w 7718489"/>
              <a:gd name="connsiteY112" fmla="*/ 3065860 h 3099991"/>
              <a:gd name="connsiteX113" fmla="*/ 633722 w 7718489"/>
              <a:gd name="connsiteY113" fmla="*/ 2420175 h 3099991"/>
              <a:gd name="connsiteX114" fmla="*/ 578126 w 7718489"/>
              <a:gd name="connsiteY114" fmla="*/ 2420175 h 3099991"/>
              <a:gd name="connsiteX115" fmla="*/ 384596 w 7718489"/>
              <a:gd name="connsiteY115" fmla="*/ 3065860 h 3099991"/>
              <a:gd name="connsiteX116" fmla="*/ 0 w 7718489"/>
              <a:gd name="connsiteY116" fmla="*/ 3065860 h 3099991"/>
              <a:gd name="connsiteX117" fmla="*/ 437201 w 7718489"/>
              <a:gd name="connsiteY117" fmla="*/ 1607879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7718489" h="3099991">
                <a:moveTo>
                  <a:pt x="6058533" y="2420175"/>
                </a:moveTo>
                <a:cubicBezTo>
                  <a:pt x="6061876" y="2669124"/>
                  <a:pt x="6221626" y="2775917"/>
                  <a:pt x="6451222" y="2775917"/>
                </a:cubicBezTo>
                <a:cubicBezTo>
                  <a:pt x="6541125" y="2774668"/>
                  <a:pt x="6630730" y="2765432"/>
                  <a:pt x="6718997" y="2748296"/>
                </a:cubicBezTo>
                <a:lnTo>
                  <a:pt x="6800455" y="2420175"/>
                </a:lnTo>
                <a:close/>
                <a:moveTo>
                  <a:pt x="5035465" y="1789620"/>
                </a:moveTo>
                <a:lnTo>
                  <a:pt x="4672157" y="2360005"/>
                </a:lnTo>
                <a:lnTo>
                  <a:pt x="4912310" y="2360005"/>
                </a:lnTo>
                <a:close/>
                <a:moveTo>
                  <a:pt x="3858453" y="1764813"/>
                </a:moveTo>
                <a:lnTo>
                  <a:pt x="3690962" y="2360005"/>
                </a:lnTo>
                <a:lnTo>
                  <a:pt x="3864435" y="2360005"/>
                </a:lnTo>
                <a:close/>
                <a:moveTo>
                  <a:pt x="2514654" y="1671568"/>
                </a:moveTo>
                <a:cubicBezTo>
                  <a:pt x="2492486" y="1671568"/>
                  <a:pt x="2469438" y="1672623"/>
                  <a:pt x="2445687" y="1672623"/>
                </a:cubicBezTo>
                <a:lnTo>
                  <a:pt x="2392026" y="1874949"/>
                </a:lnTo>
                <a:lnTo>
                  <a:pt x="2369859" y="1961686"/>
                </a:lnTo>
                <a:lnTo>
                  <a:pt x="2322884" y="2135863"/>
                </a:lnTo>
                <a:lnTo>
                  <a:pt x="2424575" y="2135863"/>
                </a:lnTo>
                <a:cubicBezTo>
                  <a:pt x="2441816" y="2135863"/>
                  <a:pt x="2459762" y="2135863"/>
                  <a:pt x="2483161" y="2135863"/>
                </a:cubicBezTo>
                <a:cubicBezTo>
                  <a:pt x="2500931" y="2135863"/>
                  <a:pt x="2516589" y="2133575"/>
                  <a:pt x="2531895" y="2133575"/>
                </a:cubicBezTo>
                <a:lnTo>
                  <a:pt x="2532423" y="2133575"/>
                </a:lnTo>
                <a:cubicBezTo>
                  <a:pt x="2728240" y="2118621"/>
                  <a:pt x="2788938" y="2043848"/>
                  <a:pt x="2837145" y="1896765"/>
                </a:cubicBezTo>
                <a:cubicBezTo>
                  <a:pt x="2865118" y="1811437"/>
                  <a:pt x="2867933" y="1755137"/>
                  <a:pt x="2844358" y="1722589"/>
                </a:cubicBezTo>
                <a:cubicBezTo>
                  <a:pt x="2813393" y="1679308"/>
                  <a:pt x="2728240" y="1671568"/>
                  <a:pt x="2593473" y="1671568"/>
                </a:cubicBezTo>
                <a:close/>
                <a:moveTo>
                  <a:pt x="4208566" y="61049"/>
                </a:moveTo>
                <a:lnTo>
                  <a:pt x="4208566" y="2360885"/>
                </a:lnTo>
                <a:lnTo>
                  <a:pt x="4252198" y="2360885"/>
                </a:lnTo>
                <a:lnTo>
                  <a:pt x="4854779" y="1410830"/>
                </a:lnTo>
                <a:lnTo>
                  <a:pt x="5528086" y="1410830"/>
                </a:lnTo>
                <a:lnTo>
                  <a:pt x="5329102" y="2360005"/>
                </a:lnTo>
                <a:lnTo>
                  <a:pt x="5563097" y="2360005"/>
                </a:lnTo>
                <a:cubicBezTo>
                  <a:pt x="5567865" y="2312924"/>
                  <a:pt x="5576275" y="2266266"/>
                  <a:pt x="5588256" y="2220488"/>
                </a:cubicBezTo>
                <a:cubicBezTo>
                  <a:pt x="5629319" y="2056480"/>
                  <a:pt x="5701348" y="1901815"/>
                  <a:pt x="5800435" y="1764813"/>
                </a:cubicBezTo>
                <a:lnTo>
                  <a:pt x="5801491" y="1435285"/>
                </a:lnTo>
                <a:lnTo>
                  <a:pt x="5800787" y="61049"/>
                </a:lnTo>
                <a:close/>
                <a:moveTo>
                  <a:pt x="2354376" y="61049"/>
                </a:moveTo>
                <a:lnTo>
                  <a:pt x="2354376" y="1408015"/>
                </a:lnTo>
                <a:lnTo>
                  <a:pt x="2671061" y="1408015"/>
                </a:lnTo>
                <a:cubicBezTo>
                  <a:pt x="2861952" y="1408015"/>
                  <a:pt x="3077121" y="1396931"/>
                  <a:pt x="3184442" y="1525364"/>
                </a:cubicBezTo>
                <a:cubicBezTo>
                  <a:pt x="3255872" y="1611749"/>
                  <a:pt x="3271706" y="1726635"/>
                  <a:pt x="3238279" y="1902571"/>
                </a:cubicBezTo>
                <a:cubicBezTo>
                  <a:pt x="3197286" y="2128297"/>
                  <a:pt x="3066389" y="2280306"/>
                  <a:pt x="2851219" y="2360005"/>
                </a:cubicBezTo>
                <a:lnTo>
                  <a:pt x="3273466" y="2360005"/>
                </a:lnTo>
                <a:lnTo>
                  <a:pt x="3546695" y="1408543"/>
                </a:lnTo>
                <a:lnTo>
                  <a:pt x="3944662" y="1408543"/>
                </a:lnTo>
                <a:lnTo>
                  <a:pt x="3944662" y="61049"/>
                </a:lnTo>
                <a:close/>
                <a:moveTo>
                  <a:pt x="498603" y="61049"/>
                </a:moveTo>
                <a:lnTo>
                  <a:pt x="498603" y="1410830"/>
                </a:lnTo>
                <a:lnTo>
                  <a:pt x="881440" y="1410830"/>
                </a:lnTo>
                <a:lnTo>
                  <a:pt x="676826" y="2091351"/>
                </a:lnTo>
                <a:lnTo>
                  <a:pt x="1308612" y="1412062"/>
                </a:lnTo>
                <a:lnTo>
                  <a:pt x="1827624" y="1412062"/>
                </a:lnTo>
                <a:lnTo>
                  <a:pt x="1019725" y="2237729"/>
                </a:lnTo>
                <a:lnTo>
                  <a:pt x="1078312" y="2360885"/>
                </a:lnTo>
                <a:lnTo>
                  <a:pt x="1827624" y="2360885"/>
                </a:lnTo>
                <a:lnTo>
                  <a:pt x="1836596" y="2333966"/>
                </a:lnTo>
                <a:lnTo>
                  <a:pt x="2064434" y="1575506"/>
                </a:lnTo>
                <a:lnTo>
                  <a:pt x="2089416" y="1492992"/>
                </a:lnTo>
                <a:lnTo>
                  <a:pt x="2089416" y="61049"/>
                </a:lnTo>
                <a:close/>
                <a:moveTo>
                  <a:pt x="6065395" y="60698"/>
                </a:moveTo>
                <a:lnTo>
                  <a:pt x="6065395" y="1503372"/>
                </a:lnTo>
                <a:cubicBezTo>
                  <a:pt x="6304668" y="1347317"/>
                  <a:pt x="6581591" y="1317056"/>
                  <a:pt x="6770898" y="1317056"/>
                </a:cubicBezTo>
                <a:cubicBezTo>
                  <a:pt x="7037265" y="1317056"/>
                  <a:pt x="7242406" y="1373884"/>
                  <a:pt x="7344274" y="1514632"/>
                </a:cubicBezTo>
                <a:cubicBezTo>
                  <a:pt x="7434353" y="1644649"/>
                  <a:pt x="7402860" y="1785926"/>
                  <a:pt x="7383859" y="1868792"/>
                </a:cubicBezTo>
                <a:lnTo>
                  <a:pt x="6906017" y="1868792"/>
                </a:lnTo>
                <a:cubicBezTo>
                  <a:pt x="6923434" y="1691096"/>
                  <a:pt x="6795705" y="1642186"/>
                  <a:pt x="6667272" y="1642186"/>
                </a:cubicBezTo>
                <a:cubicBezTo>
                  <a:pt x="6342669" y="1642186"/>
                  <a:pt x="6154418" y="1924739"/>
                  <a:pt x="6084044" y="2210811"/>
                </a:cubicBezTo>
                <a:cubicBezTo>
                  <a:pt x="6076479" y="2244239"/>
                  <a:pt x="6071376" y="2275556"/>
                  <a:pt x="6065395" y="2305465"/>
                </a:cubicBezTo>
                <a:lnTo>
                  <a:pt x="6065395" y="2360005"/>
                </a:lnTo>
                <a:lnTo>
                  <a:pt x="6453685" y="2360005"/>
                </a:lnTo>
                <a:lnTo>
                  <a:pt x="6519837" y="2094693"/>
                </a:lnTo>
                <a:lnTo>
                  <a:pt x="7322633" y="2094693"/>
                </a:lnTo>
                <a:lnTo>
                  <a:pt x="7257009" y="2360005"/>
                </a:lnTo>
                <a:lnTo>
                  <a:pt x="7658671" y="2360005"/>
                </a:lnTo>
                <a:lnTo>
                  <a:pt x="7657967" y="60698"/>
                </a:lnTo>
                <a:close/>
                <a:moveTo>
                  <a:pt x="437201" y="0"/>
                </a:moveTo>
                <a:lnTo>
                  <a:pt x="2151170" y="0"/>
                </a:lnTo>
                <a:lnTo>
                  <a:pt x="2151170" y="1410830"/>
                </a:lnTo>
                <a:lnTo>
                  <a:pt x="2292974" y="1410830"/>
                </a:lnTo>
                <a:lnTo>
                  <a:pt x="2292974" y="0"/>
                </a:lnTo>
                <a:lnTo>
                  <a:pt x="4006767" y="0"/>
                </a:lnTo>
                <a:lnTo>
                  <a:pt x="4006767" y="1408543"/>
                </a:lnTo>
                <a:lnTo>
                  <a:pt x="4148748" y="1408543"/>
                </a:lnTo>
                <a:lnTo>
                  <a:pt x="4148748" y="0"/>
                </a:lnTo>
                <a:lnTo>
                  <a:pt x="5862013" y="0"/>
                </a:lnTo>
                <a:lnTo>
                  <a:pt x="5862013" y="1684411"/>
                </a:lnTo>
                <a:cubicBezTo>
                  <a:pt x="5905345" y="1634234"/>
                  <a:pt x="5953218" y="1588174"/>
                  <a:pt x="6005048" y="1546829"/>
                </a:cubicBezTo>
                <a:lnTo>
                  <a:pt x="6005048" y="0"/>
                </a:lnTo>
                <a:lnTo>
                  <a:pt x="7718489" y="0"/>
                </a:lnTo>
                <a:lnTo>
                  <a:pt x="7718489" y="2420175"/>
                </a:lnTo>
                <a:lnTo>
                  <a:pt x="7242406" y="2420175"/>
                </a:lnTo>
                <a:lnTo>
                  <a:pt x="7097963" y="3004810"/>
                </a:lnTo>
                <a:cubicBezTo>
                  <a:pt x="6843929" y="3064980"/>
                  <a:pt x="6584019" y="3096913"/>
                  <a:pt x="6322965" y="3099991"/>
                </a:cubicBezTo>
                <a:cubicBezTo>
                  <a:pt x="6139112" y="3099991"/>
                  <a:pt x="5891218" y="3071490"/>
                  <a:pt x="5729357" y="2923000"/>
                </a:cubicBezTo>
                <a:cubicBezTo>
                  <a:pt x="5597053" y="2801076"/>
                  <a:pt x="5546031" y="2619686"/>
                  <a:pt x="5555532" y="2420175"/>
                </a:cubicBezTo>
                <a:lnTo>
                  <a:pt x="5314324" y="2420175"/>
                </a:lnTo>
                <a:lnTo>
                  <a:pt x="5178853" y="3064101"/>
                </a:lnTo>
                <a:lnTo>
                  <a:pt x="4761709" y="3064101"/>
                </a:lnTo>
                <a:lnTo>
                  <a:pt x="4899466" y="2420175"/>
                </a:lnTo>
                <a:lnTo>
                  <a:pt x="4632396" y="2420175"/>
                </a:lnTo>
                <a:lnTo>
                  <a:pt x="4224576" y="3064101"/>
                </a:lnTo>
                <a:lnTo>
                  <a:pt x="3869009" y="3064101"/>
                </a:lnTo>
                <a:lnTo>
                  <a:pt x="3863907" y="2420175"/>
                </a:lnTo>
                <a:lnTo>
                  <a:pt x="3673193" y="2420175"/>
                </a:lnTo>
                <a:lnTo>
                  <a:pt x="3493562" y="3064101"/>
                </a:lnTo>
                <a:lnTo>
                  <a:pt x="3069732" y="3064101"/>
                </a:lnTo>
                <a:lnTo>
                  <a:pt x="3255345" y="2420175"/>
                </a:lnTo>
                <a:lnTo>
                  <a:pt x="2319717" y="2420175"/>
                </a:lnTo>
                <a:lnTo>
                  <a:pt x="2319717" y="2421934"/>
                </a:lnTo>
                <a:lnTo>
                  <a:pt x="2227350" y="2421934"/>
                </a:lnTo>
                <a:lnTo>
                  <a:pt x="2035228" y="3065860"/>
                </a:lnTo>
                <a:lnTo>
                  <a:pt x="1614917" y="3065860"/>
                </a:lnTo>
                <a:lnTo>
                  <a:pt x="1809678" y="2420175"/>
                </a:lnTo>
                <a:lnTo>
                  <a:pt x="1107517" y="2420175"/>
                </a:lnTo>
                <a:lnTo>
                  <a:pt x="1417165" y="3065860"/>
                </a:lnTo>
                <a:lnTo>
                  <a:pt x="952694" y="3065860"/>
                </a:lnTo>
                <a:lnTo>
                  <a:pt x="633722" y="2420175"/>
                </a:lnTo>
                <a:lnTo>
                  <a:pt x="578126" y="2420175"/>
                </a:lnTo>
                <a:lnTo>
                  <a:pt x="384596" y="3065860"/>
                </a:lnTo>
                <a:lnTo>
                  <a:pt x="0" y="3065860"/>
                </a:lnTo>
                <a:lnTo>
                  <a:pt x="437201" y="1607879"/>
                </a:lnTo>
                <a:close/>
              </a:path>
            </a:pathLst>
          </a:custGeom>
        </p:spPr>
      </p:pic>
    </p:spTree>
    <p:extLst>
      <p:ext uri="{BB962C8B-B14F-4D97-AF65-F5344CB8AC3E}">
        <p14:creationId xmlns:p14="http://schemas.microsoft.com/office/powerpoint/2010/main" val="285068489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4_Divider 1">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5AE8913-6C99-4C15-A82A-98A9CF42B98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4785" t="1" r="25611" b="44121"/>
          <a:stretch/>
        </p:blipFill>
        <p:spPr>
          <a:xfrm>
            <a:off x="0" y="0"/>
            <a:ext cx="12192000" cy="6858000"/>
          </a:xfrm>
          <a:prstGeom prst="rect">
            <a:avLst/>
          </a:prstGeom>
        </p:spPr>
      </p:pic>
      <p:pic>
        <p:nvPicPr>
          <p:cNvPr id="8" name="Picture 7">
            <a:extLst>
              <a:ext uri="{FF2B5EF4-FFF2-40B4-BE49-F238E27FC236}">
                <a16:creationId xmlns:a16="http://schemas.microsoft.com/office/drawing/2014/main" id="{85923494-77AE-41DB-AEAD-4DC29F1B9C3E}"/>
              </a:ext>
            </a:extLst>
          </p:cNvPr>
          <p:cNvPicPr>
            <a:picLocks noChangeAspect="1"/>
          </p:cNvPicPr>
          <p:nvPr userDrawn="1"/>
        </p:nvPicPr>
        <p:blipFill>
          <a:blip r:embed="rId3">
            <a:extLst>
              <a:ext uri="{28A0092B-C50C-407E-A947-70E740481C1C}">
                <a14:useLocalDpi xmlns:a14="http://schemas.microsoft.com/office/drawing/2010/main" val="0"/>
              </a:ext>
            </a:extLst>
          </a:blip>
          <a:srcRect l="9065" t="22610" r="9010" b="22550"/>
          <a:stretch>
            <a:fillRect/>
          </a:stretch>
        </p:blipFill>
        <p:spPr>
          <a:xfrm flipH="1">
            <a:off x="2238565" y="1882444"/>
            <a:ext cx="7709732" cy="3096473"/>
          </a:xfrm>
          <a:custGeom>
            <a:avLst/>
            <a:gdLst>
              <a:gd name="connsiteX0" fmla="*/ 1658073 w 7709732"/>
              <a:gd name="connsiteY0" fmla="*/ 2417428 h 3096473"/>
              <a:gd name="connsiteX1" fmla="*/ 1265829 w 7709732"/>
              <a:gd name="connsiteY1" fmla="*/ 2772767 h 3096473"/>
              <a:gd name="connsiteX2" fmla="*/ 998358 w 7709732"/>
              <a:gd name="connsiteY2" fmla="*/ 2745177 h 3096473"/>
              <a:gd name="connsiteX3" fmla="*/ 916992 w 7709732"/>
              <a:gd name="connsiteY3" fmla="*/ 2417428 h 3096473"/>
              <a:gd name="connsiteX4" fmla="*/ 2679980 w 7709732"/>
              <a:gd name="connsiteY4" fmla="*/ 1787589 h 3096473"/>
              <a:gd name="connsiteX5" fmla="*/ 3042876 w 7709732"/>
              <a:gd name="connsiteY5" fmla="*/ 2357327 h 3096473"/>
              <a:gd name="connsiteX6" fmla="*/ 2802996 w 7709732"/>
              <a:gd name="connsiteY6" fmla="*/ 2357327 h 3096473"/>
              <a:gd name="connsiteX7" fmla="*/ 3855657 w 7709732"/>
              <a:gd name="connsiteY7" fmla="*/ 1762811 h 3096473"/>
              <a:gd name="connsiteX8" fmla="*/ 4022958 w 7709732"/>
              <a:gd name="connsiteY8" fmla="*/ 2357327 h 3096473"/>
              <a:gd name="connsiteX9" fmla="*/ 3849682 w 7709732"/>
              <a:gd name="connsiteY9" fmla="*/ 2357327 h 3096473"/>
              <a:gd name="connsiteX10" fmla="*/ 5197931 w 7709732"/>
              <a:gd name="connsiteY10" fmla="*/ 1669671 h 3096473"/>
              <a:gd name="connsiteX11" fmla="*/ 5266820 w 7709732"/>
              <a:gd name="connsiteY11" fmla="*/ 1670725 h 3096473"/>
              <a:gd name="connsiteX12" fmla="*/ 5320420 w 7709732"/>
              <a:gd name="connsiteY12" fmla="*/ 1872822 h 3096473"/>
              <a:gd name="connsiteX13" fmla="*/ 5342562 w 7709732"/>
              <a:gd name="connsiteY13" fmla="*/ 1959460 h 3096473"/>
              <a:gd name="connsiteX14" fmla="*/ 5389484 w 7709732"/>
              <a:gd name="connsiteY14" fmla="*/ 2133439 h 3096473"/>
              <a:gd name="connsiteX15" fmla="*/ 5287908 w 7709732"/>
              <a:gd name="connsiteY15" fmla="*/ 2133439 h 3096473"/>
              <a:gd name="connsiteX16" fmla="*/ 5229388 w 7709732"/>
              <a:gd name="connsiteY16" fmla="*/ 2133439 h 3096473"/>
              <a:gd name="connsiteX17" fmla="*/ 5180709 w 7709732"/>
              <a:gd name="connsiteY17" fmla="*/ 2131154 h 3096473"/>
              <a:gd name="connsiteX18" fmla="*/ 5180182 w 7709732"/>
              <a:gd name="connsiteY18" fmla="*/ 2131154 h 3096473"/>
              <a:gd name="connsiteX19" fmla="*/ 4875806 w 7709732"/>
              <a:gd name="connsiteY19" fmla="*/ 1894613 h 3096473"/>
              <a:gd name="connsiteX20" fmla="*/ 4868601 w 7709732"/>
              <a:gd name="connsiteY20" fmla="*/ 1720634 h 3096473"/>
              <a:gd name="connsiteX21" fmla="*/ 5119201 w 7709732"/>
              <a:gd name="connsiteY21" fmla="*/ 1669671 h 3096473"/>
              <a:gd name="connsiteX22" fmla="*/ 3505941 w 7709732"/>
              <a:gd name="connsiteY22" fmla="*/ 60980 h 3096473"/>
              <a:gd name="connsiteX23" fmla="*/ 3505941 w 7709732"/>
              <a:gd name="connsiteY23" fmla="*/ 2358205 h 3096473"/>
              <a:gd name="connsiteX24" fmla="*/ 3462358 w 7709732"/>
              <a:gd name="connsiteY24" fmla="*/ 2358205 h 3096473"/>
              <a:gd name="connsiteX25" fmla="*/ 2860461 w 7709732"/>
              <a:gd name="connsiteY25" fmla="*/ 1409229 h 3096473"/>
              <a:gd name="connsiteX26" fmla="*/ 2187918 w 7709732"/>
              <a:gd name="connsiteY26" fmla="*/ 1409229 h 3096473"/>
              <a:gd name="connsiteX27" fmla="*/ 2386676 w 7709732"/>
              <a:gd name="connsiteY27" fmla="*/ 2357327 h 3096473"/>
              <a:gd name="connsiteX28" fmla="*/ 2152947 w 7709732"/>
              <a:gd name="connsiteY28" fmla="*/ 2357327 h 3096473"/>
              <a:gd name="connsiteX29" fmla="*/ 2127816 w 7709732"/>
              <a:gd name="connsiteY29" fmla="*/ 2217968 h 3096473"/>
              <a:gd name="connsiteX30" fmla="*/ 1915878 w 7709732"/>
              <a:gd name="connsiteY30" fmla="*/ 1762811 h 3096473"/>
              <a:gd name="connsiteX31" fmla="*/ 1914824 w 7709732"/>
              <a:gd name="connsiteY31" fmla="*/ 1433657 h 3096473"/>
              <a:gd name="connsiteX32" fmla="*/ 1915527 w 7709732"/>
              <a:gd name="connsiteY32" fmla="*/ 60980 h 3096473"/>
              <a:gd name="connsiteX33" fmla="*/ 5358027 w 7709732"/>
              <a:gd name="connsiteY33" fmla="*/ 60980 h 3096473"/>
              <a:gd name="connsiteX34" fmla="*/ 5358027 w 7709732"/>
              <a:gd name="connsiteY34" fmla="*/ 1406417 h 3096473"/>
              <a:gd name="connsiteX35" fmla="*/ 5041702 w 7709732"/>
              <a:gd name="connsiteY35" fmla="*/ 1406417 h 3096473"/>
              <a:gd name="connsiteX36" fmla="*/ 4528903 w 7709732"/>
              <a:gd name="connsiteY36" fmla="*/ 1523633 h 3096473"/>
              <a:gd name="connsiteX37" fmla="*/ 4475127 w 7709732"/>
              <a:gd name="connsiteY37" fmla="*/ 1900412 h 3096473"/>
              <a:gd name="connsiteX38" fmla="*/ 4861747 w 7709732"/>
              <a:gd name="connsiteY38" fmla="*/ 2357327 h 3096473"/>
              <a:gd name="connsiteX39" fmla="*/ 4439980 w 7709732"/>
              <a:gd name="connsiteY39" fmla="*/ 2357327 h 3096473"/>
              <a:gd name="connsiteX40" fmla="*/ 4167061 w 7709732"/>
              <a:gd name="connsiteY40" fmla="*/ 1406945 h 3096473"/>
              <a:gd name="connsiteX41" fmla="*/ 3769546 w 7709732"/>
              <a:gd name="connsiteY41" fmla="*/ 1406945 h 3096473"/>
              <a:gd name="connsiteX42" fmla="*/ 3769546 w 7709732"/>
              <a:gd name="connsiteY42" fmla="*/ 60980 h 3096473"/>
              <a:gd name="connsiteX43" fmla="*/ 7211695 w 7709732"/>
              <a:gd name="connsiteY43" fmla="*/ 60980 h 3096473"/>
              <a:gd name="connsiteX44" fmla="*/ 7211695 w 7709732"/>
              <a:gd name="connsiteY44" fmla="*/ 1409229 h 3096473"/>
              <a:gd name="connsiteX45" fmla="*/ 6829292 w 7709732"/>
              <a:gd name="connsiteY45" fmla="*/ 1409229 h 3096473"/>
              <a:gd name="connsiteX46" fmla="*/ 7033674 w 7709732"/>
              <a:gd name="connsiteY46" fmla="*/ 2088977 h 3096473"/>
              <a:gd name="connsiteX47" fmla="*/ 6402604 w 7709732"/>
              <a:gd name="connsiteY47" fmla="*/ 1410459 h 3096473"/>
              <a:gd name="connsiteX48" fmla="*/ 5884182 w 7709732"/>
              <a:gd name="connsiteY48" fmla="*/ 1410459 h 3096473"/>
              <a:gd name="connsiteX49" fmla="*/ 6691164 w 7709732"/>
              <a:gd name="connsiteY49" fmla="*/ 2235190 h 3096473"/>
              <a:gd name="connsiteX50" fmla="*/ 6632643 w 7709732"/>
              <a:gd name="connsiteY50" fmla="*/ 2358205 h 3096473"/>
              <a:gd name="connsiteX51" fmla="*/ 5884182 w 7709732"/>
              <a:gd name="connsiteY51" fmla="*/ 2358205 h 3096473"/>
              <a:gd name="connsiteX52" fmla="*/ 5875219 w 7709732"/>
              <a:gd name="connsiteY52" fmla="*/ 2331318 h 3096473"/>
              <a:gd name="connsiteX53" fmla="*/ 5647641 w 7709732"/>
              <a:gd name="connsiteY53" fmla="*/ 1573718 h 3096473"/>
              <a:gd name="connsiteX54" fmla="*/ 5622686 w 7709732"/>
              <a:gd name="connsiteY54" fmla="*/ 1491298 h 3096473"/>
              <a:gd name="connsiteX55" fmla="*/ 5622686 w 7709732"/>
              <a:gd name="connsiteY55" fmla="*/ 60980 h 3096473"/>
              <a:gd name="connsiteX56" fmla="*/ 1651219 w 7709732"/>
              <a:gd name="connsiteY56" fmla="*/ 60629 h 3096473"/>
              <a:gd name="connsiteX57" fmla="*/ 1651219 w 7709732"/>
              <a:gd name="connsiteY57" fmla="*/ 1501666 h 3096473"/>
              <a:gd name="connsiteX58" fmla="*/ 946516 w 7709732"/>
              <a:gd name="connsiteY58" fmla="*/ 1315562 h 3096473"/>
              <a:gd name="connsiteX59" fmla="*/ 373791 w 7709732"/>
              <a:gd name="connsiteY59" fmla="*/ 1512914 h 3096473"/>
              <a:gd name="connsiteX60" fmla="*/ 334250 w 7709732"/>
              <a:gd name="connsiteY60" fmla="*/ 1866671 h 3096473"/>
              <a:gd name="connsiteX61" fmla="*/ 811550 w 7709732"/>
              <a:gd name="connsiteY61" fmla="*/ 1866671 h 3096473"/>
              <a:gd name="connsiteX62" fmla="*/ 1050025 w 7709732"/>
              <a:gd name="connsiteY62" fmla="*/ 1640322 h 3096473"/>
              <a:gd name="connsiteX63" fmla="*/ 1632591 w 7709732"/>
              <a:gd name="connsiteY63" fmla="*/ 2208302 h 3096473"/>
              <a:gd name="connsiteX64" fmla="*/ 1651219 w 7709732"/>
              <a:gd name="connsiteY64" fmla="*/ 2302848 h 3096473"/>
              <a:gd name="connsiteX65" fmla="*/ 1651219 w 7709732"/>
              <a:gd name="connsiteY65" fmla="*/ 2357327 h 3096473"/>
              <a:gd name="connsiteX66" fmla="*/ 1263369 w 7709732"/>
              <a:gd name="connsiteY66" fmla="*/ 2357327 h 3096473"/>
              <a:gd name="connsiteX67" fmla="*/ 1197292 w 7709732"/>
              <a:gd name="connsiteY67" fmla="*/ 2092316 h 3096473"/>
              <a:gd name="connsiteX68" fmla="*/ 395407 w 7709732"/>
              <a:gd name="connsiteY68" fmla="*/ 2092316 h 3096473"/>
              <a:gd name="connsiteX69" fmla="*/ 460957 w 7709732"/>
              <a:gd name="connsiteY69" fmla="*/ 2357327 h 3096473"/>
              <a:gd name="connsiteX70" fmla="*/ 59750 w 7709732"/>
              <a:gd name="connsiteY70" fmla="*/ 2357327 h 3096473"/>
              <a:gd name="connsiteX71" fmla="*/ 60453 w 7709732"/>
              <a:gd name="connsiteY71" fmla="*/ 60629 h 3096473"/>
              <a:gd name="connsiteX72" fmla="*/ 7273027 w 7709732"/>
              <a:gd name="connsiteY72" fmla="*/ 0 h 3096473"/>
              <a:gd name="connsiteX73" fmla="*/ 5561003 w 7709732"/>
              <a:gd name="connsiteY73" fmla="*/ 0 h 3096473"/>
              <a:gd name="connsiteX74" fmla="*/ 5561003 w 7709732"/>
              <a:gd name="connsiteY74" fmla="*/ 1409229 h 3096473"/>
              <a:gd name="connsiteX75" fmla="*/ 5419359 w 7709732"/>
              <a:gd name="connsiteY75" fmla="*/ 1409229 h 3096473"/>
              <a:gd name="connsiteX76" fmla="*/ 5419359 w 7709732"/>
              <a:gd name="connsiteY76" fmla="*/ 0 h 3096473"/>
              <a:gd name="connsiteX77" fmla="*/ 3707511 w 7709732"/>
              <a:gd name="connsiteY77" fmla="*/ 0 h 3096473"/>
              <a:gd name="connsiteX78" fmla="*/ 3707511 w 7709732"/>
              <a:gd name="connsiteY78" fmla="*/ 1406945 h 3096473"/>
              <a:gd name="connsiteX79" fmla="*/ 3565692 w 7709732"/>
              <a:gd name="connsiteY79" fmla="*/ 1406945 h 3096473"/>
              <a:gd name="connsiteX80" fmla="*/ 3565692 w 7709732"/>
              <a:gd name="connsiteY80" fmla="*/ 0 h 3096473"/>
              <a:gd name="connsiteX81" fmla="*/ 1854370 w 7709732"/>
              <a:gd name="connsiteY81" fmla="*/ 0 h 3096473"/>
              <a:gd name="connsiteX82" fmla="*/ 1854370 w 7709732"/>
              <a:gd name="connsiteY82" fmla="*/ 1682499 h 3096473"/>
              <a:gd name="connsiteX83" fmla="*/ 1711497 w 7709732"/>
              <a:gd name="connsiteY83" fmla="*/ 1545073 h 3096473"/>
              <a:gd name="connsiteX84" fmla="*/ 1711497 w 7709732"/>
              <a:gd name="connsiteY84" fmla="*/ 0 h 3096473"/>
              <a:gd name="connsiteX85" fmla="*/ 0 w 7709732"/>
              <a:gd name="connsiteY85" fmla="*/ 0 h 3096473"/>
              <a:gd name="connsiteX86" fmla="*/ 0 w 7709732"/>
              <a:gd name="connsiteY86" fmla="*/ 2417428 h 3096473"/>
              <a:gd name="connsiteX87" fmla="*/ 475543 w 7709732"/>
              <a:gd name="connsiteY87" fmla="*/ 2417428 h 3096473"/>
              <a:gd name="connsiteX88" fmla="*/ 619822 w 7709732"/>
              <a:gd name="connsiteY88" fmla="*/ 3001400 h 3096473"/>
              <a:gd name="connsiteX89" fmla="*/ 1393941 w 7709732"/>
              <a:gd name="connsiteY89" fmla="*/ 3096473 h 3096473"/>
              <a:gd name="connsiteX90" fmla="*/ 1986876 w 7709732"/>
              <a:gd name="connsiteY90" fmla="*/ 2919683 h 3096473"/>
              <a:gd name="connsiteX91" fmla="*/ 2160503 w 7709732"/>
              <a:gd name="connsiteY91" fmla="*/ 2417428 h 3096473"/>
              <a:gd name="connsiteX92" fmla="*/ 2401438 w 7709732"/>
              <a:gd name="connsiteY92" fmla="*/ 2417428 h 3096473"/>
              <a:gd name="connsiteX93" fmla="*/ 2536755 w 7709732"/>
              <a:gd name="connsiteY93" fmla="*/ 3060623 h 3096473"/>
              <a:gd name="connsiteX94" fmla="*/ 2953426 w 7709732"/>
              <a:gd name="connsiteY94" fmla="*/ 3060623 h 3096473"/>
              <a:gd name="connsiteX95" fmla="*/ 2815824 w 7709732"/>
              <a:gd name="connsiteY95" fmla="*/ 2417428 h 3096473"/>
              <a:gd name="connsiteX96" fmla="*/ 3082592 w 7709732"/>
              <a:gd name="connsiteY96" fmla="*/ 2417428 h 3096473"/>
              <a:gd name="connsiteX97" fmla="*/ 3489949 w 7709732"/>
              <a:gd name="connsiteY97" fmla="*/ 3060623 h 3096473"/>
              <a:gd name="connsiteX98" fmla="*/ 3845113 w 7709732"/>
              <a:gd name="connsiteY98" fmla="*/ 3060623 h 3096473"/>
              <a:gd name="connsiteX99" fmla="*/ 3850209 w 7709732"/>
              <a:gd name="connsiteY99" fmla="*/ 2417428 h 3096473"/>
              <a:gd name="connsiteX100" fmla="*/ 4040707 w 7709732"/>
              <a:gd name="connsiteY100" fmla="*/ 2417428 h 3096473"/>
              <a:gd name="connsiteX101" fmla="*/ 4220134 w 7709732"/>
              <a:gd name="connsiteY101" fmla="*/ 3060623 h 3096473"/>
              <a:gd name="connsiteX102" fmla="*/ 4643483 w 7709732"/>
              <a:gd name="connsiteY102" fmla="*/ 3060623 h 3096473"/>
              <a:gd name="connsiteX103" fmla="*/ 4458081 w 7709732"/>
              <a:gd name="connsiteY103" fmla="*/ 2417428 h 3096473"/>
              <a:gd name="connsiteX104" fmla="*/ 5392647 w 7709732"/>
              <a:gd name="connsiteY104" fmla="*/ 2417428 h 3096473"/>
              <a:gd name="connsiteX105" fmla="*/ 5392647 w 7709732"/>
              <a:gd name="connsiteY105" fmla="*/ 2419186 h 3096473"/>
              <a:gd name="connsiteX106" fmla="*/ 5484909 w 7709732"/>
              <a:gd name="connsiteY106" fmla="*/ 2419186 h 3096473"/>
              <a:gd name="connsiteX107" fmla="*/ 5676813 w 7709732"/>
              <a:gd name="connsiteY107" fmla="*/ 3062381 h 3096473"/>
              <a:gd name="connsiteX108" fmla="*/ 6096647 w 7709732"/>
              <a:gd name="connsiteY108" fmla="*/ 3062381 h 3096473"/>
              <a:gd name="connsiteX109" fmla="*/ 5902107 w 7709732"/>
              <a:gd name="connsiteY109" fmla="*/ 2417428 h 3096473"/>
              <a:gd name="connsiteX110" fmla="*/ 6603471 w 7709732"/>
              <a:gd name="connsiteY110" fmla="*/ 2417428 h 3096473"/>
              <a:gd name="connsiteX111" fmla="*/ 6294175 w 7709732"/>
              <a:gd name="connsiteY111" fmla="*/ 3062381 h 3096473"/>
              <a:gd name="connsiteX112" fmla="*/ 6758119 w 7709732"/>
              <a:gd name="connsiteY112" fmla="*/ 3062381 h 3096473"/>
              <a:gd name="connsiteX113" fmla="*/ 7076729 w 7709732"/>
              <a:gd name="connsiteY113" fmla="*/ 2417428 h 3096473"/>
              <a:gd name="connsiteX114" fmla="*/ 7132262 w 7709732"/>
              <a:gd name="connsiteY114" fmla="*/ 2417428 h 3096473"/>
              <a:gd name="connsiteX115" fmla="*/ 7325572 w 7709732"/>
              <a:gd name="connsiteY115" fmla="*/ 3062381 h 3096473"/>
              <a:gd name="connsiteX116" fmla="*/ 7709732 w 7709732"/>
              <a:gd name="connsiteY116" fmla="*/ 3062381 h 3096473"/>
              <a:gd name="connsiteX117" fmla="*/ 7273027 w 7709732"/>
              <a:gd name="connsiteY117" fmla="*/ 1606054 h 309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7709732" h="3096473">
                <a:moveTo>
                  <a:pt x="1658073" y="2417428"/>
                </a:moveTo>
                <a:cubicBezTo>
                  <a:pt x="1654734" y="2666095"/>
                  <a:pt x="1495165" y="2772767"/>
                  <a:pt x="1265829" y="2772767"/>
                </a:cubicBezTo>
                <a:cubicBezTo>
                  <a:pt x="1176028" y="2771519"/>
                  <a:pt x="1086525" y="2762293"/>
                  <a:pt x="998358" y="2745177"/>
                </a:cubicBezTo>
                <a:lnTo>
                  <a:pt x="916992" y="2417428"/>
                </a:lnTo>
                <a:close/>
                <a:moveTo>
                  <a:pt x="2679980" y="1787589"/>
                </a:moveTo>
                <a:lnTo>
                  <a:pt x="3042876" y="2357327"/>
                </a:lnTo>
                <a:lnTo>
                  <a:pt x="2802996" y="2357327"/>
                </a:lnTo>
                <a:close/>
                <a:moveTo>
                  <a:pt x="3855657" y="1762811"/>
                </a:moveTo>
                <a:lnTo>
                  <a:pt x="4022958" y="2357327"/>
                </a:lnTo>
                <a:lnTo>
                  <a:pt x="3849682" y="2357327"/>
                </a:lnTo>
                <a:close/>
                <a:moveTo>
                  <a:pt x="5197931" y="1669671"/>
                </a:moveTo>
                <a:cubicBezTo>
                  <a:pt x="5220074" y="1669671"/>
                  <a:pt x="5243096" y="1670725"/>
                  <a:pt x="5266820" y="1670725"/>
                </a:cubicBezTo>
                <a:lnTo>
                  <a:pt x="5320420" y="1872822"/>
                </a:lnTo>
                <a:lnTo>
                  <a:pt x="5342562" y="1959460"/>
                </a:lnTo>
                <a:lnTo>
                  <a:pt x="5389484" y="2133439"/>
                </a:lnTo>
                <a:lnTo>
                  <a:pt x="5287908" y="2133439"/>
                </a:lnTo>
                <a:cubicBezTo>
                  <a:pt x="5270686" y="2133439"/>
                  <a:pt x="5252761" y="2133439"/>
                  <a:pt x="5229388" y="2133439"/>
                </a:cubicBezTo>
                <a:cubicBezTo>
                  <a:pt x="5211639" y="2133439"/>
                  <a:pt x="5195998" y="2131154"/>
                  <a:pt x="5180709" y="2131154"/>
                </a:cubicBezTo>
                <a:lnTo>
                  <a:pt x="5180182" y="2131154"/>
                </a:lnTo>
                <a:cubicBezTo>
                  <a:pt x="4984587" y="2116216"/>
                  <a:pt x="4923958" y="2041528"/>
                  <a:pt x="4875806" y="1894613"/>
                </a:cubicBezTo>
                <a:cubicBezTo>
                  <a:pt x="4847864" y="1809381"/>
                  <a:pt x="4845053" y="1753145"/>
                  <a:pt x="4868601" y="1720634"/>
                </a:cubicBezTo>
                <a:cubicBezTo>
                  <a:pt x="4899531" y="1677403"/>
                  <a:pt x="4984587" y="1669671"/>
                  <a:pt x="5119201" y="1669671"/>
                </a:cubicBezTo>
                <a:close/>
                <a:moveTo>
                  <a:pt x="3505941" y="60980"/>
                </a:moveTo>
                <a:lnTo>
                  <a:pt x="3505941" y="2358205"/>
                </a:lnTo>
                <a:lnTo>
                  <a:pt x="3462358" y="2358205"/>
                </a:lnTo>
                <a:lnTo>
                  <a:pt x="2860461" y="1409229"/>
                </a:lnTo>
                <a:lnTo>
                  <a:pt x="2187918" y="1409229"/>
                </a:lnTo>
                <a:lnTo>
                  <a:pt x="2386676" y="2357327"/>
                </a:lnTo>
                <a:lnTo>
                  <a:pt x="2152947" y="2357327"/>
                </a:lnTo>
                <a:cubicBezTo>
                  <a:pt x="2148184" y="2310300"/>
                  <a:pt x="2139784" y="2263694"/>
                  <a:pt x="2127816" y="2217968"/>
                </a:cubicBezTo>
                <a:cubicBezTo>
                  <a:pt x="2086799" y="2054146"/>
                  <a:pt x="2014853" y="1899656"/>
                  <a:pt x="1915878" y="1762811"/>
                </a:cubicBezTo>
                <a:lnTo>
                  <a:pt x="1914824" y="1433657"/>
                </a:lnTo>
                <a:lnTo>
                  <a:pt x="1915527" y="60980"/>
                </a:lnTo>
                <a:close/>
                <a:moveTo>
                  <a:pt x="5358027" y="60980"/>
                </a:moveTo>
                <a:lnTo>
                  <a:pt x="5358027" y="1406417"/>
                </a:lnTo>
                <a:lnTo>
                  <a:pt x="5041702" y="1406417"/>
                </a:lnTo>
                <a:cubicBezTo>
                  <a:pt x="4851028" y="1406417"/>
                  <a:pt x="4636102" y="1395346"/>
                  <a:pt x="4528903" y="1523633"/>
                </a:cubicBezTo>
                <a:cubicBezTo>
                  <a:pt x="4457554" y="1609920"/>
                  <a:pt x="4441738" y="1724676"/>
                  <a:pt x="4475127" y="1900412"/>
                </a:cubicBezTo>
                <a:cubicBezTo>
                  <a:pt x="4516074" y="2125882"/>
                  <a:pt x="4646822" y="2277718"/>
                  <a:pt x="4861747" y="2357327"/>
                </a:cubicBezTo>
                <a:lnTo>
                  <a:pt x="4439980" y="2357327"/>
                </a:lnTo>
                <a:lnTo>
                  <a:pt x="4167061" y="1406945"/>
                </a:lnTo>
                <a:lnTo>
                  <a:pt x="3769546" y="1406945"/>
                </a:lnTo>
                <a:lnTo>
                  <a:pt x="3769546" y="60980"/>
                </a:lnTo>
                <a:close/>
                <a:moveTo>
                  <a:pt x="7211695" y="60980"/>
                </a:moveTo>
                <a:lnTo>
                  <a:pt x="7211695" y="1409229"/>
                </a:lnTo>
                <a:lnTo>
                  <a:pt x="6829292" y="1409229"/>
                </a:lnTo>
                <a:lnTo>
                  <a:pt x="7033674" y="2088977"/>
                </a:lnTo>
                <a:lnTo>
                  <a:pt x="6402604" y="1410459"/>
                </a:lnTo>
                <a:lnTo>
                  <a:pt x="5884182" y="1410459"/>
                </a:lnTo>
                <a:lnTo>
                  <a:pt x="6691164" y="2235190"/>
                </a:lnTo>
                <a:lnTo>
                  <a:pt x="6632643" y="2358205"/>
                </a:lnTo>
                <a:lnTo>
                  <a:pt x="5884182" y="2358205"/>
                </a:lnTo>
                <a:lnTo>
                  <a:pt x="5875219" y="2331318"/>
                </a:lnTo>
                <a:lnTo>
                  <a:pt x="5647641" y="1573718"/>
                </a:lnTo>
                <a:lnTo>
                  <a:pt x="5622686" y="1491298"/>
                </a:lnTo>
                <a:lnTo>
                  <a:pt x="5622686" y="60980"/>
                </a:lnTo>
                <a:close/>
                <a:moveTo>
                  <a:pt x="1651219" y="60629"/>
                </a:moveTo>
                <a:lnTo>
                  <a:pt x="1651219" y="1501666"/>
                </a:lnTo>
                <a:cubicBezTo>
                  <a:pt x="1412217" y="1345788"/>
                  <a:pt x="1135608" y="1315562"/>
                  <a:pt x="946516" y="1315562"/>
                </a:cubicBezTo>
                <a:cubicBezTo>
                  <a:pt x="680451" y="1315562"/>
                  <a:pt x="475543" y="1372324"/>
                  <a:pt x="373791" y="1512914"/>
                </a:cubicBezTo>
                <a:cubicBezTo>
                  <a:pt x="283814" y="1642783"/>
                  <a:pt x="315271" y="1783899"/>
                  <a:pt x="334250" y="1866671"/>
                </a:cubicBezTo>
                <a:lnTo>
                  <a:pt x="811550" y="1866671"/>
                </a:lnTo>
                <a:cubicBezTo>
                  <a:pt x="794153" y="1689177"/>
                  <a:pt x="921738" y="1640322"/>
                  <a:pt x="1050025" y="1640322"/>
                </a:cubicBezTo>
                <a:cubicBezTo>
                  <a:pt x="1374259" y="1640322"/>
                  <a:pt x="1562296" y="1922555"/>
                  <a:pt x="1632591" y="2208302"/>
                </a:cubicBezTo>
                <a:cubicBezTo>
                  <a:pt x="1640148" y="2241692"/>
                  <a:pt x="1645244" y="2272973"/>
                  <a:pt x="1651219" y="2302848"/>
                </a:cubicBezTo>
                <a:lnTo>
                  <a:pt x="1651219" y="2357327"/>
                </a:lnTo>
                <a:lnTo>
                  <a:pt x="1263369" y="2357327"/>
                </a:lnTo>
                <a:lnTo>
                  <a:pt x="1197292" y="2092316"/>
                </a:lnTo>
                <a:lnTo>
                  <a:pt x="395407" y="2092316"/>
                </a:lnTo>
                <a:lnTo>
                  <a:pt x="460957" y="2357327"/>
                </a:lnTo>
                <a:lnTo>
                  <a:pt x="59750" y="2357327"/>
                </a:lnTo>
                <a:lnTo>
                  <a:pt x="60453" y="60629"/>
                </a:lnTo>
                <a:close/>
                <a:moveTo>
                  <a:pt x="7273027" y="0"/>
                </a:moveTo>
                <a:lnTo>
                  <a:pt x="5561003" y="0"/>
                </a:lnTo>
                <a:lnTo>
                  <a:pt x="5561003" y="1409229"/>
                </a:lnTo>
                <a:lnTo>
                  <a:pt x="5419359" y="1409229"/>
                </a:lnTo>
                <a:lnTo>
                  <a:pt x="5419359" y="0"/>
                </a:lnTo>
                <a:lnTo>
                  <a:pt x="3707511" y="0"/>
                </a:lnTo>
                <a:lnTo>
                  <a:pt x="3707511" y="1406945"/>
                </a:lnTo>
                <a:lnTo>
                  <a:pt x="3565692" y="1406945"/>
                </a:lnTo>
                <a:lnTo>
                  <a:pt x="3565692" y="0"/>
                </a:lnTo>
                <a:lnTo>
                  <a:pt x="1854370" y="0"/>
                </a:lnTo>
                <a:lnTo>
                  <a:pt x="1854370" y="1682499"/>
                </a:lnTo>
                <a:cubicBezTo>
                  <a:pt x="1811087" y="1632379"/>
                  <a:pt x="1763269" y="1586371"/>
                  <a:pt x="1711497" y="1545073"/>
                </a:cubicBezTo>
                <a:lnTo>
                  <a:pt x="1711497" y="0"/>
                </a:lnTo>
                <a:lnTo>
                  <a:pt x="0" y="0"/>
                </a:lnTo>
                <a:lnTo>
                  <a:pt x="0" y="2417428"/>
                </a:lnTo>
                <a:lnTo>
                  <a:pt x="475543" y="2417428"/>
                </a:lnTo>
                <a:lnTo>
                  <a:pt x="619822" y="3001400"/>
                </a:lnTo>
                <a:cubicBezTo>
                  <a:pt x="873568" y="3061502"/>
                  <a:pt x="1133183" y="3093398"/>
                  <a:pt x="1393941" y="3096473"/>
                </a:cubicBezTo>
                <a:cubicBezTo>
                  <a:pt x="1577585" y="3096473"/>
                  <a:pt x="1825198" y="3068004"/>
                  <a:pt x="1986876" y="2919683"/>
                </a:cubicBezTo>
                <a:cubicBezTo>
                  <a:pt x="2119029" y="2797898"/>
                  <a:pt x="2169993" y="2616714"/>
                  <a:pt x="2160503" y="2417428"/>
                </a:cubicBezTo>
                <a:lnTo>
                  <a:pt x="2401438" y="2417428"/>
                </a:lnTo>
                <a:lnTo>
                  <a:pt x="2536755" y="3060623"/>
                </a:lnTo>
                <a:lnTo>
                  <a:pt x="2953426" y="3060623"/>
                </a:lnTo>
                <a:lnTo>
                  <a:pt x="2815824" y="2417428"/>
                </a:lnTo>
                <a:lnTo>
                  <a:pt x="3082592" y="2417428"/>
                </a:lnTo>
                <a:lnTo>
                  <a:pt x="3489949" y="3060623"/>
                </a:lnTo>
                <a:lnTo>
                  <a:pt x="3845113" y="3060623"/>
                </a:lnTo>
                <a:lnTo>
                  <a:pt x="3850209" y="2417428"/>
                </a:lnTo>
                <a:lnTo>
                  <a:pt x="4040707" y="2417428"/>
                </a:lnTo>
                <a:lnTo>
                  <a:pt x="4220134" y="3060623"/>
                </a:lnTo>
                <a:lnTo>
                  <a:pt x="4643483" y="3060623"/>
                </a:lnTo>
                <a:lnTo>
                  <a:pt x="4458081" y="2417428"/>
                </a:lnTo>
                <a:lnTo>
                  <a:pt x="5392647" y="2417428"/>
                </a:lnTo>
                <a:lnTo>
                  <a:pt x="5392647" y="2419186"/>
                </a:lnTo>
                <a:lnTo>
                  <a:pt x="5484909" y="2419186"/>
                </a:lnTo>
                <a:lnTo>
                  <a:pt x="5676813" y="3062381"/>
                </a:lnTo>
                <a:lnTo>
                  <a:pt x="6096647" y="3062381"/>
                </a:lnTo>
                <a:lnTo>
                  <a:pt x="5902107" y="2417428"/>
                </a:lnTo>
                <a:lnTo>
                  <a:pt x="6603471" y="2417428"/>
                </a:lnTo>
                <a:lnTo>
                  <a:pt x="6294175" y="3062381"/>
                </a:lnTo>
                <a:lnTo>
                  <a:pt x="6758119" y="3062381"/>
                </a:lnTo>
                <a:lnTo>
                  <a:pt x="7076729" y="2417428"/>
                </a:lnTo>
                <a:lnTo>
                  <a:pt x="7132262" y="2417428"/>
                </a:lnTo>
                <a:lnTo>
                  <a:pt x="7325572" y="3062381"/>
                </a:lnTo>
                <a:lnTo>
                  <a:pt x="7709732" y="3062381"/>
                </a:lnTo>
                <a:lnTo>
                  <a:pt x="7273027" y="1606054"/>
                </a:lnTo>
                <a:close/>
              </a:path>
            </a:pathLst>
          </a:custGeom>
        </p:spPr>
      </p:pic>
    </p:spTree>
    <p:extLst>
      <p:ext uri="{BB962C8B-B14F-4D97-AF65-F5344CB8AC3E}">
        <p14:creationId xmlns:p14="http://schemas.microsoft.com/office/powerpoint/2010/main" val="18230061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5_Divider 1">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5B9E196-22E3-4721-8D73-0BBCB7F2D2D6}"/>
              </a:ext>
            </a:extLst>
          </p:cNvPr>
          <p:cNvPicPr>
            <a:picLocks noChangeAspect="1"/>
          </p:cNvPicPr>
          <p:nvPr userDrawn="1"/>
        </p:nvPicPr>
        <p:blipFill rotWithShape="1">
          <a:blip r:embed="rId2"/>
          <a:srcRect l="15110" r="31557"/>
          <a:stretch/>
        </p:blipFill>
        <p:spPr>
          <a:xfrm>
            <a:off x="0" y="0"/>
            <a:ext cx="12192000" cy="6858000"/>
          </a:xfrm>
          <a:prstGeom prst="rect">
            <a:avLst/>
          </a:prstGeom>
        </p:spPr>
      </p:pic>
      <p:pic>
        <p:nvPicPr>
          <p:cNvPr id="5" name="Picture 4">
            <a:extLst>
              <a:ext uri="{FF2B5EF4-FFF2-40B4-BE49-F238E27FC236}">
                <a16:creationId xmlns:a16="http://schemas.microsoft.com/office/drawing/2014/main" id="{CEC69962-ECD2-49AA-AAE2-708EEF1ABE2E}"/>
              </a:ext>
            </a:extLst>
          </p:cNvPr>
          <p:cNvPicPr>
            <a:picLocks noChangeAspect="1"/>
          </p:cNvPicPr>
          <p:nvPr userDrawn="1"/>
        </p:nvPicPr>
        <p:blipFill rotWithShape="1">
          <a:blip r:embed="rId3"/>
          <a:srcRect l="39642" t="7155" r="11054" b="43339"/>
          <a:stretch/>
        </p:blipFill>
        <p:spPr>
          <a:xfrm>
            <a:off x="2234912" y="1882367"/>
            <a:ext cx="7718489" cy="3099991"/>
          </a:xfrm>
          <a:custGeom>
            <a:avLst/>
            <a:gdLst>
              <a:gd name="connsiteX0" fmla="*/ 6058533 w 7718489"/>
              <a:gd name="connsiteY0" fmla="*/ 2420175 h 3099991"/>
              <a:gd name="connsiteX1" fmla="*/ 6451222 w 7718489"/>
              <a:gd name="connsiteY1" fmla="*/ 2775917 h 3099991"/>
              <a:gd name="connsiteX2" fmla="*/ 6718997 w 7718489"/>
              <a:gd name="connsiteY2" fmla="*/ 2748296 h 3099991"/>
              <a:gd name="connsiteX3" fmla="*/ 6800455 w 7718489"/>
              <a:gd name="connsiteY3" fmla="*/ 2420175 h 3099991"/>
              <a:gd name="connsiteX4" fmla="*/ 5035465 w 7718489"/>
              <a:gd name="connsiteY4" fmla="*/ 1789620 h 3099991"/>
              <a:gd name="connsiteX5" fmla="*/ 4672157 w 7718489"/>
              <a:gd name="connsiteY5" fmla="*/ 2360005 h 3099991"/>
              <a:gd name="connsiteX6" fmla="*/ 4912310 w 7718489"/>
              <a:gd name="connsiteY6" fmla="*/ 2360005 h 3099991"/>
              <a:gd name="connsiteX7" fmla="*/ 3858453 w 7718489"/>
              <a:gd name="connsiteY7" fmla="*/ 1764813 h 3099991"/>
              <a:gd name="connsiteX8" fmla="*/ 3690962 w 7718489"/>
              <a:gd name="connsiteY8" fmla="*/ 2360005 h 3099991"/>
              <a:gd name="connsiteX9" fmla="*/ 3864435 w 7718489"/>
              <a:gd name="connsiteY9" fmla="*/ 2360005 h 3099991"/>
              <a:gd name="connsiteX10" fmla="*/ 2514654 w 7718489"/>
              <a:gd name="connsiteY10" fmla="*/ 1671568 h 3099991"/>
              <a:gd name="connsiteX11" fmla="*/ 2445687 w 7718489"/>
              <a:gd name="connsiteY11" fmla="*/ 1672623 h 3099991"/>
              <a:gd name="connsiteX12" fmla="*/ 2392026 w 7718489"/>
              <a:gd name="connsiteY12" fmla="*/ 1874949 h 3099991"/>
              <a:gd name="connsiteX13" fmla="*/ 2369859 w 7718489"/>
              <a:gd name="connsiteY13" fmla="*/ 1961686 h 3099991"/>
              <a:gd name="connsiteX14" fmla="*/ 2322884 w 7718489"/>
              <a:gd name="connsiteY14" fmla="*/ 2135863 h 3099991"/>
              <a:gd name="connsiteX15" fmla="*/ 2424575 w 7718489"/>
              <a:gd name="connsiteY15" fmla="*/ 2135863 h 3099991"/>
              <a:gd name="connsiteX16" fmla="*/ 2483161 w 7718489"/>
              <a:gd name="connsiteY16" fmla="*/ 2135863 h 3099991"/>
              <a:gd name="connsiteX17" fmla="*/ 2531895 w 7718489"/>
              <a:gd name="connsiteY17" fmla="*/ 2133575 h 3099991"/>
              <a:gd name="connsiteX18" fmla="*/ 2532423 w 7718489"/>
              <a:gd name="connsiteY18" fmla="*/ 2133575 h 3099991"/>
              <a:gd name="connsiteX19" fmla="*/ 2837145 w 7718489"/>
              <a:gd name="connsiteY19" fmla="*/ 1896765 h 3099991"/>
              <a:gd name="connsiteX20" fmla="*/ 2844358 w 7718489"/>
              <a:gd name="connsiteY20" fmla="*/ 1722589 h 3099991"/>
              <a:gd name="connsiteX21" fmla="*/ 2593473 w 7718489"/>
              <a:gd name="connsiteY21" fmla="*/ 1671568 h 3099991"/>
              <a:gd name="connsiteX22" fmla="*/ 4208566 w 7718489"/>
              <a:gd name="connsiteY22" fmla="*/ 61049 h 3099991"/>
              <a:gd name="connsiteX23" fmla="*/ 4208566 w 7718489"/>
              <a:gd name="connsiteY23" fmla="*/ 2360885 h 3099991"/>
              <a:gd name="connsiteX24" fmla="*/ 4252198 w 7718489"/>
              <a:gd name="connsiteY24" fmla="*/ 2360885 h 3099991"/>
              <a:gd name="connsiteX25" fmla="*/ 4854779 w 7718489"/>
              <a:gd name="connsiteY25" fmla="*/ 1410830 h 3099991"/>
              <a:gd name="connsiteX26" fmla="*/ 5528086 w 7718489"/>
              <a:gd name="connsiteY26" fmla="*/ 1410830 h 3099991"/>
              <a:gd name="connsiteX27" fmla="*/ 5329102 w 7718489"/>
              <a:gd name="connsiteY27" fmla="*/ 2360005 h 3099991"/>
              <a:gd name="connsiteX28" fmla="*/ 5563097 w 7718489"/>
              <a:gd name="connsiteY28" fmla="*/ 2360005 h 3099991"/>
              <a:gd name="connsiteX29" fmla="*/ 5588256 w 7718489"/>
              <a:gd name="connsiteY29" fmla="*/ 2220488 h 3099991"/>
              <a:gd name="connsiteX30" fmla="*/ 5800435 w 7718489"/>
              <a:gd name="connsiteY30" fmla="*/ 1764813 h 3099991"/>
              <a:gd name="connsiteX31" fmla="*/ 5801491 w 7718489"/>
              <a:gd name="connsiteY31" fmla="*/ 1435285 h 3099991"/>
              <a:gd name="connsiteX32" fmla="*/ 5800787 w 7718489"/>
              <a:gd name="connsiteY32" fmla="*/ 61049 h 3099991"/>
              <a:gd name="connsiteX33" fmla="*/ 2354377 w 7718489"/>
              <a:gd name="connsiteY33" fmla="*/ 61049 h 3099991"/>
              <a:gd name="connsiteX34" fmla="*/ 2354377 w 7718489"/>
              <a:gd name="connsiteY34" fmla="*/ 1408015 h 3099991"/>
              <a:gd name="connsiteX35" fmla="*/ 2671061 w 7718489"/>
              <a:gd name="connsiteY35" fmla="*/ 1408015 h 3099991"/>
              <a:gd name="connsiteX36" fmla="*/ 3184442 w 7718489"/>
              <a:gd name="connsiteY36" fmla="*/ 1525364 h 3099991"/>
              <a:gd name="connsiteX37" fmla="*/ 3238279 w 7718489"/>
              <a:gd name="connsiteY37" fmla="*/ 1902571 h 3099991"/>
              <a:gd name="connsiteX38" fmla="*/ 2851219 w 7718489"/>
              <a:gd name="connsiteY38" fmla="*/ 2360005 h 3099991"/>
              <a:gd name="connsiteX39" fmla="*/ 3273466 w 7718489"/>
              <a:gd name="connsiteY39" fmla="*/ 2360005 h 3099991"/>
              <a:gd name="connsiteX40" fmla="*/ 3546695 w 7718489"/>
              <a:gd name="connsiteY40" fmla="*/ 1408543 h 3099991"/>
              <a:gd name="connsiteX41" fmla="*/ 3944662 w 7718489"/>
              <a:gd name="connsiteY41" fmla="*/ 1408543 h 3099991"/>
              <a:gd name="connsiteX42" fmla="*/ 3944662 w 7718489"/>
              <a:gd name="connsiteY42" fmla="*/ 61049 h 3099991"/>
              <a:gd name="connsiteX43" fmla="*/ 498603 w 7718489"/>
              <a:gd name="connsiteY43" fmla="*/ 61049 h 3099991"/>
              <a:gd name="connsiteX44" fmla="*/ 498603 w 7718489"/>
              <a:gd name="connsiteY44" fmla="*/ 1410830 h 3099991"/>
              <a:gd name="connsiteX45" fmla="*/ 881441 w 7718489"/>
              <a:gd name="connsiteY45" fmla="*/ 1410830 h 3099991"/>
              <a:gd name="connsiteX46" fmla="*/ 676826 w 7718489"/>
              <a:gd name="connsiteY46" fmla="*/ 2091351 h 3099991"/>
              <a:gd name="connsiteX47" fmla="*/ 1308612 w 7718489"/>
              <a:gd name="connsiteY47" fmla="*/ 1412062 h 3099991"/>
              <a:gd name="connsiteX48" fmla="*/ 1827624 w 7718489"/>
              <a:gd name="connsiteY48" fmla="*/ 1412062 h 3099991"/>
              <a:gd name="connsiteX49" fmla="*/ 1019725 w 7718489"/>
              <a:gd name="connsiteY49" fmla="*/ 2237729 h 3099991"/>
              <a:gd name="connsiteX50" fmla="*/ 1078312 w 7718489"/>
              <a:gd name="connsiteY50" fmla="*/ 2360885 h 3099991"/>
              <a:gd name="connsiteX51" fmla="*/ 1827624 w 7718489"/>
              <a:gd name="connsiteY51" fmla="*/ 2360885 h 3099991"/>
              <a:gd name="connsiteX52" fmla="*/ 1836596 w 7718489"/>
              <a:gd name="connsiteY52" fmla="*/ 2333966 h 3099991"/>
              <a:gd name="connsiteX53" fmla="*/ 2064435 w 7718489"/>
              <a:gd name="connsiteY53" fmla="*/ 1575506 h 3099991"/>
              <a:gd name="connsiteX54" fmla="*/ 2089417 w 7718489"/>
              <a:gd name="connsiteY54" fmla="*/ 1492992 h 3099991"/>
              <a:gd name="connsiteX55" fmla="*/ 2089417 w 7718489"/>
              <a:gd name="connsiteY55" fmla="*/ 61049 h 3099991"/>
              <a:gd name="connsiteX56" fmla="*/ 6065395 w 7718489"/>
              <a:gd name="connsiteY56" fmla="*/ 60698 h 3099991"/>
              <a:gd name="connsiteX57" fmla="*/ 6065395 w 7718489"/>
              <a:gd name="connsiteY57" fmla="*/ 1503372 h 3099991"/>
              <a:gd name="connsiteX58" fmla="*/ 6770898 w 7718489"/>
              <a:gd name="connsiteY58" fmla="*/ 1317056 h 3099991"/>
              <a:gd name="connsiteX59" fmla="*/ 7344274 w 7718489"/>
              <a:gd name="connsiteY59" fmla="*/ 1514632 h 3099991"/>
              <a:gd name="connsiteX60" fmla="*/ 7383859 w 7718489"/>
              <a:gd name="connsiteY60" fmla="*/ 1868792 h 3099991"/>
              <a:gd name="connsiteX61" fmla="*/ 6906017 w 7718489"/>
              <a:gd name="connsiteY61" fmla="*/ 1868792 h 3099991"/>
              <a:gd name="connsiteX62" fmla="*/ 6667272 w 7718489"/>
              <a:gd name="connsiteY62" fmla="*/ 1642186 h 3099991"/>
              <a:gd name="connsiteX63" fmla="*/ 6084044 w 7718489"/>
              <a:gd name="connsiteY63" fmla="*/ 2210811 h 3099991"/>
              <a:gd name="connsiteX64" fmla="*/ 6065395 w 7718489"/>
              <a:gd name="connsiteY64" fmla="*/ 2305465 h 3099991"/>
              <a:gd name="connsiteX65" fmla="*/ 6065395 w 7718489"/>
              <a:gd name="connsiteY65" fmla="*/ 2360005 h 3099991"/>
              <a:gd name="connsiteX66" fmla="*/ 6453685 w 7718489"/>
              <a:gd name="connsiteY66" fmla="*/ 2360005 h 3099991"/>
              <a:gd name="connsiteX67" fmla="*/ 6519837 w 7718489"/>
              <a:gd name="connsiteY67" fmla="*/ 2094693 h 3099991"/>
              <a:gd name="connsiteX68" fmla="*/ 7322633 w 7718489"/>
              <a:gd name="connsiteY68" fmla="*/ 2094693 h 3099991"/>
              <a:gd name="connsiteX69" fmla="*/ 7257009 w 7718489"/>
              <a:gd name="connsiteY69" fmla="*/ 2360005 h 3099991"/>
              <a:gd name="connsiteX70" fmla="*/ 7658671 w 7718489"/>
              <a:gd name="connsiteY70" fmla="*/ 2360005 h 3099991"/>
              <a:gd name="connsiteX71" fmla="*/ 7657967 w 7718489"/>
              <a:gd name="connsiteY71" fmla="*/ 60698 h 3099991"/>
              <a:gd name="connsiteX72" fmla="*/ 437201 w 7718489"/>
              <a:gd name="connsiteY72" fmla="*/ 0 h 3099991"/>
              <a:gd name="connsiteX73" fmla="*/ 2151170 w 7718489"/>
              <a:gd name="connsiteY73" fmla="*/ 0 h 3099991"/>
              <a:gd name="connsiteX74" fmla="*/ 2151170 w 7718489"/>
              <a:gd name="connsiteY74" fmla="*/ 1410830 h 3099991"/>
              <a:gd name="connsiteX75" fmla="*/ 2292974 w 7718489"/>
              <a:gd name="connsiteY75" fmla="*/ 1410830 h 3099991"/>
              <a:gd name="connsiteX76" fmla="*/ 2292974 w 7718489"/>
              <a:gd name="connsiteY76" fmla="*/ 0 h 3099991"/>
              <a:gd name="connsiteX77" fmla="*/ 4006767 w 7718489"/>
              <a:gd name="connsiteY77" fmla="*/ 0 h 3099991"/>
              <a:gd name="connsiteX78" fmla="*/ 4006767 w 7718489"/>
              <a:gd name="connsiteY78" fmla="*/ 1408543 h 3099991"/>
              <a:gd name="connsiteX79" fmla="*/ 4148748 w 7718489"/>
              <a:gd name="connsiteY79" fmla="*/ 1408543 h 3099991"/>
              <a:gd name="connsiteX80" fmla="*/ 4148748 w 7718489"/>
              <a:gd name="connsiteY80" fmla="*/ 0 h 3099991"/>
              <a:gd name="connsiteX81" fmla="*/ 5862013 w 7718489"/>
              <a:gd name="connsiteY81" fmla="*/ 0 h 3099991"/>
              <a:gd name="connsiteX82" fmla="*/ 5862013 w 7718489"/>
              <a:gd name="connsiteY82" fmla="*/ 1684411 h 3099991"/>
              <a:gd name="connsiteX83" fmla="*/ 6005048 w 7718489"/>
              <a:gd name="connsiteY83" fmla="*/ 1546829 h 3099991"/>
              <a:gd name="connsiteX84" fmla="*/ 6005048 w 7718489"/>
              <a:gd name="connsiteY84" fmla="*/ 0 h 3099991"/>
              <a:gd name="connsiteX85" fmla="*/ 7718489 w 7718489"/>
              <a:gd name="connsiteY85" fmla="*/ 0 h 3099991"/>
              <a:gd name="connsiteX86" fmla="*/ 7718489 w 7718489"/>
              <a:gd name="connsiteY86" fmla="*/ 2420175 h 3099991"/>
              <a:gd name="connsiteX87" fmla="*/ 7242406 w 7718489"/>
              <a:gd name="connsiteY87" fmla="*/ 2420175 h 3099991"/>
              <a:gd name="connsiteX88" fmla="*/ 7097963 w 7718489"/>
              <a:gd name="connsiteY88" fmla="*/ 3004810 h 3099991"/>
              <a:gd name="connsiteX89" fmla="*/ 6322965 w 7718489"/>
              <a:gd name="connsiteY89" fmla="*/ 3099991 h 3099991"/>
              <a:gd name="connsiteX90" fmla="*/ 5729357 w 7718489"/>
              <a:gd name="connsiteY90" fmla="*/ 2923000 h 3099991"/>
              <a:gd name="connsiteX91" fmla="*/ 5555532 w 7718489"/>
              <a:gd name="connsiteY91" fmla="*/ 2420175 h 3099991"/>
              <a:gd name="connsiteX92" fmla="*/ 5314324 w 7718489"/>
              <a:gd name="connsiteY92" fmla="*/ 2420175 h 3099991"/>
              <a:gd name="connsiteX93" fmla="*/ 5178853 w 7718489"/>
              <a:gd name="connsiteY93" fmla="*/ 3064101 h 3099991"/>
              <a:gd name="connsiteX94" fmla="*/ 4761709 w 7718489"/>
              <a:gd name="connsiteY94" fmla="*/ 3064101 h 3099991"/>
              <a:gd name="connsiteX95" fmla="*/ 4899466 w 7718489"/>
              <a:gd name="connsiteY95" fmla="*/ 2420175 h 3099991"/>
              <a:gd name="connsiteX96" fmla="*/ 4632396 w 7718489"/>
              <a:gd name="connsiteY96" fmla="*/ 2420175 h 3099991"/>
              <a:gd name="connsiteX97" fmla="*/ 4224576 w 7718489"/>
              <a:gd name="connsiteY97" fmla="*/ 3064101 h 3099991"/>
              <a:gd name="connsiteX98" fmla="*/ 3869009 w 7718489"/>
              <a:gd name="connsiteY98" fmla="*/ 3064101 h 3099991"/>
              <a:gd name="connsiteX99" fmla="*/ 3863907 w 7718489"/>
              <a:gd name="connsiteY99" fmla="*/ 2420175 h 3099991"/>
              <a:gd name="connsiteX100" fmla="*/ 3673193 w 7718489"/>
              <a:gd name="connsiteY100" fmla="*/ 2420175 h 3099991"/>
              <a:gd name="connsiteX101" fmla="*/ 3493562 w 7718489"/>
              <a:gd name="connsiteY101" fmla="*/ 3064101 h 3099991"/>
              <a:gd name="connsiteX102" fmla="*/ 3069732 w 7718489"/>
              <a:gd name="connsiteY102" fmla="*/ 3064101 h 3099991"/>
              <a:gd name="connsiteX103" fmla="*/ 3255345 w 7718489"/>
              <a:gd name="connsiteY103" fmla="*/ 2420175 h 3099991"/>
              <a:gd name="connsiteX104" fmla="*/ 2319717 w 7718489"/>
              <a:gd name="connsiteY104" fmla="*/ 2420175 h 3099991"/>
              <a:gd name="connsiteX105" fmla="*/ 2319717 w 7718489"/>
              <a:gd name="connsiteY105" fmla="*/ 2421934 h 3099991"/>
              <a:gd name="connsiteX106" fmla="*/ 2227350 w 7718489"/>
              <a:gd name="connsiteY106" fmla="*/ 2421934 h 3099991"/>
              <a:gd name="connsiteX107" fmla="*/ 2035229 w 7718489"/>
              <a:gd name="connsiteY107" fmla="*/ 3065860 h 3099991"/>
              <a:gd name="connsiteX108" fmla="*/ 1614917 w 7718489"/>
              <a:gd name="connsiteY108" fmla="*/ 3065860 h 3099991"/>
              <a:gd name="connsiteX109" fmla="*/ 1809678 w 7718489"/>
              <a:gd name="connsiteY109" fmla="*/ 2420175 h 3099991"/>
              <a:gd name="connsiteX110" fmla="*/ 1107517 w 7718489"/>
              <a:gd name="connsiteY110" fmla="*/ 2420175 h 3099991"/>
              <a:gd name="connsiteX111" fmla="*/ 1417165 w 7718489"/>
              <a:gd name="connsiteY111" fmla="*/ 3065860 h 3099991"/>
              <a:gd name="connsiteX112" fmla="*/ 952694 w 7718489"/>
              <a:gd name="connsiteY112" fmla="*/ 3065860 h 3099991"/>
              <a:gd name="connsiteX113" fmla="*/ 633723 w 7718489"/>
              <a:gd name="connsiteY113" fmla="*/ 2420175 h 3099991"/>
              <a:gd name="connsiteX114" fmla="*/ 578126 w 7718489"/>
              <a:gd name="connsiteY114" fmla="*/ 2420175 h 3099991"/>
              <a:gd name="connsiteX115" fmla="*/ 384596 w 7718489"/>
              <a:gd name="connsiteY115" fmla="*/ 3065860 h 3099991"/>
              <a:gd name="connsiteX116" fmla="*/ 0 w 7718489"/>
              <a:gd name="connsiteY116" fmla="*/ 3065860 h 3099991"/>
              <a:gd name="connsiteX117" fmla="*/ 437201 w 7718489"/>
              <a:gd name="connsiteY117" fmla="*/ 1607879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7718489" h="3099991">
                <a:moveTo>
                  <a:pt x="6058533" y="2420175"/>
                </a:moveTo>
                <a:cubicBezTo>
                  <a:pt x="6061876" y="2669124"/>
                  <a:pt x="6221626" y="2775917"/>
                  <a:pt x="6451222" y="2775917"/>
                </a:cubicBezTo>
                <a:cubicBezTo>
                  <a:pt x="6541125" y="2774668"/>
                  <a:pt x="6630730" y="2765432"/>
                  <a:pt x="6718997" y="2748296"/>
                </a:cubicBezTo>
                <a:lnTo>
                  <a:pt x="6800455" y="2420175"/>
                </a:lnTo>
                <a:close/>
                <a:moveTo>
                  <a:pt x="5035465" y="1789620"/>
                </a:moveTo>
                <a:lnTo>
                  <a:pt x="4672157" y="2360005"/>
                </a:lnTo>
                <a:lnTo>
                  <a:pt x="4912310" y="2360005"/>
                </a:lnTo>
                <a:close/>
                <a:moveTo>
                  <a:pt x="3858453" y="1764813"/>
                </a:moveTo>
                <a:lnTo>
                  <a:pt x="3690962" y="2360005"/>
                </a:lnTo>
                <a:lnTo>
                  <a:pt x="3864435" y="2360005"/>
                </a:lnTo>
                <a:close/>
                <a:moveTo>
                  <a:pt x="2514654" y="1671568"/>
                </a:moveTo>
                <a:cubicBezTo>
                  <a:pt x="2492486" y="1671568"/>
                  <a:pt x="2469438" y="1672623"/>
                  <a:pt x="2445687" y="1672623"/>
                </a:cubicBezTo>
                <a:lnTo>
                  <a:pt x="2392026" y="1874949"/>
                </a:lnTo>
                <a:lnTo>
                  <a:pt x="2369859" y="1961686"/>
                </a:lnTo>
                <a:lnTo>
                  <a:pt x="2322884" y="2135863"/>
                </a:lnTo>
                <a:lnTo>
                  <a:pt x="2424575" y="2135863"/>
                </a:lnTo>
                <a:cubicBezTo>
                  <a:pt x="2441816" y="2135863"/>
                  <a:pt x="2459762" y="2135863"/>
                  <a:pt x="2483161" y="2135863"/>
                </a:cubicBezTo>
                <a:cubicBezTo>
                  <a:pt x="2500931" y="2135863"/>
                  <a:pt x="2516589" y="2133575"/>
                  <a:pt x="2531895" y="2133575"/>
                </a:cubicBezTo>
                <a:lnTo>
                  <a:pt x="2532423" y="2133575"/>
                </a:lnTo>
                <a:cubicBezTo>
                  <a:pt x="2728240" y="2118621"/>
                  <a:pt x="2788938" y="2043848"/>
                  <a:pt x="2837145" y="1896765"/>
                </a:cubicBezTo>
                <a:cubicBezTo>
                  <a:pt x="2865118" y="1811437"/>
                  <a:pt x="2867933" y="1755137"/>
                  <a:pt x="2844358" y="1722589"/>
                </a:cubicBezTo>
                <a:cubicBezTo>
                  <a:pt x="2813393" y="1679308"/>
                  <a:pt x="2728240" y="1671568"/>
                  <a:pt x="2593473" y="1671568"/>
                </a:cubicBezTo>
                <a:close/>
                <a:moveTo>
                  <a:pt x="4208566" y="61049"/>
                </a:moveTo>
                <a:lnTo>
                  <a:pt x="4208566" y="2360885"/>
                </a:lnTo>
                <a:lnTo>
                  <a:pt x="4252198" y="2360885"/>
                </a:lnTo>
                <a:lnTo>
                  <a:pt x="4854779" y="1410830"/>
                </a:lnTo>
                <a:lnTo>
                  <a:pt x="5528086" y="1410830"/>
                </a:lnTo>
                <a:lnTo>
                  <a:pt x="5329102" y="2360005"/>
                </a:lnTo>
                <a:lnTo>
                  <a:pt x="5563097" y="2360005"/>
                </a:lnTo>
                <a:cubicBezTo>
                  <a:pt x="5567865" y="2312924"/>
                  <a:pt x="5576275" y="2266266"/>
                  <a:pt x="5588256" y="2220488"/>
                </a:cubicBezTo>
                <a:cubicBezTo>
                  <a:pt x="5629319" y="2056480"/>
                  <a:pt x="5701348" y="1901815"/>
                  <a:pt x="5800435" y="1764813"/>
                </a:cubicBezTo>
                <a:lnTo>
                  <a:pt x="5801491" y="1435285"/>
                </a:lnTo>
                <a:lnTo>
                  <a:pt x="5800787" y="61049"/>
                </a:lnTo>
                <a:close/>
                <a:moveTo>
                  <a:pt x="2354377" y="61049"/>
                </a:moveTo>
                <a:lnTo>
                  <a:pt x="2354377" y="1408015"/>
                </a:lnTo>
                <a:lnTo>
                  <a:pt x="2671061" y="1408015"/>
                </a:lnTo>
                <a:cubicBezTo>
                  <a:pt x="2861952" y="1408015"/>
                  <a:pt x="3077121" y="1396931"/>
                  <a:pt x="3184442" y="1525364"/>
                </a:cubicBezTo>
                <a:cubicBezTo>
                  <a:pt x="3255872" y="1611749"/>
                  <a:pt x="3271706" y="1726635"/>
                  <a:pt x="3238279" y="1902571"/>
                </a:cubicBezTo>
                <a:cubicBezTo>
                  <a:pt x="3197286" y="2128297"/>
                  <a:pt x="3066389" y="2280306"/>
                  <a:pt x="2851219" y="2360005"/>
                </a:cubicBezTo>
                <a:lnTo>
                  <a:pt x="3273466" y="2360005"/>
                </a:lnTo>
                <a:lnTo>
                  <a:pt x="3546695" y="1408543"/>
                </a:lnTo>
                <a:lnTo>
                  <a:pt x="3944662" y="1408543"/>
                </a:lnTo>
                <a:lnTo>
                  <a:pt x="3944662" y="61049"/>
                </a:lnTo>
                <a:close/>
                <a:moveTo>
                  <a:pt x="498603" y="61049"/>
                </a:moveTo>
                <a:lnTo>
                  <a:pt x="498603" y="1410830"/>
                </a:lnTo>
                <a:lnTo>
                  <a:pt x="881441" y="1410830"/>
                </a:lnTo>
                <a:lnTo>
                  <a:pt x="676826" y="2091351"/>
                </a:lnTo>
                <a:lnTo>
                  <a:pt x="1308612" y="1412062"/>
                </a:lnTo>
                <a:lnTo>
                  <a:pt x="1827624" y="1412062"/>
                </a:lnTo>
                <a:lnTo>
                  <a:pt x="1019725" y="2237729"/>
                </a:lnTo>
                <a:lnTo>
                  <a:pt x="1078312" y="2360885"/>
                </a:lnTo>
                <a:lnTo>
                  <a:pt x="1827624" y="2360885"/>
                </a:lnTo>
                <a:lnTo>
                  <a:pt x="1836596" y="2333966"/>
                </a:lnTo>
                <a:lnTo>
                  <a:pt x="2064435" y="1575506"/>
                </a:lnTo>
                <a:lnTo>
                  <a:pt x="2089417" y="1492992"/>
                </a:lnTo>
                <a:lnTo>
                  <a:pt x="2089417" y="61049"/>
                </a:lnTo>
                <a:close/>
                <a:moveTo>
                  <a:pt x="6065395" y="60698"/>
                </a:moveTo>
                <a:lnTo>
                  <a:pt x="6065395" y="1503372"/>
                </a:lnTo>
                <a:cubicBezTo>
                  <a:pt x="6304668" y="1347317"/>
                  <a:pt x="6581591" y="1317056"/>
                  <a:pt x="6770898" y="1317056"/>
                </a:cubicBezTo>
                <a:cubicBezTo>
                  <a:pt x="7037265" y="1317056"/>
                  <a:pt x="7242406" y="1373884"/>
                  <a:pt x="7344274" y="1514632"/>
                </a:cubicBezTo>
                <a:cubicBezTo>
                  <a:pt x="7434353" y="1644649"/>
                  <a:pt x="7402860" y="1785926"/>
                  <a:pt x="7383859" y="1868792"/>
                </a:cubicBezTo>
                <a:lnTo>
                  <a:pt x="6906017" y="1868792"/>
                </a:lnTo>
                <a:cubicBezTo>
                  <a:pt x="6923434" y="1691096"/>
                  <a:pt x="6795705" y="1642186"/>
                  <a:pt x="6667272" y="1642186"/>
                </a:cubicBezTo>
                <a:cubicBezTo>
                  <a:pt x="6342669" y="1642186"/>
                  <a:pt x="6154418" y="1924739"/>
                  <a:pt x="6084044" y="2210811"/>
                </a:cubicBezTo>
                <a:cubicBezTo>
                  <a:pt x="6076479" y="2244239"/>
                  <a:pt x="6071376" y="2275556"/>
                  <a:pt x="6065395" y="2305465"/>
                </a:cubicBezTo>
                <a:lnTo>
                  <a:pt x="6065395" y="2360005"/>
                </a:lnTo>
                <a:lnTo>
                  <a:pt x="6453685" y="2360005"/>
                </a:lnTo>
                <a:lnTo>
                  <a:pt x="6519837" y="2094693"/>
                </a:lnTo>
                <a:lnTo>
                  <a:pt x="7322633" y="2094693"/>
                </a:lnTo>
                <a:lnTo>
                  <a:pt x="7257009" y="2360005"/>
                </a:lnTo>
                <a:lnTo>
                  <a:pt x="7658671" y="2360005"/>
                </a:lnTo>
                <a:lnTo>
                  <a:pt x="7657967" y="60698"/>
                </a:lnTo>
                <a:close/>
                <a:moveTo>
                  <a:pt x="437201" y="0"/>
                </a:moveTo>
                <a:lnTo>
                  <a:pt x="2151170" y="0"/>
                </a:lnTo>
                <a:lnTo>
                  <a:pt x="2151170" y="1410830"/>
                </a:lnTo>
                <a:lnTo>
                  <a:pt x="2292974" y="1410830"/>
                </a:lnTo>
                <a:lnTo>
                  <a:pt x="2292974" y="0"/>
                </a:lnTo>
                <a:lnTo>
                  <a:pt x="4006767" y="0"/>
                </a:lnTo>
                <a:lnTo>
                  <a:pt x="4006767" y="1408543"/>
                </a:lnTo>
                <a:lnTo>
                  <a:pt x="4148748" y="1408543"/>
                </a:lnTo>
                <a:lnTo>
                  <a:pt x="4148748" y="0"/>
                </a:lnTo>
                <a:lnTo>
                  <a:pt x="5862013" y="0"/>
                </a:lnTo>
                <a:lnTo>
                  <a:pt x="5862013" y="1684411"/>
                </a:lnTo>
                <a:cubicBezTo>
                  <a:pt x="5905345" y="1634234"/>
                  <a:pt x="5953218" y="1588174"/>
                  <a:pt x="6005048" y="1546829"/>
                </a:cubicBezTo>
                <a:lnTo>
                  <a:pt x="6005048" y="0"/>
                </a:lnTo>
                <a:lnTo>
                  <a:pt x="7718489" y="0"/>
                </a:lnTo>
                <a:lnTo>
                  <a:pt x="7718489" y="2420175"/>
                </a:lnTo>
                <a:lnTo>
                  <a:pt x="7242406" y="2420175"/>
                </a:lnTo>
                <a:lnTo>
                  <a:pt x="7097963" y="3004810"/>
                </a:lnTo>
                <a:cubicBezTo>
                  <a:pt x="6843929" y="3064980"/>
                  <a:pt x="6584019" y="3096913"/>
                  <a:pt x="6322965" y="3099991"/>
                </a:cubicBezTo>
                <a:cubicBezTo>
                  <a:pt x="6139112" y="3099991"/>
                  <a:pt x="5891218" y="3071490"/>
                  <a:pt x="5729357" y="2923000"/>
                </a:cubicBezTo>
                <a:cubicBezTo>
                  <a:pt x="5597053" y="2801076"/>
                  <a:pt x="5546031" y="2619686"/>
                  <a:pt x="5555532" y="2420175"/>
                </a:cubicBezTo>
                <a:lnTo>
                  <a:pt x="5314324" y="2420175"/>
                </a:lnTo>
                <a:lnTo>
                  <a:pt x="5178853" y="3064101"/>
                </a:lnTo>
                <a:lnTo>
                  <a:pt x="4761709" y="3064101"/>
                </a:lnTo>
                <a:lnTo>
                  <a:pt x="4899466" y="2420175"/>
                </a:lnTo>
                <a:lnTo>
                  <a:pt x="4632396" y="2420175"/>
                </a:lnTo>
                <a:lnTo>
                  <a:pt x="4224576" y="3064101"/>
                </a:lnTo>
                <a:lnTo>
                  <a:pt x="3869009" y="3064101"/>
                </a:lnTo>
                <a:lnTo>
                  <a:pt x="3863907" y="2420175"/>
                </a:lnTo>
                <a:lnTo>
                  <a:pt x="3673193" y="2420175"/>
                </a:lnTo>
                <a:lnTo>
                  <a:pt x="3493562" y="3064101"/>
                </a:lnTo>
                <a:lnTo>
                  <a:pt x="3069732" y="3064101"/>
                </a:lnTo>
                <a:lnTo>
                  <a:pt x="3255345" y="2420175"/>
                </a:lnTo>
                <a:lnTo>
                  <a:pt x="2319717" y="2420175"/>
                </a:lnTo>
                <a:lnTo>
                  <a:pt x="2319717" y="2421934"/>
                </a:lnTo>
                <a:lnTo>
                  <a:pt x="2227350" y="2421934"/>
                </a:lnTo>
                <a:lnTo>
                  <a:pt x="2035229" y="3065860"/>
                </a:lnTo>
                <a:lnTo>
                  <a:pt x="1614917" y="3065860"/>
                </a:lnTo>
                <a:lnTo>
                  <a:pt x="1809678" y="2420175"/>
                </a:lnTo>
                <a:lnTo>
                  <a:pt x="1107517" y="2420175"/>
                </a:lnTo>
                <a:lnTo>
                  <a:pt x="1417165" y="3065860"/>
                </a:lnTo>
                <a:lnTo>
                  <a:pt x="952694" y="3065860"/>
                </a:lnTo>
                <a:lnTo>
                  <a:pt x="633723" y="2420175"/>
                </a:lnTo>
                <a:lnTo>
                  <a:pt x="578126" y="2420175"/>
                </a:lnTo>
                <a:lnTo>
                  <a:pt x="384596" y="3065860"/>
                </a:lnTo>
                <a:lnTo>
                  <a:pt x="0" y="3065860"/>
                </a:lnTo>
                <a:lnTo>
                  <a:pt x="437201" y="1607879"/>
                </a:lnTo>
                <a:close/>
              </a:path>
            </a:pathLst>
          </a:custGeom>
        </p:spPr>
      </p:pic>
    </p:spTree>
    <p:extLst>
      <p:ext uri="{BB962C8B-B14F-4D97-AF65-F5344CB8AC3E}">
        <p14:creationId xmlns:p14="http://schemas.microsoft.com/office/powerpoint/2010/main" val="103424101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6_Divider 1">
    <p:bg>
      <p:bgPr>
        <a:solidFill>
          <a:schemeClr val="accent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2316155-4497-45BD-BEC5-3B5AED2A9DB2}"/>
              </a:ext>
            </a:extLst>
          </p:cNvPr>
          <p:cNvPicPr>
            <a:picLocks noChangeAspect="1"/>
          </p:cNvPicPr>
          <p:nvPr userDrawn="1"/>
        </p:nvPicPr>
        <p:blipFill rotWithShape="1">
          <a:blip r:embed="rId2"/>
          <a:srcRect t="34232" r="45531" b="3101"/>
          <a:stretch/>
        </p:blipFill>
        <p:spPr>
          <a:xfrm>
            <a:off x="1" y="0"/>
            <a:ext cx="12192000" cy="6858000"/>
          </a:xfrm>
          <a:prstGeom prst="rect">
            <a:avLst/>
          </a:prstGeom>
        </p:spPr>
      </p:pic>
      <p:pic>
        <p:nvPicPr>
          <p:cNvPr id="7" name="Picture 6">
            <a:extLst>
              <a:ext uri="{FF2B5EF4-FFF2-40B4-BE49-F238E27FC236}">
                <a16:creationId xmlns:a16="http://schemas.microsoft.com/office/drawing/2014/main" id="{CBA59410-FCE0-40AA-9FA8-06CF5C230650}"/>
              </a:ext>
            </a:extLst>
          </p:cNvPr>
          <p:cNvPicPr>
            <a:picLocks noChangeAspect="1"/>
          </p:cNvPicPr>
          <p:nvPr userDrawn="1"/>
        </p:nvPicPr>
        <p:blipFill rotWithShape="1">
          <a:blip r:embed="rId3"/>
          <a:srcRect l="26828" t="41914" r="17655" b="24642"/>
          <a:stretch/>
        </p:blipFill>
        <p:spPr>
          <a:xfrm>
            <a:off x="2234913" y="1882367"/>
            <a:ext cx="7718489" cy="3099991"/>
          </a:xfrm>
          <a:custGeom>
            <a:avLst/>
            <a:gdLst>
              <a:gd name="connsiteX0" fmla="*/ 6058533 w 7718489"/>
              <a:gd name="connsiteY0" fmla="*/ 2420175 h 3099991"/>
              <a:gd name="connsiteX1" fmla="*/ 6451222 w 7718489"/>
              <a:gd name="connsiteY1" fmla="*/ 2775917 h 3099991"/>
              <a:gd name="connsiteX2" fmla="*/ 6718997 w 7718489"/>
              <a:gd name="connsiteY2" fmla="*/ 2748296 h 3099991"/>
              <a:gd name="connsiteX3" fmla="*/ 6800455 w 7718489"/>
              <a:gd name="connsiteY3" fmla="*/ 2420175 h 3099991"/>
              <a:gd name="connsiteX4" fmla="*/ 5035465 w 7718489"/>
              <a:gd name="connsiteY4" fmla="*/ 1789620 h 3099991"/>
              <a:gd name="connsiteX5" fmla="*/ 4672157 w 7718489"/>
              <a:gd name="connsiteY5" fmla="*/ 2360005 h 3099991"/>
              <a:gd name="connsiteX6" fmla="*/ 4912310 w 7718489"/>
              <a:gd name="connsiteY6" fmla="*/ 2360005 h 3099991"/>
              <a:gd name="connsiteX7" fmla="*/ 3858453 w 7718489"/>
              <a:gd name="connsiteY7" fmla="*/ 1764813 h 3099991"/>
              <a:gd name="connsiteX8" fmla="*/ 3690962 w 7718489"/>
              <a:gd name="connsiteY8" fmla="*/ 2360005 h 3099991"/>
              <a:gd name="connsiteX9" fmla="*/ 3864435 w 7718489"/>
              <a:gd name="connsiteY9" fmla="*/ 2360005 h 3099991"/>
              <a:gd name="connsiteX10" fmla="*/ 2514654 w 7718489"/>
              <a:gd name="connsiteY10" fmla="*/ 1671568 h 3099991"/>
              <a:gd name="connsiteX11" fmla="*/ 2445687 w 7718489"/>
              <a:gd name="connsiteY11" fmla="*/ 1672623 h 3099991"/>
              <a:gd name="connsiteX12" fmla="*/ 2392026 w 7718489"/>
              <a:gd name="connsiteY12" fmla="*/ 1874949 h 3099991"/>
              <a:gd name="connsiteX13" fmla="*/ 2369859 w 7718489"/>
              <a:gd name="connsiteY13" fmla="*/ 1961686 h 3099991"/>
              <a:gd name="connsiteX14" fmla="*/ 2322884 w 7718489"/>
              <a:gd name="connsiteY14" fmla="*/ 2135863 h 3099991"/>
              <a:gd name="connsiteX15" fmla="*/ 2424575 w 7718489"/>
              <a:gd name="connsiteY15" fmla="*/ 2135863 h 3099991"/>
              <a:gd name="connsiteX16" fmla="*/ 2483161 w 7718489"/>
              <a:gd name="connsiteY16" fmla="*/ 2135863 h 3099991"/>
              <a:gd name="connsiteX17" fmla="*/ 2531895 w 7718489"/>
              <a:gd name="connsiteY17" fmla="*/ 2133575 h 3099991"/>
              <a:gd name="connsiteX18" fmla="*/ 2532423 w 7718489"/>
              <a:gd name="connsiteY18" fmla="*/ 2133575 h 3099991"/>
              <a:gd name="connsiteX19" fmla="*/ 2837145 w 7718489"/>
              <a:gd name="connsiteY19" fmla="*/ 1896765 h 3099991"/>
              <a:gd name="connsiteX20" fmla="*/ 2844358 w 7718489"/>
              <a:gd name="connsiteY20" fmla="*/ 1722589 h 3099991"/>
              <a:gd name="connsiteX21" fmla="*/ 2593473 w 7718489"/>
              <a:gd name="connsiteY21" fmla="*/ 1671568 h 3099991"/>
              <a:gd name="connsiteX22" fmla="*/ 4208566 w 7718489"/>
              <a:gd name="connsiteY22" fmla="*/ 61049 h 3099991"/>
              <a:gd name="connsiteX23" fmla="*/ 4208566 w 7718489"/>
              <a:gd name="connsiteY23" fmla="*/ 2360885 h 3099991"/>
              <a:gd name="connsiteX24" fmla="*/ 4252198 w 7718489"/>
              <a:gd name="connsiteY24" fmla="*/ 2360885 h 3099991"/>
              <a:gd name="connsiteX25" fmla="*/ 4854779 w 7718489"/>
              <a:gd name="connsiteY25" fmla="*/ 1410830 h 3099991"/>
              <a:gd name="connsiteX26" fmla="*/ 5528086 w 7718489"/>
              <a:gd name="connsiteY26" fmla="*/ 1410830 h 3099991"/>
              <a:gd name="connsiteX27" fmla="*/ 5329102 w 7718489"/>
              <a:gd name="connsiteY27" fmla="*/ 2360005 h 3099991"/>
              <a:gd name="connsiteX28" fmla="*/ 5563097 w 7718489"/>
              <a:gd name="connsiteY28" fmla="*/ 2360005 h 3099991"/>
              <a:gd name="connsiteX29" fmla="*/ 5588256 w 7718489"/>
              <a:gd name="connsiteY29" fmla="*/ 2220488 h 3099991"/>
              <a:gd name="connsiteX30" fmla="*/ 5800435 w 7718489"/>
              <a:gd name="connsiteY30" fmla="*/ 1764813 h 3099991"/>
              <a:gd name="connsiteX31" fmla="*/ 5801491 w 7718489"/>
              <a:gd name="connsiteY31" fmla="*/ 1435285 h 3099991"/>
              <a:gd name="connsiteX32" fmla="*/ 5800787 w 7718489"/>
              <a:gd name="connsiteY32" fmla="*/ 61049 h 3099991"/>
              <a:gd name="connsiteX33" fmla="*/ 2354376 w 7718489"/>
              <a:gd name="connsiteY33" fmla="*/ 61049 h 3099991"/>
              <a:gd name="connsiteX34" fmla="*/ 2354376 w 7718489"/>
              <a:gd name="connsiteY34" fmla="*/ 1408015 h 3099991"/>
              <a:gd name="connsiteX35" fmla="*/ 2671061 w 7718489"/>
              <a:gd name="connsiteY35" fmla="*/ 1408015 h 3099991"/>
              <a:gd name="connsiteX36" fmla="*/ 3184442 w 7718489"/>
              <a:gd name="connsiteY36" fmla="*/ 1525364 h 3099991"/>
              <a:gd name="connsiteX37" fmla="*/ 3238279 w 7718489"/>
              <a:gd name="connsiteY37" fmla="*/ 1902571 h 3099991"/>
              <a:gd name="connsiteX38" fmla="*/ 2851219 w 7718489"/>
              <a:gd name="connsiteY38" fmla="*/ 2360005 h 3099991"/>
              <a:gd name="connsiteX39" fmla="*/ 3273466 w 7718489"/>
              <a:gd name="connsiteY39" fmla="*/ 2360005 h 3099991"/>
              <a:gd name="connsiteX40" fmla="*/ 3546695 w 7718489"/>
              <a:gd name="connsiteY40" fmla="*/ 1408543 h 3099991"/>
              <a:gd name="connsiteX41" fmla="*/ 3944662 w 7718489"/>
              <a:gd name="connsiteY41" fmla="*/ 1408543 h 3099991"/>
              <a:gd name="connsiteX42" fmla="*/ 3944662 w 7718489"/>
              <a:gd name="connsiteY42" fmla="*/ 61049 h 3099991"/>
              <a:gd name="connsiteX43" fmla="*/ 498603 w 7718489"/>
              <a:gd name="connsiteY43" fmla="*/ 61049 h 3099991"/>
              <a:gd name="connsiteX44" fmla="*/ 498603 w 7718489"/>
              <a:gd name="connsiteY44" fmla="*/ 1410830 h 3099991"/>
              <a:gd name="connsiteX45" fmla="*/ 881440 w 7718489"/>
              <a:gd name="connsiteY45" fmla="*/ 1410830 h 3099991"/>
              <a:gd name="connsiteX46" fmla="*/ 676826 w 7718489"/>
              <a:gd name="connsiteY46" fmla="*/ 2091351 h 3099991"/>
              <a:gd name="connsiteX47" fmla="*/ 1308612 w 7718489"/>
              <a:gd name="connsiteY47" fmla="*/ 1412062 h 3099991"/>
              <a:gd name="connsiteX48" fmla="*/ 1827624 w 7718489"/>
              <a:gd name="connsiteY48" fmla="*/ 1412062 h 3099991"/>
              <a:gd name="connsiteX49" fmla="*/ 1019725 w 7718489"/>
              <a:gd name="connsiteY49" fmla="*/ 2237729 h 3099991"/>
              <a:gd name="connsiteX50" fmla="*/ 1078312 w 7718489"/>
              <a:gd name="connsiteY50" fmla="*/ 2360885 h 3099991"/>
              <a:gd name="connsiteX51" fmla="*/ 1827624 w 7718489"/>
              <a:gd name="connsiteY51" fmla="*/ 2360885 h 3099991"/>
              <a:gd name="connsiteX52" fmla="*/ 1836596 w 7718489"/>
              <a:gd name="connsiteY52" fmla="*/ 2333966 h 3099991"/>
              <a:gd name="connsiteX53" fmla="*/ 2064434 w 7718489"/>
              <a:gd name="connsiteY53" fmla="*/ 1575506 h 3099991"/>
              <a:gd name="connsiteX54" fmla="*/ 2089416 w 7718489"/>
              <a:gd name="connsiteY54" fmla="*/ 1492992 h 3099991"/>
              <a:gd name="connsiteX55" fmla="*/ 2089416 w 7718489"/>
              <a:gd name="connsiteY55" fmla="*/ 61049 h 3099991"/>
              <a:gd name="connsiteX56" fmla="*/ 6065395 w 7718489"/>
              <a:gd name="connsiteY56" fmla="*/ 60698 h 3099991"/>
              <a:gd name="connsiteX57" fmla="*/ 6065395 w 7718489"/>
              <a:gd name="connsiteY57" fmla="*/ 1503372 h 3099991"/>
              <a:gd name="connsiteX58" fmla="*/ 6770898 w 7718489"/>
              <a:gd name="connsiteY58" fmla="*/ 1317056 h 3099991"/>
              <a:gd name="connsiteX59" fmla="*/ 7344274 w 7718489"/>
              <a:gd name="connsiteY59" fmla="*/ 1514632 h 3099991"/>
              <a:gd name="connsiteX60" fmla="*/ 7383859 w 7718489"/>
              <a:gd name="connsiteY60" fmla="*/ 1868792 h 3099991"/>
              <a:gd name="connsiteX61" fmla="*/ 6906017 w 7718489"/>
              <a:gd name="connsiteY61" fmla="*/ 1868792 h 3099991"/>
              <a:gd name="connsiteX62" fmla="*/ 6667272 w 7718489"/>
              <a:gd name="connsiteY62" fmla="*/ 1642186 h 3099991"/>
              <a:gd name="connsiteX63" fmla="*/ 6084044 w 7718489"/>
              <a:gd name="connsiteY63" fmla="*/ 2210811 h 3099991"/>
              <a:gd name="connsiteX64" fmla="*/ 6065395 w 7718489"/>
              <a:gd name="connsiteY64" fmla="*/ 2305465 h 3099991"/>
              <a:gd name="connsiteX65" fmla="*/ 6065395 w 7718489"/>
              <a:gd name="connsiteY65" fmla="*/ 2360005 h 3099991"/>
              <a:gd name="connsiteX66" fmla="*/ 6453685 w 7718489"/>
              <a:gd name="connsiteY66" fmla="*/ 2360005 h 3099991"/>
              <a:gd name="connsiteX67" fmla="*/ 6519837 w 7718489"/>
              <a:gd name="connsiteY67" fmla="*/ 2094693 h 3099991"/>
              <a:gd name="connsiteX68" fmla="*/ 7322633 w 7718489"/>
              <a:gd name="connsiteY68" fmla="*/ 2094693 h 3099991"/>
              <a:gd name="connsiteX69" fmla="*/ 7257009 w 7718489"/>
              <a:gd name="connsiteY69" fmla="*/ 2360005 h 3099991"/>
              <a:gd name="connsiteX70" fmla="*/ 7658671 w 7718489"/>
              <a:gd name="connsiteY70" fmla="*/ 2360005 h 3099991"/>
              <a:gd name="connsiteX71" fmla="*/ 7657967 w 7718489"/>
              <a:gd name="connsiteY71" fmla="*/ 60698 h 3099991"/>
              <a:gd name="connsiteX72" fmla="*/ 437201 w 7718489"/>
              <a:gd name="connsiteY72" fmla="*/ 0 h 3099991"/>
              <a:gd name="connsiteX73" fmla="*/ 2151170 w 7718489"/>
              <a:gd name="connsiteY73" fmla="*/ 0 h 3099991"/>
              <a:gd name="connsiteX74" fmla="*/ 2151170 w 7718489"/>
              <a:gd name="connsiteY74" fmla="*/ 1410830 h 3099991"/>
              <a:gd name="connsiteX75" fmla="*/ 2292974 w 7718489"/>
              <a:gd name="connsiteY75" fmla="*/ 1410830 h 3099991"/>
              <a:gd name="connsiteX76" fmla="*/ 2292974 w 7718489"/>
              <a:gd name="connsiteY76" fmla="*/ 0 h 3099991"/>
              <a:gd name="connsiteX77" fmla="*/ 4006767 w 7718489"/>
              <a:gd name="connsiteY77" fmla="*/ 0 h 3099991"/>
              <a:gd name="connsiteX78" fmla="*/ 4006767 w 7718489"/>
              <a:gd name="connsiteY78" fmla="*/ 1408543 h 3099991"/>
              <a:gd name="connsiteX79" fmla="*/ 4148748 w 7718489"/>
              <a:gd name="connsiteY79" fmla="*/ 1408543 h 3099991"/>
              <a:gd name="connsiteX80" fmla="*/ 4148748 w 7718489"/>
              <a:gd name="connsiteY80" fmla="*/ 0 h 3099991"/>
              <a:gd name="connsiteX81" fmla="*/ 5862013 w 7718489"/>
              <a:gd name="connsiteY81" fmla="*/ 0 h 3099991"/>
              <a:gd name="connsiteX82" fmla="*/ 5862013 w 7718489"/>
              <a:gd name="connsiteY82" fmla="*/ 1684411 h 3099991"/>
              <a:gd name="connsiteX83" fmla="*/ 6005048 w 7718489"/>
              <a:gd name="connsiteY83" fmla="*/ 1546829 h 3099991"/>
              <a:gd name="connsiteX84" fmla="*/ 6005048 w 7718489"/>
              <a:gd name="connsiteY84" fmla="*/ 0 h 3099991"/>
              <a:gd name="connsiteX85" fmla="*/ 7718489 w 7718489"/>
              <a:gd name="connsiteY85" fmla="*/ 0 h 3099991"/>
              <a:gd name="connsiteX86" fmla="*/ 7718489 w 7718489"/>
              <a:gd name="connsiteY86" fmla="*/ 2420175 h 3099991"/>
              <a:gd name="connsiteX87" fmla="*/ 7242406 w 7718489"/>
              <a:gd name="connsiteY87" fmla="*/ 2420175 h 3099991"/>
              <a:gd name="connsiteX88" fmla="*/ 7097963 w 7718489"/>
              <a:gd name="connsiteY88" fmla="*/ 3004810 h 3099991"/>
              <a:gd name="connsiteX89" fmla="*/ 6322965 w 7718489"/>
              <a:gd name="connsiteY89" fmla="*/ 3099991 h 3099991"/>
              <a:gd name="connsiteX90" fmla="*/ 5729357 w 7718489"/>
              <a:gd name="connsiteY90" fmla="*/ 2923000 h 3099991"/>
              <a:gd name="connsiteX91" fmla="*/ 5555532 w 7718489"/>
              <a:gd name="connsiteY91" fmla="*/ 2420175 h 3099991"/>
              <a:gd name="connsiteX92" fmla="*/ 5314324 w 7718489"/>
              <a:gd name="connsiteY92" fmla="*/ 2420175 h 3099991"/>
              <a:gd name="connsiteX93" fmla="*/ 5178853 w 7718489"/>
              <a:gd name="connsiteY93" fmla="*/ 3064101 h 3099991"/>
              <a:gd name="connsiteX94" fmla="*/ 4761709 w 7718489"/>
              <a:gd name="connsiteY94" fmla="*/ 3064101 h 3099991"/>
              <a:gd name="connsiteX95" fmla="*/ 4899466 w 7718489"/>
              <a:gd name="connsiteY95" fmla="*/ 2420175 h 3099991"/>
              <a:gd name="connsiteX96" fmla="*/ 4632396 w 7718489"/>
              <a:gd name="connsiteY96" fmla="*/ 2420175 h 3099991"/>
              <a:gd name="connsiteX97" fmla="*/ 4224576 w 7718489"/>
              <a:gd name="connsiteY97" fmla="*/ 3064101 h 3099991"/>
              <a:gd name="connsiteX98" fmla="*/ 3869009 w 7718489"/>
              <a:gd name="connsiteY98" fmla="*/ 3064101 h 3099991"/>
              <a:gd name="connsiteX99" fmla="*/ 3863907 w 7718489"/>
              <a:gd name="connsiteY99" fmla="*/ 2420175 h 3099991"/>
              <a:gd name="connsiteX100" fmla="*/ 3673193 w 7718489"/>
              <a:gd name="connsiteY100" fmla="*/ 2420175 h 3099991"/>
              <a:gd name="connsiteX101" fmla="*/ 3493562 w 7718489"/>
              <a:gd name="connsiteY101" fmla="*/ 3064101 h 3099991"/>
              <a:gd name="connsiteX102" fmla="*/ 3069732 w 7718489"/>
              <a:gd name="connsiteY102" fmla="*/ 3064101 h 3099991"/>
              <a:gd name="connsiteX103" fmla="*/ 3255345 w 7718489"/>
              <a:gd name="connsiteY103" fmla="*/ 2420175 h 3099991"/>
              <a:gd name="connsiteX104" fmla="*/ 2319717 w 7718489"/>
              <a:gd name="connsiteY104" fmla="*/ 2420175 h 3099991"/>
              <a:gd name="connsiteX105" fmla="*/ 2319717 w 7718489"/>
              <a:gd name="connsiteY105" fmla="*/ 2421934 h 3099991"/>
              <a:gd name="connsiteX106" fmla="*/ 2227350 w 7718489"/>
              <a:gd name="connsiteY106" fmla="*/ 2421934 h 3099991"/>
              <a:gd name="connsiteX107" fmla="*/ 2035228 w 7718489"/>
              <a:gd name="connsiteY107" fmla="*/ 3065860 h 3099991"/>
              <a:gd name="connsiteX108" fmla="*/ 1614917 w 7718489"/>
              <a:gd name="connsiteY108" fmla="*/ 3065860 h 3099991"/>
              <a:gd name="connsiteX109" fmla="*/ 1809678 w 7718489"/>
              <a:gd name="connsiteY109" fmla="*/ 2420175 h 3099991"/>
              <a:gd name="connsiteX110" fmla="*/ 1107517 w 7718489"/>
              <a:gd name="connsiteY110" fmla="*/ 2420175 h 3099991"/>
              <a:gd name="connsiteX111" fmla="*/ 1417165 w 7718489"/>
              <a:gd name="connsiteY111" fmla="*/ 3065860 h 3099991"/>
              <a:gd name="connsiteX112" fmla="*/ 952694 w 7718489"/>
              <a:gd name="connsiteY112" fmla="*/ 3065860 h 3099991"/>
              <a:gd name="connsiteX113" fmla="*/ 633722 w 7718489"/>
              <a:gd name="connsiteY113" fmla="*/ 2420175 h 3099991"/>
              <a:gd name="connsiteX114" fmla="*/ 578126 w 7718489"/>
              <a:gd name="connsiteY114" fmla="*/ 2420175 h 3099991"/>
              <a:gd name="connsiteX115" fmla="*/ 384596 w 7718489"/>
              <a:gd name="connsiteY115" fmla="*/ 3065860 h 3099991"/>
              <a:gd name="connsiteX116" fmla="*/ 0 w 7718489"/>
              <a:gd name="connsiteY116" fmla="*/ 3065860 h 3099991"/>
              <a:gd name="connsiteX117" fmla="*/ 437201 w 7718489"/>
              <a:gd name="connsiteY117" fmla="*/ 1607879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7718489" h="3099991">
                <a:moveTo>
                  <a:pt x="6058533" y="2420175"/>
                </a:moveTo>
                <a:cubicBezTo>
                  <a:pt x="6061876" y="2669124"/>
                  <a:pt x="6221626" y="2775917"/>
                  <a:pt x="6451222" y="2775917"/>
                </a:cubicBezTo>
                <a:cubicBezTo>
                  <a:pt x="6541125" y="2774668"/>
                  <a:pt x="6630730" y="2765432"/>
                  <a:pt x="6718997" y="2748296"/>
                </a:cubicBezTo>
                <a:lnTo>
                  <a:pt x="6800455" y="2420175"/>
                </a:lnTo>
                <a:close/>
                <a:moveTo>
                  <a:pt x="5035465" y="1789620"/>
                </a:moveTo>
                <a:lnTo>
                  <a:pt x="4672157" y="2360005"/>
                </a:lnTo>
                <a:lnTo>
                  <a:pt x="4912310" y="2360005"/>
                </a:lnTo>
                <a:close/>
                <a:moveTo>
                  <a:pt x="3858453" y="1764813"/>
                </a:moveTo>
                <a:lnTo>
                  <a:pt x="3690962" y="2360005"/>
                </a:lnTo>
                <a:lnTo>
                  <a:pt x="3864435" y="2360005"/>
                </a:lnTo>
                <a:close/>
                <a:moveTo>
                  <a:pt x="2514654" y="1671568"/>
                </a:moveTo>
                <a:cubicBezTo>
                  <a:pt x="2492486" y="1671568"/>
                  <a:pt x="2469438" y="1672623"/>
                  <a:pt x="2445687" y="1672623"/>
                </a:cubicBezTo>
                <a:lnTo>
                  <a:pt x="2392026" y="1874949"/>
                </a:lnTo>
                <a:lnTo>
                  <a:pt x="2369859" y="1961686"/>
                </a:lnTo>
                <a:lnTo>
                  <a:pt x="2322884" y="2135863"/>
                </a:lnTo>
                <a:lnTo>
                  <a:pt x="2424575" y="2135863"/>
                </a:lnTo>
                <a:cubicBezTo>
                  <a:pt x="2441816" y="2135863"/>
                  <a:pt x="2459762" y="2135863"/>
                  <a:pt x="2483161" y="2135863"/>
                </a:cubicBezTo>
                <a:cubicBezTo>
                  <a:pt x="2500931" y="2135863"/>
                  <a:pt x="2516589" y="2133575"/>
                  <a:pt x="2531895" y="2133575"/>
                </a:cubicBezTo>
                <a:lnTo>
                  <a:pt x="2532423" y="2133575"/>
                </a:lnTo>
                <a:cubicBezTo>
                  <a:pt x="2728240" y="2118621"/>
                  <a:pt x="2788938" y="2043848"/>
                  <a:pt x="2837145" y="1896765"/>
                </a:cubicBezTo>
                <a:cubicBezTo>
                  <a:pt x="2865118" y="1811437"/>
                  <a:pt x="2867933" y="1755137"/>
                  <a:pt x="2844358" y="1722589"/>
                </a:cubicBezTo>
                <a:cubicBezTo>
                  <a:pt x="2813393" y="1679308"/>
                  <a:pt x="2728240" y="1671568"/>
                  <a:pt x="2593473" y="1671568"/>
                </a:cubicBezTo>
                <a:close/>
                <a:moveTo>
                  <a:pt x="4208566" y="61049"/>
                </a:moveTo>
                <a:lnTo>
                  <a:pt x="4208566" y="2360885"/>
                </a:lnTo>
                <a:lnTo>
                  <a:pt x="4252198" y="2360885"/>
                </a:lnTo>
                <a:lnTo>
                  <a:pt x="4854779" y="1410830"/>
                </a:lnTo>
                <a:lnTo>
                  <a:pt x="5528086" y="1410830"/>
                </a:lnTo>
                <a:lnTo>
                  <a:pt x="5329102" y="2360005"/>
                </a:lnTo>
                <a:lnTo>
                  <a:pt x="5563097" y="2360005"/>
                </a:lnTo>
                <a:cubicBezTo>
                  <a:pt x="5567865" y="2312924"/>
                  <a:pt x="5576275" y="2266266"/>
                  <a:pt x="5588256" y="2220488"/>
                </a:cubicBezTo>
                <a:cubicBezTo>
                  <a:pt x="5629319" y="2056480"/>
                  <a:pt x="5701348" y="1901815"/>
                  <a:pt x="5800435" y="1764813"/>
                </a:cubicBezTo>
                <a:lnTo>
                  <a:pt x="5801491" y="1435285"/>
                </a:lnTo>
                <a:lnTo>
                  <a:pt x="5800787" y="61049"/>
                </a:lnTo>
                <a:close/>
                <a:moveTo>
                  <a:pt x="2354376" y="61049"/>
                </a:moveTo>
                <a:lnTo>
                  <a:pt x="2354376" y="1408015"/>
                </a:lnTo>
                <a:lnTo>
                  <a:pt x="2671061" y="1408015"/>
                </a:lnTo>
                <a:cubicBezTo>
                  <a:pt x="2861952" y="1408015"/>
                  <a:pt x="3077121" y="1396931"/>
                  <a:pt x="3184442" y="1525364"/>
                </a:cubicBezTo>
                <a:cubicBezTo>
                  <a:pt x="3255872" y="1611749"/>
                  <a:pt x="3271706" y="1726635"/>
                  <a:pt x="3238279" y="1902571"/>
                </a:cubicBezTo>
                <a:cubicBezTo>
                  <a:pt x="3197286" y="2128297"/>
                  <a:pt x="3066389" y="2280306"/>
                  <a:pt x="2851219" y="2360005"/>
                </a:cubicBezTo>
                <a:lnTo>
                  <a:pt x="3273466" y="2360005"/>
                </a:lnTo>
                <a:lnTo>
                  <a:pt x="3546695" y="1408543"/>
                </a:lnTo>
                <a:lnTo>
                  <a:pt x="3944662" y="1408543"/>
                </a:lnTo>
                <a:lnTo>
                  <a:pt x="3944662" y="61049"/>
                </a:lnTo>
                <a:close/>
                <a:moveTo>
                  <a:pt x="498603" y="61049"/>
                </a:moveTo>
                <a:lnTo>
                  <a:pt x="498603" y="1410830"/>
                </a:lnTo>
                <a:lnTo>
                  <a:pt x="881440" y="1410830"/>
                </a:lnTo>
                <a:lnTo>
                  <a:pt x="676826" y="2091351"/>
                </a:lnTo>
                <a:lnTo>
                  <a:pt x="1308612" y="1412062"/>
                </a:lnTo>
                <a:lnTo>
                  <a:pt x="1827624" y="1412062"/>
                </a:lnTo>
                <a:lnTo>
                  <a:pt x="1019725" y="2237729"/>
                </a:lnTo>
                <a:lnTo>
                  <a:pt x="1078312" y="2360885"/>
                </a:lnTo>
                <a:lnTo>
                  <a:pt x="1827624" y="2360885"/>
                </a:lnTo>
                <a:lnTo>
                  <a:pt x="1836596" y="2333966"/>
                </a:lnTo>
                <a:lnTo>
                  <a:pt x="2064434" y="1575506"/>
                </a:lnTo>
                <a:lnTo>
                  <a:pt x="2089416" y="1492992"/>
                </a:lnTo>
                <a:lnTo>
                  <a:pt x="2089416" y="61049"/>
                </a:lnTo>
                <a:close/>
                <a:moveTo>
                  <a:pt x="6065395" y="60698"/>
                </a:moveTo>
                <a:lnTo>
                  <a:pt x="6065395" y="1503372"/>
                </a:lnTo>
                <a:cubicBezTo>
                  <a:pt x="6304668" y="1347317"/>
                  <a:pt x="6581591" y="1317056"/>
                  <a:pt x="6770898" y="1317056"/>
                </a:cubicBezTo>
                <a:cubicBezTo>
                  <a:pt x="7037265" y="1317056"/>
                  <a:pt x="7242406" y="1373884"/>
                  <a:pt x="7344274" y="1514632"/>
                </a:cubicBezTo>
                <a:cubicBezTo>
                  <a:pt x="7434353" y="1644649"/>
                  <a:pt x="7402860" y="1785926"/>
                  <a:pt x="7383859" y="1868792"/>
                </a:cubicBezTo>
                <a:lnTo>
                  <a:pt x="6906017" y="1868792"/>
                </a:lnTo>
                <a:cubicBezTo>
                  <a:pt x="6923434" y="1691096"/>
                  <a:pt x="6795705" y="1642186"/>
                  <a:pt x="6667272" y="1642186"/>
                </a:cubicBezTo>
                <a:cubicBezTo>
                  <a:pt x="6342669" y="1642186"/>
                  <a:pt x="6154418" y="1924739"/>
                  <a:pt x="6084044" y="2210811"/>
                </a:cubicBezTo>
                <a:cubicBezTo>
                  <a:pt x="6076479" y="2244239"/>
                  <a:pt x="6071376" y="2275556"/>
                  <a:pt x="6065395" y="2305465"/>
                </a:cubicBezTo>
                <a:lnTo>
                  <a:pt x="6065395" y="2360005"/>
                </a:lnTo>
                <a:lnTo>
                  <a:pt x="6453685" y="2360005"/>
                </a:lnTo>
                <a:lnTo>
                  <a:pt x="6519837" y="2094693"/>
                </a:lnTo>
                <a:lnTo>
                  <a:pt x="7322633" y="2094693"/>
                </a:lnTo>
                <a:lnTo>
                  <a:pt x="7257009" y="2360005"/>
                </a:lnTo>
                <a:lnTo>
                  <a:pt x="7658671" y="2360005"/>
                </a:lnTo>
                <a:lnTo>
                  <a:pt x="7657967" y="60698"/>
                </a:lnTo>
                <a:close/>
                <a:moveTo>
                  <a:pt x="437201" y="0"/>
                </a:moveTo>
                <a:lnTo>
                  <a:pt x="2151170" y="0"/>
                </a:lnTo>
                <a:lnTo>
                  <a:pt x="2151170" y="1410830"/>
                </a:lnTo>
                <a:lnTo>
                  <a:pt x="2292974" y="1410830"/>
                </a:lnTo>
                <a:lnTo>
                  <a:pt x="2292974" y="0"/>
                </a:lnTo>
                <a:lnTo>
                  <a:pt x="4006767" y="0"/>
                </a:lnTo>
                <a:lnTo>
                  <a:pt x="4006767" y="1408543"/>
                </a:lnTo>
                <a:lnTo>
                  <a:pt x="4148748" y="1408543"/>
                </a:lnTo>
                <a:lnTo>
                  <a:pt x="4148748" y="0"/>
                </a:lnTo>
                <a:lnTo>
                  <a:pt x="5862013" y="0"/>
                </a:lnTo>
                <a:lnTo>
                  <a:pt x="5862013" y="1684411"/>
                </a:lnTo>
                <a:cubicBezTo>
                  <a:pt x="5905345" y="1634234"/>
                  <a:pt x="5953218" y="1588174"/>
                  <a:pt x="6005048" y="1546829"/>
                </a:cubicBezTo>
                <a:lnTo>
                  <a:pt x="6005048" y="0"/>
                </a:lnTo>
                <a:lnTo>
                  <a:pt x="7718489" y="0"/>
                </a:lnTo>
                <a:lnTo>
                  <a:pt x="7718489" y="2420175"/>
                </a:lnTo>
                <a:lnTo>
                  <a:pt x="7242406" y="2420175"/>
                </a:lnTo>
                <a:lnTo>
                  <a:pt x="7097963" y="3004810"/>
                </a:lnTo>
                <a:cubicBezTo>
                  <a:pt x="6843929" y="3064980"/>
                  <a:pt x="6584019" y="3096913"/>
                  <a:pt x="6322965" y="3099991"/>
                </a:cubicBezTo>
                <a:cubicBezTo>
                  <a:pt x="6139112" y="3099991"/>
                  <a:pt x="5891218" y="3071490"/>
                  <a:pt x="5729357" y="2923000"/>
                </a:cubicBezTo>
                <a:cubicBezTo>
                  <a:pt x="5597053" y="2801076"/>
                  <a:pt x="5546031" y="2619686"/>
                  <a:pt x="5555532" y="2420175"/>
                </a:cubicBezTo>
                <a:lnTo>
                  <a:pt x="5314324" y="2420175"/>
                </a:lnTo>
                <a:lnTo>
                  <a:pt x="5178853" y="3064101"/>
                </a:lnTo>
                <a:lnTo>
                  <a:pt x="4761709" y="3064101"/>
                </a:lnTo>
                <a:lnTo>
                  <a:pt x="4899466" y="2420175"/>
                </a:lnTo>
                <a:lnTo>
                  <a:pt x="4632396" y="2420175"/>
                </a:lnTo>
                <a:lnTo>
                  <a:pt x="4224576" y="3064101"/>
                </a:lnTo>
                <a:lnTo>
                  <a:pt x="3869009" y="3064101"/>
                </a:lnTo>
                <a:lnTo>
                  <a:pt x="3863907" y="2420175"/>
                </a:lnTo>
                <a:lnTo>
                  <a:pt x="3673193" y="2420175"/>
                </a:lnTo>
                <a:lnTo>
                  <a:pt x="3493562" y="3064101"/>
                </a:lnTo>
                <a:lnTo>
                  <a:pt x="3069732" y="3064101"/>
                </a:lnTo>
                <a:lnTo>
                  <a:pt x="3255345" y="2420175"/>
                </a:lnTo>
                <a:lnTo>
                  <a:pt x="2319717" y="2420175"/>
                </a:lnTo>
                <a:lnTo>
                  <a:pt x="2319717" y="2421934"/>
                </a:lnTo>
                <a:lnTo>
                  <a:pt x="2227350" y="2421934"/>
                </a:lnTo>
                <a:lnTo>
                  <a:pt x="2035228" y="3065860"/>
                </a:lnTo>
                <a:lnTo>
                  <a:pt x="1614917" y="3065860"/>
                </a:lnTo>
                <a:lnTo>
                  <a:pt x="1809678" y="2420175"/>
                </a:lnTo>
                <a:lnTo>
                  <a:pt x="1107517" y="2420175"/>
                </a:lnTo>
                <a:lnTo>
                  <a:pt x="1417165" y="3065860"/>
                </a:lnTo>
                <a:lnTo>
                  <a:pt x="952694" y="3065860"/>
                </a:lnTo>
                <a:lnTo>
                  <a:pt x="633722" y="2420175"/>
                </a:lnTo>
                <a:lnTo>
                  <a:pt x="578126" y="2420175"/>
                </a:lnTo>
                <a:lnTo>
                  <a:pt x="384596" y="3065860"/>
                </a:lnTo>
                <a:lnTo>
                  <a:pt x="0" y="3065860"/>
                </a:lnTo>
                <a:lnTo>
                  <a:pt x="437201" y="1607879"/>
                </a:lnTo>
                <a:close/>
              </a:path>
            </a:pathLst>
          </a:custGeom>
        </p:spPr>
      </p:pic>
    </p:spTree>
    <p:extLst>
      <p:ext uri="{BB962C8B-B14F-4D97-AF65-F5344CB8AC3E}">
        <p14:creationId xmlns:p14="http://schemas.microsoft.com/office/powerpoint/2010/main" val="194332519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7_Divider 1">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2D9EE76-A46F-4B1E-A76C-DA76E36074D4}"/>
              </a:ext>
            </a:extLst>
          </p:cNvPr>
          <p:cNvPicPr>
            <a:picLocks noChangeAspect="1"/>
          </p:cNvPicPr>
          <p:nvPr userDrawn="1"/>
        </p:nvPicPr>
        <p:blipFill rotWithShape="1">
          <a:blip r:embed="rId2"/>
          <a:srcRect t="1946" b="1946"/>
          <a:stretch/>
        </p:blipFill>
        <p:spPr>
          <a:xfrm>
            <a:off x="0" y="-1"/>
            <a:ext cx="12192000" cy="6858001"/>
          </a:xfrm>
          <a:prstGeom prst="rect">
            <a:avLst/>
          </a:prstGeom>
        </p:spPr>
      </p:pic>
      <p:sp>
        <p:nvSpPr>
          <p:cNvPr id="5" name="Rectangle 4">
            <a:extLst>
              <a:ext uri="{FF2B5EF4-FFF2-40B4-BE49-F238E27FC236}">
                <a16:creationId xmlns:a16="http://schemas.microsoft.com/office/drawing/2014/main" id="{47DA6E39-FD95-466A-9071-2CD4967AC103}"/>
              </a:ext>
            </a:extLst>
          </p:cNvPr>
          <p:cNvSpPr/>
          <p:nvPr userDrawn="1"/>
        </p:nvSpPr>
        <p:spPr>
          <a:xfrm>
            <a:off x="0" y="-1"/>
            <a:ext cx="6362689" cy="6858001"/>
          </a:xfrm>
          <a:prstGeom prst="rect">
            <a:avLst/>
          </a:prstGeom>
          <a:gradFill>
            <a:gsLst>
              <a:gs pos="0">
                <a:srgbClr val="7213EA">
                  <a:alpha val="43000"/>
                </a:srgbClr>
              </a:gs>
              <a:gs pos="100000">
                <a:srgbClr val="1F4AE3">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err="1">
              <a:solidFill>
                <a:schemeClr val="bg1"/>
              </a:solidFill>
            </a:endParaRPr>
          </a:p>
        </p:txBody>
      </p:sp>
      <p:sp>
        <p:nvSpPr>
          <p:cNvPr id="8" name="Graphic 6">
            <a:extLst>
              <a:ext uri="{FF2B5EF4-FFF2-40B4-BE49-F238E27FC236}">
                <a16:creationId xmlns:a16="http://schemas.microsoft.com/office/drawing/2014/main" id="{2A49F873-6092-4597-BB93-9291418A7B64}"/>
              </a:ext>
            </a:extLst>
          </p:cNvPr>
          <p:cNvSpPr/>
          <p:nvPr userDrawn="1"/>
        </p:nvSpPr>
        <p:spPr>
          <a:xfrm>
            <a:off x="2234933" y="1882443"/>
            <a:ext cx="7718488" cy="3099991"/>
          </a:xfrm>
          <a:custGeom>
            <a:avLst/>
            <a:gdLst>
              <a:gd name="connsiteX0" fmla="*/ 6005027 w 7718488"/>
              <a:gd name="connsiteY0" fmla="*/ -77 h 3099991"/>
              <a:gd name="connsiteX1" fmla="*/ 6005027 w 7718488"/>
              <a:gd name="connsiteY1" fmla="*/ 1546752 h 3099991"/>
              <a:gd name="connsiteX2" fmla="*/ 5861992 w 7718488"/>
              <a:gd name="connsiteY2" fmla="*/ 1684334 h 3099991"/>
              <a:gd name="connsiteX3" fmla="*/ 5861992 w 7718488"/>
              <a:gd name="connsiteY3" fmla="*/ -77 h 3099991"/>
              <a:gd name="connsiteX4" fmla="*/ 4148727 w 7718488"/>
              <a:gd name="connsiteY4" fmla="*/ -77 h 3099991"/>
              <a:gd name="connsiteX5" fmla="*/ 4148727 w 7718488"/>
              <a:gd name="connsiteY5" fmla="*/ 1408466 h 3099991"/>
              <a:gd name="connsiteX6" fmla="*/ 4006746 w 7718488"/>
              <a:gd name="connsiteY6" fmla="*/ 1408466 h 3099991"/>
              <a:gd name="connsiteX7" fmla="*/ 4006746 w 7718488"/>
              <a:gd name="connsiteY7" fmla="*/ -77 h 3099991"/>
              <a:gd name="connsiteX8" fmla="*/ 2292953 w 7718488"/>
              <a:gd name="connsiteY8" fmla="*/ -77 h 3099991"/>
              <a:gd name="connsiteX9" fmla="*/ 2292953 w 7718488"/>
              <a:gd name="connsiteY9" fmla="*/ 1410753 h 3099991"/>
              <a:gd name="connsiteX10" fmla="*/ 2151149 w 7718488"/>
              <a:gd name="connsiteY10" fmla="*/ 1410753 h 3099991"/>
              <a:gd name="connsiteX11" fmla="*/ 2151149 w 7718488"/>
              <a:gd name="connsiteY11" fmla="*/ -77 h 3099991"/>
              <a:gd name="connsiteX12" fmla="*/ 437180 w 7718488"/>
              <a:gd name="connsiteY12" fmla="*/ -77 h 3099991"/>
              <a:gd name="connsiteX13" fmla="*/ 437180 w 7718488"/>
              <a:gd name="connsiteY13" fmla="*/ 1607802 h 3099991"/>
              <a:gd name="connsiteX14" fmla="*/ -21 w 7718488"/>
              <a:gd name="connsiteY14" fmla="*/ 3065783 h 3099991"/>
              <a:gd name="connsiteX15" fmla="*/ 384575 w 7718488"/>
              <a:gd name="connsiteY15" fmla="*/ 3065783 h 3099991"/>
              <a:gd name="connsiteX16" fmla="*/ 578105 w 7718488"/>
              <a:gd name="connsiteY16" fmla="*/ 2420098 h 3099991"/>
              <a:gd name="connsiteX17" fmla="*/ 633701 w 7718488"/>
              <a:gd name="connsiteY17" fmla="*/ 2420098 h 3099991"/>
              <a:gd name="connsiteX18" fmla="*/ 952673 w 7718488"/>
              <a:gd name="connsiteY18" fmla="*/ 3065783 h 3099991"/>
              <a:gd name="connsiteX19" fmla="*/ 1417144 w 7718488"/>
              <a:gd name="connsiteY19" fmla="*/ 3065783 h 3099991"/>
              <a:gd name="connsiteX20" fmla="*/ 1107496 w 7718488"/>
              <a:gd name="connsiteY20" fmla="*/ 2420098 h 3099991"/>
              <a:gd name="connsiteX21" fmla="*/ 1809657 w 7718488"/>
              <a:gd name="connsiteY21" fmla="*/ 2420098 h 3099991"/>
              <a:gd name="connsiteX22" fmla="*/ 1614896 w 7718488"/>
              <a:gd name="connsiteY22" fmla="*/ 3065783 h 3099991"/>
              <a:gd name="connsiteX23" fmla="*/ 2035207 w 7718488"/>
              <a:gd name="connsiteY23" fmla="*/ 3065783 h 3099991"/>
              <a:gd name="connsiteX24" fmla="*/ 2227329 w 7718488"/>
              <a:gd name="connsiteY24" fmla="*/ 2421857 h 3099991"/>
              <a:gd name="connsiteX25" fmla="*/ 2319696 w 7718488"/>
              <a:gd name="connsiteY25" fmla="*/ 2421857 h 3099991"/>
              <a:gd name="connsiteX26" fmla="*/ 2319696 w 7718488"/>
              <a:gd name="connsiteY26" fmla="*/ 2420098 h 3099991"/>
              <a:gd name="connsiteX27" fmla="*/ 3255324 w 7718488"/>
              <a:gd name="connsiteY27" fmla="*/ 2420098 h 3099991"/>
              <a:gd name="connsiteX28" fmla="*/ 3069711 w 7718488"/>
              <a:gd name="connsiteY28" fmla="*/ 3064024 h 3099991"/>
              <a:gd name="connsiteX29" fmla="*/ 3493541 w 7718488"/>
              <a:gd name="connsiteY29" fmla="*/ 3064024 h 3099991"/>
              <a:gd name="connsiteX30" fmla="*/ 3673172 w 7718488"/>
              <a:gd name="connsiteY30" fmla="*/ 2420098 h 3099991"/>
              <a:gd name="connsiteX31" fmla="*/ 3863886 w 7718488"/>
              <a:gd name="connsiteY31" fmla="*/ 2420098 h 3099991"/>
              <a:gd name="connsiteX32" fmla="*/ 3868988 w 7718488"/>
              <a:gd name="connsiteY32" fmla="*/ 3064024 h 3099991"/>
              <a:gd name="connsiteX33" fmla="*/ 4224555 w 7718488"/>
              <a:gd name="connsiteY33" fmla="*/ 3064024 h 3099991"/>
              <a:gd name="connsiteX34" fmla="*/ 4632375 w 7718488"/>
              <a:gd name="connsiteY34" fmla="*/ 2420098 h 3099991"/>
              <a:gd name="connsiteX35" fmla="*/ 4899445 w 7718488"/>
              <a:gd name="connsiteY35" fmla="*/ 2420098 h 3099991"/>
              <a:gd name="connsiteX36" fmla="*/ 4761688 w 7718488"/>
              <a:gd name="connsiteY36" fmla="*/ 3064024 h 3099991"/>
              <a:gd name="connsiteX37" fmla="*/ 5178832 w 7718488"/>
              <a:gd name="connsiteY37" fmla="*/ 3064024 h 3099991"/>
              <a:gd name="connsiteX38" fmla="*/ 5314303 w 7718488"/>
              <a:gd name="connsiteY38" fmla="*/ 2420098 h 3099991"/>
              <a:gd name="connsiteX39" fmla="*/ 5555511 w 7718488"/>
              <a:gd name="connsiteY39" fmla="*/ 2420098 h 3099991"/>
              <a:gd name="connsiteX40" fmla="*/ 5729336 w 7718488"/>
              <a:gd name="connsiteY40" fmla="*/ 2922923 h 3099991"/>
              <a:gd name="connsiteX41" fmla="*/ 6322944 w 7718488"/>
              <a:gd name="connsiteY41" fmla="*/ 3099914 h 3099991"/>
              <a:gd name="connsiteX42" fmla="*/ 7097942 w 7718488"/>
              <a:gd name="connsiteY42" fmla="*/ 3004733 h 3099991"/>
              <a:gd name="connsiteX43" fmla="*/ 7242385 w 7718488"/>
              <a:gd name="connsiteY43" fmla="*/ 2420098 h 3099991"/>
              <a:gd name="connsiteX44" fmla="*/ 7718468 w 7718488"/>
              <a:gd name="connsiteY44" fmla="*/ 2420098 h 3099991"/>
              <a:gd name="connsiteX45" fmla="*/ 7718468 w 7718488"/>
              <a:gd name="connsiteY45" fmla="*/ -77 h 3099991"/>
              <a:gd name="connsiteX46" fmla="*/ 2089395 w 7718488"/>
              <a:gd name="connsiteY46" fmla="*/ 1492915 h 3099991"/>
              <a:gd name="connsiteX47" fmla="*/ 2064413 w 7718488"/>
              <a:gd name="connsiteY47" fmla="*/ 1575429 h 3099991"/>
              <a:gd name="connsiteX48" fmla="*/ 1836575 w 7718488"/>
              <a:gd name="connsiteY48" fmla="*/ 2333889 h 3099991"/>
              <a:gd name="connsiteX49" fmla="*/ 1827603 w 7718488"/>
              <a:gd name="connsiteY49" fmla="*/ 2360808 h 3099991"/>
              <a:gd name="connsiteX50" fmla="*/ 1078291 w 7718488"/>
              <a:gd name="connsiteY50" fmla="*/ 2360808 h 3099991"/>
              <a:gd name="connsiteX51" fmla="*/ 1019704 w 7718488"/>
              <a:gd name="connsiteY51" fmla="*/ 2237652 h 3099991"/>
              <a:gd name="connsiteX52" fmla="*/ 1827603 w 7718488"/>
              <a:gd name="connsiteY52" fmla="*/ 1411985 h 3099991"/>
              <a:gd name="connsiteX53" fmla="*/ 1308591 w 7718488"/>
              <a:gd name="connsiteY53" fmla="*/ 1411985 h 3099991"/>
              <a:gd name="connsiteX54" fmla="*/ 676805 w 7718488"/>
              <a:gd name="connsiteY54" fmla="*/ 2091274 h 3099991"/>
              <a:gd name="connsiteX55" fmla="*/ 881419 w 7718488"/>
              <a:gd name="connsiteY55" fmla="*/ 1410753 h 3099991"/>
              <a:gd name="connsiteX56" fmla="*/ 498582 w 7718488"/>
              <a:gd name="connsiteY56" fmla="*/ 1410753 h 3099991"/>
              <a:gd name="connsiteX57" fmla="*/ 498582 w 7718488"/>
              <a:gd name="connsiteY57" fmla="*/ 60972 h 3099991"/>
              <a:gd name="connsiteX58" fmla="*/ 2089395 w 7718488"/>
              <a:gd name="connsiteY58" fmla="*/ 60972 h 3099991"/>
              <a:gd name="connsiteX59" fmla="*/ 2531874 w 7718488"/>
              <a:gd name="connsiteY59" fmla="*/ 2133498 h 3099991"/>
              <a:gd name="connsiteX60" fmla="*/ 2531874 w 7718488"/>
              <a:gd name="connsiteY60" fmla="*/ 2133498 h 3099991"/>
              <a:gd name="connsiteX61" fmla="*/ 2483140 w 7718488"/>
              <a:gd name="connsiteY61" fmla="*/ 2135786 h 3099991"/>
              <a:gd name="connsiteX62" fmla="*/ 2424554 w 7718488"/>
              <a:gd name="connsiteY62" fmla="*/ 2135786 h 3099991"/>
              <a:gd name="connsiteX63" fmla="*/ 2322863 w 7718488"/>
              <a:gd name="connsiteY63" fmla="*/ 2135786 h 3099991"/>
              <a:gd name="connsiteX64" fmla="*/ 2369838 w 7718488"/>
              <a:gd name="connsiteY64" fmla="*/ 1961609 h 3099991"/>
              <a:gd name="connsiteX65" fmla="*/ 2392005 w 7718488"/>
              <a:gd name="connsiteY65" fmla="*/ 1874872 h 3099991"/>
              <a:gd name="connsiteX66" fmla="*/ 2445666 w 7718488"/>
              <a:gd name="connsiteY66" fmla="*/ 1672546 h 3099991"/>
              <a:gd name="connsiteX67" fmla="*/ 2514633 w 7718488"/>
              <a:gd name="connsiteY67" fmla="*/ 1671491 h 3099991"/>
              <a:gd name="connsiteX68" fmla="*/ 2593452 w 7718488"/>
              <a:gd name="connsiteY68" fmla="*/ 1671491 h 3099991"/>
              <a:gd name="connsiteX69" fmla="*/ 2844337 w 7718488"/>
              <a:gd name="connsiteY69" fmla="*/ 1722512 h 3099991"/>
              <a:gd name="connsiteX70" fmla="*/ 2837124 w 7718488"/>
              <a:gd name="connsiteY70" fmla="*/ 1896688 h 3099991"/>
              <a:gd name="connsiteX71" fmla="*/ 2532402 w 7718488"/>
              <a:gd name="connsiteY71" fmla="*/ 2133498 h 3099991"/>
              <a:gd name="connsiteX72" fmla="*/ 3690941 w 7718488"/>
              <a:gd name="connsiteY72" fmla="*/ 2359928 h 3099991"/>
              <a:gd name="connsiteX73" fmla="*/ 3858432 w 7718488"/>
              <a:gd name="connsiteY73" fmla="*/ 1764736 h 3099991"/>
              <a:gd name="connsiteX74" fmla="*/ 3864414 w 7718488"/>
              <a:gd name="connsiteY74" fmla="*/ 2359928 h 3099991"/>
              <a:gd name="connsiteX75" fmla="*/ 3944641 w 7718488"/>
              <a:gd name="connsiteY75" fmla="*/ 1408466 h 3099991"/>
              <a:gd name="connsiteX76" fmla="*/ 3546674 w 7718488"/>
              <a:gd name="connsiteY76" fmla="*/ 1408466 h 3099991"/>
              <a:gd name="connsiteX77" fmla="*/ 3273445 w 7718488"/>
              <a:gd name="connsiteY77" fmla="*/ 2359928 h 3099991"/>
              <a:gd name="connsiteX78" fmla="*/ 2851198 w 7718488"/>
              <a:gd name="connsiteY78" fmla="*/ 2359928 h 3099991"/>
              <a:gd name="connsiteX79" fmla="*/ 3238258 w 7718488"/>
              <a:gd name="connsiteY79" fmla="*/ 1902494 h 3099991"/>
              <a:gd name="connsiteX80" fmla="*/ 3184421 w 7718488"/>
              <a:gd name="connsiteY80" fmla="*/ 1525287 h 3099991"/>
              <a:gd name="connsiteX81" fmla="*/ 2671040 w 7718488"/>
              <a:gd name="connsiteY81" fmla="*/ 1407938 h 3099991"/>
              <a:gd name="connsiteX82" fmla="*/ 2354355 w 7718488"/>
              <a:gd name="connsiteY82" fmla="*/ 1407938 h 3099991"/>
              <a:gd name="connsiteX83" fmla="*/ 2354355 w 7718488"/>
              <a:gd name="connsiteY83" fmla="*/ 60972 h 3099991"/>
              <a:gd name="connsiteX84" fmla="*/ 3944641 w 7718488"/>
              <a:gd name="connsiteY84" fmla="*/ 60972 h 3099991"/>
              <a:gd name="connsiteX85" fmla="*/ 4912289 w 7718488"/>
              <a:gd name="connsiteY85" fmla="*/ 2359928 h 3099991"/>
              <a:gd name="connsiteX86" fmla="*/ 4672136 w 7718488"/>
              <a:gd name="connsiteY86" fmla="*/ 2359928 h 3099991"/>
              <a:gd name="connsiteX87" fmla="*/ 5035444 w 7718488"/>
              <a:gd name="connsiteY87" fmla="*/ 1789543 h 3099991"/>
              <a:gd name="connsiteX88" fmla="*/ 5801470 w 7718488"/>
              <a:gd name="connsiteY88" fmla="*/ 1435208 h 3099991"/>
              <a:gd name="connsiteX89" fmla="*/ 5800414 w 7718488"/>
              <a:gd name="connsiteY89" fmla="*/ 1764736 h 3099991"/>
              <a:gd name="connsiteX90" fmla="*/ 5588235 w 7718488"/>
              <a:gd name="connsiteY90" fmla="*/ 2220411 h 3099991"/>
              <a:gd name="connsiteX91" fmla="*/ 5563076 w 7718488"/>
              <a:gd name="connsiteY91" fmla="*/ 2359928 h 3099991"/>
              <a:gd name="connsiteX92" fmla="*/ 5329081 w 7718488"/>
              <a:gd name="connsiteY92" fmla="*/ 2359928 h 3099991"/>
              <a:gd name="connsiteX93" fmla="*/ 5528065 w 7718488"/>
              <a:gd name="connsiteY93" fmla="*/ 1410753 h 3099991"/>
              <a:gd name="connsiteX94" fmla="*/ 4854758 w 7718488"/>
              <a:gd name="connsiteY94" fmla="*/ 1410753 h 3099991"/>
              <a:gd name="connsiteX95" fmla="*/ 4252177 w 7718488"/>
              <a:gd name="connsiteY95" fmla="*/ 2360808 h 3099991"/>
              <a:gd name="connsiteX96" fmla="*/ 4208545 w 7718488"/>
              <a:gd name="connsiteY96" fmla="*/ 2360808 h 3099991"/>
              <a:gd name="connsiteX97" fmla="*/ 4208545 w 7718488"/>
              <a:gd name="connsiteY97" fmla="*/ 60972 h 3099991"/>
              <a:gd name="connsiteX98" fmla="*/ 5800766 w 7718488"/>
              <a:gd name="connsiteY98" fmla="*/ 60972 h 3099991"/>
              <a:gd name="connsiteX99" fmla="*/ 6718976 w 7718488"/>
              <a:gd name="connsiteY99" fmla="*/ 2748219 h 3099991"/>
              <a:gd name="connsiteX100" fmla="*/ 6451201 w 7718488"/>
              <a:gd name="connsiteY100" fmla="*/ 2775840 h 3099991"/>
              <a:gd name="connsiteX101" fmla="*/ 6058512 w 7718488"/>
              <a:gd name="connsiteY101" fmla="*/ 2420098 h 3099991"/>
              <a:gd name="connsiteX102" fmla="*/ 6800434 w 7718488"/>
              <a:gd name="connsiteY102" fmla="*/ 2420098 h 3099991"/>
              <a:gd name="connsiteX103" fmla="*/ 7658650 w 7718488"/>
              <a:gd name="connsiteY103" fmla="*/ 2359928 h 3099991"/>
              <a:gd name="connsiteX104" fmla="*/ 7256988 w 7718488"/>
              <a:gd name="connsiteY104" fmla="*/ 2359928 h 3099991"/>
              <a:gd name="connsiteX105" fmla="*/ 7322612 w 7718488"/>
              <a:gd name="connsiteY105" fmla="*/ 2094616 h 3099991"/>
              <a:gd name="connsiteX106" fmla="*/ 6519816 w 7718488"/>
              <a:gd name="connsiteY106" fmla="*/ 2094616 h 3099991"/>
              <a:gd name="connsiteX107" fmla="*/ 6453664 w 7718488"/>
              <a:gd name="connsiteY107" fmla="*/ 2359928 h 3099991"/>
              <a:gd name="connsiteX108" fmla="*/ 6065374 w 7718488"/>
              <a:gd name="connsiteY108" fmla="*/ 2359928 h 3099991"/>
              <a:gd name="connsiteX109" fmla="*/ 6065374 w 7718488"/>
              <a:gd name="connsiteY109" fmla="*/ 2305388 h 3099991"/>
              <a:gd name="connsiteX110" fmla="*/ 6084023 w 7718488"/>
              <a:gd name="connsiteY110" fmla="*/ 2210734 h 3099991"/>
              <a:gd name="connsiteX111" fmla="*/ 6667251 w 7718488"/>
              <a:gd name="connsiteY111" fmla="*/ 1642109 h 3099991"/>
              <a:gd name="connsiteX112" fmla="*/ 6905996 w 7718488"/>
              <a:gd name="connsiteY112" fmla="*/ 1868715 h 3099991"/>
              <a:gd name="connsiteX113" fmla="*/ 7383838 w 7718488"/>
              <a:gd name="connsiteY113" fmla="*/ 1868715 h 3099991"/>
              <a:gd name="connsiteX114" fmla="*/ 7344253 w 7718488"/>
              <a:gd name="connsiteY114" fmla="*/ 1514555 h 3099991"/>
              <a:gd name="connsiteX115" fmla="*/ 6770877 w 7718488"/>
              <a:gd name="connsiteY115" fmla="*/ 1316979 h 3099991"/>
              <a:gd name="connsiteX116" fmla="*/ 6065374 w 7718488"/>
              <a:gd name="connsiteY116" fmla="*/ 1503295 h 3099991"/>
              <a:gd name="connsiteX117" fmla="*/ 6065374 w 7718488"/>
              <a:gd name="connsiteY117" fmla="*/ 60621 h 3099991"/>
              <a:gd name="connsiteX118" fmla="*/ 7657946 w 7718488"/>
              <a:gd name="connsiteY118" fmla="*/ 60621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7718488" h="3099991">
                <a:moveTo>
                  <a:pt x="6005027" y="-77"/>
                </a:moveTo>
                <a:lnTo>
                  <a:pt x="6005027" y="1546752"/>
                </a:lnTo>
                <a:cubicBezTo>
                  <a:pt x="5953197" y="1588097"/>
                  <a:pt x="5905324" y="1634157"/>
                  <a:pt x="5861992" y="1684334"/>
                </a:cubicBezTo>
                <a:lnTo>
                  <a:pt x="5861992" y="-77"/>
                </a:lnTo>
                <a:lnTo>
                  <a:pt x="4148727" y="-77"/>
                </a:lnTo>
                <a:lnTo>
                  <a:pt x="4148727" y="1408466"/>
                </a:lnTo>
                <a:lnTo>
                  <a:pt x="4006746" y="1408466"/>
                </a:lnTo>
                <a:lnTo>
                  <a:pt x="4006746" y="-77"/>
                </a:lnTo>
                <a:lnTo>
                  <a:pt x="2292953" y="-77"/>
                </a:lnTo>
                <a:lnTo>
                  <a:pt x="2292953" y="1410753"/>
                </a:lnTo>
                <a:lnTo>
                  <a:pt x="2151149" y="1410753"/>
                </a:lnTo>
                <a:lnTo>
                  <a:pt x="2151149" y="-77"/>
                </a:lnTo>
                <a:lnTo>
                  <a:pt x="437180" y="-77"/>
                </a:lnTo>
                <a:lnTo>
                  <a:pt x="437180" y="1607802"/>
                </a:lnTo>
                <a:lnTo>
                  <a:pt x="-21" y="3065783"/>
                </a:lnTo>
                <a:lnTo>
                  <a:pt x="384575" y="3065783"/>
                </a:lnTo>
                <a:lnTo>
                  <a:pt x="578105" y="2420098"/>
                </a:lnTo>
                <a:lnTo>
                  <a:pt x="633701" y="2420098"/>
                </a:lnTo>
                <a:lnTo>
                  <a:pt x="952673" y="3065783"/>
                </a:lnTo>
                <a:lnTo>
                  <a:pt x="1417144" y="3065783"/>
                </a:lnTo>
                <a:lnTo>
                  <a:pt x="1107496" y="2420098"/>
                </a:lnTo>
                <a:lnTo>
                  <a:pt x="1809657" y="2420098"/>
                </a:lnTo>
                <a:lnTo>
                  <a:pt x="1614896" y="3065783"/>
                </a:lnTo>
                <a:lnTo>
                  <a:pt x="2035207" y="3065783"/>
                </a:lnTo>
                <a:lnTo>
                  <a:pt x="2227329" y="2421857"/>
                </a:lnTo>
                <a:lnTo>
                  <a:pt x="2319696" y="2421857"/>
                </a:lnTo>
                <a:lnTo>
                  <a:pt x="2319696" y="2420098"/>
                </a:lnTo>
                <a:lnTo>
                  <a:pt x="3255324" y="2420098"/>
                </a:lnTo>
                <a:lnTo>
                  <a:pt x="3069711" y="3064024"/>
                </a:lnTo>
                <a:lnTo>
                  <a:pt x="3493541" y="3064024"/>
                </a:lnTo>
                <a:lnTo>
                  <a:pt x="3673172" y="2420098"/>
                </a:lnTo>
                <a:lnTo>
                  <a:pt x="3863886" y="2420098"/>
                </a:lnTo>
                <a:lnTo>
                  <a:pt x="3868988" y="3064024"/>
                </a:lnTo>
                <a:lnTo>
                  <a:pt x="4224555" y="3064024"/>
                </a:lnTo>
                <a:lnTo>
                  <a:pt x="4632375" y="2420098"/>
                </a:lnTo>
                <a:lnTo>
                  <a:pt x="4899445" y="2420098"/>
                </a:lnTo>
                <a:lnTo>
                  <a:pt x="4761688" y="3064024"/>
                </a:lnTo>
                <a:lnTo>
                  <a:pt x="5178832" y="3064024"/>
                </a:lnTo>
                <a:lnTo>
                  <a:pt x="5314303" y="2420098"/>
                </a:lnTo>
                <a:lnTo>
                  <a:pt x="5555511" y="2420098"/>
                </a:lnTo>
                <a:cubicBezTo>
                  <a:pt x="5546010" y="2619609"/>
                  <a:pt x="5597032" y="2800999"/>
                  <a:pt x="5729336" y="2922923"/>
                </a:cubicBezTo>
                <a:cubicBezTo>
                  <a:pt x="5891197" y="3071413"/>
                  <a:pt x="6139091" y="3099914"/>
                  <a:pt x="6322944" y="3099914"/>
                </a:cubicBezTo>
                <a:cubicBezTo>
                  <a:pt x="6583998" y="3096836"/>
                  <a:pt x="6843908" y="3064903"/>
                  <a:pt x="7097942" y="3004733"/>
                </a:cubicBezTo>
                <a:lnTo>
                  <a:pt x="7242385" y="2420098"/>
                </a:lnTo>
                <a:lnTo>
                  <a:pt x="7718468" y="2420098"/>
                </a:lnTo>
                <a:lnTo>
                  <a:pt x="7718468" y="-77"/>
                </a:lnTo>
                <a:close/>
                <a:moveTo>
                  <a:pt x="2089395" y="1492915"/>
                </a:moveTo>
                <a:lnTo>
                  <a:pt x="2064413" y="1575429"/>
                </a:lnTo>
                <a:lnTo>
                  <a:pt x="1836575" y="2333889"/>
                </a:lnTo>
                <a:lnTo>
                  <a:pt x="1827603" y="2360808"/>
                </a:lnTo>
                <a:lnTo>
                  <a:pt x="1078291" y="2360808"/>
                </a:lnTo>
                <a:lnTo>
                  <a:pt x="1019704" y="2237652"/>
                </a:lnTo>
                <a:lnTo>
                  <a:pt x="1827603" y="1411985"/>
                </a:lnTo>
                <a:lnTo>
                  <a:pt x="1308591" y="1411985"/>
                </a:lnTo>
                <a:lnTo>
                  <a:pt x="676805" y="2091274"/>
                </a:lnTo>
                <a:lnTo>
                  <a:pt x="881419" y="1410753"/>
                </a:lnTo>
                <a:lnTo>
                  <a:pt x="498582" y="1410753"/>
                </a:lnTo>
                <a:lnTo>
                  <a:pt x="498582" y="60972"/>
                </a:lnTo>
                <a:lnTo>
                  <a:pt x="2089395" y="60972"/>
                </a:lnTo>
                <a:close/>
                <a:moveTo>
                  <a:pt x="2531874" y="2133498"/>
                </a:moveTo>
                <a:lnTo>
                  <a:pt x="2531874" y="2133498"/>
                </a:lnTo>
                <a:cubicBezTo>
                  <a:pt x="2516568" y="2133498"/>
                  <a:pt x="2500910" y="2135786"/>
                  <a:pt x="2483140" y="2135786"/>
                </a:cubicBezTo>
                <a:cubicBezTo>
                  <a:pt x="2459741" y="2135786"/>
                  <a:pt x="2441795" y="2135786"/>
                  <a:pt x="2424554" y="2135786"/>
                </a:cubicBezTo>
                <a:lnTo>
                  <a:pt x="2322863" y="2135786"/>
                </a:lnTo>
                <a:lnTo>
                  <a:pt x="2369838" y="1961609"/>
                </a:lnTo>
                <a:lnTo>
                  <a:pt x="2392005" y="1874872"/>
                </a:lnTo>
                <a:lnTo>
                  <a:pt x="2445666" y="1672546"/>
                </a:lnTo>
                <a:cubicBezTo>
                  <a:pt x="2469417" y="1672546"/>
                  <a:pt x="2492465" y="1671491"/>
                  <a:pt x="2514633" y="1671491"/>
                </a:cubicBezTo>
                <a:lnTo>
                  <a:pt x="2593452" y="1671491"/>
                </a:lnTo>
                <a:cubicBezTo>
                  <a:pt x="2728219" y="1671491"/>
                  <a:pt x="2813372" y="1679231"/>
                  <a:pt x="2844337" y="1722512"/>
                </a:cubicBezTo>
                <a:cubicBezTo>
                  <a:pt x="2867912" y="1755060"/>
                  <a:pt x="2865097" y="1811360"/>
                  <a:pt x="2837124" y="1896688"/>
                </a:cubicBezTo>
                <a:cubicBezTo>
                  <a:pt x="2788917" y="2043771"/>
                  <a:pt x="2728219" y="2118544"/>
                  <a:pt x="2532402" y="2133498"/>
                </a:cubicBezTo>
                <a:moveTo>
                  <a:pt x="3690941" y="2359928"/>
                </a:moveTo>
                <a:lnTo>
                  <a:pt x="3858432" y="1764736"/>
                </a:lnTo>
                <a:lnTo>
                  <a:pt x="3864414" y="2359928"/>
                </a:lnTo>
                <a:close/>
                <a:moveTo>
                  <a:pt x="3944641" y="1408466"/>
                </a:moveTo>
                <a:lnTo>
                  <a:pt x="3546674" y="1408466"/>
                </a:lnTo>
                <a:lnTo>
                  <a:pt x="3273445" y="2359928"/>
                </a:lnTo>
                <a:lnTo>
                  <a:pt x="2851198" y="2359928"/>
                </a:lnTo>
                <a:cubicBezTo>
                  <a:pt x="3066368" y="2280229"/>
                  <a:pt x="3197265" y="2128220"/>
                  <a:pt x="3238258" y="1902494"/>
                </a:cubicBezTo>
                <a:cubicBezTo>
                  <a:pt x="3271685" y="1726558"/>
                  <a:pt x="3255851" y="1611672"/>
                  <a:pt x="3184421" y="1525287"/>
                </a:cubicBezTo>
                <a:cubicBezTo>
                  <a:pt x="3077100" y="1396854"/>
                  <a:pt x="2861931" y="1407938"/>
                  <a:pt x="2671040" y="1407938"/>
                </a:cubicBezTo>
                <a:lnTo>
                  <a:pt x="2354355" y="1407938"/>
                </a:lnTo>
                <a:lnTo>
                  <a:pt x="2354355" y="60972"/>
                </a:lnTo>
                <a:lnTo>
                  <a:pt x="3944641" y="60972"/>
                </a:lnTo>
                <a:close/>
                <a:moveTo>
                  <a:pt x="4912289" y="2359928"/>
                </a:moveTo>
                <a:lnTo>
                  <a:pt x="4672136" y="2359928"/>
                </a:lnTo>
                <a:lnTo>
                  <a:pt x="5035444" y="1789543"/>
                </a:lnTo>
                <a:close/>
                <a:moveTo>
                  <a:pt x="5801470" y="1435208"/>
                </a:moveTo>
                <a:lnTo>
                  <a:pt x="5800414" y="1764736"/>
                </a:lnTo>
                <a:cubicBezTo>
                  <a:pt x="5701327" y="1901738"/>
                  <a:pt x="5629298" y="2056403"/>
                  <a:pt x="5588235" y="2220411"/>
                </a:cubicBezTo>
                <a:cubicBezTo>
                  <a:pt x="5576254" y="2266189"/>
                  <a:pt x="5567844" y="2312847"/>
                  <a:pt x="5563076" y="2359928"/>
                </a:cubicBezTo>
                <a:lnTo>
                  <a:pt x="5329081" y="2359928"/>
                </a:lnTo>
                <a:lnTo>
                  <a:pt x="5528065" y="1410753"/>
                </a:lnTo>
                <a:lnTo>
                  <a:pt x="4854758" y="1410753"/>
                </a:lnTo>
                <a:lnTo>
                  <a:pt x="4252177" y="2360808"/>
                </a:lnTo>
                <a:lnTo>
                  <a:pt x="4208545" y="2360808"/>
                </a:lnTo>
                <a:lnTo>
                  <a:pt x="4208545" y="60972"/>
                </a:lnTo>
                <a:lnTo>
                  <a:pt x="5800766" y="60972"/>
                </a:lnTo>
                <a:close/>
                <a:moveTo>
                  <a:pt x="6718976" y="2748219"/>
                </a:moveTo>
                <a:cubicBezTo>
                  <a:pt x="6630709" y="2765355"/>
                  <a:pt x="6541104" y="2774591"/>
                  <a:pt x="6451201" y="2775840"/>
                </a:cubicBezTo>
                <a:cubicBezTo>
                  <a:pt x="6221605" y="2775840"/>
                  <a:pt x="6061855" y="2669047"/>
                  <a:pt x="6058512" y="2420098"/>
                </a:cubicBezTo>
                <a:lnTo>
                  <a:pt x="6800434" y="2420098"/>
                </a:lnTo>
                <a:close/>
                <a:moveTo>
                  <a:pt x="7658650" y="2359928"/>
                </a:moveTo>
                <a:lnTo>
                  <a:pt x="7256988" y="2359928"/>
                </a:lnTo>
                <a:lnTo>
                  <a:pt x="7322612" y="2094616"/>
                </a:lnTo>
                <a:lnTo>
                  <a:pt x="6519816" y="2094616"/>
                </a:lnTo>
                <a:lnTo>
                  <a:pt x="6453664" y="2359928"/>
                </a:lnTo>
                <a:lnTo>
                  <a:pt x="6065374" y="2359928"/>
                </a:lnTo>
                <a:lnTo>
                  <a:pt x="6065374" y="2305388"/>
                </a:lnTo>
                <a:cubicBezTo>
                  <a:pt x="6071355" y="2275479"/>
                  <a:pt x="6076458" y="2244162"/>
                  <a:pt x="6084023" y="2210734"/>
                </a:cubicBezTo>
                <a:cubicBezTo>
                  <a:pt x="6154397" y="1924662"/>
                  <a:pt x="6342648" y="1642109"/>
                  <a:pt x="6667251" y="1642109"/>
                </a:cubicBezTo>
                <a:cubicBezTo>
                  <a:pt x="6795684" y="1642109"/>
                  <a:pt x="6923413" y="1691019"/>
                  <a:pt x="6905996" y="1868715"/>
                </a:cubicBezTo>
                <a:lnTo>
                  <a:pt x="7383838" y="1868715"/>
                </a:lnTo>
                <a:cubicBezTo>
                  <a:pt x="7402839" y="1785849"/>
                  <a:pt x="7434332" y="1644572"/>
                  <a:pt x="7344253" y="1514555"/>
                </a:cubicBezTo>
                <a:cubicBezTo>
                  <a:pt x="7242385" y="1373807"/>
                  <a:pt x="7037244" y="1316979"/>
                  <a:pt x="6770877" y="1316979"/>
                </a:cubicBezTo>
                <a:cubicBezTo>
                  <a:pt x="6581570" y="1316979"/>
                  <a:pt x="6304647" y="1347240"/>
                  <a:pt x="6065374" y="1503295"/>
                </a:cubicBezTo>
                <a:lnTo>
                  <a:pt x="6065374" y="60621"/>
                </a:lnTo>
                <a:lnTo>
                  <a:pt x="7657946" y="60621"/>
                </a:lnTo>
                <a:close/>
              </a:path>
            </a:pathLst>
          </a:custGeom>
          <a:solidFill>
            <a:srgbClr val="FCEAE7"/>
          </a:solidFill>
          <a:ln w="17575" cap="flat">
            <a:noFill/>
            <a:prstDash val="solid"/>
            <a:miter/>
          </a:ln>
        </p:spPr>
        <p:txBody>
          <a:bodyPr rtlCol="0" anchor="ctr"/>
          <a:lstStyle/>
          <a:p>
            <a:endParaRPr lang="en-GB"/>
          </a:p>
        </p:txBody>
      </p:sp>
    </p:spTree>
    <p:extLst>
      <p:ext uri="{BB962C8B-B14F-4D97-AF65-F5344CB8AC3E}">
        <p14:creationId xmlns:p14="http://schemas.microsoft.com/office/powerpoint/2010/main" val="7853729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8_Divider 1">
    <p:bg>
      <p:bgPr>
        <a:gradFill>
          <a:gsLst>
            <a:gs pos="0">
              <a:srgbClr val="7213EA"/>
            </a:gs>
            <a:gs pos="100000">
              <a:srgbClr val="1F4AE3"/>
            </a:gs>
          </a:gsLst>
          <a:lin ang="0" scaled="0"/>
        </a:gradFill>
        <a:effectLst/>
      </p:bgPr>
    </p:bg>
    <p:spTree>
      <p:nvGrpSpPr>
        <p:cNvPr id="1" name=""/>
        <p:cNvGrpSpPr/>
        <p:nvPr/>
      </p:nvGrpSpPr>
      <p:grpSpPr>
        <a:xfrm>
          <a:off x="0" y="0"/>
          <a:ext cx="0" cy="0"/>
          <a:chOff x="0" y="0"/>
          <a:chExt cx="0" cy="0"/>
        </a:xfrm>
      </p:grpSpPr>
      <p:sp>
        <p:nvSpPr>
          <p:cNvPr id="6" name="Graphic 6">
            <a:extLst>
              <a:ext uri="{FF2B5EF4-FFF2-40B4-BE49-F238E27FC236}">
                <a16:creationId xmlns:a16="http://schemas.microsoft.com/office/drawing/2014/main" id="{0C31D974-C98F-45F0-9C1C-75390626EBAB}"/>
              </a:ext>
            </a:extLst>
          </p:cNvPr>
          <p:cNvSpPr/>
          <p:nvPr userDrawn="1"/>
        </p:nvSpPr>
        <p:spPr>
          <a:xfrm>
            <a:off x="2234933" y="1882443"/>
            <a:ext cx="7718488" cy="3099991"/>
          </a:xfrm>
          <a:custGeom>
            <a:avLst/>
            <a:gdLst>
              <a:gd name="connsiteX0" fmla="*/ 6005027 w 7718488"/>
              <a:gd name="connsiteY0" fmla="*/ -77 h 3099991"/>
              <a:gd name="connsiteX1" fmla="*/ 6005027 w 7718488"/>
              <a:gd name="connsiteY1" fmla="*/ 1546752 h 3099991"/>
              <a:gd name="connsiteX2" fmla="*/ 5861992 w 7718488"/>
              <a:gd name="connsiteY2" fmla="*/ 1684334 h 3099991"/>
              <a:gd name="connsiteX3" fmla="*/ 5861992 w 7718488"/>
              <a:gd name="connsiteY3" fmla="*/ -77 h 3099991"/>
              <a:gd name="connsiteX4" fmla="*/ 4148727 w 7718488"/>
              <a:gd name="connsiteY4" fmla="*/ -77 h 3099991"/>
              <a:gd name="connsiteX5" fmla="*/ 4148727 w 7718488"/>
              <a:gd name="connsiteY5" fmla="*/ 1408466 h 3099991"/>
              <a:gd name="connsiteX6" fmla="*/ 4006746 w 7718488"/>
              <a:gd name="connsiteY6" fmla="*/ 1408466 h 3099991"/>
              <a:gd name="connsiteX7" fmla="*/ 4006746 w 7718488"/>
              <a:gd name="connsiteY7" fmla="*/ -77 h 3099991"/>
              <a:gd name="connsiteX8" fmla="*/ 2292953 w 7718488"/>
              <a:gd name="connsiteY8" fmla="*/ -77 h 3099991"/>
              <a:gd name="connsiteX9" fmla="*/ 2292953 w 7718488"/>
              <a:gd name="connsiteY9" fmla="*/ 1410753 h 3099991"/>
              <a:gd name="connsiteX10" fmla="*/ 2151149 w 7718488"/>
              <a:gd name="connsiteY10" fmla="*/ 1410753 h 3099991"/>
              <a:gd name="connsiteX11" fmla="*/ 2151149 w 7718488"/>
              <a:gd name="connsiteY11" fmla="*/ -77 h 3099991"/>
              <a:gd name="connsiteX12" fmla="*/ 437180 w 7718488"/>
              <a:gd name="connsiteY12" fmla="*/ -77 h 3099991"/>
              <a:gd name="connsiteX13" fmla="*/ 437180 w 7718488"/>
              <a:gd name="connsiteY13" fmla="*/ 1607802 h 3099991"/>
              <a:gd name="connsiteX14" fmla="*/ -21 w 7718488"/>
              <a:gd name="connsiteY14" fmla="*/ 3065783 h 3099991"/>
              <a:gd name="connsiteX15" fmla="*/ 384575 w 7718488"/>
              <a:gd name="connsiteY15" fmla="*/ 3065783 h 3099991"/>
              <a:gd name="connsiteX16" fmla="*/ 578105 w 7718488"/>
              <a:gd name="connsiteY16" fmla="*/ 2420098 h 3099991"/>
              <a:gd name="connsiteX17" fmla="*/ 633701 w 7718488"/>
              <a:gd name="connsiteY17" fmla="*/ 2420098 h 3099991"/>
              <a:gd name="connsiteX18" fmla="*/ 952673 w 7718488"/>
              <a:gd name="connsiteY18" fmla="*/ 3065783 h 3099991"/>
              <a:gd name="connsiteX19" fmla="*/ 1417144 w 7718488"/>
              <a:gd name="connsiteY19" fmla="*/ 3065783 h 3099991"/>
              <a:gd name="connsiteX20" fmla="*/ 1107496 w 7718488"/>
              <a:gd name="connsiteY20" fmla="*/ 2420098 h 3099991"/>
              <a:gd name="connsiteX21" fmla="*/ 1809657 w 7718488"/>
              <a:gd name="connsiteY21" fmla="*/ 2420098 h 3099991"/>
              <a:gd name="connsiteX22" fmla="*/ 1614896 w 7718488"/>
              <a:gd name="connsiteY22" fmla="*/ 3065783 h 3099991"/>
              <a:gd name="connsiteX23" fmla="*/ 2035207 w 7718488"/>
              <a:gd name="connsiteY23" fmla="*/ 3065783 h 3099991"/>
              <a:gd name="connsiteX24" fmla="*/ 2227329 w 7718488"/>
              <a:gd name="connsiteY24" fmla="*/ 2421857 h 3099991"/>
              <a:gd name="connsiteX25" fmla="*/ 2319696 w 7718488"/>
              <a:gd name="connsiteY25" fmla="*/ 2421857 h 3099991"/>
              <a:gd name="connsiteX26" fmla="*/ 2319696 w 7718488"/>
              <a:gd name="connsiteY26" fmla="*/ 2420098 h 3099991"/>
              <a:gd name="connsiteX27" fmla="*/ 3255324 w 7718488"/>
              <a:gd name="connsiteY27" fmla="*/ 2420098 h 3099991"/>
              <a:gd name="connsiteX28" fmla="*/ 3069711 w 7718488"/>
              <a:gd name="connsiteY28" fmla="*/ 3064024 h 3099991"/>
              <a:gd name="connsiteX29" fmla="*/ 3493541 w 7718488"/>
              <a:gd name="connsiteY29" fmla="*/ 3064024 h 3099991"/>
              <a:gd name="connsiteX30" fmla="*/ 3673172 w 7718488"/>
              <a:gd name="connsiteY30" fmla="*/ 2420098 h 3099991"/>
              <a:gd name="connsiteX31" fmla="*/ 3863886 w 7718488"/>
              <a:gd name="connsiteY31" fmla="*/ 2420098 h 3099991"/>
              <a:gd name="connsiteX32" fmla="*/ 3868988 w 7718488"/>
              <a:gd name="connsiteY32" fmla="*/ 3064024 h 3099991"/>
              <a:gd name="connsiteX33" fmla="*/ 4224555 w 7718488"/>
              <a:gd name="connsiteY33" fmla="*/ 3064024 h 3099991"/>
              <a:gd name="connsiteX34" fmla="*/ 4632375 w 7718488"/>
              <a:gd name="connsiteY34" fmla="*/ 2420098 h 3099991"/>
              <a:gd name="connsiteX35" fmla="*/ 4899445 w 7718488"/>
              <a:gd name="connsiteY35" fmla="*/ 2420098 h 3099991"/>
              <a:gd name="connsiteX36" fmla="*/ 4761688 w 7718488"/>
              <a:gd name="connsiteY36" fmla="*/ 3064024 h 3099991"/>
              <a:gd name="connsiteX37" fmla="*/ 5178832 w 7718488"/>
              <a:gd name="connsiteY37" fmla="*/ 3064024 h 3099991"/>
              <a:gd name="connsiteX38" fmla="*/ 5314303 w 7718488"/>
              <a:gd name="connsiteY38" fmla="*/ 2420098 h 3099991"/>
              <a:gd name="connsiteX39" fmla="*/ 5555511 w 7718488"/>
              <a:gd name="connsiteY39" fmla="*/ 2420098 h 3099991"/>
              <a:gd name="connsiteX40" fmla="*/ 5729336 w 7718488"/>
              <a:gd name="connsiteY40" fmla="*/ 2922923 h 3099991"/>
              <a:gd name="connsiteX41" fmla="*/ 6322944 w 7718488"/>
              <a:gd name="connsiteY41" fmla="*/ 3099914 h 3099991"/>
              <a:gd name="connsiteX42" fmla="*/ 7097942 w 7718488"/>
              <a:gd name="connsiteY42" fmla="*/ 3004733 h 3099991"/>
              <a:gd name="connsiteX43" fmla="*/ 7242385 w 7718488"/>
              <a:gd name="connsiteY43" fmla="*/ 2420098 h 3099991"/>
              <a:gd name="connsiteX44" fmla="*/ 7718468 w 7718488"/>
              <a:gd name="connsiteY44" fmla="*/ 2420098 h 3099991"/>
              <a:gd name="connsiteX45" fmla="*/ 7718468 w 7718488"/>
              <a:gd name="connsiteY45" fmla="*/ -77 h 3099991"/>
              <a:gd name="connsiteX46" fmla="*/ 2089395 w 7718488"/>
              <a:gd name="connsiteY46" fmla="*/ 1492915 h 3099991"/>
              <a:gd name="connsiteX47" fmla="*/ 2064413 w 7718488"/>
              <a:gd name="connsiteY47" fmla="*/ 1575429 h 3099991"/>
              <a:gd name="connsiteX48" fmla="*/ 1836575 w 7718488"/>
              <a:gd name="connsiteY48" fmla="*/ 2333889 h 3099991"/>
              <a:gd name="connsiteX49" fmla="*/ 1827603 w 7718488"/>
              <a:gd name="connsiteY49" fmla="*/ 2360808 h 3099991"/>
              <a:gd name="connsiteX50" fmla="*/ 1078291 w 7718488"/>
              <a:gd name="connsiteY50" fmla="*/ 2360808 h 3099991"/>
              <a:gd name="connsiteX51" fmla="*/ 1019704 w 7718488"/>
              <a:gd name="connsiteY51" fmla="*/ 2237652 h 3099991"/>
              <a:gd name="connsiteX52" fmla="*/ 1827603 w 7718488"/>
              <a:gd name="connsiteY52" fmla="*/ 1411985 h 3099991"/>
              <a:gd name="connsiteX53" fmla="*/ 1308591 w 7718488"/>
              <a:gd name="connsiteY53" fmla="*/ 1411985 h 3099991"/>
              <a:gd name="connsiteX54" fmla="*/ 676805 w 7718488"/>
              <a:gd name="connsiteY54" fmla="*/ 2091274 h 3099991"/>
              <a:gd name="connsiteX55" fmla="*/ 881419 w 7718488"/>
              <a:gd name="connsiteY55" fmla="*/ 1410753 h 3099991"/>
              <a:gd name="connsiteX56" fmla="*/ 498582 w 7718488"/>
              <a:gd name="connsiteY56" fmla="*/ 1410753 h 3099991"/>
              <a:gd name="connsiteX57" fmla="*/ 498582 w 7718488"/>
              <a:gd name="connsiteY57" fmla="*/ 60972 h 3099991"/>
              <a:gd name="connsiteX58" fmla="*/ 2089395 w 7718488"/>
              <a:gd name="connsiteY58" fmla="*/ 60972 h 3099991"/>
              <a:gd name="connsiteX59" fmla="*/ 2531874 w 7718488"/>
              <a:gd name="connsiteY59" fmla="*/ 2133498 h 3099991"/>
              <a:gd name="connsiteX60" fmla="*/ 2531874 w 7718488"/>
              <a:gd name="connsiteY60" fmla="*/ 2133498 h 3099991"/>
              <a:gd name="connsiteX61" fmla="*/ 2483140 w 7718488"/>
              <a:gd name="connsiteY61" fmla="*/ 2135786 h 3099991"/>
              <a:gd name="connsiteX62" fmla="*/ 2424554 w 7718488"/>
              <a:gd name="connsiteY62" fmla="*/ 2135786 h 3099991"/>
              <a:gd name="connsiteX63" fmla="*/ 2322863 w 7718488"/>
              <a:gd name="connsiteY63" fmla="*/ 2135786 h 3099991"/>
              <a:gd name="connsiteX64" fmla="*/ 2369838 w 7718488"/>
              <a:gd name="connsiteY64" fmla="*/ 1961609 h 3099991"/>
              <a:gd name="connsiteX65" fmla="*/ 2392005 w 7718488"/>
              <a:gd name="connsiteY65" fmla="*/ 1874872 h 3099991"/>
              <a:gd name="connsiteX66" fmla="*/ 2445666 w 7718488"/>
              <a:gd name="connsiteY66" fmla="*/ 1672546 h 3099991"/>
              <a:gd name="connsiteX67" fmla="*/ 2514633 w 7718488"/>
              <a:gd name="connsiteY67" fmla="*/ 1671491 h 3099991"/>
              <a:gd name="connsiteX68" fmla="*/ 2593452 w 7718488"/>
              <a:gd name="connsiteY68" fmla="*/ 1671491 h 3099991"/>
              <a:gd name="connsiteX69" fmla="*/ 2844337 w 7718488"/>
              <a:gd name="connsiteY69" fmla="*/ 1722512 h 3099991"/>
              <a:gd name="connsiteX70" fmla="*/ 2837124 w 7718488"/>
              <a:gd name="connsiteY70" fmla="*/ 1896688 h 3099991"/>
              <a:gd name="connsiteX71" fmla="*/ 2532402 w 7718488"/>
              <a:gd name="connsiteY71" fmla="*/ 2133498 h 3099991"/>
              <a:gd name="connsiteX72" fmla="*/ 3690941 w 7718488"/>
              <a:gd name="connsiteY72" fmla="*/ 2359928 h 3099991"/>
              <a:gd name="connsiteX73" fmla="*/ 3858432 w 7718488"/>
              <a:gd name="connsiteY73" fmla="*/ 1764736 h 3099991"/>
              <a:gd name="connsiteX74" fmla="*/ 3864414 w 7718488"/>
              <a:gd name="connsiteY74" fmla="*/ 2359928 h 3099991"/>
              <a:gd name="connsiteX75" fmla="*/ 3944641 w 7718488"/>
              <a:gd name="connsiteY75" fmla="*/ 1408466 h 3099991"/>
              <a:gd name="connsiteX76" fmla="*/ 3546674 w 7718488"/>
              <a:gd name="connsiteY76" fmla="*/ 1408466 h 3099991"/>
              <a:gd name="connsiteX77" fmla="*/ 3273445 w 7718488"/>
              <a:gd name="connsiteY77" fmla="*/ 2359928 h 3099991"/>
              <a:gd name="connsiteX78" fmla="*/ 2851198 w 7718488"/>
              <a:gd name="connsiteY78" fmla="*/ 2359928 h 3099991"/>
              <a:gd name="connsiteX79" fmla="*/ 3238258 w 7718488"/>
              <a:gd name="connsiteY79" fmla="*/ 1902494 h 3099991"/>
              <a:gd name="connsiteX80" fmla="*/ 3184421 w 7718488"/>
              <a:gd name="connsiteY80" fmla="*/ 1525287 h 3099991"/>
              <a:gd name="connsiteX81" fmla="*/ 2671040 w 7718488"/>
              <a:gd name="connsiteY81" fmla="*/ 1407938 h 3099991"/>
              <a:gd name="connsiteX82" fmla="*/ 2354355 w 7718488"/>
              <a:gd name="connsiteY82" fmla="*/ 1407938 h 3099991"/>
              <a:gd name="connsiteX83" fmla="*/ 2354355 w 7718488"/>
              <a:gd name="connsiteY83" fmla="*/ 60972 h 3099991"/>
              <a:gd name="connsiteX84" fmla="*/ 3944641 w 7718488"/>
              <a:gd name="connsiteY84" fmla="*/ 60972 h 3099991"/>
              <a:gd name="connsiteX85" fmla="*/ 4912289 w 7718488"/>
              <a:gd name="connsiteY85" fmla="*/ 2359928 h 3099991"/>
              <a:gd name="connsiteX86" fmla="*/ 4672136 w 7718488"/>
              <a:gd name="connsiteY86" fmla="*/ 2359928 h 3099991"/>
              <a:gd name="connsiteX87" fmla="*/ 5035444 w 7718488"/>
              <a:gd name="connsiteY87" fmla="*/ 1789543 h 3099991"/>
              <a:gd name="connsiteX88" fmla="*/ 5801470 w 7718488"/>
              <a:gd name="connsiteY88" fmla="*/ 1435208 h 3099991"/>
              <a:gd name="connsiteX89" fmla="*/ 5800414 w 7718488"/>
              <a:gd name="connsiteY89" fmla="*/ 1764736 h 3099991"/>
              <a:gd name="connsiteX90" fmla="*/ 5588235 w 7718488"/>
              <a:gd name="connsiteY90" fmla="*/ 2220411 h 3099991"/>
              <a:gd name="connsiteX91" fmla="*/ 5563076 w 7718488"/>
              <a:gd name="connsiteY91" fmla="*/ 2359928 h 3099991"/>
              <a:gd name="connsiteX92" fmla="*/ 5329081 w 7718488"/>
              <a:gd name="connsiteY92" fmla="*/ 2359928 h 3099991"/>
              <a:gd name="connsiteX93" fmla="*/ 5528065 w 7718488"/>
              <a:gd name="connsiteY93" fmla="*/ 1410753 h 3099991"/>
              <a:gd name="connsiteX94" fmla="*/ 4854758 w 7718488"/>
              <a:gd name="connsiteY94" fmla="*/ 1410753 h 3099991"/>
              <a:gd name="connsiteX95" fmla="*/ 4252177 w 7718488"/>
              <a:gd name="connsiteY95" fmla="*/ 2360808 h 3099991"/>
              <a:gd name="connsiteX96" fmla="*/ 4208545 w 7718488"/>
              <a:gd name="connsiteY96" fmla="*/ 2360808 h 3099991"/>
              <a:gd name="connsiteX97" fmla="*/ 4208545 w 7718488"/>
              <a:gd name="connsiteY97" fmla="*/ 60972 h 3099991"/>
              <a:gd name="connsiteX98" fmla="*/ 5800766 w 7718488"/>
              <a:gd name="connsiteY98" fmla="*/ 60972 h 3099991"/>
              <a:gd name="connsiteX99" fmla="*/ 6718976 w 7718488"/>
              <a:gd name="connsiteY99" fmla="*/ 2748219 h 3099991"/>
              <a:gd name="connsiteX100" fmla="*/ 6451201 w 7718488"/>
              <a:gd name="connsiteY100" fmla="*/ 2775840 h 3099991"/>
              <a:gd name="connsiteX101" fmla="*/ 6058512 w 7718488"/>
              <a:gd name="connsiteY101" fmla="*/ 2420098 h 3099991"/>
              <a:gd name="connsiteX102" fmla="*/ 6800434 w 7718488"/>
              <a:gd name="connsiteY102" fmla="*/ 2420098 h 3099991"/>
              <a:gd name="connsiteX103" fmla="*/ 7658650 w 7718488"/>
              <a:gd name="connsiteY103" fmla="*/ 2359928 h 3099991"/>
              <a:gd name="connsiteX104" fmla="*/ 7256988 w 7718488"/>
              <a:gd name="connsiteY104" fmla="*/ 2359928 h 3099991"/>
              <a:gd name="connsiteX105" fmla="*/ 7322612 w 7718488"/>
              <a:gd name="connsiteY105" fmla="*/ 2094616 h 3099991"/>
              <a:gd name="connsiteX106" fmla="*/ 6519816 w 7718488"/>
              <a:gd name="connsiteY106" fmla="*/ 2094616 h 3099991"/>
              <a:gd name="connsiteX107" fmla="*/ 6453664 w 7718488"/>
              <a:gd name="connsiteY107" fmla="*/ 2359928 h 3099991"/>
              <a:gd name="connsiteX108" fmla="*/ 6065374 w 7718488"/>
              <a:gd name="connsiteY108" fmla="*/ 2359928 h 3099991"/>
              <a:gd name="connsiteX109" fmla="*/ 6065374 w 7718488"/>
              <a:gd name="connsiteY109" fmla="*/ 2305388 h 3099991"/>
              <a:gd name="connsiteX110" fmla="*/ 6084023 w 7718488"/>
              <a:gd name="connsiteY110" fmla="*/ 2210734 h 3099991"/>
              <a:gd name="connsiteX111" fmla="*/ 6667251 w 7718488"/>
              <a:gd name="connsiteY111" fmla="*/ 1642109 h 3099991"/>
              <a:gd name="connsiteX112" fmla="*/ 6905996 w 7718488"/>
              <a:gd name="connsiteY112" fmla="*/ 1868715 h 3099991"/>
              <a:gd name="connsiteX113" fmla="*/ 7383838 w 7718488"/>
              <a:gd name="connsiteY113" fmla="*/ 1868715 h 3099991"/>
              <a:gd name="connsiteX114" fmla="*/ 7344253 w 7718488"/>
              <a:gd name="connsiteY114" fmla="*/ 1514555 h 3099991"/>
              <a:gd name="connsiteX115" fmla="*/ 6770877 w 7718488"/>
              <a:gd name="connsiteY115" fmla="*/ 1316979 h 3099991"/>
              <a:gd name="connsiteX116" fmla="*/ 6065374 w 7718488"/>
              <a:gd name="connsiteY116" fmla="*/ 1503295 h 3099991"/>
              <a:gd name="connsiteX117" fmla="*/ 6065374 w 7718488"/>
              <a:gd name="connsiteY117" fmla="*/ 60621 h 3099991"/>
              <a:gd name="connsiteX118" fmla="*/ 7657946 w 7718488"/>
              <a:gd name="connsiteY118" fmla="*/ 60621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7718488" h="3099991">
                <a:moveTo>
                  <a:pt x="6005027" y="-77"/>
                </a:moveTo>
                <a:lnTo>
                  <a:pt x="6005027" y="1546752"/>
                </a:lnTo>
                <a:cubicBezTo>
                  <a:pt x="5953197" y="1588097"/>
                  <a:pt x="5905324" y="1634157"/>
                  <a:pt x="5861992" y="1684334"/>
                </a:cubicBezTo>
                <a:lnTo>
                  <a:pt x="5861992" y="-77"/>
                </a:lnTo>
                <a:lnTo>
                  <a:pt x="4148727" y="-77"/>
                </a:lnTo>
                <a:lnTo>
                  <a:pt x="4148727" y="1408466"/>
                </a:lnTo>
                <a:lnTo>
                  <a:pt x="4006746" y="1408466"/>
                </a:lnTo>
                <a:lnTo>
                  <a:pt x="4006746" y="-77"/>
                </a:lnTo>
                <a:lnTo>
                  <a:pt x="2292953" y="-77"/>
                </a:lnTo>
                <a:lnTo>
                  <a:pt x="2292953" y="1410753"/>
                </a:lnTo>
                <a:lnTo>
                  <a:pt x="2151149" y="1410753"/>
                </a:lnTo>
                <a:lnTo>
                  <a:pt x="2151149" y="-77"/>
                </a:lnTo>
                <a:lnTo>
                  <a:pt x="437180" y="-77"/>
                </a:lnTo>
                <a:lnTo>
                  <a:pt x="437180" y="1607802"/>
                </a:lnTo>
                <a:lnTo>
                  <a:pt x="-21" y="3065783"/>
                </a:lnTo>
                <a:lnTo>
                  <a:pt x="384575" y="3065783"/>
                </a:lnTo>
                <a:lnTo>
                  <a:pt x="578105" y="2420098"/>
                </a:lnTo>
                <a:lnTo>
                  <a:pt x="633701" y="2420098"/>
                </a:lnTo>
                <a:lnTo>
                  <a:pt x="952673" y="3065783"/>
                </a:lnTo>
                <a:lnTo>
                  <a:pt x="1417144" y="3065783"/>
                </a:lnTo>
                <a:lnTo>
                  <a:pt x="1107496" y="2420098"/>
                </a:lnTo>
                <a:lnTo>
                  <a:pt x="1809657" y="2420098"/>
                </a:lnTo>
                <a:lnTo>
                  <a:pt x="1614896" y="3065783"/>
                </a:lnTo>
                <a:lnTo>
                  <a:pt x="2035207" y="3065783"/>
                </a:lnTo>
                <a:lnTo>
                  <a:pt x="2227329" y="2421857"/>
                </a:lnTo>
                <a:lnTo>
                  <a:pt x="2319696" y="2421857"/>
                </a:lnTo>
                <a:lnTo>
                  <a:pt x="2319696" y="2420098"/>
                </a:lnTo>
                <a:lnTo>
                  <a:pt x="3255324" y="2420098"/>
                </a:lnTo>
                <a:lnTo>
                  <a:pt x="3069711" y="3064024"/>
                </a:lnTo>
                <a:lnTo>
                  <a:pt x="3493541" y="3064024"/>
                </a:lnTo>
                <a:lnTo>
                  <a:pt x="3673172" y="2420098"/>
                </a:lnTo>
                <a:lnTo>
                  <a:pt x="3863886" y="2420098"/>
                </a:lnTo>
                <a:lnTo>
                  <a:pt x="3868988" y="3064024"/>
                </a:lnTo>
                <a:lnTo>
                  <a:pt x="4224555" y="3064024"/>
                </a:lnTo>
                <a:lnTo>
                  <a:pt x="4632375" y="2420098"/>
                </a:lnTo>
                <a:lnTo>
                  <a:pt x="4899445" y="2420098"/>
                </a:lnTo>
                <a:lnTo>
                  <a:pt x="4761688" y="3064024"/>
                </a:lnTo>
                <a:lnTo>
                  <a:pt x="5178832" y="3064024"/>
                </a:lnTo>
                <a:lnTo>
                  <a:pt x="5314303" y="2420098"/>
                </a:lnTo>
                <a:lnTo>
                  <a:pt x="5555511" y="2420098"/>
                </a:lnTo>
                <a:cubicBezTo>
                  <a:pt x="5546010" y="2619609"/>
                  <a:pt x="5597032" y="2800999"/>
                  <a:pt x="5729336" y="2922923"/>
                </a:cubicBezTo>
                <a:cubicBezTo>
                  <a:pt x="5891197" y="3071413"/>
                  <a:pt x="6139091" y="3099914"/>
                  <a:pt x="6322944" y="3099914"/>
                </a:cubicBezTo>
                <a:cubicBezTo>
                  <a:pt x="6583998" y="3096836"/>
                  <a:pt x="6843908" y="3064903"/>
                  <a:pt x="7097942" y="3004733"/>
                </a:cubicBezTo>
                <a:lnTo>
                  <a:pt x="7242385" y="2420098"/>
                </a:lnTo>
                <a:lnTo>
                  <a:pt x="7718468" y="2420098"/>
                </a:lnTo>
                <a:lnTo>
                  <a:pt x="7718468" y="-77"/>
                </a:lnTo>
                <a:close/>
                <a:moveTo>
                  <a:pt x="2089395" y="1492915"/>
                </a:moveTo>
                <a:lnTo>
                  <a:pt x="2064413" y="1575429"/>
                </a:lnTo>
                <a:lnTo>
                  <a:pt x="1836575" y="2333889"/>
                </a:lnTo>
                <a:lnTo>
                  <a:pt x="1827603" y="2360808"/>
                </a:lnTo>
                <a:lnTo>
                  <a:pt x="1078291" y="2360808"/>
                </a:lnTo>
                <a:lnTo>
                  <a:pt x="1019704" y="2237652"/>
                </a:lnTo>
                <a:lnTo>
                  <a:pt x="1827603" y="1411985"/>
                </a:lnTo>
                <a:lnTo>
                  <a:pt x="1308591" y="1411985"/>
                </a:lnTo>
                <a:lnTo>
                  <a:pt x="676805" y="2091274"/>
                </a:lnTo>
                <a:lnTo>
                  <a:pt x="881419" y="1410753"/>
                </a:lnTo>
                <a:lnTo>
                  <a:pt x="498582" y="1410753"/>
                </a:lnTo>
                <a:lnTo>
                  <a:pt x="498582" y="60972"/>
                </a:lnTo>
                <a:lnTo>
                  <a:pt x="2089395" y="60972"/>
                </a:lnTo>
                <a:close/>
                <a:moveTo>
                  <a:pt x="2531874" y="2133498"/>
                </a:moveTo>
                <a:lnTo>
                  <a:pt x="2531874" y="2133498"/>
                </a:lnTo>
                <a:cubicBezTo>
                  <a:pt x="2516568" y="2133498"/>
                  <a:pt x="2500910" y="2135786"/>
                  <a:pt x="2483140" y="2135786"/>
                </a:cubicBezTo>
                <a:cubicBezTo>
                  <a:pt x="2459741" y="2135786"/>
                  <a:pt x="2441795" y="2135786"/>
                  <a:pt x="2424554" y="2135786"/>
                </a:cubicBezTo>
                <a:lnTo>
                  <a:pt x="2322863" y="2135786"/>
                </a:lnTo>
                <a:lnTo>
                  <a:pt x="2369838" y="1961609"/>
                </a:lnTo>
                <a:lnTo>
                  <a:pt x="2392005" y="1874872"/>
                </a:lnTo>
                <a:lnTo>
                  <a:pt x="2445666" y="1672546"/>
                </a:lnTo>
                <a:cubicBezTo>
                  <a:pt x="2469417" y="1672546"/>
                  <a:pt x="2492465" y="1671491"/>
                  <a:pt x="2514633" y="1671491"/>
                </a:cubicBezTo>
                <a:lnTo>
                  <a:pt x="2593452" y="1671491"/>
                </a:lnTo>
                <a:cubicBezTo>
                  <a:pt x="2728219" y="1671491"/>
                  <a:pt x="2813372" y="1679231"/>
                  <a:pt x="2844337" y="1722512"/>
                </a:cubicBezTo>
                <a:cubicBezTo>
                  <a:pt x="2867912" y="1755060"/>
                  <a:pt x="2865097" y="1811360"/>
                  <a:pt x="2837124" y="1896688"/>
                </a:cubicBezTo>
                <a:cubicBezTo>
                  <a:pt x="2788917" y="2043771"/>
                  <a:pt x="2728219" y="2118544"/>
                  <a:pt x="2532402" y="2133498"/>
                </a:cubicBezTo>
                <a:moveTo>
                  <a:pt x="3690941" y="2359928"/>
                </a:moveTo>
                <a:lnTo>
                  <a:pt x="3858432" y="1764736"/>
                </a:lnTo>
                <a:lnTo>
                  <a:pt x="3864414" y="2359928"/>
                </a:lnTo>
                <a:close/>
                <a:moveTo>
                  <a:pt x="3944641" y="1408466"/>
                </a:moveTo>
                <a:lnTo>
                  <a:pt x="3546674" y="1408466"/>
                </a:lnTo>
                <a:lnTo>
                  <a:pt x="3273445" y="2359928"/>
                </a:lnTo>
                <a:lnTo>
                  <a:pt x="2851198" y="2359928"/>
                </a:lnTo>
                <a:cubicBezTo>
                  <a:pt x="3066368" y="2280229"/>
                  <a:pt x="3197265" y="2128220"/>
                  <a:pt x="3238258" y="1902494"/>
                </a:cubicBezTo>
                <a:cubicBezTo>
                  <a:pt x="3271685" y="1726558"/>
                  <a:pt x="3255851" y="1611672"/>
                  <a:pt x="3184421" y="1525287"/>
                </a:cubicBezTo>
                <a:cubicBezTo>
                  <a:pt x="3077100" y="1396854"/>
                  <a:pt x="2861931" y="1407938"/>
                  <a:pt x="2671040" y="1407938"/>
                </a:cubicBezTo>
                <a:lnTo>
                  <a:pt x="2354355" y="1407938"/>
                </a:lnTo>
                <a:lnTo>
                  <a:pt x="2354355" y="60972"/>
                </a:lnTo>
                <a:lnTo>
                  <a:pt x="3944641" y="60972"/>
                </a:lnTo>
                <a:close/>
                <a:moveTo>
                  <a:pt x="4912289" y="2359928"/>
                </a:moveTo>
                <a:lnTo>
                  <a:pt x="4672136" y="2359928"/>
                </a:lnTo>
                <a:lnTo>
                  <a:pt x="5035444" y="1789543"/>
                </a:lnTo>
                <a:close/>
                <a:moveTo>
                  <a:pt x="5801470" y="1435208"/>
                </a:moveTo>
                <a:lnTo>
                  <a:pt x="5800414" y="1764736"/>
                </a:lnTo>
                <a:cubicBezTo>
                  <a:pt x="5701327" y="1901738"/>
                  <a:pt x="5629298" y="2056403"/>
                  <a:pt x="5588235" y="2220411"/>
                </a:cubicBezTo>
                <a:cubicBezTo>
                  <a:pt x="5576254" y="2266189"/>
                  <a:pt x="5567844" y="2312847"/>
                  <a:pt x="5563076" y="2359928"/>
                </a:cubicBezTo>
                <a:lnTo>
                  <a:pt x="5329081" y="2359928"/>
                </a:lnTo>
                <a:lnTo>
                  <a:pt x="5528065" y="1410753"/>
                </a:lnTo>
                <a:lnTo>
                  <a:pt x="4854758" y="1410753"/>
                </a:lnTo>
                <a:lnTo>
                  <a:pt x="4252177" y="2360808"/>
                </a:lnTo>
                <a:lnTo>
                  <a:pt x="4208545" y="2360808"/>
                </a:lnTo>
                <a:lnTo>
                  <a:pt x="4208545" y="60972"/>
                </a:lnTo>
                <a:lnTo>
                  <a:pt x="5800766" y="60972"/>
                </a:lnTo>
                <a:close/>
                <a:moveTo>
                  <a:pt x="6718976" y="2748219"/>
                </a:moveTo>
                <a:cubicBezTo>
                  <a:pt x="6630709" y="2765355"/>
                  <a:pt x="6541104" y="2774591"/>
                  <a:pt x="6451201" y="2775840"/>
                </a:cubicBezTo>
                <a:cubicBezTo>
                  <a:pt x="6221605" y="2775840"/>
                  <a:pt x="6061855" y="2669047"/>
                  <a:pt x="6058512" y="2420098"/>
                </a:cubicBezTo>
                <a:lnTo>
                  <a:pt x="6800434" y="2420098"/>
                </a:lnTo>
                <a:close/>
                <a:moveTo>
                  <a:pt x="7658650" y="2359928"/>
                </a:moveTo>
                <a:lnTo>
                  <a:pt x="7256988" y="2359928"/>
                </a:lnTo>
                <a:lnTo>
                  <a:pt x="7322612" y="2094616"/>
                </a:lnTo>
                <a:lnTo>
                  <a:pt x="6519816" y="2094616"/>
                </a:lnTo>
                <a:lnTo>
                  <a:pt x="6453664" y="2359928"/>
                </a:lnTo>
                <a:lnTo>
                  <a:pt x="6065374" y="2359928"/>
                </a:lnTo>
                <a:lnTo>
                  <a:pt x="6065374" y="2305388"/>
                </a:lnTo>
                <a:cubicBezTo>
                  <a:pt x="6071355" y="2275479"/>
                  <a:pt x="6076458" y="2244162"/>
                  <a:pt x="6084023" y="2210734"/>
                </a:cubicBezTo>
                <a:cubicBezTo>
                  <a:pt x="6154397" y="1924662"/>
                  <a:pt x="6342648" y="1642109"/>
                  <a:pt x="6667251" y="1642109"/>
                </a:cubicBezTo>
                <a:cubicBezTo>
                  <a:pt x="6795684" y="1642109"/>
                  <a:pt x="6923413" y="1691019"/>
                  <a:pt x="6905996" y="1868715"/>
                </a:cubicBezTo>
                <a:lnTo>
                  <a:pt x="7383838" y="1868715"/>
                </a:lnTo>
                <a:cubicBezTo>
                  <a:pt x="7402839" y="1785849"/>
                  <a:pt x="7434332" y="1644572"/>
                  <a:pt x="7344253" y="1514555"/>
                </a:cubicBezTo>
                <a:cubicBezTo>
                  <a:pt x="7242385" y="1373807"/>
                  <a:pt x="7037244" y="1316979"/>
                  <a:pt x="6770877" y="1316979"/>
                </a:cubicBezTo>
                <a:cubicBezTo>
                  <a:pt x="6581570" y="1316979"/>
                  <a:pt x="6304647" y="1347240"/>
                  <a:pt x="6065374" y="1503295"/>
                </a:cubicBezTo>
                <a:lnTo>
                  <a:pt x="6065374" y="60621"/>
                </a:lnTo>
                <a:lnTo>
                  <a:pt x="7657946" y="60621"/>
                </a:lnTo>
                <a:close/>
              </a:path>
            </a:pathLst>
          </a:custGeom>
          <a:solidFill>
            <a:schemeClr val="bg1"/>
          </a:solidFill>
          <a:ln w="17575" cap="flat">
            <a:noFill/>
            <a:prstDash val="solid"/>
            <a:miter/>
          </a:ln>
        </p:spPr>
        <p:txBody>
          <a:bodyPr rtlCol="0" anchor="ctr"/>
          <a:lstStyle/>
          <a:p>
            <a:endParaRPr lang="en-GB"/>
          </a:p>
        </p:txBody>
      </p:sp>
    </p:spTree>
    <p:extLst>
      <p:ext uri="{BB962C8B-B14F-4D97-AF65-F5344CB8AC3E}">
        <p14:creationId xmlns:p14="http://schemas.microsoft.com/office/powerpoint/2010/main" val="247255894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9_Divider 1">
    <p:bg>
      <p:bgPr>
        <a:gradFill>
          <a:gsLst>
            <a:gs pos="0">
              <a:srgbClr val="7213EA"/>
            </a:gs>
            <a:gs pos="100000">
              <a:srgbClr val="1F4AE3"/>
            </a:gs>
          </a:gsLst>
          <a:lin ang="0" scaled="0"/>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7CEC64B-CE8D-460F-96BD-260739B04F95}"/>
              </a:ext>
            </a:extLst>
          </p:cNvPr>
          <p:cNvPicPr>
            <a:picLocks noChangeAspect="1"/>
          </p:cNvPicPr>
          <p:nvPr userDrawn="1"/>
        </p:nvPicPr>
        <p:blipFill rotWithShape="1">
          <a:blip r:embed="rId2"/>
          <a:srcRect t="2612" b="11877"/>
          <a:stretch/>
        </p:blipFill>
        <p:spPr>
          <a:xfrm>
            <a:off x="0" y="0"/>
            <a:ext cx="12192000" cy="6858000"/>
          </a:xfrm>
          <a:prstGeom prst="rect">
            <a:avLst/>
          </a:prstGeom>
        </p:spPr>
      </p:pic>
      <p:sp>
        <p:nvSpPr>
          <p:cNvPr id="4" name="Graphic 6">
            <a:extLst>
              <a:ext uri="{FF2B5EF4-FFF2-40B4-BE49-F238E27FC236}">
                <a16:creationId xmlns:a16="http://schemas.microsoft.com/office/drawing/2014/main" id="{5DCCBBB1-89CB-435E-9D5C-4B62575E2D2A}"/>
              </a:ext>
            </a:extLst>
          </p:cNvPr>
          <p:cNvSpPr/>
          <p:nvPr userDrawn="1"/>
        </p:nvSpPr>
        <p:spPr>
          <a:xfrm>
            <a:off x="2234933" y="1882443"/>
            <a:ext cx="7718488" cy="3099991"/>
          </a:xfrm>
          <a:custGeom>
            <a:avLst/>
            <a:gdLst>
              <a:gd name="connsiteX0" fmla="*/ 6005027 w 7718488"/>
              <a:gd name="connsiteY0" fmla="*/ -77 h 3099991"/>
              <a:gd name="connsiteX1" fmla="*/ 6005027 w 7718488"/>
              <a:gd name="connsiteY1" fmla="*/ 1546752 h 3099991"/>
              <a:gd name="connsiteX2" fmla="*/ 5861992 w 7718488"/>
              <a:gd name="connsiteY2" fmla="*/ 1684334 h 3099991"/>
              <a:gd name="connsiteX3" fmla="*/ 5861992 w 7718488"/>
              <a:gd name="connsiteY3" fmla="*/ -77 h 3099991"/>
              <a:gd name="connsiteX4" fmla="*/ 4148727 w 7718488"/>
              <a:gd name="connsiteY4" fmla="*/ -77 h 3099991"/>
              <a:gd name="connsiteX5" fmla="*/ 4148727 w 7718488"/>
              <a:gd name="connsiteY5" fmla="*/ 1408466 h 3099991"/>
              <a:gd name="connsiteX6" fmla="*/ 4006746 w 7718488"/>
              <a:gd name="connsiteY6" fmla="*/ 1408466 h 3099991"/>
              <a:gd name="connsiteX7" fmla="*/ 4006746 w 7718488"/>
              <a:gd name="connsiteY7" fmla="*/ -77 h 3099991"/>
              <a:gd name="connsiteX8" fmla="*/ 2292953 w 7718488"/>
              <a:gd name="connsiteY8" fmla="*/ -77 h 3099991"/>
              <a:gd name="connsiteX9" fmla="*/ 2292953 w 7718488"/>
              <a:gd name="connsiteY9" fmla="*/ 1410753 h 3099991"/>
              <a:gd name="connsiteX10" fmla="*/ 2151149 w 7718488"/>
              <a:gd name="connsiteY10" fmla="*/ 1410753 h 3099991"/>
              <a:gd name="connsiteX11" fmla="*/ 2151149 w 7718488"/>
              <a:gd name="connsiteY11" fmla="*/ -77 h 3099991"/>
              <a:gd name="connsiteX12" fmla="*/ 437180 w 7718488"/>
              <a:gd name="connsiteY12" fmla="*/ -77 h 3099991"/>
              <a:gd name="connsiteX13" fmla="*/ 437180 w 7718488"/>
              <a:gd name="connsiteY13" fmla="*/ 1607802 h 3099991"/>
              <a:gd name="connsiteX14" fmla="*/ -21 w 7718488"/>
              <a:gd name="connsiteY14" fmla="*/ 3065783 h 3099991"/>
              <a:gd name="connsiteX15" fmla="*/ 384575 w 7718488"/>
              <a:gd name="connsiteY15" fmla="*/ 3065783 h 3099991"/>
              <a:gd name="connsiteX16" fmla="*/ 578105 w 7718488"/>
              <a:gd name="connsiteY16" fmla="*/ 2420098 h 3099991"/>
              <a:gd name="connsiteX17" fmla="*/ 633701 w 7718488"/>
              <a:gd name="connsiteY17" fmla="*/ 2420098 h 3099991"/>
              <a:gd name="connsiteX18" fmla="*/ 952673 w 7718488"/>
              <a:gd name="connsiteY18" fmla="*/ 3065783 h 3099991"/>
              <a:gd name="connsiteX19" fmla="*/ 1417144 w 7718488"/>
              <a:gd name="connsiteY19" fmla="*/ 3065783 h 3099991"/>
              <a:gd name="connsiteX20" fmla="*/ 1107496 w 7718488"/>
              <a:gd name="connsiteY20" fmla="*/ 2420098 h 3099991"/>
              <a:gd name="connsiteX21" fmla="*/ 1809657 w 7718488"/>
              <a:gd name="connsiteY21" fmla="*/ 2420098 h 3099991"/>
              <a:gd name="connsiteX22" fmla="*/ 1614896 w 7718488"/>
              <a:gd name="connsiteY22" fmla="*/ 3065783 h 3099991"/>
              <a:gd name="connsiteX23" fmla="*/ 2035207 w 7718488"/>
              <a:gd name="connsiteY23" fmla="*/ 3065783 h 3099991"/>
              <a:gd name="connsiteX24" fmla="*/ 2227329 w 7718488"/>
              <a:gd name="connsiteY24" fmla="*/ 2421857 h 3099991"/>
              <a:gd name="connsiteX25" fmla="*/ 2319696 w 7718488"/>
              <a:gd name="connsiteY25" fmla="*/ 2421857 h 3099991"/>
              <a:gd name="connsiteX26" fmla="*/ 2319696 w 7718488"/>
              <a:gd name="connsiteY26" fmla="*/ 2420098 h 3099991"/>
              <a:gd name="connsiteX27" fmla="*/ 3255324 w 7718488"/>
              <a:gd name="connsiteY27" fmla="*/ 2420098 h 3099991"/>
              <a:gd name="connsiteX28" fmla="*/ 3069711 w 7718488"/>
              <a:gd name="connsiteY28" fmla="*/ 3064024 h 3099991"/>
              <a:gd name="connsiteX29" fmla="*/ 3493541 w 7718488"/>
              <a:gd name="connsiteY29" fmla="*/ 3064024 h 3099991"/>
              <a:gd name="connsiteX30" fmla="*/ 3673172 w 7718488"/>
              <a:gd name="connsiteY30" fmla="*/ 2420098 h 3099991"/>
              <a:gd name="connsiteX31" fmla="*/ 3863886 w 7718488"/>
              <a:gd name="connsiteY31" fmla="*/ 2420098 h 3099991"/>
              <a:gd name="connsiteX32" fmla="*/ 3868988 w 7718488"/>
              <a:gd name="connsiteY32" fmla="*/ 3064024 h 3099991"/>
              <a:gd name="connsiteX33" fmla="*/ 4224555 w 7718488"/>
              <a:gd name="connsiteY33" fmla="*/ 3064024 h 3099991"/>
              <a:gd name="connsiteX34" fmla="*/ 4632375 w 7718488"/>
              <a:gd name="connsiteY34" fmla="*/ 2420098 h 3099991"/>
              <a:gd name="connsiteX35" fmla="*/ 4899445 w 7718488"/>
              <a:gd name="connsiteY35" fmla="*/ 2420098 h 3099991"/>
              <a:gd name="connsiteX36" fmla="*/ 4761688 w 7718488"/>
              <a:gd name="connsiteY36" fmla="*/ 3064024 h 3099991"/>
              <a:gd name="connsiteX37" fmla="*/ 5178832 w 7718488"/>
              <a:gd name="connsiteY37" fmla="*/ 3064024 h 3099991"/>
              <a:gd name="connsiteX38" fmla="*/ 5314303 w 7718488"/>
              <a:gd name="connsiteY38" fmla="*/ 2420098 h 3099991"/>
              <a:gd name="connsiteX39" fmla="*/ 5555511 w 7718488"/>
              <a:gd name="connsiteY39" fmla="*/ 2420098 h 3099991"/>
              <a:gd name="connsiteX40" fmla="*/ 5729336 w 7718488"/>
              <a:gd name="connsiteY40" fmla="*/ 2922923 h 3099991"/>
              <a:gd name="connsiteX41" fmla="*/ 6322944 w 7718488"/>
              <a:gd name="connsiteY41" fmla="*/ 3099914 h 3099991"/>
              <a:gd name="connsiteX42" fmla="*/ 7097942 w 7718488"/>
              <a:gd name="connsiteY42" fmla="*/ 3004733 h 3099991"/>
              <a:gd name="connsiteX43" fmla="*/ 7242385 w 7718488"/>
              <a:gd name="connsiteY43" fmla="*/ 2420098 h 3099991"/>
              <a:gd name="connsiteX44" fmla="*/ 7718468 w 7718488"/>
              <a:gd name="connsiteY44" fmla="*/ 2420098 h 3099991"/>
              <a:gd name="connsiteX45" fmla="*/ 7718468 w 7718488"/>
              <a:gd name="connsiteY45" fmla="*/ -77 h 3099991"/>
              <a:gd name="connsiteX46" fmla="*/ 2089395 w 7718488"/>
              <a:gd name="connsiteY46" fmla="*/ 1492915 h 3099991"/>
              <a:gd name="connsiteX47" fmla="*/ 2064413 w 7718488"/>
              <a:gd name="connsiteY47" fmla="*/ 1575429 h 3099991"/>
              <a:gd name="connsiteX48" fmla="*/ 1836575 w 7718488"/>
              <a:gd name="connsiteY48" fmla="*/ 2333889 h 3099991"/>
              <a:gd name="connsiteX49" fmla="*/ 1827603 w 7718488"/>
              <a:gd name="connsiteY49" fmla="*/ 2360808 h 3099991"/>
              <a:gd name="connsiteX50" fmla="*/ 1078291 w 7718488"/>
              <a:gd name="connsiteY50" fmla="*/ 2360808 h 3099991"/>
              <a:gd name="connsiteX51" fmla="*/ 1019704 w 7718488"/>
              <a:gd name="connsiteY51" fmla="*/ 2237652 h 3099991"/>
              <a:gd name="connsiteX52" fmla="*/ 1827603 w 7718488"/>
              <a:gd name="connsiteY52" fmla="*/ 1411985 h 3099991"/>
              <a:gd name="connsiteX53" fmla="*/ 1308591 w 7718488"/>
              <a:gd name="connsiteY53" fmla="*/ 1411985 h 3099991"/>
              <a:gd name="connsiteX54" fmla="*/ 676805 w 7718488"/>
              <a:gd name="connsiteY54" fmla="*/ 2091274 h 3099991"/>
              <a:gd name="connsiteX55" fmla="*/ 881419 w 7718488"/>
              <a:gd name="connsiteY55" fmla="*/ 1410753 h 3099991"/>
              <a:gd name="connsiteX56" fmla="*/ 498582 w 7718488"/>
              <a:gd name="connsiteY56" fmla="*/ 1410753 h 3099991"/>
              <a:gd name="connsiteX57" fmla="*/ 498582 w 7718488"/>
              <a:gd name="connsiteY57" fmla="*/ 60972 h 3099991"/>
              <a:gd name="connsiteX58" fmla="*/ 2089395 w 7718488"/>
              <a:gd name="connsiteY58" fmla="*/ 60972 h 3099991"/>
              <a:gd name="connsiteX59" fmla="*/ 2531874 w 7718488"/>
              <a:gd name="connsiteY59" fmla="*/ 2133498 h 3099991"/>
              <a:gd name="connsiteX60" fmla="*/ 2531874 w 7718488"/>
              <a:gd name="connsiteY60" fmla="*/ 2133498 h 3099991"/>
              <a:gd name="connsiteX61" fmla="*/ 2483140 w 7718488"/>
              <a:gd name="connsiteY61" fmla="*/ 2135786 h 3099991"/>
              <a:gd name="connsiteX62" fmla="*/ 2424554 w 7718488"/>
              <a:gd name="connsiteY62" fmla="*/ 2135786 h 3099991"/>
              <a:gd name="connsiteX63" fmla="*/ 2322863 w 7718488"/>
              <a:gd name="connsiteY63" fmla="*/ 2135786 h 3099991"/>
              <a:gd name="connsiteX64" fmla="*/ 2369838 w 7718488"/>
              <a:gd name="connsiteY64" fmla="*/ 1961609 h 3099991"/>
              <a:gd name="connsiteX65" fmla="*/ 2392005 w 7718488"/>
              <a:gd name="connsiteY65" fmla="*/ 1874872 h 3099991"/>
              <a:gd name="connsiteX66" fmla="*/ 2445666 w 7718488"/>
              <a:gd name="connsiteY66" fmla="*/ 1672546 h 3099991"/>
              <a:gd name="connsiteX67" fmla="*/ 2514633 w 7718488"/>
              <a:gd name="connsiteY67" fmla="*/ 1671491 h 3099991"/>
              <a:gd name="connsiteX68" fmla="*/ 2593452 w 7718488"/>
              <a:gd name="connsiteY68" fmla="*/ 1671491 h 3099991"/>
              <a:gd name="connsiteX69" fmla="*/ 2844337 w 7718488"/>
              <a:gd name="connsiteY69" fmla="*/ 1722512 h 3099991"/>
              <a:gd name="connsiteX70" fmla="*/ 2837124 w 7718488"/>
              <a:gd name="connsiteY70" fmla="*/ 1896688 h 3099991"/>
              <a:gd name="connsiteX71" fmla="*/ 2532402 w 7718488"/>
              <a:gd name="connsiteY71" fmla="*/ 2133498 h 3099991"/>
              <a:gd name="connsiteX72" fmla="*/ 3690941 w 7718488"/>
              <a:gd name="connsiteY72" fmla="*/ 2359928 h 3099991"/>
              <a:gd name="connsiteX73" fmla="*/ 3858432 w 7718488"/>
              <a:gd name="connsiteY73" fmla="*/ 1764736 h 3099991"/>
              <a:gd name="connsiteX74" fmla="*/ 3864414 w 7718488"/>
              <a:gd name="connsiteY74" fmla="*/ 2359928 h 3099991"/>
              <a:gd name="connsiteX75" fmla="*/ 3944641 w 7718488"/>
              <a:gd name="connsiteY75" fmla="*/ 1408466 h 3099991"/>
              <a:gd name="connsiteX76" fmla="*/ 3546674 w 7718488"/>
              <a:gd name="connsiteY76" fmla="*/ 1408466 h 3099991"/>
              <a:gd name="connsiteX77" fmla="*/ 3273445 w 7718488"/>
              <a:gd name="connsiteY77" fmla="*/ 2359928 h 3099991"/>
              <a:gd name="connsiteX78" fmla="*/ 2851198 w 7718488"/>
              <a:gd name="connsiteY78" fmla="*/ 2359928 h 3099991"/>
              <a:gd name="connsiteX79" fmla="*/ 3238258 w 7718488"/>
              <a:gd name="connsiteY79" fmla="*/ 1902494 h 3099991"/>
              <a:gd name="connsiteX80" fmla="*/ 3184421 w 7718488"/>
              <a:gd name="connsiteY80" fmla="*/ 1525287 h 3099991"/>
              <a:gd name="connsiteX81" fmla="*/ 2671040 w 7718488"/>
              <a:gd name="connsiteY81" fmla="*/ 1407938 h 3099991"/>
              <a:gd name="connsiteX82" fmla="*/ 2354355 w 7718488"/>
              <a:gd name="connsiteY82" fmla="*/ 1407938 h 3099991"/>
              <a:gd name="connsiteX83" fmla="*/ 2354355 w 7718488"/>
              <a:gd name="connsiteY83" fmla="*/ 60972 h 3099991"/>
              <a:gd name="connsiteX84" fmla="*/ 3944641 w 7718488"/>
              <a:gd name="connsiteY84" fmla="*/ 60972 h 3099991"/>
              <a:gd name="connsiteX85" fmla="*/ 4912289 w 7718488"/>
              <a:gd name="connsiteY85" fmla="*/ 2359928 h 3099991"/>
              <a:gd name="connsiteX86" fmla="*/ 4672136 w 7718488"/>
              <a:gd name="connsiteY86" fmla="*/ 2359928 h 3099991"/>
              <a:gd name="connsiteX87" fmla="*/ 5035444 w 7718488"/>
              <a:gd name="connsiteY87" fmla="*/ 1789543 h 3099991"/>
              <a:gd name="connsiteX88" fmla="*/ 5801470 w 7718488"/>
              <a:gd name="connsiteY88" fmla="*/ 1435208 h 3099991"/>
              <a:gd name="connsiteX89" fmla="*/ 5800414 w 7718488"/>
              <a:gd name="connsiteY89" fmla="*/ 1764736 h 3099991"/>
              <a:gd name="connsiteX90" fmla="*/ 5588235 w 7718488"/>
              <a:gd name="connsiteY90" fmla="*/ 2220411 h 3099991"/>
              <a:gd name="connsiteX91" fmla="*/ 5563076 w 7718488"/>
              <a:gd name="connsiteY91" fmla="*/ 2359928 h 3099991"/>
              <a:gd name="connsiteX92" fmla="*/ 5329081 w 7718488"/>
              <a:gd name="connsiteY92" fmla="*/ 2359928 h 3099991"/>
              <a:gd name="connsiteX93" fmla="*/ 5528065 w 7718488"/>
              <a:gd name="connsiteY93" fmla="*/ 1410753 h 3099991"/>
              <a:gd name="connsiteX94" fmla="*/ 4854758 w 7718488"/>
              <a:gd name="connsiteY94" fmla="*/ 1410753 h 3099991"/>
              <a:gd name="connsiteX95" fmla="*/ 4252177 w 7718488"/>
              <a:gd name="connsiteY95" fmla="*/ 2360808 h 3099991"/>
              <a:gd name="connsiteX96" fmla="*/ 4208545 w 7718488"/>
              <a:gd name="connsiteY96" fmla="*/ 2360808 h 3099991"/>
              <a:gd name="connsiteX97" fmla="*/ 4208545 w 7718488"/>
              <a:gd name="connsiteY97" fmla="*/ 60972 h 3099991"/>
              <a:gd name="connsiteX98" fmla="*/ 5800766 w 7718488"/>
              <a:gd name="connsiteY98" fmla="*/ 60972 h 3099991"/>
              <a:gd name="connsiteX99" fmla="*/ 6718976 w 7718488"/>
              <a:gd name="connsiteY99" fmla="*/ 2748219 h 3099991"/>
              <a:gd name="connsiteX100" fmla="*/ 6451201 w 7718488"/>
              <a:gd name="connsiteY100" fmla="*/ 2775840 h 3099991"/>
              <a:gd name="connsiteX101" fmla="*/ 6058512 w 7718488"/>
              <a:gd name="connsiteY101" fmla="*/ 2420098 h 3099991"/>
              <a:gd name="connsiteX102" fmla="*/ 6800434 w 7718488"/>
              <a:gd name="connsiteY102" fmla="*/ 2420098 h 3099991"/>
              <a:gd name="connsiteX103" fmla="*/ 7658650 w 7718488"/>
              <a:gd name="connsiteY103" fmla="*/ 2359928 h 3099991"/>
              <a:gd name="connsiteX104" fmla="*/ 7256988 w 7718488"/>
              <a:gd name="connsiteY104" fmla="*/ 2359928 h 3099991"/>
              <a:gd name="connsiteX105" fmla="*/ 7322612 w 7718488"/>
              <a:gd name="connsiteY105" fmla="*/ 2094616 h 3099991"/>
              <a:gd name="connsiteX106" fmla="*/ 6519816 w 7718488"/>
              <a:gd name="connsiteY106" fmla="*/ 2094616 h 3099991"/>
              <a:gd name="connsiteX107" fmla="*/ 6453664 w 7718488"/>
              <a:gd name="connsiteY107" fmla="*/ 2359928 h 3099991"/>
              <a:gd name="connsiteX108" fmla="*/ 6065374 w 7718488"/>
              <a:gd name="connsiteY108" fmla="*/ 2359928 h 3099991"/>
              <a:gd name="connsiteX109" fmla="*/ 6065374 w 7718488"/>
              <a:gd name="connsiteY109" fmla="*/ 2305388 h 3099991"/>
              <a:gd name="connsiteX110" fmla="*/ 6084023 w 7718488"/>
              <a:gd name="connsiteY110" fmla="*/ 2210734 h 3099991"/>
              <a:gd name="connsiteX111" fmla="*/ 6667251 w 7718488"/>
              <a:gd name="connsiteY111" fmla="*/ 1642109 h 3099991"/>
              <a:gd name="connsiteX112" fmla="*/ 6905996 w 7718488"/>
              <a:gd name="connsiteY112" fmla="*/ 1868715 h 3099991"/>
              <a:gd name="connsiteX113" fmla="*/ 7383838 w 7718488"/>
              <a:gd name="connsiteY113" fmla="*/ 1868715 h 3099991"/>
              <a:gd name="connsiteX114" fmla="*/ 7344253 w 7718488"/>
              <a:gd name="connsiteY114" fmla="*/ 1514555 h 3099991"/>
              <a:gd name="connsiteX115" fmla="*/ 6770877 w 7718488"/>
              <a:gd name="connsiteY115" fmla="*/ 1316979 h 3099991"/>
              <a:gd name="connsiteX116" fmla="*/ 6065374 w 7718488"/>
              <a:gd name="connsiteY116" fmla="*/ 1503295 h 3099991"/>
              <a:gd name="connsiteX117" fmla="*/ 6065374 w 7718488"/>
              <a:gd name="connsiteY117" fmla="*/ 60621 h 3099991"/>
              <a:gd name="connsiteX118" fmla="*/ 7657946 w 7718488"/>
              <a:gd name="connsiteY118" fmla="*/ 60621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7718488" h="3099991">
                <a:moveTo>
                  <a:pt x="6005027" y="-77"/>
                </a:moveTo>
                <a:lnTo>
                  <a:pt x="6005027" y="1546752"/>
                </a:lnTo>
                <a:cubicBezTo>
                  <a:pt x="5953197" y="1588097"/>
                  <a:pt x="5905324" y="1634157"/>
                  <a:pt x="5861992" y="1684334"/>
                </a:cubicBezTo>
                <a:lnTo>
                  <a:pt x="5861992" y="-77"/>
                </a:lnTo>
                <a:lnTo>
                  <a:pt x="4148727" y="-77"/>
                </a:lnTo>
                <a:lnTo>
                  <a:pt x="4148727" y="1408466"/>
                </a:lnTo>
                <a:lnTo>
                  <a:pt x="4006746" y="1408466"/>
                </a:lnTo>
                <a:lnTo>
                  <a:pt x="4006746" y="-77"/>
                </a:lnTo>
                <a:lnTo>
                  <a:pt x="2292953" y="-77"/>
                </a:lnTo>
                <a:lnTo>
                  <a:pt x="2292953" y="1410753"/>
                </a:lnTo>
                <a:lnTo>
                  <a:pt x="2151149" y="1410753"/>
                </a:lnTo>
                <a:lnTo>
                  <a:pt x="2151149" y="-77"/>
                </a:lnTo>
                <a:lnTo>
                  <a:pt x="437180" y="-77"/>
                </a:lnTo>
                <a:lnTo>
                  <a:pt x="437180" y="1607802"/>
                </a:lnTo>
                <a:lnTo>
                  <a:pt x="-21" y="3065783"/>
                </a:lnTo>
                <a:lnTo>
                  <a:pt x="384575" y="3065783"/>
                </a:lnTo>
                <a:lnTo>
                  <a:pt x="578105" y="2420098"/>
                </a:lnTo>
                <a:lnTo>
                  <a:pt x="633701" y="2420098"/>
                </a:lnTo>
                <a:lnTo>
                  <a:pt x="952673" y="3065783"/>
                </a:lnTo>
                <a:lnTo>
                  <a:pt x="1417144" y="3065783"/>
                </a:lnTo>
                <a:lnTo>
                  <a:pt x="1107496" y="2420098"/>
                </a:lnTo>
                <a:lnTo>
                  <a:pt x="1809657" y="2420098"/>
                </a:lnTo>
                <a:lnTo>
                  <a:pt x="1614896" y="3065783"/>
                </a:lnTo>
                <a:lnTo>
                  <a:pt x="2035207" y="3065783"/>
                </a:lnTo>
                <a:lnTo>
                  <a:pt x="2227329" y="2421857"/>
                </a:lnTo>
                <a:lnTo>
                  <a:pt x="2319696" y="2421857"/>
                </a:lnTo>
                <a:lnTo>
                  <a:pt x="2319696" y="2420098"/>
                </a:lnTo>
                <a:lnTo>
                  <a:pt x="3255324" y="2420098"/>
                </a:lnTo>
                <a:lnTo>
                  <a:pt x="3069711" y="3064024"/>
                </a:lnTo>
                <a:lnTo>
                  <a:pt x="3493541" y="3064024"/>
                </a:lnTo>
                <a:lnTo>
                  <a:pt x="3673172" y="2420098"/>
                </a:lnTo>
                <a:lnTo>
                  <a:pt x="3863886" y="2420098"/>
                </a:lnTo>
                <a:lnTo>
                  <a:pt x="3868988" y="3064024"/>
                </a:lnTo>
                <a:lnTo>
                  <a:pt x="4224555" y="3064024"/>
                </a:lnTo>
                <a:lnTo>
                  <a:pt x="4632375" y="2420098"/>
                </a:lnTo>
                <a:lnTo>
                  <a:pt x="4899445" y="2420098"/>
                </a:lnTo>
                <a:lnTo>
                  <a:pt x="4761688" y="3064024"/>
                </a:lnTo>
                <a:lnTo>
                  <a:pt x="5178832" y="3064024"/>
                </a:lnTo>
                <a:lnTo>
                  <a:pt x="5314303" y="2420098"/>
                </a:lnTo>
                <a:lnTo>
                  <a:pt x="5555511" y="2420098"/>
                </a:lnTo>
                <a:cubicBezTo>
                  <a:pt x="5546010" y="2619609"/>
                  <a:pt x="5597032" y="2800999"/>
                  <a:pt x="5729336" y="2922923"/>
                </a:cubicBezTo>
                <a:cubicBezTo>
                  <a:pt x="5891197" y="3071413"/>
                  <a:pt x="6139091" y="3099914"/>
                  <a:pt x="6322944" y="3099914"/>
                </a:cubicBezTo>
                <a:cubicBezTo>
                  <a:pt x="6583998" y="3096836"/>
                  <a:pt x="6843908" y="3064903"/>
                  <a:pt x="7097942" y="3004733"/>
                </a:cubicBezTo>
                <a:lnTo>
                  <a:pt x="7242385" y="2420098"/>
                </a:lnTo>
                <a:lnTo>
                  <a:pt x="7718468" y="2420098"/>
                </a:lnTo>
                <a:lnTo>
                  <a:pt x="7718468" y="-77"/>
                </a:lnTo>
                <a:close/>
                <a:moveTo>
                  <a:pt x="2089395" y="1492915"/>
                </a:moveTo>
                <a:lnTo>
                  <a:pt x="2064413" y="1575429"/>
                </a:lnTo>
                <a:lnTo>
                  <a:pt x="1836575" y="2333889"/>
                </a:lnTo>
                <a:lnTo>
                  <a:pt x="1827603" y="2360808"/>
                </a:lnTo>
                <a:lnTo>
                  <a:pt x="1078291" y="2360808"/>
                </a:lnTo>
                <a:lnTo>
                  <a:pt x="1019704" y="2237652"/>
                </a:lnTo>
                <a:lnTo>
                  <a:pt x="1827603" y="1411985"/>
                </a:lnTo>
                <a:lnTo>
                  <a:pt x="1308591" y="1411985"/>
                </a:lnTo>
                <a:lnTo>
                  <a:pt x="676805" y="2091274"/>
                </a:lnTo>
                <a:lnTo>
                  <a:pt x="881419" y="1410753"/>
                </a:lnTo>
                <a:lnTo>
                  <a:pt x="498582" y="1410753"/>
                </a:lnTo>
                <a:lnTo>
                  <a:pt x="498582" y="60972"/>
                </a:lnTo>
                <a:lnTo>
                  <a:pt x="2089395" y="60972"/>
                </a:lnTo>
                <a:close/>
                <a:moveTo>
                  <a:pt x="2531874" y="2133498"/>
                </a:moveTo>
                <a:lnTo>
                  <a:pt x="2531874" y="2133498"/>
                </a:lnTo>
                <a:cubicBezTo>
                  <a:pt x="2516568" y="2133498"/>
                  <a:pt x="2500910" y="2135786"/>
                  <a:pt x="2483140" y="2135786"/>
                </a:cubicBezTo>
                <a:cubicBezTo>
                  <a:pt x="2459741" y="2135786"/>
                  <a:pt x="2441795" y="2135786"/>
                  <a:pt x="2424554" y="2135786"/>
                </a:cubicBezTo>
                <a:lnTo>
                  <a:pt x="2322863" y="2135786"/>
                </a:lnTo>
                <a:lnTo>
                  <a:pt x="2369838" y="1961609"/>
                </a:lnTo>
                <a:lnTo>
                  <a:pt x="2392005" y="1874872"/>
                </a:lnTo>
                <a:lnTo>
                  <a:pt x="2445666" y="1672546"/>
                </a:lnTo>
                <a:cubicBezTo>
                  <a:pt x="2469417" y="1672546"/>
                  <a:pt x="2492465" y="1671491"/>
                  <a:pt x="2514633" y="1671491"/>
                </a:cubicBezTo>
                <a:lnTo>
                  <a:pt x="2593452" y="1671491"/>
                </a:lnTo>
                <a:cubicBezTo>
                  <a:pt x="2728219" y="1671491"/>
                  <a:pt x="2813372" y="1679231"/>
                  <a:pt x="2844337" y="1722512"/>
                </a:cubicBezTo>
                <a:cubicBezTo>
                  <a:pt x="2867912" y="1755060"/>
                  <a:pt x="2865097" y="1811360"/>
                  <a:pt x="2837124" y="1896688"/>
                </a:cubicBezTo>
                <a:cubicBezTo>
                  <a:pt x="2788917" y="2043771"/>
                  <a:pt x="2728219" y="2118544"/>
                  <a:pt x="2532402" y="2133498"/>
                </a:cubicBezTo>
                <a:moveTo>
                  <a:pt x="3690941" y="2359928"/>
                </a:moveTo>
                <a:lnTo>
                  <a:pt x="3858432" y="1764736"/>
                </a:lnTo>
                <a:lnTo>
                  <a:pt x="3864414" y="2359928"/>
                </a:lnTo>
                <a:close/>
                <a:moveTo>
                  <a:pt x="3944641" y="1408466"/>
                </a:moveTo>
                <a:lnTo>
                  <a:pt x="3546674" y="1408466"/>
                </a:lnTo>
                <a:lnTo>
                  <a:pt x="3273445" y="2359928"/>
                </a:lnTo>
                <a:lnTo>
                  <a:pt x="2851198" y="2359928"/>
                </a:lnTo>
                <a:cubicBezTo>
                  <a:pt x="3066368" y="2280229"/>
                  <a:pt x="3197265" y="2128220"/>
                  <a:pt x="3238258" y="1902494"/>
                </a:cubicBezTo>
                <a:cubicBezTo>
                  <a:pt x="3271685" y="1726558"/>
                  <a:pt x="3255851" y="1611672"/>
                  <a:pt x="3184421" y="1525287"/>
                </a:cubicBezTo>
                <a:cubicBezTo>
                  <a:pt x="3077100" y="1396854"/>
                  <a:pt x="2861931" y="1407938"/>
                  <a:pt x="2671040" y="1407938"/>
                </a:cubicBezTo>
                <a:lnTo>
                  <a:pt x="2354355" y="1407938"/>
                </a:lnTo>
                <a:lnTo>
                  <a:pt x="2354355" y="60972"/>
                </a:lnTo>
                <a:lnTo>
                  <a:pt x="3944641" y="60972"/>
                </a:lnTo>
                <a:close/>
                <a:moveTo>
                  <a:pt x="4912289" y="2359928"/>
                </a:moveTo>
                <a:lnTo>
                  <a:pt x="4672136" y="2359928"/>
                </a:lnTo>
                <a:lnTo>
                  <a:pt x="5035444" y="1789543"/>
                </a:lnTo>
                <a:close/>
                <a:moveTo>
                  <a:pt x="5801470" y="1435208"/>
                </a:moveTo>
                <a:lnTo>
                  <a:pt x="5800414" y="1764736"/>
                </a:lnTo>
                <a:cubicBezTo>
                  <a:pt x="5701327" y="1901738"/>
                  <a:pt x="5629298" y="2056403"/>
                  <a:pt x="5588235" y="2220411"/>
                </a:cubicBezTo>
                <a:cubicBezTo>
                  <a:pt x="5576254" y="2266189"/>
                  <a:pt x="5567844" y="2312847"/>
                  <a:pt x="5563076" y="2359928"/>
                </a:cubicBezTo>
                <a:lnTo>
                  <a:pt x="5329081" y="2359928"/>
                </a:lnTo>
                <a:lnTo>
                  <a:pt x="5528065" y="1410753"/>
                </a:lnTo>
                <a:lnTo>
                  <a:pt x="4854758" y="1410753"/>
                </a:lnTo>
                <a:lnTo>
                  <a:pt x="4252177" y="2360808"/>
                </a:lnTo>
                <a:lnTo>
                  <a:pt x="4208545" y="2360808"/>
                </a:lnTo>
                <a:lnTo>
                  <a:pt x="4208545" y="60972"/>
                </a:lnTo>
                <a:lnTo>
                  <a:pt x="5800766" y="60972"/>
                </a:lnTo>
                <a:close/>
                <a:moveTo>
                  <a:pt x="6718976" y="2748219"/>
                </a:moveTo>
                <a:cubicBezTo>
                  <a:pt x="6630709" y="2765355"/>
                  <a:pt x="6541104" y="2774591"/>
                  <a:pt x="6451201" y="2775840"/>
                </a:cubicBezTo>
                <a:cubicBezTo>
                  <a:pt x="6221605" y="2775840"/>
                  <a:pt x="6061855" y="2669047"/>
                  <a:pt x="6058512" y="2420098"/>
                </a:cubicBezTo>
                <a:lnTo>
                  <a:pt x="6800434" y="2420098"/>
                </a:lnTo>
                <a:close/>
                <a:moveTo>
                  <a:pt x="7658650" y="2359928"/>
                </a:moveTo>
                <a:lnTo>
                  <a:pt x="7256988" y="2359928"/>
                </a:lnTo>
                <a:lnTo>
                  <a:pt x="7322612" y="2094616"/>
                </a:lnTo>
                <a:lnTo>
                  <a:pt x="6519816" y="2094616"/>
                </a:lnTo>
                <a:lnTo>
                  <a:pt x="6453664" y="2359928"/>
                </a:lnTo>
                <a:lnTo>
                  <a:pt x="6065374" y="2359928"/>
                </a:lnTo>
                <a:lnTo>
                  <a:pt x="6065374" y="2305388"/>
                </a:lnTo>
                <a:cubicBezTo>
                  <a:pt x="6071355" y="2275479"/>
                  <a:pt x="6076458" y="2244162"/>
                  <a:pt x="6084023" y="2210734"/>
                </a:cubicBezTo>
                <a:cubicBezTo>
                  <a:pt x="6154397" y="1924662"/>
                  <a:pt x="6342648" y="1642109"/>
                  <a:pt x="6667251" y="1642109"/>
                </a:cubicBezTo>
                <a:cubicBezTo>
                  <a:pt x="6795684" y="1642109"/>
                  <a:pt x="6923413" y="1691019"/>
                  <a:pt x="6905996" y="1868715"/>
                </a:cubicBezTo>
                <a:lnTo>
                  <a:pt x="7383838" y="1868715"/>
                </a:lnTo>
                <a:cubicBezTo>
                  <a:pt x="7402839" y="1785849"/>
                  <a:pt x="7434332" y="1644572"/>
                  <a:pt x="7344253" y="1514555"/>
                </a:cubicBezTo>
                <a:cubicBezTo>
                  <a:pt x="7242385" y="1373807"/>
                  <a:pt x="7037244" y="1316979"/>
                  <a:pt x="6770877" y="1316979"/>
                </a:cubicBezTo>
                <a:cubicBezTo>
                  <a:pt x="6581570" y="1316979"/>
                  <a:pt x="6304647" y="1347240"/>
                  <a:pt x="6065374" y="1503295"/>
                </a:cubicBezTo>
                <a:lnTo>
                  <a:pt x="6065374" y="60621"/>
                </a:lnTo>
                <a:lnTo>
                  <a:pt x="7657946" y="60621"/>
                </a:lnTo>
                <a:close/>
              </a:path>
            </a:pathLst>
          </a:custGeom>
          <a:solidFill>
            <a:srgbClr val="4835F3"/>
          </a:solidFill>
          <a:ln w="17575" cap="flat">
            <a:noFill/>
            <a:prstDash val="solid"/>
            <a:miter/>
          </a:ln>
        </p:spPr>
        <p:txBody>
          <a:bodyPr rtlCol="0" anchor="ctr"/>
          <a:lstStyle/>
          <a:p>
            <a:endParaRPr lang="en-GB"/>
          </a:p>
        </p:txBody>
      </p:sp>
    </p:spTree>
    <p:extLst>
      <p:ext uri="{BB962C8B-B14F-4D97-AF65-F5344CB8AC3E}">
        <p14:creationId xmlns:p14="http://schemas.microsoft.com/office/powerpoint/2010/main" val="58774987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20_Divider 1">
    <p:bg>
      <p:bgPr>
        <a:gradFill>
          <a:gsLst>
            <a:gs pos="0">
              <a:schemeClr val="accent4"/>
            </a:gs>
            <a:gs pos="100000">
              <a:srgbClr val="76D2FF"/>
            </a:gs>
          </a:gsLst>
          <a:lin ang="0" scaled="0"/>
        </a:gradFill>
        <a:effectLst/>
      </p:bgPr>
    </p:bg>
    <p:spTree>
      <p:nvGrpSpPr>
        <p:cNvPr id="1" name=""/>
        <p:cNvGrpSpPr/>
        <p:nvPr/>
      </p:nvGrpSpPr>
      <p:grpSpPr>
        <a:xfrm>
          <a:off x="0" y="0"/>
          <a:ext cx="0" cy="0"/>
          <a:chOff x="0" y="0"/>
          <a:chExt cx="0" cy="0"/>
        </a:xfrm>
      </p:grpSpPr>
      <p:sp>
        <p:nvSpPr>
          <p:cNvPr id="5" name="Graphic 6">
            <a:extLst>
              <a:ext uri="{FF2B5EF4-FFF2-40B4-BE49-F238E27FC236}">
                <a16:creationId xmlns:a16="http://schemas.microsoft.com/office/drawing/2014/main" id="{1FD68B59-056A-488B-8317-2175CDFC4683}"/>
              </a:ext>
            </a:extLst>
          </p:cNvPr>
          <p:cNvSpPr/>
          <p:nvPr userDrawn="1"/>
        </p:nvSpPr>
        <p:spPr>
          <a:xfrm>
            <a:off x="2234933" y="1882443"/>
            <a:ext cx="7718488" cy="3099991"/>
          </a:xfrm>
          <a:custGeom>
            <a:avLst/>
            <a:gdLst>
              <a:gd name="connsiteX0" fmla="*/ 6005027 w 7718488"/>
              <a:gd name="connsiteY0" fmla="*/ -77 h 3099991"/>
              <a:gd name="connsiteX1" fmla="*/ 6005027 w 7718488"/>
              <a:gd name="connsiteY1" fmla="*/ 1546752 h 3099991"/>
              <a:gd name="connsiteX2" fmla="*/ 5861992 w 7718488"/>
              <a:gd name="connsiteY2" fmla="*/ 1684334 h 3099991"/>
              <a:gd name="connsiteX3" fmla="*/ 5861992 w 7718488"/>
              <a:gd name="connsiteY3" fmla="*/ -77 h 3099991"/>
              <a:gd name="connsiteX4" fmla="*/ 4148727 w 7718488"/>
              <a:gd name="connsiteY4" fmla="*/ -77 h 3099991"/>
              <a:gd name="connsiteX5" fmla="*/ 4148727 w 7718488"/>
              <a:gd name="connsiteY5" fmla="*/ 1408466 h 3099991"/>
              <a:gd name="connsiteX6" fmla="*/ 4006746 w 7718488"/>
              <a:gd name="connsiteY6" fmla="*/ 1408466 h 3099991"/>
              <a:gd name="connsiteX7" fmla="*/ 4006746 w 7718488"/>
              <a:gd name="connsiteY7" fmla="*/ -77 h 3099991"/>
              <a:gd name="connsiteX8" fmla="*/ 2292953 w 7718488"/>
              <a:gd name="connsiteY8" fmla="*/ -77 h 3099991"/>
              <a:gd name="connsiteX9" fmla="*/ 2292953 w 7718488"/>
              <a:gd name="connsiteY9" fmla="*/ 1410753 h 3099991"/>
              <a:gd name="connsiteX10" fmla="*/ 2151149 w 7718488"/>
              <a:gd name="connsiteY10" fmla="*/ 1410753 h 3099991"/>
              <a:gd name="connsiteX11" fmla="*/ 2151149 w 7718488"/>
              <a:gd name="connsiteY11" fmla="*/ -77 h 3099991"/>
              <a:gd name="connsiteX12" fmla="*/ 437180 w 7718488"/>
              <a:gd name="connsiteY12" fmla="*/ -77 h 3099991"/>
              <a:gd name="connsiteX13" fmla="*/ 437180 w 7718488"/>
              <a:gd name="connsiteY13" fmla="*/ 1607802 h 3099991"/>
              <a:gd name="connsiteX14" fmla="*/ -21 w 7718488"/>
              <a:gd name="connsiteY14" fmla="*/ 3065783 h 3099991"/>
              <a:gd name="connsiteX15" fmla="*/ 384575 w 7718488"/>
              <a:gd name="connsiteY15" fmla="*/ 3065783 h 3099991"/>
              <a:gd name="connsiteX16" fmla="*/ 578105 w 7718488"/>
              <a:gd name="connsiteY16" fmla="*/ 2420098 h 3099991"/>
              <a:gd name="connsiteX17" fmla="*/ 633701 w 7718488"/>
              <a:gd name="connsiteY17" fmla="*/ 2420098 h 3099991"/>
              <a:gd name="connsiteX18" fmla="*/ 952673 w 7718488"/>
              <a:gd name="connsiteY18" fmla="*/ 3065783 h 3099991"/>
              <a:gd name="connsiteX19" fmla="*/ 1417144 w 7718488"/>
              <a:gd name="connsiteY19" fmla="*/ 3065783 h 3099991"/>
              <a:gd name="connsiteX20" fmla="*/ 1107496 w 7718488"/>
              <a:gd name="connsiteY20" fmla="*/ 2420098 h 3099991"/>
              <a:gd name="connsiteX21" fmla="*/ 1809657 w 7718488"/>
              <a:gd name="connsiteY21" fmla="*/ 2420098 h 3099991"/>
              <a:gd name="connsiteX22" fmla="*/ 1614896 w 7718488"/>
              <a:gd name="connsiteY22" fmla="*/ 3065783 h 3099991"/>
              <a:gd name="connsiteX23" fmla="*/ 2035207 w 7718488"/>
              <a:gd name="connsiteY23" fmla="*/ 3065783 h 3099991"/>
              <a:gd name="connsiteX24" fmla="*/ 2227329 w 7718488"/>
              <a:gd name="connsiteY24" fmla="*/ 2421857 h 3099991"/>
              <a:gd name="connsiteX25" fmla="*/ 2319696 w 7718488"/>
              <a:gd name="connsiteY25" fmla="*/ 2421857 h 3099991"/>
              <a:gd name="connsiteX26" fmla="*/ 2319696 w 7718488"/>
              <a:gd name="connsiteY26" fmla="*/ 2420098 h 3099991"/>
              <a:gd name="connsiteX27" fmla="*/ 3255324 w 7718488"/>
              <a:gd name="connsiteY27" fmla="*/ 2420098 h 3099991"/>
              <a:gd name="connsiteX28" fmla="*/ 3069711 w 7718488"/>
              <a:gd name="connsiteY28" fmla="*/ 3064024 h 3099991"/>
              <a:gd name="connsiteX29" fmla="*/ 3493541 w 7718488"/>
              <a:gd name="connsiteY29" fmla="*/ 3064024 h 3099991"/>
              <a:gd name="connsiteX30" fmla="*/ 3673172 w 7718488"/>
              <a:gd name="connsiteY30" fmla="*/ 2420098 h 3099991"/>
              <a:gd name="connsiteX31" fmla="*/ 3863886 w 7718488"/>
              <a:gd name="connsiteY31" fmla="*/ 2420098 h 3099991"/>
              <a:gd name="connsiteX32" fmla="*/ 3868988 w 7718488"/>
              <a:gd name="connsiteY32" fmla="*/ 3064024 h 3099991"/>
              <a:gd name="connsiteX33" fmla="*/ 4224555 w 7718488"/>
              <a:gd name="connsiteY33" fmla="*/ 3064024 h 3099991"/>
              <a:gd name="connsiteX34" fmla="*/ 4632375 w 7718488"/>
              <a:gd name="connsiteY34" fmla="*/ 2420098 h 3099991"/>
              <a:gd name="connsiteX35" fmla="*/ 4899445 w 7718488"/>
              <a:gd name="connsiteY35" fmla="*/ 2420098 h 3099991"/>
              <a:gd name="connsiteX36" fmla="*/ 4761688 w 7718488"/>
              <a:gd name="connsiteY36" fmla="*/ 3064024 h 3099991"/>
              <a:gd name="connsiteX37" fmla="*/ 5178832 w 7718488"/>
              <a:gd name="connsiteY37" fmla="*/ 3064024 h 3099991"/>
              <a:gd name="connsiteX38" fmla="*/ 5314303 w 7718488"/>
              <a:gd name="connsiteY38" fmla="*/ 2420098 h 3099991"/>
              <a:gd name="connsiteX39" fmla="*/ 5555511 w 7718488"/>
              <a:gd name="connsiteY39" fmla="*/ 2420098 h 3099991"/>
              <a:gd name="connsiteX40" fmla="*/ 5729336 w 7718488"/>
              <a:gd name="connsiteY40" fmla="*/ 2922923 h 3099991"/>
              <a:gd name="connsiteX41" fmla="*/ 6322944 w 7718488"/>
              <a:gd name="connsiteY41" fmla="*/ 3099914 h 3099991"/>
              <a:gd name="connsiteX42" fmla="*/ 7097942 w 7718488"/>
              <a:gd name="connsiteY42" fmla="*/ 3004733 h 3099991"/>
              <a:gd name="connsiteX43" fmla="*/ 7242385 w 7718488"/>
              <a:gd name="connsiteY43" fmla="*/ 2420098 h 3099991"/>
              <a:gd name="connsiteX44" fmla="*/ 7718468 w 7718488"/>
              <a:gd name="connsiteY44" fmla="*/ 2420098 h 3099991"/>
              <a:gd name="connsiteX45" fmla="*/ 7718468 w 7718488"/>
              <a:gd name="connsiteY45" fmla="*/ -77 h 3099991"/>
              <a:gd name="connsiteX46" fmla="*/ 2089395 w 7718488"/>
              <a:gd name="connsiteY46" fmla="*/ 1492915 h 3099991"/>
              <a:gd name="connsiteX47" fmla="*/ 2064413 w 7718488"/>
              <a:gd name="connsiteY47" fmla="*/ 1575429 h 3099991"/>
              <a:gd name="connsiteX48" fmla="*/ 1836575 w 7718488"/>
              <a:gd name="connsiteY48" fmla="*/ 2333889 h 3099991"/>
              <a:gd name="connsiteX49" fmla="*/ 1827603 w 7718488"/>
              <a:gd name="connsiteY49" fmla="*/ 2360808 h 3099991"/>
              <a:gd name="connsiteX50" fmla="*/ 1078291 w 7718488"/>
              <a:gd name="connsiteY50" fmla="*/ 2360808 h 3099991"/>
              <a:gd name="connsiteX51" fmla="*/ 1019704 w 7718488"/>
              <a:gd name="connsiteY51" fmla="*/ 2237652 h 3099991"/>
              <a:gd name="connsiteX52" fmla="*/ 1827603 w 7718488"/>
              <a:gd name="connsiteY52" fmla="*/ 1411985 h 3099991"/>
              <a:gd name="connsiteX53" fmla="*/ 1308591 w 7718488"/>
              <a:gd name="connsiteY53" fmla="*/ 1411985 h 3099991"/>
              <a:gd name="connsiteX54" fmla="*/ 676805 w 7718488"/>
              <a:gd name="connsiteY54" fmla="*/ 2091274 h 3099991"/>
              <a:gd name="connsiteX55" fmla="*/ 881419 w 7718488"/>
              <a:gd name="connsiteY55" fmla="*/ 1410753 h 3099991"/>
              <a:gd name="connsiteX56" fmla="*/ 498582 w 7718488"/>
              <a:gd name="connsiteY56" fmla="*/ 1410753 h 3099991"/>
              <a:gd name="connsiteX57" fmla="*/ 498582 w 7718488"/>
              <a:gd name="connsiteY57" fmla="*/ 60972 h 3099991"/>
              <a:gd name="connsiteX58" fmla="*/ 2089395 w 7718488"/>
              <a:gd name="connsiteY58" fmla="*/ 60972 h 3099991"/>
              <a:gd name="connsiteX59" fmla="*/ 2531874 w 7718488"/>
              <a:gd name="connsiteY59" fmla="*/ 2133498 h 3099991"/>
              <a:gd name="connsiteX60" fmla="*/ 2531874 w 7718488"/>
              <a:gd name="connsiteY60" fmla="*/ 2133498 h 3099991"/>
              <a:gd name="connsiteX61" fmla="*/ 2483140 w 7718488"/>
              <a:gd name="connsiteY61" fmla="*/ 2135786 h 3099991"/>
              <a:gd name="connsiteX62" fmla="*/ 2424554 w 7718488"/>
              <a:gd name="connsiteY62" fmla="*/ 2135786 h 3099991"/>
              <a:gd name="connsiteX63" fmla="*/ 2322863 w 7718488"/>
              <a:gd name="connsiteY63" fmla="*/ 2135786 h 3099991"/>
              <a:gd name="connsiteX64" fmla="*/ 2369838 w 7718488"/>
              <a:gd name="connsiteY64" fmla="*/ 1961609 h 3099991"/>
              <a:gd name="connsiteX65" fmla="*/ 2392005 w 7718488"/>
              <a:gd name="connsiteY65" fmla="*/ 1874872 h 3099991"/>
              <a:gd name="connsiteX66" fmla="*/ 2445666 w 7718488"/>
              <a:gd name="connsiteY66" fmla="*/ 1672546 h 3099991"/>
              <a:gd name="connsiteX67" fmla="*/ 2514633 w 7718488"/>
              <a:gd name="connsiteY67" fmla="*/ 1671491 h 3099991"/>
              <a:gd name="connsiteX68" fmla="*/ 2593452 w 7718488"/>
              <a:gd name="connsiteY68" fmla="*/ 1671491 h 3099991"/>
              <a:gd name="connsiteX69" fmla="*/ 2844337 w 7718488"/>
              <a:gd name="connsiteY69" fmla="*/ 1722512 h 3099991"/>
              <a:gd name="connsiteX70" fmla="*/ 2837124 w 7718488"/>
              <a:gd name="connsiteY70" fmla="*/ 1896688 h 3099991"/>
              <a:gd name="connsiteX71" fmla="*/ 2532402 w 7718488"/>
              <a:gd name="connsiteY71" fmla="*/ 2133498 h 3099991"/>
              <a:gd name="connsiteX72" fmla="*/ 3690941 w 7718488"/>
              <a:gd name="connsiteY72" fmla="*/ 2359928 h 3099991"/>
              <a:gd name="connsiteX73" fmla="*/ 3858432 w 7718488"/>
              <a:gd name="connsiteY73" fmla="*/ 1764736 h 3099991"/>
              <a:gd name="connsiteX74" fmla="*/ 3864414 w 7718488"/>
              <a:gd name="connsiteY74" fmla="*/ 2359928 h 3099991"/>
              <a:gd name="connsiteX75" fmla="*/ 3944641 w 7718488"/>
              <a:gd name="connsiteY75" fmla="*/ 1408466 h 3099991"/>
              <a:gd name="connsiteX76" fmla="*/ 3546674 w 7718488"/>
              <a:gd name="connsiteY76" fmla="*/ 1408466 h 3099991"/>
              <a:gd name="connsiteX77" fmla="*/ 3273445 w 7718488"/>
              <a:gd name="connsiteY77" fmla="*/ 2359928 h 3099991"/>
              <a:gd name="connsiteX78" fmla="*/ 2851198 w 7718488"/>
              <a:gd name="connsiteY78" fmla="*/ 2359928 h 3099991"/>
              <a:gd name="connsiteX79" fmla="*/ 3238258 w 7718488"/>
              <a:gd name="connsiteY79" fmla="*/ 1902494 h 3099991"/>
              <a:gd name="connsiteX80" fmla="*/ 3184421 w 7718488"/>
              <a:gd name="connsiteY80" fmla="*/ 1525287 h 3099991"/>
              <a:gd name="connsiteX81" fmla="*/ 2671040 w 7718488"/>
              <a:gd name="connsiteY81" fmla="*/ 1407938 h 3099991"/>
              <a:gd name="connsiteX82" fmla="*/ 2354355 w 7718488"/>
              <a:gd name="connsiteY82" fmla="*/ 1407938 h 3099991"/>
              <a:gd name="connsiteX83" fmla="*/ 2354355 w 7718488"/>
              <a:gd name="connsiteY83" fmla="*/ 60972 h 3099991"/>
              <a:gd name="connsiteX84" fmla="*/ 3944641 w 7718488"/>
              <a:gd name="connsiteY84" fmla="*/ 60972 h 3099991"/>
              <a:gd name="connsiteX85" fmla="*/ 4912289 w 7718488"/>
              <a:gd name="connsiteY85" fmla="*/ 2359928 h 3099991"/>
              <a:gd name="connsiteX86" fmla="*/ 4672136 w 7718488"/>
              <a:gd name="connsiteY86" fmla="*/ 2359928 h 3099991"/>
              <a:gd name="connsiteX87" fmla="*/ 5035444 w 7718488"/>
              <a:gd name="connsiteY87" fmla="*/ 1789543 h 3099991"/>
              <a:gd name="connsiteX88" fmla="*/ 5801470 w 7718488"/>
              <a:gd name="connsiteY88" fmla="*/ 1435208 h 3099991"/>
              <a:gd name="connsiteX89" fmla="*/ 5800414 w 7718488"/>
              <a:gd name="connsiteY89" fmla="*/ 1764736 h 3099991"/>
              <a:gd name="connsiteX90" fmla="*/ 5588235 w 7718488"/>
              <a:gd name="connsiteY90" fmla="*/ 2220411 h 3099991"/>
              <a:gd name="connsiteX91" fmla="*/ 5563076 w 7718488"/>
              <a:gd name="connsiteY91" fmla="*/ 2359928 h 3099991"/>
              <a:gd name="connsiteX92" fmla="*/ 5329081 w 7718488"/>
              <a:gd name="connsiteY92" fmla="*/ 2359928 h 3099991"/>
              <a:gd name="connsiteX93" fmla="*/ 5528065 w 7718488"/>
              <a:gd name="connsiteY93" fmla="*/ 1410753 h 3099991"/>
              <a:gd name="connsiteX94" fmla="*/ 4854758 w 7718488"/>
              <a:gd name="connsiteY94" fmla="*/ 1410753 h 3099991"/>
              <a:gd name="connsiteX95" fmla="*/ 4252177 w 7718488"/>
              <a:gd name="connsiteY95" fmla="*/ 2360808 h 3099991"/>
              <a:gd name="connsiteX96" fmla="*/ 4208545 w 7718488"/>
              <a:gd name="connsiteY96" fmla="*/ 2360808 h 3099991"/>
              <a:gd name="connsiteX97" fmla="*/ 4208545 w 7718488"/>
              <a:gd name="connsiteY97" fmla="*/ 60972 h 3099991"/>
              <a:gd name="connsiteX98" fmla="*/ 5800766 w 7718488"/>
              <a:gd name="connsiteY98" fmla="*/ 60972 h 3099991"/>
              <a:gd name="connsiteX99" fmla="*/ 6718976 w 7718488"/>
              <a:gd name="connsiteY99" fmla="*/ 2748219 h 3099991"/>
              <a:gd name="connsiteX100" fmla="*/ 6451201 w 7718488"/>
              <a:gd name="connsiteY100" fmla="*/ 2775840 h 3099991"/>
              <a:gd name="connsiteX101" fmla="*/ 6058512 w 7718488"/>
              <a:gd name="connsiteY101" fmla="*/ 2420098 h 3099991"/>
              <a:gd name="connsiteX102" fmla="*/ 6800434 w 7718488"/>
              <a:gd name="connsiteY102" fmla="*/ 2420098 h 3099991"/>
              <a:gd name="connsiteX103" fmla="*/ 7658650 w 7718488"/>
              <a:gd name="connsiteY103" fmla="*/ 2359928 h 3099991"/>
              <a:gd name="connsiteX104" fmla="*/ 7256988 w 7718488"/>
              <a:gd name="connsiteY104" fmla="*/ 2359928 h 3099991"/>
              <a:gd name="connsiteX105" fmla="*/ 7322612 w 7718488"/>
              <a:gd name="connsiteY105" fmla="*/ 2094616 h 3099991"/>
              <a:gd name="connsiteX106" fmla="*/ 6519816 w 7718488"/>
              <a:gd name="connsiteY106" fmla="*/ 2094616 h 3099991"/>
              <a:gd name="connsiteX107" fmla="*/ 6453664 w 7718488"/>
              <a:gd name="connsiteY107" fmla="*/ 2359928 h 3099991"/>
              <a:gd name="connsiteX108" fmla="*/ 6065374 w 7718488"/>
              <a:gd name="connsiteY108" fmla="*/ 2359928 h 3099991"/>
              <a:gd name="connsiteX109" fmla="*/ 6065374 w 7718488"/>
              <a:gd name="connsiteY109" fmla="*/ 2305388 h 3099991"/>
              <a:gd name="connsiteX110" fmla="*/ 6084023 w 7718488"/>
              <a:gd name="connsiteY110" fmla="*/ 2210734 h 3099991"/>
              <a:gd name="connsiteX111" fmla="*/ 6667251 w 7718488"/>
              <a:gd name="connsiteY111" fmla="*/ 1642109 h 3099991"/>
              <a:gd name="connsiteX112" fmla="*/ 6905996 w 7718488"/>
              <a:gd name="connsiteY112" fmla="*/ 1868715 h 3099991"/>
              <a:gd name="connsiteX113" fmla="*/ 7383838 w 7718488"/>
              <a:gd name="connsiteY113" fmla="*/ 1868715 h 3099991"/>
              <a:gd name="connsiteX114" fmla="*/ 7344253 w 7718488"/>
              <a:gd name="connsiteY114" fmla="*/ 1514555 h 3099991"/>
              <a:gd name="connsiteX115" fmla="*/ 6770877 w 7718488"/>
              <a:gd name="connsiteY115" fmla="*/ 1316979 h 3099991"/>
              <a:gd name="connsiteX116" fmla="*/ 6065374 w 7718488"/>
              <a:gd name="connsiteY116" fmla="*/ 1503295 h 3099991"/>
              <a:gd name="connsiteX117" fmla="*/ 6065374 w 7718488"/>
              <a:gd name="connsiteY117" fmla="*/ 60621 h 3099991"/>
              <a:gd name="connsiteX118" fmla="*/ 7657946 w 7718488"/>
              <a:gd name="connsiteY118" fmla="*/ 60621 h 309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7718488" h="3099991">
                <a:moveTo>
                  <a:pt x="6005027" y="-77"/>
                </a:moveTo>
                <a:lnTo>
                  <a:pt x="6005027" y="1546752"/>
                </a:lnTo>
                <a:cubicBezTo>
                  <a:pt x="5953197" y="1588097"/>
                  <a:pt x="5905324" y="1634157"/>
                  <a:pt x="5861992" y="1684334"/>
                </a:cubicBezTo>
                <a:lnTo>
                  <a:pt x="5861992" y="-77"/>
                </a:lnTo>
                <a:lnTo>
                  <a:pt x="4148727" y="-77"/>
                </a:lnTo>
                <a:lnTo>
                  <a:pt x="4148727" y="1408466"/>
                </a:lnTo>
                <a:lnTo>
                  <a:pt x="4006746" y="1408466"/>
                </a:lnTo>
                <a:lnTo>
                  <a:pt x="4006746" y="-77"/>
                </a:lnTo>
                <a:lnTo>
                  <a:pt x="2292953" y="-77"/>
                </a:lnTo>
                <a:lnTo>
                  <a:pt x="2292953" y="1410753"/>
                </a:lnTo>
                <a:lnTo>
                  <a:pt x="2151149" y="1410753"/>
                </a:lnTo>
                <a:lnTo>
                  <a:pt x="2151149" y="-77"/>
                </a:lnTo>
                <a:lnTo>
                  <a:pt x="437180" y="-77"/>
                </a:lnTo>
                <a:lnTo>
                  <a:pt x="437180" y="1607802"/>
                </a:lnTo>
                <a:lnTo>
                  <a:pt x="-21" y="3065783"/>
                </a:lnTo>
                <a:lnTo>
                  <a:pt x="384575" y="3065783"/>
                </a:lnTo>
                <a:lnTo>
                  <a:pt x="578105" y="2420098"/>
                </a:lnTo>
                <a:lnTo>
                  <a:pt x="633701" y="2420098"/>
                </a:lnTo>
                <a:lnTo>
                  <a:pt x="952673" y="3065783"/>
                </a:lnTo>
                <a:lnTo>
                  <a:pt x="1417144" y="3065783"/>
                </a:lnTo>
                <a:lnTo>
                  <a:pt x="1107496" y="2420098"/>
                </a:lnTo>
                <a:lnTo>
                  <a:pt x="1809657" y="2420098"/>
                </a:lnTo>
                <a:lnTo>
                  <a:pt x="1614896" y="3065783"/>
                </a:lnTo>
                <a:lnTo>
                  <a:pt x="2035207" y="3065783"/>
                </a:lnTo>
                <a:lnTo>
                  <a:pt x="2227329" y="2421857"/>
                </a:lnTo>
                <a:lnTo>
                  <a:pt x="2319696" y="2421857"/>
                </a:lnTo>
                <a:lnTo>
                  <a:pt x="2319696" y="2420098"/>
                </a:lnTo>
                <a:lnTo>
                  <a:pt x="3255324" y="2420098"/>
                </a:lnTo>
                <a:lnTo>
                  <a:pt x="3069711" y="3064024"/>
                </a:lnTo>
                <a:lnTo>
                  <a:pt x="3493541" y="3064024"/>
                </a:lnTo>
                <a:lnTo>
                  <a:pt x="3673172" y="2420098"/>
                </a:lnTo>
                <a:lnTo>
                  <a:pt x="3863886" y="2420098"/>
                </a:lnTo>
                <a:lnTo>
                  <a:pt x="3868988" y="3064024"/>
                </a:lnTo>
                <a:lnTo>
                  <a:pt x="4224555" y="3064024"/>
                </a:lnTo>
                <a:lnTo>
                  <a:pt x="4632375" y="2420098"/>
                </a:lnTo>
                <a:lnTo>
                  <a:pt x="4899445" y="2420098"/>
                </a:lnTo>
                <a:lnTo>
                  <a:pt x="4761688" y="3064024"/>
                </a:lnTo>
                <a:lnTo>
                  <a:pt x="5178832" y="3064024"/>
                </a:lnTo>
                <a:lnTo>
                  <a:pt x="5314303" y="2420098"/>
                </a:lnTo>
                <a:lnTo>
                  <a:pt x="5555511" y="2420098"/>
                </a:lnTo>
                <a:cubicBezTo>
                  <a:pt x="5546010" y="2619609"/>
                  <a:pt x="5597032" y="2800999"/>
                  <a:pt x="5729336" y="2922923"/>
                </a:cubicBezTo>
                <a:cubicBezTo>
                  <a:pt x="5891197" y="3071413"/>
                  <a:pt x="6139091" y="3099914"/>
                  <a:pt x="6322944" y="3099914"/>
                </a:cubicBezTo>
                <a:cubicBezTo>
                  <a:pt x="6583998" y="3096836"/>
                  <a:pt x="6843908" y="3064903"/>
                  <a:pt x="7097942" y="3004733"/>
                </a:cubicBezTo>
                <a:lnTo>
                  <a:pt x="7242385" y="2420098"/>
                </a:lnTo>
                <a:lnTo>
                  <a:pt x="7718468" y="2420098"/>
                </a:lnTo>
                <a:lnTo>
                  <a:pt x="7718468" y="-77"/>
                </a:lnTo>
                <a:close/>
                <a:moveTo>
                  <a:pt x="2089395" y="1492915"/>
                </a:moveTo>
                <a:lnTo>
                  <a:pt x="2064413" y="1575429"/>
                </a:lnTo>
                <a:lnTo>
                  <a:pt x="1836575" y="2333889"/>
                </a:lnTo>
                <a:lnTo>
                  <a:pt x="1827603" y="2360808"/>
                </a:lnTo>
                <a:lnTo>
                  <a:pt x="1078291" y="2360808"/>
                </a:lnTo>
                <a:lnTo>
                  <a:pt x="1019704" y="2237652"/>
                </a:lnTo>
                <a:lnTo>
                  <a:pt x="1827603" y="1411985"/>
                </a:lnTo>
                <a:lnTo>
                  <a:pt x="1308591" y="1411985"/>
                </a:lnTo>
                <a:lnTo>
                  <a:pt x="676805" y="2091274"/>
                </a:lnTo>
                <a:lnTo>
                  <a:pt x="881419" y="1410753"/>
                </a:lnTo>
                <a:lnTo>
                  <a:pt x="498582" y="1410753"/>
                </a:lnTo>
                <a:lnTo>
                  <a:pt x="498582" y="60972"/>
                </a:lnTo>
                <a:lnTo>
                  <a:pt x="2089395" y="60972"/>
                </a:lnTo>
                <a:close/>
                <a:moveTo>
                  <a:pt x="2531874" y="2133498"/>
                </a:moveTo>
                <a:lnTo>
                  <a:pt x="2531874" y="2133498"/>
                </a:lnTo>
                <a:cubicBezTo>
                  <a:pt x="2516568" y="2133498"/>
                  <a:pt x="2500910" y="2135786"/>
                  <a:pt x="2483140" y="2135786"/>
                </a:cubicBezTo>
                <a:cubicBezTo>
                  <a:pt x="2459741" y="2135786"/>
                  <a:pt x="2441795" y="2135786"/>
                  <a:pt x="2424554" y="2135786"/>
                </a:cubicBezTo>
                <a:lnTo>
                  <a:pt x="2322863" y="2135786"/>
                </a:lnTo>
                <a:lnTo>
                  <a:pt x="2369838" y="1961609"/>
                </a:lnTo>
                <a:lnTo>
                  <a:pt x="2392005" y="1874872"/>
                </a:lnTo>
                <a:lnTo>
                  <a:pt x="2445666" y="1672546"/>
                </a:lnTo>
                <a:cubicBezTo>
                  <a:pt x="2469417" y="1672546"/>
                  <a:pt x="2492465" y="1671491"/>
                  <a:pt x="2514633" y="1671491"/>
                </a:cubicBezTo>
                <a:lnTo>
                  <a:pt x="2593452" y="1671491"/>
                </a:lnTo>
                <a:cubicBezTo>
                  <a:pt x="2728219" y="1671491"/>
                  <a:pt x="2813372" y="1679231"/>
                  <a:pt x="2844337" y="1722512"/>
                </a:cubicBezTo>
                <a:cubicBezTo>
                  <a:pt x="2867912" y="1755060"/>
                  <a:pt x="2865097" y="1811360"/>
                  <a:pt x="2837124" y="1896688"/>
                </a:cubicBezTo>
                <a:cubicBezTo>
                  <a:pt x="2788917" y="2043771"/>
                  <a:pt x="2728219" y="2118544"/>
                  <a:pt x="2532402" y="2133498"/>
                </a:cubicBezTo>
                <a:moveTo>
                  <a:pt x="3690941" y="2359928"/>
                </a:moveTo>
                <a:lnTo>
                  <a:pt x="3858432" y="1764736"/>
                </a:lnTo>
                <a:lnTo>
                  <a:pt x="3864414" y="2359928"/>
                </a:lnTo>
                <a:close/>
                <a:moveTo>
                  <a:pt x="3944641" y="1408466"/>
                </a:moveTo>
                <a:lnTo>
                  <a:pt x="3546674" y="1408466"/>
                </a:lnTo>
                <a:lnTo>
                  <a:pt x="3273445" y="2359928"/>
                </a:lnTo>
                <a:lnTo>
                  <a:pt x="2851198" y="2359928"/>
                </a:lnTo>
                <a:cubicBezTo>
                  <a:pt x="3066368" y="2280229"/>
                  <a:pt x="3197265" y="2128220"/>
                  <a:pt x="3238258" y="1902494"/>
                </a:cubicBezTo>
                <a:cubicBezTo>
                  <a:pt x="3271685" y="1726558"/>
                  <a:pt x="3255851" y="1611672"/>
                  <a:pt x="3184421" y="1525287"/>
                </a:cubicBezTo>
                <a:cubicBezTo>
                  <a:pt x="3077100" y="1396854"/>
                  <a:pt x="2861931" y="1407938"/>
                  <a:pt x="2671040" y="1407938"/>
                </a:cubicBezTo>
                <a:lnTo>
                  <a:pt x="2354355" y="1407938"/>
                </a:lnTo>
                <a:lnTo>
                  <a:pt x="2354355" y="60972"/>
                </a:lnTo>
                <a:lnTo>
                  <a:pt x="3944641" y="60972"/>
                </a:lnTo>
                <a:close/>
                <a:moveTo>
                  <a:pt x="4912289" y="2359928"/>
                </a:moveTo>
                <a:lnTo>
                  <a:pt x="4672136" y="2359928"/>
                </a:lnTo>
                <a:lnTo>
                  <a:pt x="5035444" y="1789543"/>
                </a:lnTo>
                <a:close/>
                <a:moveTo>
                  <a:pt x="5801470" y="1435208"/>
                </a:moveTo>
                <a:lnTo>
                  <a:pt x="5800414" y="1764736"/>
                </a:lnTo>
                <a:cubicBezTo>
                  <a:pt x="5701327" y="1901738"/>
                  <a:pt x="5629298" y="2056403"/>
                  <a:pt x="5588235" y="2220411"/>
                </a:cubicBezTo>
                <a:cubicBezTo>
                  <a:pt x="5576254" y="2266189"/>
                  <a:pt x="5567844" y="2312847"/>
                  <a:pt x="5563076" y="2359928"/>
                </a:cubicBezTo>
                <a:lnTo>
                  <a:pt x="5329081" y="2359928"/>
                </a:lnTo>
                <a:lnTo>
                  <a:pt x="5528065" y="1410753"/>
                </a:lnTo>
                <a:lnTo>
                  <a:pt x="4854758" y="1410753"/>
                </a:lnTo>
                <a:lnTo>
                  <a:pt x="4252177" y="2360808"/>
                </a:lnTo>
                <a:lnTo>
                  <a:pt x="4208545" y="2360808"/>
                </a:lnTo>
                <a:lnTo>
                  <a:pt x="4208545" y="60972"/>
                </a:lnTo>
                <a:lnTo>
                  <a:pt x="5800766" y="60972"/>
                </a:lnTo>
                <a:close/>
                <a:moveTo>
                  <a:pt x="6718976" y="2748219"/>
                </a:moveTo>
                <a:cubicBezTo>
                  <a:pt x="6630709" y="2765355"/>
                  <a:pt x="6541104" y="2774591"/>
                  <a:pt x="6451201" y="2775840"/>
                </a:cubicBezTo>
                <a:cubicBezTo>
                  <a:pt x="6221605" y="2775840"/>
                  <a:pt x="6061855" y="2669047"/>
                  <a:pt x="6058512" y="2420098"/>
                </a:cubicBezTo>
                <a:lnTo>
                  <a:pt x="6800434" y="2420098"/>
                </a:lnTo>
                <a:close/>
                <a:moveTo>
                  <a:pt x="7658650" y="2359928"/>
                </a:moveTo>
                <a:lnTo>
                  <a:pt x="7256988" y="2359928"/>
                </a:lnTo>
                <a:lnTo>
                  <a:pt x="7322612" y="2094616"/>
                </a:lnTo>
                <a:lnTo>
                  <a:pt x="6519816" y="2094616"/>
                </a:lnTo>
                <a:lnTo>
                  <a:pt x="6453664" y="2359928"/>
                </a:lnTo>
                <a:lnTo>
                  <a:pt x="6065374" y="2359928"/>
                </a:lnTo>
                <a:lnTo>
                  <a:pt x="6065374" y="2305388"/>
                </a:lnTo>
                <a:cubicBezTo>
                  <a:pt x="6071355" y="2275479"/>
                  <a:pt x="6076458" y="2244162"/>
                  <a:pt x="6084023" y="2210734"/>
                </a:cubicBezTo>
                <a:cubicBezTo>
                  <a:pt x="6154397" y="1924662"/>
                  <a:pt x="6342648" y="1642109"/>
                  <a:pt x="6667251" y="1642109"/>
                </a:cubicBezTo>
                <a:cubicBezTo>
                  <a:pt x="6795684" y="1642109"/>
                  <a:pt x="6923413" y="1691019"/>
                  <a:pt x="6905996" y="1868715"/>
                </a:cubicBezTo>
                <a:lnTo>
                  <a:pt x="7383838" y="1868715"/>
                </a:lnTo>
                <a:cubicBezTo>
                  <a:pt x="7402839" y="1785849"/>
                  <a:pt x="7434332" y="1644572"/>
                  <a:pt x="7344253" y="1514555"/>
                </a:cubicBezTo>
                <a:cubicBezTo>
                  <a:pt x="7242385" y="1373807"/>
                  <a:pt x="7037244" y="1316979"/>
                  <a:pt x="6770877" y="1316979"/>
                </a:cubicBezTo>
                <a:cubicBezTo>
                  <a:pt x="6581570" y="1316979"/>
                  <a:pt x="6304647" y="1347240"/>
                  <a:pt x="6065374" y="1503295"/>
                </a:cubicBezTo>
                <a:lnTo>
                  <a:pt x="6065374" y="60621"/>
                </a:lnTo>
                <a:lnTo>
                  <a:pt x="7657946" y="60621"/>
                </a:lnTo>
                <a:close/>
              </a:path>
            </a:pathLst>
          </a:custGeom>
          <a:solidFill>
            <a:schemeClr val="accent2"/>
          </a:solidFill>
          <a:ln w="17575" cap="flat">
            <a:noFill/>
            <a:prstDash val="solid"/>
            <a:miter/>
          </a:ln>
        </p:spPr>
        <p:txBody>
          <a:bodyPr rtlCol="0" anchor="ctr"/>
          <a:lstStyle/>
          <a:p>
            <a:endParaRPr lang="en-GB"/>
          </a:p>
        </p:txBody>
      </p:sp>
    </p:spTree>
    <p:extLst>
      <p:ext uri="{BB962C8B-B14F-4D97-AF65-F5344CB8AC3E}">
        <p14:creationId xmlns:p14="http://schemas.microsoft.com/office/powerpoint/2010/main" val="307071329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Back Cover dark Gradient">
    <p:bg>
      <p:bgPr>
        <a:gradFill>
          <a:gsLst>
            <a:gs pos="100000">
              <a:schemeClr val="accent1"/>
            </a:gs>
            <a:gs pos="0">
              <a:schemeClr val="accent5"/>
            </a:gs>
          </a:gsLst>
          <a:lin ang="0" scaled="0"/>
        </a:gradFill>
        <a:effectLst/>
      </p:bgPr>
    </p:bg>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935A1578-15A7-4FE7-8BC2-3ADC725AE7D4}"/>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98476" y="371311"/>
            <a:ext cx="914400" cy="368346"/>
          </a:xfrm>
          <a:prstGeom prst="rect">
            <a:avLst/>
          </a:prstGeom>
        </p:spPr>
      </p:pic>
      <p:grpSp>
        <p:nvGrpSpPr>
          <p:cNvPr id="22" name="Group 21">
            <a:extLst>
              <a:ext uri="{FF2B5EF4-FFF2-40B4-BE49-F238E27FC236}">
                <a16:creationId xmlns:a16="http://schemas.microsoft.com/office/drawing/2014/main" id="{58C6F2B2-33A0-4BA9-B1CC-56BBBBC3DAF7}"/>
              </a:ext>
              <a:ext uri="{C183D7F6-B498-43B3-948B-1728B52AA6E4}">
                <adec:decorative xmlns:adec="http://schemas.microsoft.com/office/drawing/2017/decorative" val="1"/>
              </a:ext>
            </a:extLst>
          </p:cNvPr>
          <p:cNvGrpSpPr/>
          <p:nvPr userDrawn="1"/>
        </p:nvGrpSpPr>
        <p:grpSpPr>
          <a:xfrm>
            <a:off x="998476" y="2520454"/>
            <a:ext cx="1199119" cy="377730"/>
            <a:chOff x="998476" y="2872145"/>
            <a:chExt cx="1199119" cy="377730"/>
          </a:xfrm>
        </p:grpSpPr>
        <p:sp>
          <p:nvSpPr>
            <p:cNvPr id="23" name="Rectangle 22">
              <a:extLst>
                <a:ext uri="{FF2B5EF4-FFF2-40B4-BE49-F238E27FC236}">
                  <a16:creationId xmlns:a16="http://schemas.microsoft.com/office/drawing/2014/main" id="{583CCCD9-08BC-4C7E-BC3C-26B23A768EF4}"/>
                </a:ext>
              </a:extLst>
            </p:cNvPr>
            <p:cNvSpPr/>
            <p:nvPr userDrawn="1"/>
          </p:nvSpPr>
          <p:spPr>
            <a:xfrm>
              <a:off x="1865195"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24" name="Rectangle 23">
              <a:extLst>
                <a:ext uri="{FF2B5EF4-FFF2-40B4-BE49-F238E27FC236}">
                  <a16:creationId xmlns:a16="http://schemas.microsoft.com/office/drawing/2014/main" id="{8CA79D5A-BEEC-4AFB-884C-0AF3CCE2EB4E}"/>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pic>
          <p:nvPicPr>
            <p:cNvPr id="25" name="Picture 24" descr="Logo&#10;&#10;Description automatically generated">
              <a:extLst>
                <a:ext uri="{FF2B5EF4-FFF2-40B4-BE49-F238E27FC236}">
                  <a16:creationId xmlns:a16="http://schemas.microsoft.com/office/drawing/2014/main" id="{6C6E0619-A25D-4B29-8B75-C41BE468469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26" name="Picture 25" descr="Icon&#10;&#10;Description automatically generated">
              <a:extLst>
                <a:ext uri="{FF2B5EF4-FFF2-40B4-BE49-F238E27FC236}">
                  <a16:creationId xmlns:a16="http://schemas.microsoft.com/office/drawing/2014/main" id="{6F7FC680-5D1E-4569-B405-8B3A9A144F3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837595" y="2881529"/>
              <a:ext cx="360000" cy="361734"/>
            </a:xfrm>
            <a:prstGeom prst="rect">
              <a:avLst/>
            </a:prstGeom>
          </p:spPr>
        </p:pic>
        <p:sp>
          <p:nvSpPr>
            <p:cNvPr id="27" name="Rectangle 26">
              <a:hlinkClick r:id="rId7"/>
              <a:extLst>
                <a:ext uri="{FF2B5EF4-FFF2-40B4-BE49-F238E27FC236}">
                  <a16:creationId xmlns:a16="http://schemas.microsoft.com/office/drawing/2014/main" id="{A42E3944-C042-4550-8E65-87E4149C12F5}"/>
                </a:ext>
              </a:extLst>
            </p:cNvPr>
            <p:cNvSpPr/>
            <p:nvPr userDrawn="1"/>
          </p:nvSpPr>
          <p:spPr>
            <a:xfrm>
              <a:off x="998476" y="2881529"/>
              <a:ext cx="356182" cy="368346"/>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grpSp>
          <p:nvGrpSpPr>
            <p:cNvPr id="28" name="Group 27">
              <a:extLst>
                <a:ext uri="{FF2B5EF4-FFF2-40B4-BE49-F238E27FC236}">
                  <a16:creationId xmlns:a16="http://schemas.microsoft.com/office/drawing/2014/main" id="{6685EEF7-9CB7-40CE-A680-8BB78293F33D}"/>
                </a:ext>
              </a:extLst>
            </p:cNvPr>
            <p:cNvGrpSpPr/>
            <p:nvPr userDrawn="1"/>
          </p:nvGrpSpPr>
          <p:grpSpPr>
            <a:xfrm>
              <a:off x="1414350" y="2872145"/>
              <a:ext cx="360000" cy="372130"/>
              <a:chOff x="1414350" y="2877356"/>
              <a:chExt cx="360000" cy="372130"/>
            </a:xfrm>
          </p:grpSpPr>
          <p:sp>
            <p:nvSpPr>
              <p:cNvPr id="30" name="Rectangle 29">
                <a:extLst>
                  <a:ext uri="{FF2B5EF4-FFF2-40B4-BE49-F238E27FC236}">
                    <a16:creationId xmlns:a16="http://schemas.microsoft.com/office/drawing/2014/main" id="{1BA0B502-E7E7-40D5-88B8-383F4A29CE34}"/>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pic>
            <p:nvPicPr>
              <p:cNvPr id="31" name="Picture 30" descr="Logo&#10;&#10;Description automatically generated">
                <a:extLst>
                  <a:ext uri="{FF2B5EF4-FFF2-40B4-BE49-F238E27FC236}">
                    <a16:creationId xmlns:a16="http://schemas.microsoft.com/office/drawing/2014/main" id="{DA1ECB49-8D4B-402E-BFD6-06D98704630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sp>
            <p:nvSpPr>
              <p:cNvPr id="32" name="Rectangle 31">
                <a:hlinkClick r:id="rId9"/>
                <a:extLst>
                  <a:ext uri="{FF2B5EF4-FFF2-40B4-BE49-F238E27FC236}">
                    <a16:creationId xmlns:a16="http://schemas.microsoft.com/office/drawing/2014/main" id="{58E2C2A9-186F-4004-91A3-ECAB5E009F51}"/>
                  </a:ext>
                </a:extLst>
              </p:cNvPr>
              <p:cNvSpPr/>
              <p:nvPr userDrawn="1"/>
            </p:nvSpPr>
            <p:spPr>
              <a:xfrm>
                <a:off x="1417862" y="2877356"/>
                <a:ext cx="356182" cy="368346"/>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grpSp>
        <p:sp>
          <p:nvSpPr>
            <p:cNvPr id="29" name="Rectangle 28">
              <a:hlinkClick r:id="rId10"/>
              <a:extLst>
                <a:ext uri="{FF2B5EF4-FFF2-40B4-BE49-F238E27FC236}">
                  <a16:creationId xmlns:a16="http://schemas.microsoft.com/office/drawing/2014/main" id="{BE2192AC-51B3-49A3-85DB-1510B79795B3}"/>
                </a:ext>
              </a:extLst>
            </p:cNvPr>
            <p:cNvSpPr/>
            <p:nvPr userDrawn="1"/>
          </p:nvSpPr>
          <p:spPr>
            <a:xfrm>
              <a:off x="1837248" y="2881529"/>
              <a:ext cx="356182" cy="368346"/>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grpSp>
      <p:sp>
        <p:nvSpPr>
          <p:cNvPr id="21" name="Text Placeholder 2">
            <a:extLst>
              <a:ext uri="{FF2B5EF4-FFF2-40B4-BE49-F238E27FC236}">
                <a16:creationId xmlns:a16="http://schemas.microsoft.com/office/drawing/2014/main" id="{A8C97CF2-58B9-4D3E-A97E-A13E4A0D85FB}"/>
              </a:ext>
            </a:extLst>
          </p:cNvPr>
          <p:cNvSpPr>
            <a:spLocks noGrp="1"/>
          </p:cNvSpPr>
          <p:nvPr>
            <p:ph type="body" sz="quarter" idx="14"/>
          </p:nvPr>
        </p:nvSpPr>
        <p:spPr>
          <a:xfrm>
            <a:off x="989012" y="3034005"/>
            <a:ext cx="2287588" cy="184666"/>
          </a:xfrm>
        </p:spPr>
        <p:txBody>
          <a:bodyPr wrap="square">
            <a:spAutoFit/>
          </a:bodyPr>
          <a:lstStyle>
            <a:lvl1pPr>
              <a:buFontTx/>
              <a:buNone/>
              <a:defRPr sz="1200" b="1">
                <a:solidFill>
                  <a:schemeClr val="bg1"/>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sp>
        <p:nvSpPr>
          <p:cNvPr id="19" name="TextBox 18">
            <a:extLst>
              <a:ext uri="{FF2B5EF4-FFF2-40B4-BE49-F238E27FC236}">
                <a16:creationId xmlns:a16="http://schemas.microsoft.com/office/drawing/2014/main" id="{CA9A60C8-E226-40C2-BA6E-FB0E5CD95EAF}"/>
              </a:ext>
            </a:extLst>
          </p:cNvPr>
          <p:cNvSpPr txBox="1"/>
          <p:nvPr userDrawn="1">
            <p:custDataLst>
              <p:tags r:id="rId1"/>
            </p:custDataLst>
          </p:nvPr>
        </p:nvSpPr>
        <p:spPr>
          <a:xfrm>
            <a:off x="989263" y="5750095"/>
            <a:ext cx="2462213"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kern="1200" noProof="0">
                <a:solidFill>
                  <a:schemeClr val="bg1"/>
                </a:solidFill>
                <a:latin typeface="+mn-lt"/>
                <a:ea typeface="+mn-ea"/>
                <a:cs typeface="+mn-cs"/>
              </a:rPr>
              <a:t>Document Classification: KPMG Confidential</a:t>
            </a:r>
          </a:p>
        </p:txBody>
      </p:sp>
      <p:sp>
        <p:nvSpPr>
          <p:cNvPr id="20" name="Text Placeholder 2">
            <a:extLst>
              <a:ext uri="{FF2B5EF4-FFF2-40B4-BE49-F238E27FC236}">
                <a16:creationId xmlns:a16="http://schemas.microsoft.com/office/drawing/2014/main" id="{46A431F5-5752-41D9-9BA1-05C9089BEEDB}"/>
              </a:ext>
            </a:extLst>
          </p:cNvPr>
          <p:cNvSpPr>
            <a:spLocks noGrp="1"/>
          </p:cNvSpPr>
          <p:nvPr>
            <p:ph type="body" sz="quarter" idx="10"/>
          </p:nvPr>
        </p:nvSpPr>
        <p:spPr>
          <a:xfrm>
            <a:off x="989012" y="3336978"/>
            <a:ext cx="9360000" cy="1440000"/>
          </a:xfrm>
        </p:spPr>
        <p:txBody>
          <a:bodyPr anchor="b"/>
          <a:lstStyle>
            <a:lvl1pPr>
              <a:spcAft>
                <a:spcPts val="1000"/>
              </a:spcAft>
              <a:defRPr sz="900" b="0">
                <a:solidFill>
                  <a:schemeClr val="bg1"/>
                </a:solidFill>
              </a:defRPr>
            </a:lvl1pPr>
            <a:lvl2pPr>
              <a:spcAft>
                <a:spcPts val="1000"/>
              </a:spcAft>
              <a:defRPr sz="900" b="0">
                <a:solidFill>
                  <a:schemeClr val="bg1"/>
                </a:solidFill>
              </a:defRPr>
            </a:lvl2pPr>
          </a:lstStyle>
          <a:p>
            <a:pPr lvl="0"/>
            <a:r>
              <a:rPr lang="en-US"/>
              <a:t>Click to edit Master text styles</a:t>
            </a:r>
          </a:p>
          <a:p>
            <a:pPr lvl="1"/>
            <a:r>
              <a:rPr lang="en-US"/>
              <a:t>Second level</a:t>
            </a:r>
          </a:p>
        </p:txBody>
      </p:sp>
      <p:sp>
        <p:nvSpPr>
          <p:cNvPr id="33" name="Text Placeholder 2">
            <a:extLst>
              <a:ext uri="{FF2B5EF4-FFF2-40B4-BE49-F238E27FC236}">
                <a16:creationId xmlns:a16="http://schemas.microsoft.com/office/drawing/2014/main" id="{0F2B2F76-409E-4474-B6EC-E952067E72C7}"/>
              </a:ext>
            </a:extLst>
          </p:cNvPr>
          <p:cNvSpPr>
            <a:spLocks noGrp="1"/>
          </p:cNvSpPr>
          <p:nvPr>
            <p:ph type="body" sz="quarter" idx="15"/>
          </p:nvPr>
        </p:nvSpPr>
        <p:spPr>
          <a:xfrm>
            <a:off x="995363" y="5457825"/>
            <a:ext cx="9360000" cy="138499"/>
          </a:xfrm>
        </p:spPr>
        <p:txBody>
          <a:bodyPr wrap="square">
            <a:spAutoFit/>
          </a:bodyPr>
          <a:lstStyle>
            <a:lvl1pPr>
              <a:defRPr sz="900" b="0">
                <a:solidFill>
                  <a:schemeClr val="bg1"/>
                </a:solidFill>
              </a:defRPr>
            </a:lvl1pPr>
            <a:lvl2pPr>
              <a:defRPr sz="900" b="0"/>
            </a:lvl2pPr>
            <a:lvl3pPr>
              <a:defRPr sz="900" b="0"/>
            </a:lvl3pPr>
            <a:lvl4pPr>
              <a:defRPr sz="900" b="0"/>
            </a:lvl4pPr>
            <a:lvl5pPr>
              <a:defRPr sz="900" b="0"/>
            </a:lvl5pPr>
          </a:lstStyle>
          <a:p>
            <a:pPr lvl="0"/>
            <a:r>
              <a:rPr lang="en-US"/>
              <a:t>Click to edit Master text styles</a:t>
            </a:r>
          </a:p>
        </p:txBody>
      </p:sp>
    </p:spTree>
    <p:extLst>
      <p:ext uri="{BB962C8B-B14F-4D97-AF65-F5344CB8AC3E}">
        <p14:creationId xmlns:p14="http://schemas.microsoft.com/office/powerpoint/2010/main" val="26313385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Right Horizont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9F2B47DB-768D-47AE-9D19-E74198AD42C4}"/>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
        <p:nvSpPr>
          <p:cNvPr id="4" name="Rectangle 3">
            <a:extLst>
              <a:ext uri="{FF2B5EF4-FFF2-40B4-BE49-F238E27FC236}">
                <a16:creationId xmlns:a16="http://schemas.microsoft.com/office/drawing/2014/main" id="{1E96C774-8B31-4EC8-BF6C-ACF71C2F0C15}"/>
              </a:ext>
              <a:ext uri="{C183D7F6-B498-43B3-948B-1728B52AA6E4}">
                <adec:decorative xmlns:adec="http://schemas.microsoft.com/office/drawing/2017/decorative" val="1"/>
              </a:ext>
            </a:extLst>
          </p:cNvPr>
          <p:cNvSpPr>
            <a:spLocks noChangeAspect="1"/>
          </p:cNvSpPr>
          <p:nvPr userDrawn="1"/>
        </p:nvSpPr>
        <p:spPr>
          <a:xfrm>
            <a:off x="3405716" y="371311"/>
            <a:ext cx="7794097" cy="5414065"/>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10" name="Title 9">
            <a:extLst>
              <a:ext uri="{FF2B5EF4-FFF2-40B4-BE49-F238E27FC236}">
                <a16:creationId xmlns:a16="http://schemas.microsoft.com/office/drawing/2014/main" id="{BA9E5DDB-2262-4657-AA4F-9CE87AA83B57}"/>
              </a:ext>
            </a:extLst>
          </p:cNvPr>
          <p:cNvSpPr>
            <a:spLocks noGrp="1"/>
          </p:cNvSpPr>
          <p:nvPr>
            <p:ph type="title" hasCustomPrompt="1"/>
          </p:nvPr>
        </p:nvSpPr>
        <p:spPr>
          <a:xfrm>
            <a:off x="3671123" y="636808"/>
            <a:ext cx="7260639" cy="3950972"/>
          </a:xfrm>
        </p:spPr>
        <p:txBody>
          <a:bodyPr/>
          <a:lstStyle>
            <a:lvl1pPr>
              <a:defRPr lang="en-GB" sz="6600" kern="1200" baseline="0" dirty="0">
                <a:solidFill>
                  <a:schemeClr val="bg1"/>
                </a:solidFill>
                <a:latin typeface="+mj-lt"/>
                <a:ea typeface="+mj-ea"/>
                <a:cs typeface="+mj-cs"/>
              </a:defRPr>
            </a:lvl1pPr>
          </a:lstStyle>
          <a:p>
            <a:r>
              <a:rPr lang="en-GB"/>
              <a:t>Title slide text only</a:t>
            </a:r>
          </a:p>
        </p:txBody>
      </p:sp>
      <p:sp>
        <p:nvSpPr>
          <p:cNvPr id="6" name="Text Placeholder 3"/>
          <p:cNvSpPr>
            <a:spLocks noGrp="1"/>
          </p:cNvSpPr>
          <p:nvPr>
            <p:ph type="body" sz="quarter" idx="11"/>
          </p:nvPr>
        </p:nvSpPr>
        <p:spPr>
          <a:xfrm>
            <a:off x="3672180" y="4710484"/>
            <a:ext cx="7260639"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03203749"/>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ack Cover light gradient">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sp>
        <p:nvSpPr>
          <p:cNvPr id="11" name="TextBox 10"/>
          <p:cNvSpPr txBox="1"/>
          <p:nvPr userDrawn="1">
            <p:custDataLst>
              <p:tags r:id="rId1"/>
            </p:custDataLst>
          </p:nvPr>
        </p:nvSpPr>
        <p:spPr>
          <a:xfrm>
            <a:off x="989263" y="5750095"/>
            <a:ext cx="2462213" cy="1384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1" kern="1200" noProof="0">
                <a:solidFill>
                  <a:schemeClr val="accent2"/>
                </a:solidFill>
                <a:latin typeface="+mn-lt"/>
                <a:ea typeface="+mn-ea"/>
                <a:cs typeface="+mn-cs"/>
              </a:rPr>
              <a:t>Document Classification: KPMG Confidential</a:t>
            </a:r>
          </a:p>
        </p:txBody>
      </p:sp>
      <p:sp>
        <p:nvSpPr>
          <p:cNvPr id="53" name="Text Placeholder 2">
            <a:extLst>
              <a:ext uri="{FF2B5EF4-FFF2-40B4-BE49-F238E27FC236}">
                <a16:creationId xmlns:a16="http://schemas.microsoft.com/office/drawing/2014/main" id="{A835BAAE-8387-4EE5-AB59-6FBE19144C88}"/>
              </a:ext>
            </a:extLst>
          </p:cNvPr>
          <p:cNvSpPr>
            <a:spLocks noGrp="1"/>
          </p:cNvSpPr>
          <p:nvPr>
            <p:ph type="body" sz="quarter" idx="10"/>
          </p:nvPr>
        </p:nvSpPr>
        <p:spPr>
          <a:xfrm>
            <a:off x="989012" y="3336978"/>
            <a:ext cx="9360000" cy="1440000"/>
          </a:xfrm>
        </p:spPr>
        <p:txBody>
          <a:bodyPr anchor="b"/>
          <a:lstStyle>
            <a:lvl1pPr>
              <a:spcAft>
                <a:spcPts val="1000"/>
              </a:spcAft>
              <a:defRPr sz="900" b="0">
                <a:solidFill>
                  <a:schemeClr val="accent2"/>
                </a:solidFill>
              </a:defRPr>
            </a:lvl1pPr>
            <a:lvl2pPr>
              <a:spcAft>
                <a:spcPts val="1000"/>
              </a:spcAft>
              <a:defRPr sz="900" b="0">
                <a:solidFill>
                  <a:schemeClr val="accent2"/>
                </a:solidFill>
              </a:defRPr>
            </a:lvl2pPr>
          </a:lstStyle>
          <a:p>
            <a:pPr lvl="0"/>
            <a:r>
              <a:rPr lang="en-US"/>
              <a:t>Click to edit Master text styles</a:t>
            </a:r>
          </a:p>
          <a:p>
            <a:pPr lvl="1"/>
            <a:r>
              <a:rPr lang="en-US"/>
              <a:t>Second level</a:t>
            </a:r>
          </a:p>
        </p:txBody>
      </p:sp>
      <p:sp>
        <p:nvSpPr>
          <p:cNvPr id="54" name="Text Placeholder 2">
            <a:extLst>
              <a:ext uri="{FF2B5EF4-FFF2-40B4-BE49-F238E27FC236}">
                <a16:creationId xmlns:a16="http://schemas.microsoft.com/office/drawing/2014/main" id="{93B40796-98D9-465A-9944-CCD9D00EE921}"/>
              </a:ext>
            </a:extLst>
          </p:cNvPr>
          <p:cNvSpPr>
            <a:spLocks noGrp="1"/>
          </p:cNvSpPr>
          <p:nvPr>
            <p:ph type="body" sz="quarter" idx="14"/>
          </p:nvPr>
        </p:nvSpPr>
        <p:spPr>
          <a:xfrm>
            <a:off x="989012" y="3034005"/>
            <a:ext cx="2462464" cy="184666"/>
          </a:xfrm>
        </p:spPr>
        <p:txBody>
          <a:bodyPr wrap="square">
            <a:spAutoFit/>
          </a:bodyPr>
          <a:lstStyle>
            <a:lvl1pPr>
              <a:buFontTx/>
              <a:buNone/>
              <a:defRPr sz="1200" b="1">
                <a:solidFill>
                  <a:schemeClr val="accent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pic>
        <p:nvPicPr>
          <p:cNvPr id="17" name="Graphic 16">
            <a:extLst>
              <a:ext uri="{FF2B5EF4-FFF2-40B4-BE49-F238E27FC236}">
                <a16:creationId xmlns:a16="http://schemas.microsoft.com/office/drawing/2014/main" id="{A51C6BDD-4F02-45D2-886C-4899A473F7F7}"/>
              </a:ext>
              <a:ext uri="{C183D7F6-B498-43B3-948B-1728B52AA6E4}">
                <adec:decorative xmlns:adec="http://schemas.microsoft.com/office/drawing/2017/decorative" val="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98476" y="371311"/>
            <a:ext cx="914400" cy="368346"/>
          </a:xfrm>
          <a:prstGeom prst="rect">
            <a:avLst/>
          </a:prstGeom>
        </p:spPr>
      </p:pic>
      <p:grpSp>
        <p:nvGrpSpPr>
          <p:cNvPr id="16" name="Group 15">
            <a:extLst>
              <a:ext uri="{FF2B5EF4-FFF2-40B4-BE49-F238E27FC236}">
                <a16:creationId xmlns:a16="http://schemas.microsoft.com/office/drawing/2014/main" id="{98CA8AE2-F1DC-48DA-B22A-6C70D7AD7BB0}"/>
              </a:ext>
              <a:ext uri="{C183D7F6-B498-43B3-948B-1728B52AA6E4}">
                <adec:decorative xmlns:adec="http://schemas.microsoft.com/office/drawing/2017/decorative" val="1"/>
              </a:ext>
            </a:extLst>
          </p:cNvPr>
          <p:cNvGrpSpPr/>
          <p:nvPr userDrawn="1"/>
        </p:nvGrpSpPr>
        <p:grpSpPr>
          <a:xfrm>
            <a:off x="998476" y="2520454"/>
            <a:ext cx="1199119" cy="377730"/>
            <a:chOff x="998476" y="2872145"/>
            <a:chExt cx="1199119" cy="377730"/>
          </a:xfrm>
        </p:grpSpPr>
        <p:sp>
          <p:nvSpPr>
            <p:cNvPr id="28" name="Rectangle 27">
              <a:extLst>
                <a:ext uri="{FF2B5EF4-FFF2-40B4-BE49-F238E27FC236}">
                  <a16:creationId xmlns:a16="http://schemas.microsoft.com/office/drawing/2014/main" id="{95F1A85C-09C0-4486-AD3F-47A913A24E22}"/>
                </a:ext>
              </a:extLst>
            </p:cNvPr>
            <p:cNvSpPr/>
            <p:nvPr userDrawn="1"/>
          </p:nvSpPr>
          <p:spPr>
            <a:xfrm>
              <a:off x="1865195" y="2924173"/>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sp>
          <p:nvSpPr>
            <p:cNvPr id="29" name="Rectangle 28">
              <a:extLst>
                <a:ext uri="{FF2B5EF4-FFF2-40B4-BE49-F238E27FC236}">
                  <a16:creationId xmlns:a16="http://schemas.microsoft.com/office/drawing/2014/main" id="{0CF882A1-BD6E-4637-9FAC-A6FD33289923}"/>
                </a:ext>
              </a:extLst>
            </p:cNvPr>
            <p:cNvSpPr/>
            <p:nvPr userDrawn="1"/>
          </p:nvSpPr>
          <p:spPr>
            <a:xfrm>
              <a:off x="1025526" y="2924174"/>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pic>
          <p:nvPicPr>
            <p:cNvPr id="30" name="Picture 29" descr="Logo&#10;&#10;Description automatically generated">
              <a:extLst>
                <a:ext uri="{FF2B5EF4-FFF2-40B4-BE49-F238E27FC236}">
                  <a16:creationId xmlns:a16="http://schemas.microsoft.com/office/drawing/2014/main" id="{BA55718B-22A5-43A8-B5B1-A8F9E94EFE4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98476" y="2884275"/>
              <a:ext cx="360000" cy="360000"/>
            </a:xfrm>
            <a:prstGeom prst="rect">
              <a:avLst/>
            </a:prstGeom>
          </p:spPr>
        </p:pic>
        <p:pic>
          <p:nvPicPr>
            <p:cNvPr id="31" name="Picture 30" descr="Icon&#10;&#10;Description automatically generated">
              <a:extLst>
                <a:ext uri="{FF2B5EF4-FFF2-40B4-BE49-F238E27FC236}">
                  <a16:creationId xmlns:a16="http://schemas.microsoft.com/office/drawing/2014/main" id="{C032E14E-F8CF-4B30-9130-036774911CB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837595" y="2881529"/>
              <a:ext cx="360000" cy="361734"/>
            </a:xfrm>
            <a:prstGeom prst="rect">
              <a:avLst/>
            </a:prstGeom>
          </p:spPr>
        </p:pic>
        <p:sp>
          <p:nvSpPr>
            <p:cNvPr id="32" name="Rectangle 31">
              <a:hlinkClick r:id="rId7"/>
              <a:extLst>
                <a:ext uri="{FF2B5EF4-FFF2-40B4-BE49-F238E27FC236}">
                  <a16:creationId xmlns:a16="http://schemas.microsoft.com/office/drawing/2014/main" id="{7A817EC2-AEB1-4A0E-B1B7-5C3724FCB971}"/>
                </a:ext>
              </a:extLst>
            </p:cNvPr>
            <p:cNvSpPr/>
            <p:nvPr userDrawn="1"/>
          </p:nvSpPr>
          <p:spPr>
            <a:xfrm>
              <a:off x="998476" y="2881529"/>
              <a:ext cx="356182" cy="368346"/>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grpSp>
          <p:nvGrpSpPr>
            <p:cNvPr id="33" name="Group 32">
              <a:extLst>
                <a:ext uri="{FF2B5EF4-FFF2-40B4-BE49-F238E27FC236}">
                  <a16:creationId xmlns:a16="http://schemas.microsoft.com/office/drawing/2014/main" id="{FA991B69-0B79-4811-8A3A-889730912293}"/>
                </a:ext>
              </a:extLst>
            </p:cNvPr>
            <p:cNvGrpSpPr/>
            <p:nvPr userDrawn="1"/>
          </p:nvGrpSpPr>
          <p:grpSpPr>
            <a:xfrm>
              <a:off x="1414350" y="2872145"/>
              <a:ext cx="360000" cy="372130"/>
              <a:chOff x="1414350" y="2877356"/>
              <a:chExt cx="360000" cy="372130"/>
            </a:xfrm>
          </p:grpSpPr>
          <p:sp>
            <p:nvSpPr>
              <p:cNvPr id="35" name="Rectangle 34">
                <a:extLst>
                  <a:ext uri="{FF2B5EF4-FFF2-40B4-BE49-F238E27FC236}">
                    <a16:creationId xmlns:a16="http://schemas.microsoft.com/office/drawing/2014/main" id="{8C479BD4-0D96-47C4-822D-17D68B99C90E}"/>
                  </a:ext>
                </a:extLst>
              </p:cNvPr>
              <p:cNvSpPr/>
              <p:nvPr userDrawn="1"/>
            </p:nvSpPr>
            <p:spPr>
              <a:xfrm>
                <a:off x="1441950" y="2918577"/>
                <a:ext cx="304800" cy="288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pic>
            <p:nvPicPr>
              <p:cNvPr id="36" name="Picture 35" descr="Logo&#10;&#10;Description automatically generated">
                <a:extLst>
                  <a:ext uri="{FF2B5EF4-FFF2-40B4-BE49-F238E27FC236}">
                    <a16:creationId xmlns:a16="http://schemas.microsoft.com/office/drawing/2014/main" id="{15EEC4C4-5EE9-4101-AAB4-464DBEBA03A4}"/>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414350" y="2889486"/>
                <a:ext cx="360000" cy="360000"/>
              </a:xfrm>
              <a:prstGeom prst="rect">
                <a:avLst/>
              </a:prstGeom>
            </p:spPr>
          </p:pic>
          <p:sp>
            <p:nvSpPr>
              <p:cNvPr id="37" name="Rectangle 36">
                <a:hlinkClick r:id="rId9"/>
                <a:extLst>
                  <a:ext uri="{FF2B5EF4-FFF2-40B4-BE49-F238E27FC236}">
                    <a16:creationId xmlns:a16="http://schemas.microsoft.com/office/drawing/2014/main" id="{30BF79BA-9CDD-4A18-8DBE-5A86DE278BBD}"/>
                  </a:ext>
                </a:extLst>
              </p:cNvPr>
              <p:cNvSpPr/>
              <p:nvPr userDrawn="1"/>
            </p:nvSpPr>
            <p:spPr>
              <a:xfrm>
                <a:off x="1417862" y="2877356"/>
                <a:ext cx="356182" cy="368346"/>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grpSp>
        <p:sp>
          <p:nvSpPr>
            <p:cNvPr id="34" name="Rectangle 33">
              <a:hlinkClick r:id="rId10"/>
              <a:extLst>
                <a:ext uri="{FF2B5EF4-FFF2-40B4-BE49-F238E27FC236}">
                  <a16:creationId xmlns:a16="http://schemas.microsoft.com/office/drawing/2014/main" id="{A10DE520-CC6E-4903-9F88-48437716F74A}"/>
                </a:ext>
              </a:extLst>
            </p:cNvPr>
            <p:cNvSpPr/>
            <p:nvPr userDrawn="1"/>
          </p:nvSpPr>
          <p:spPr>
            <a:xfrm>
              <a:off x="1837248" y="2881529"/>
              <a:ext cx="356182" cy="368346"/>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GB" sz="1500">
                <a:solidFill>
                  <a:schemeClr val="bg1"/>
                </a:solidFill>
              </a:endParaRPr>
            </a:p>
          </p:txBody>
        </p:sp>
      </p:grpSp>
      <p:sp>
        <p:nvSpPr>
          <p:cNvPr id="3" name="Text Placeholder 2">
            <a:extLst>
              <a:ext uri="{FF2B5EF4-FFF2-40B4-BE49-F238E27FC236}">
                <a16:creationId xmlns:a16="http://schemas.microsoft.com/office/drawing/2014/main" id="{797036E0-0B01-4DDA-A3A8-A0C5ADAF5124}"/>
              </a:ext>
            </a:extLst>
          </p:cNvPr>
          <p:cNvSpPr>
            <a:spLocks noGrp="1"/>
          </p:cNvSpPr>
          <p:nvPr>
            <p:ph type="body" sz="quarter" idx="15"/>
          </p:nvPr>
        </p:nvSpPr>
        <p:spPr>
          <a:xfrm>
            <a:off x="995363" y="5457825"/>
            <a:ext cx="9360000" cy="138499"/>
          </a:xfrm>
        </p:spPr>
        <p:txBody>
          <a:bodyPr wrap="square">
            <a:spAutoFit/>
          </a:bodyPr>
          <a:lstStyle>
            <a:lvl1pPr>
              <a:defRPr sz="900" b="0"/>
            </a:lvl1pPr>
            <a:lvl2pPr>
              <a:defRPr sz="900" b="0"/>
            </a:lvl2pPr>
            <a:lvl3pPr>
              <a:defRPr sz="900" b="0"/>
            </a:lvl3pPr>
            <a:lvl4pPr>
              <a:defRPr sz="900" b="0"/>
            </a:lvl4pPr>
            <a:lvl5pPr>
              <a:defRPr sz="900" b="0"/>
            </a:lvl5pPr>
          </a:lstStyle>
          <a:p>
            <a:pPr lvl="0"/>
            <a:r>
              <a:rPr lang="en-US"/>
              <a:t>Click to edit Master text styles</a:t>
            </a:r>
          </a:p>
        </p:txBody>
      </p:sp>
    </p:spTree>
    <p:extLst>
      <p:ext uri="{BB962C8B-B14F-4D97-AF65-F5344CB8AC3E}">
        <p14:creationId xmlns:p14="http://schemas.microsoft.com/office/powerpoint/2010/main" val="21568506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FF5724-C137-47F3-B441-6C1B9714F578}"/>
              </a:ext>
            </a:extLst>
          </p:cNvPr>
          <p:cNvSpPr>
            <a:spLocks noGrp="1"/>
          </p:cNvSpPr>
          <p:nvPr>
            <p:ph type="title"/>
          </p:nvPr>
        </p:nvSpPr>
        <p:spPr>
          <a:solidFill>
            <a:schemeClr val="bg1"/>
          </a:solidFill>
        </p:spPr>
        <p:txBody>
          <a:bodyPr/>
          <a:lstStyle/>
          <a:p>
            <a:r>
              <a:rPr lang="en-US"/>
              <a:t>Click to edit Master title style</a:t>
            </a:r>
            <a:endParaRPr lang="en-GB"/>
          </a:p>
        </p:txBody>
      </p:sp>
      <p:sp>
        <p:nvSpPr>
          <p:cNvPr id="80" name="Rectangle 79">
            <a:extLst>
              <a:ext uri="{FF2B5EF4-FFF2-40B4-BE49-F238E27FC236}">
                <a16:creationId xmlns:a16="http://schemas.microsoft.com/office/drawing/2014/main" id="{0B4B9382-6DEA-4DBD-B56D-254AE233DA61}"/>
              </a:ext>
            </a:extLst>
          </p:cNvPr>
          <p:cNvSpPr/>
          <p:nvPr userDrawn="1"/>
        </p:nvSpPr>
        <p:spPr>
          <a:xfrm>
            <a:off x="998351" y="2246533"/>
            <a:ext cx="839614" cy="411225"/>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0</a:t>
            </a:r>
          </a:p>
          <a:p>
            <a:pPr algn="ctr"/>
            <a:r>
              <a:rPr lang="en-GB" sz="800">
                <a:solidFill>
                  <a:schemeClr val="bg1"/>
                </a:solidFill>
              </a:rPr>
              <a:t>73</a:t>
            </a:r>
          </a:p>
          <a:p>
            <a:pPr algn="ctr"/>
            <a:r>
              <a:rPr lang="en-GB" sz="800">
                <a:solidFill>
                  <a:schemeClr val="bg1"/>
                </a:solidFill>
              </a:rPr>
              <a:t>226</a:t>
            </a:r>
          </a:p>
        </p:txBody>
      </p:sp>
      <p:sp>
        <p:nvSpPr>
          <p:cNvPr id="81" name="Rectangle 80">
            <a:extLst>
              <a:ext uri="{FF2B5EF4-FFF2-40B4-BE49-F238E27FC236}">
                <a16:creationId xmlns:a16="http://schemas.microsoft.com/office/drawing/2014/main" id="{C6998DCB-AE81-4424-8C14-FBA379AAF5F7}"/>
              </a:ext>
            </a:extLst>
          </p:cNvPr>
          <p:cNvSpPr/>
          <p:nvPr userDrawn="1"/>
        </p:nvSpPr>
        <p:spPr>
          <a:xfrm>
            <a:off x="998351" y="1731971"/>
            <a:ext cx="839614" cy="411225"/>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51</a:t>
            </a:r>
          </a:p>
          <a:p>
            <a:pPr algn="ctr"/>
            <a:r>
              <a:rPr lang="en-GB" sz="800">
                <a:solidFill>
                  <a:schemeClr val="bg1"/>
                </a:solidFill>
              </a:rPr>
              <a:t>141</a:t>
            </a:r>
          </a:p>
        </p:txBody>
      </p:sp>
      <p:sp>
        <p:nvSpPr>
          <p:cNvPr id="82" name="Rectangle 81">
            <a:extLst>
              <a:ext uri="{FF2B5EF4-FFF2-40B4-BE49-F238E27FC236}">
                <a16:creationId xmlns:a16="http://schemas.microsoft.com/office/drawing/2014/main" id="{6C0D61AA-1EB2-4FEB-B31E-3F07A093EC13}"/>
              </a:ext>
            </a:extLst>
          </p:cNvPr>
          <p:cNvSpPr/>
          <p:nvPr userDrawn="1"/>
        </p:nvSpPr>
        <p:spPr>
          <a:xfrm>
            <a:off x="998351" y="3786711"/>
            <a:ext cx="839614" cy="411225"/>
          </a:xfrm>
          <a:prstGeom prst="rect">
            <a:avLst/>
          </a:prstGeom>
          <a:solidFill>
            <a:srgbClr val="0C233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2</a:t>
            </a:r>
          </a:p>
          <a:p>
            <a:pPr algn="ctr"/>
            <a:r>
              <a:rPr lang="en-GB" sz="800">
                <a:solidFill>
                  <a:schemeClr val="bg1"/>
                </a:solidFill>
              </a:rPr>
              <a:t>35</a:t>
            </a:r>
          </a:p>
          <a:p>
            <a:pPr algn="ctr"/>
            <a:r>
              <a:rPr lang="en-GB" sz="800">
                <a:solidFill>
                  <a:schemeClr val="bg1"/>
                </a:solidFill>
              </a:rPr>
              <a:t>60</a:t>
            </a:r>
          </a:p>
        </p:txBody>
      </p:sp>
      <p:sp>
        <p:nvSpPr>
          <p:cNvPr id="88" name="Rectangle 87">
            <a:extLst>
              <a:ext uri="{FF2B5EF4-FFF2-40B4-BE49-F238E27FC236}">
                <a16:creationId xmlns:a16="http://schemas.microsoft.com/office/drawing/2014/main" id="{B0B588C8-469A-48E9-BAD3-5E00B75E2274}"/>
              </a:ext>
            </a:extLst>
          </p:cNvPr>
          <p:cNvSpPr/>
          <p:nvPr userDrawn="1"/>
        </p:nvSpPr>
        <p:spPr>
          <a:xfrm>
            <a:off x="998351" y="2761094"/>
            <a:ext cx="839614" cy="411225"/>
          </a:xfrm>
          <a:prstGeom prst="rect">
            <a:avLst/>
          </a:prstGeom>
          <a:solidFill>
            <a:srgbClr val="ACEA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72</a:t>
            </a:r>
          </a:p>
          <a:p>
            <a:pPr algn="ctr"/>
            <a:r>
              <a:rPr lang="en-GB" sz="800">
                <a:solidFill>
                  <a:sysClr val="windowText" lastClr="000000"/>
                </a:solidFill>
              </a:rPr>
              <a:t>234</a:t>
            </a:r>
          </a:p>
          <a:p>
            <a:pPr algn="ctr"/>
            <a:r>
              <a:rPr lang="en-GB" sz="800">
                <a:solidFill>
                  <a:sysClr val="windowText" lastClr="000000"/>
                </a:solidFill>
              </a:rPr>
              <a:t>255</a:t>
            </a:r>
          </a:p>
        </p:txBody>
      </p:sp>
      <p:sp>
        <p:nvSpPr>
          <p:cNvPr id="89" name="Rectangle 88">
            <a:extLst>
              <a:ext uri="{FF2B5EF4-FFF2-40B4-BE49-F238E27FC236}">
                <a16:creationId xmlns:a16="http://schemas.microsoft.com/office/drawing/2014/main" id="{68663C95-46F5-4BD3-A855-64D157FC5DA2}"/>
              </a:ext>
            </a:extLst>
          </p:cNvPr>
          <p:cNvSpPr/>
          <p:nvPr userDrawn="1"/>
        </p:nvSpPr>
        <p:spPr>
          <a:xfrm>
            <a:off x="2992848" y="1732478"/>
            <a:ext cx="839614" cy="411225"/>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18</a:t>
            </a:r>
          </a:p>
          <a:p>
            <a:pPr algn="ctr"/>
            <a:r>
              <a:rPr lang="en-GB" sz="800">
                <a:solidFill>
                  <a:sysClr val="windowText" lastClr="000000"/>
                </a:solidFill>
              </a:rPr>
              <a:t>210</a:t>
            </a:r>
          </a:p>
          <a:p>
            <a:pPr algn="ctr"/>
            <a:r>
              <a:rPr lang="en-GB" sz="800">
                <a:solidFill>
                  <a:sysClr val="windowText" lastClr="000000"/>
                </a:solidFill>
              </a:rPr>
              <a:t>255</a:t>
            </a:r>
          </a:p>
        </p:txBody>
      </p:sp>
      <p:sp>
        <p:nvSpPr>
          <p:cNvPr id="90" name="TextBox 89">
            <a:extLst>
              <a:ext uri="{FF2B5EF4-FFF2-40B4-BE49-F238E27FC236}">
                <a16:creationId xmlns:a16="http://schemas.microsoft.com/office/drawing/2014/main" id="{D8B98DFB-AA9D-4F47-A9C8-2B4E91516074}"/>
              </a:ext>
            </a:extLst>
          </p:cNvPr>
          <p:cNvSpPr txBox="1"/>
          <p:nvPr userDrawn="1"/>
        </p:nvSpPr>
        <p:spPr>
          <a:xfrm>
            <a:off x="983882" y="1330325"/>
            <a:ext cx="1364046" cy="153888"/>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Primary Colours</a:t>
            </a:r>
          </a:p>
        </p:txBody>
      </p:sp>
      <p:sp>
        <p:nvSpPr>
          <p:cNvPr id="91" name="Rectangle 90">
            <a:extLst>
              <a:ext uri="{FF2B5EF4-FFF2-40B4-BE49-F238E27FC236}">
                <a16:creationId xmlns:a16="http://schemas.microsoft.com/office/drawing/2014/main" id="{0A9EDA4E-3DFC-4137-9624-AF8C4619FC52}"/>
              </a:ext>
            </a:extLst>
          </p:cNvPr>
          <p:cNvSpPr/>
          <p:nvPr userDrawn="1"/>
        </p:nvSpPr>
        <p:spPr>
          <a:xfrm>
            <a:off x="998351" y="3275656"/>
            <a:ext cx="839614" cy="411225"/>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84</a:t>
            </a:r>
          </a:p>
          <a:p>
            <a:pPr algn="ctr"/>
            <a:r>
              <a:rPr lang="en-GB" sz="800">
                <a:solidFill>
                  <a:schemeClr val="bg1"/>
                </a:solidFill>
              </a:rPr>
              <a:t>245</a:t>
            </a:r>
          </a:p>
        </p:txBody>
      </p:sp>
      <p:sp>
        <p:nvSpPr>
          <p:cNvPr id="92" name="Rectangle 91">
            <a:extLst>
              <a:ext uri="{FF2B5EF4-FFF2-40B4-BE49-F238E27FC236}">
                <a16:creationId xmlns:a16="http://schemas.microsoft.com/office/drawing/2014/main" id="{AD6492BB-04FC-4C6C-89B7-60631857615E}"/>
              </a:ext>
            </a:extLst>
          </p:cNvPr>
          <p:cNvSpPr/>
          <p:nvPr userDrawn="1"/>
        </p:nvSpPr>
        <p:spPr>
          <a:xfrm>
            <a:off x="998351" y="4301271"/>
            <a:ext cx="839614" cy="411225"/>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14</a:t>
            </a:r>
          </a:p>
          <a:p>
            <a:pPr algn="ctr"/>
            <a:r>
              <a:rPr lang="en-GB" sz="800">
                <a:solidFill>
                  <a:schemeClr val="bg1"/>
                </a:solidFill>
              </a:rPr>
              <a:t>19</a:t>
            </a:r>
          </a:p>
          <a:p>
            <a:pPr algn="ctr"/>
            <a:r>
              <a:rPr lang="en-GB" sz="800">
                <a:solidFill>
                  <a:schemeClr val="bg1"/>
                </a:solidFill>
              </a:rPr>
              <a:t>234</a:t>
            </a:r>
          </a:p>
        </p:txBody>
      </p:sp>
      <p:sp>
        <p:nvSpPr>
          <p:cNvPr id="93" name="Rectangle 92">
            <a:extLst>
              <a:ext uri="{FF2B5EF4-FFF2-40B4-BE49-F238E27FC236}">
                <a16:creationId xmlns:a16="http://schemas.microsoft.com/office/drawing/2014/main" id="{5B258B4F-E1EE-47E7-84A6-3459302EEAB0}"/>
              </a:ext>
            </a:extLst>
          </p:cNvPr>
          <p:cNvSpPr/>
          <p:nvPr userDrawn="1"/>
        </p:nvSpPr>
        <p:spPr>
          <a:xfrm>
            <a:off x="998351" y="4809439"/>
            <a:ext cx="839614" cy="411225"/>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3</a:t>
            </a:r>
          </a:p>
          <a:p>
            <a:pPr algn="ctr"/>
            <a:r>
              <a:rPr lang="en-GB" sz="800">
                <a:solidFill>
                  <a:schemeClr val="bg1"/>
                </a:solidFill>
              </a:rPr>
              <a:t>52</a:t>
            </a:r>
          </a:p>
          <a:p>
            <a:pPr algn="ctr"/>
            <a:r>
              <a:rPr lang="en-GB" sz="800">
                <a:solidFill>
                  <a:schemeClr val="bg1"/>
                </a:solidFill>
              </a:rPr>
              <a:t>156</a:t>
            </a:r>
          </a:p>
        </p:txBody>
      </p:sp>
      <p:sp>
        <p:nvSpPr>
          <p:cNvPr id="94" name="TextBox 93">
            <a:extLst>
              <a:ext uri="{FF2B5EF4-FFF2-40B4-BE49-F238E27FC236}">
                <a16:creationId xmlns:a16="http://schemas.microsoft.com/office/drawing/2014/main" id="{F658D265-9DAE-4B9D-81D9-560B992AA1C2}"/>
              </a:ext>
            </a:extLst>
          </p:cNvPr>
          <p:cNvSpPr txBox="1"/>
          <p:nvPr userDrawn="1"/>
        </p:nvSpPr>
        <p:spPr>
          <a:xfrm>
            <a:off x="1921682" y="3874401"/>
            <a:ext cx="939007" cy="237066"/>
          </a:xfrm>
          <a:prstGeom prst="rect">
            <a:avLst/>
          </a:prstGeom>
          <a:noFill/>
        </p:spPr>
        <p:txBody>
          <a:bodyPr wrap="square" lIns="54610" tIns="54610" rIns="54610" bIns="54610" rtlCol="0" anchor="ctr">
            <a:noAutofit/>
          </a:bodyPr>
          <a:lstStyle/>
          <a:p>
            <a:pPr algn="l">
              <a:spcAft>
                <a:spcPts val="600"/>
              </a:spcAft>
            </a:pPr>
            <a:r>
              <a:rPr lang="en-GB" sz="1000"/>
              <a:t>Dark Blue</a:t>
            </a:r>
          </a:p>
        </p:txBody>
      </p:sp>
      <p:sp>
        <p:nvSpPr>
          <p:cNvPr id="95" name="TextBox 94">
            <a:extLst>
              <a:ext uri="{FF2B5EF4-FFF2-40B4-BE49-F238E27FC236}">
                <a16:creationId xmlns:a16="http://schemas.microsoft.com/office/drawing/2014/main" id="{703F2A08-5A56-4459-9F6A-8BF7CABE83AD}"/>
              </a:ext>
            </a:extLst>
          </p:cNvPr>
          <p:cNvSpPr txBox="1"/>
          <p:nvPr userDrawn="1"/>
        </p:nvSpPr>
        <p:spPr>
          <a:xfrm>
            <a:off x="1921682" y="1830789"/>
            <a:ext cx="939007" cy="237066"/>
          </a:xfrm>
          <a:prstGeom prst="rect">
            <a:avLst/>
          </a:prstGeom>
          <a:noFill/>
        </p:spPr>
        <p:txBody>
          <a:bodyPr wrap="square" lIns="54610" tIns="54610" rIns="54610" bIns="54610" rtlCol="0" anchor="ctr">
            <a:noAutofit/>
          </a:bodyPr>
          <a:lstStyle/>
          <a:p>
            <a:pPr algn="l">
              <a:spcAft>
                <a:spcPts val="600"/>
              </a:spcAft>
            </a:pPr>
            <a:r>
              <a:rPr lang="en-GB" sz="1000"/>
              <a:t>KPMG blue</a:t>
            </a:r>
          </a:p>
        </p:txBody>
      </p:sp>
      <p:sp>
        <p:nvSpPr>
          <p:cNvPr id="96" name="TextBox 95">
            <a:extLst>
              <a:ext uri="{FF2B5EF4-FFF2-40B4-BE49-F238E27FC236}">
                <a16:creationId xmlns:a16="http://schemas.microsoft.com/office/drawing/2014/main" id="{6FDB4774-C9D1-4AF5-A0E3-02A97E2A6160}"/>
              </a:ext>
            </a:extLst>
          </p:cNvPr>
          <p:cNvSpPr txBox="1"/>
          <p:nvPr userDrawn="1"/>
        </p:nvSpPr>
        <p:spPr>
          <a:xfrm>
            <a:off x="1921682" y="2852903"/>
            <a:ext cx="939007" cy="237066"/>
          </a:xfrm>
          <a:prstGeom prst="rect">
            <a:avLst/>
          </a:prstGeom>
          <a:noFill/>
        </p:spPr>
        <p:txBody>
          <a:bodyPr wrap="square" lIns="54610" tIns="54610" rIns="54610" bIns="54610" rtlCol="0" anchor="ctr">
            <a:noAutofit/>
          </a:bodyPr>
          <a:lstStyle/>
          <a:p>
            <a:pPr algn="l">
              <a:spcAft>
                <a:spcPts val="600"/>
              </a:spcAft>
            </a:pPr>
            <a:r>
              <a:rPr lang="en-GB" sz="1000"/>
              <a:t>Light Blue</a:t>
            </a:r>
          </a:p>
        </p:txBody>
      </p:sp>
      <p:sp>
        <p:nvSpPr>
          <p:cNvPr id="97" name="TextBox 96">
            <a:extLst>
              <a:ext uri="{FF2B5EF4-FFF2-40B4-BE49-F238E27FC236}">
                <a16:creationId xmlns:a16="http://schemas.microsoft.com/office/drawing/2014/main" id="{642B0082-BE8C-419F-BF55-809D98EEAA6E}"/>
              </a:ext>
            </a:extLst>
          </p:cNvPr>
          <p:cNvSpPr txBox="1">
            <a:spLocks/>
          </p:cNvSpPr>
          <p:nvPr userDrawn="1"/>
        </p:nvSpPr>
        <p:spPr>
          <a:xfrm>
            <a:off x="3916179" y="1817279"/>
            <a:ext cx="1253995" cy="237066"/>
          </a:xfrm>
          <a:prstGeom prst="rect">
            <a:avLst/>
          </a:prstGeom>
          <a:noFill/>
        </p:spPr>
        <p:txBody>
          <a:bodyPr wrap="square" lIns="54610" tIns="54610" rIns="54610" bIns="54610" rtlCol="0" anchor="ctr">
            <a:noAutofit/>
          </a:bodyPr>
          <a:lstStyle/>
          <a:p>
            <a:pPr algn="l">
              <a:spcAft>
                <a:spcPts val="600"/>
              </a:spcAft>
            </a:pPr>
            <a:r>
              <a:rPr lang="en-GB" sz="1000"/>
              <a:t>Blue</a:t>
            </a:r>
          </a:p>
        </p:txBody>
      </p:sp>
      <p:sp>
        <p:nvSpPr>
          <p:cNvPr id="98" name="TextBox 97">
            <a:extLst>
              <a:ext uri="{FF2B5EF4-FFF2-40B4-BE49-F238E27FC236}">
                <a16:creationId xmlns:a16="http://schemas.microsoft.com/office/drawing/2014/main" id="{095E0C6E-D6D4-4413-8BB5-9FFB156C3AFD}"/>
              </a:ext>
            </a:extLst>
          </p:cNvPr>
          <p:cNvSpPr txBox="1"/>
          <p:nvPr userDrawn="1"/>
        </p:nvSpPr>
        <p:spPr>
          <a:xfrm>
            <a:off x="1921682" y="2341846"/>
            <a:ext cx="939007" cy="237066"/>
          </a:xfrm>
          <a:prstGeom prst="rect">
            <a:avLst/>
          </a:prstGeom>
          <a:noFill/>
        </p:spPr>
        <p:txBody>
          <a:bodyPr wrap="square" lIns="54610" tIns="54610" rIns="54610" bIns="54610" rtlCol="0" anchor="ctr">
            <a:noAutofit/>
          </a:bodyPr>
          <a:lstStyle/>
          <a:p>
            <a:pPr algn="l">
              <a:spcAft>
                <a:spcPts val="600"/>
              </a:spcAft>
            </a:pPr>
            <a:r>
              <a:rPr lang="en-GB" sz="1000"/>
              <a:t>Cobalt Blue</a:t>
            </a:r>
          </a:p>
        </p:txBody>
      </p:sp>
      <p:sp>
        <p:nvSpPr>
          <p:cNvPr id="99" name="TextBox 98">
            <a:extLst>
              <a:ext uri="{FF2B5EF4-FFF2-40B4-BE49-F238E27FC236}">
                <a16:creationId xmlns:a16="http://schemas.microsoft.com/office/drawing/2014/main" id="{95702D95-2676-428D-AAA2-D4B9C53D4EEF}"/>
              </a:ext>
            </a:extLst>
          </p:cNvPr>
          <p:cNvSpPr txBox="1"/>
          <p:nvPr userDrawn="1"/>
        </p:nvSpPr>
        <p:spPr>
          <a:xfrm>
            <a:off x="1921682" y="3363960"/>
            <a:ext cx="939007" cy="237066"/>
          </a:xfrm>
          <a:prstGeom prst="rect">
            <a:avLst/>
          </a:prstGeom>
          <a:noFill/>
        </p:spPr>
        <p:txBody>
          <a:bodyPr wrap="square" lIns="54610" tIns="54610" rIns="54610" bIns="54610" rtlCol="0" anchor="ctr">
            <a:noAutofit/>
          </a:bodyPr>
          <a:lstStyle/>
          <a:p>
            <a:pPr algn="l">
              <a:spcAft>
                <a:spcPts val="600"/>
              </a:spcAft>
            </a:pPr>
            <a:r>
              <a:rPr lang="en-GB" sz="1000"/>
              <a:t>Pacific Blue</a:t>
            </a:r>
          </a:p>
        </p:txBody>
      </p:sp>
      <p:sp>
        <p:nvSpPr>
          <p:cNvPr id="100" name="TextBox 99">
            <a:extLst>
              <a:ext uri="{FF2B5EF4-FFF2-40B4-BE49-F238E27FC236}">
                <a16:creationId xmlns:a16="http://schemas.microsoft.com/office/drawing/2014/main" id="{C5016C08-732B-4B11-8BAD-7CB8E465F581}"/>
              </a:ext>
            </a:extLst>
          </p:cNvPr>
          <p:cNvSpPr txBox="1"/>
          <p:nvPr userDrawn="1"/>
        </p:nvSpPr>
        <p:spPr>
          <a:xfrm>
            <a:off x="1921682" y="4385458"/>
            <a:ext cx="939007" cy="237066"/>
          </a:xfrm>
          <a:prstGeom prst="rect">
            <a:avLst/>
          </a:prstGeom>
          <a:noFill/>
        </p:spPr>
        <p:txBody>
          <a:bodyPr wrap="square" lIns="54610" tIns="54610" rIns="54610" bIns="54610" rtlCol="0" anchor="ctr">
            <a:noAutofit/>
          </a:bodyPr>
          <a:lstStyle/>
          <a:p>
            <a:pPr algn="l">
              <a:spcAft>
                <a:spcPts val="600"/>
              </a:spcAft>
            </a:pPr>
            <a:r>
              <a:rPr lang="en-GB" sz="1000"/>
              <a:t>Purple</a:t>
            </a:r>
          </a:p>
        </p:txBody>
      </p:sp>
      <p:sp>
        <p:nvSpPr>
          <p:cNvPr id="122" name="TextBox 121">
            <a:extLst>
              <a:ext uri="{FF2B5EF4-FFF2-40B4-BE49-F238E27FC236}">
                <a16:creationId xmlns:a16="http://schemas.microsoft.com/office/drawing/2014/main" id="{9DDB8060-8015-48F0-9EB3-CAF03DAF995D}"/>
              </a:ext>
            </a:extLst>
          </p:cNvPr>
          <p:cNvSpPr txBox="1"/>
          <p:nvPr userDrawn="1"/>
        </p:nvSpPr>
        <p:spPr>
          <a:xfrm>
            <a:off x="1921682" y="4896518"/>
            <a:ext cx="939007" cy="237066"/>
          </a:xfrm>
          <a:prstGeom prst="rect">
            <a:avLst/>
          </a:prstGeom>
          <a:noFill/>
        </p:spPr>
        <p:txBody>
          <a:bodyPr wrap="square" lIns="54610" tIns="54610" rIns="54610" bIns="54610" rtlCol="0" anchor="ctr">
            <a:noAutofit/>
          </a:bodyPr>
          <a:lstStyle/>
          <a:p>
            <a:pPr algn="l">
              <a:spcAft>
                <a:spcPts val="600"/>
              </a:spcAft>
            </a:pPr>
            <a:r>
              <a:rPr lang="en-GB" sz="1000"/>
              <a:t>Pink</a:t>
            </a:r>
          </a:p>
        </p:txBody>
      </p:sp>
      <p:sp>
        <p:nvSpPr>
          <p:cNvPr id="123" name="Rectangle 122">
            <a:extLst>
              <a:ext uri="{FF2B5EF4-FFF2-40B4-BE49-F238E27FC236}">
                <a16:creationId xmlns:a16="http://schemas.microsoft.com/office/drawing/2014/main" id="{A6C87350-68BA-44B4-8034-C31368AE1CC5}"/>
              </a:ext>
            </a:extLst>
          </p:cNvPr>
          <p:cNvSpPr/>
          <p:nvPr userDrawn="1"/>
        </p:nvSpPr>
        <p:spPr>
          <a:xfrm>
            <a:off x="2999643" y="2243028"/>
            <a:ext cx="839614" cy="411225"/>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81</a:t>
            </a:r>
          </a:p>
          <a:p>
            <a:pPr algn="ctr"/>
            <a:r>
              <a:rPr lang="en-GB" sz="800">
                <a:solidFill>
                  <a:schemeClr val="bg1"/>
                </a:solidFill>
              </a:rPr>
              <a:t>13</a:t>
            </a:r>
          </a:p>
          <a:p>
            <a:pPr algn="ctr"/>
            <a:r>
              <a:rPr lang="en-GB" sz="800">
                <a:solidFill>
                  <a:schemeClr val="bg1"/>
                </a:solidFill>
              </a:rPr>
              <a:t>188</a:t>
            </a:r>
          </a:p>
        </p:txBody>
      </p:sp>
      <p:sp>
        <p:nvSpPr>
          <p:cNvPr id="124" name="Rectangle 123">
            <a:extLst>
              <a:ext uri="{FF2B5EF4-FFF2-40B4-BE49-F238E27FC236}">
                <a16:creationId xmlns:a16="http://schemas.microsoft.com/office/drawing/2014/main" id="{78155B14-7498-4556-84CE-E80380598081}"/>
              </a:ext>
            </a:extLst>
          </p:cNvPr>
          <p:cNvSpPr/>
          <p:nvPr userDrawn="1"/>
        </p:nvSpPr>
        <p:spPr>
          <a:xfrm>
            <a:off x="2999643" y="2757590"/>
            <a:ext cx="839614" cy="411225"/>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80</a:t>
            </a:r>
          </a:p>
          <a:p>
            <a:pPr algn="ctr"/>
            <a:r>
              <a:rPr lang="en-GB" sz="800">
                <a:solidFill>
                  <a:schemeClr val="bg1"/>
                </a:solidFill>
              </a:rPr>
              <a:t>151</a:t>
            </a:r>
          </a:p>
          <a:p>
            <a:pPr algn="ctr"/>
            <a:r>
              <a:rPr lang="en-GB" sz="800">
                <a:solidFill>
                  <a:schemeClr val="bg1"/>
                </a:solidFill>
              </a:rPr>
              <a:t>255</a:t>
            </a:r>
          </a:p>
        </p:txBody>
      </p:sp>
      <p:sp>
        <p:nvSpPr>
          <p:cNvPr id="125" name="TextBox 124">
            <a:extLst>
              <a:ext uri="{FF2B5EF4-FFF2-40B4-BE49-F238E27FC236}">
                <a16:creationId xmlns:a16="http://schemas.microsoft.com/office/drawing/2014/main" id="{0C70EF42-D6E9-4998-9101-2586774B3FFA}"/>
              </a:ext>
            </a:extLst>
          </p:cNvPr>
          <p:cNvSpPr txBox="1"/>
          <p:nvPr userDrawn="1"/>
        </p:nvSpPr>
        <p:spPr>
          <a:xfrm>
            <a:off x="2992848" y="1330325"/>
            <a:ext cx="1946348" cy="307777"/>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Accent Colours for Infographics and charts only</a:t>
            </a:r>
          </a:p>
        </p:txBody>
      </p:sp>
      <p:sp>
        <p:nvSpPr>
          <p:cNvPr id="126" name="Rectangle 125">
            <a:extLst>
              <a:ext uri="{FF2B5EF4-FFF2-40B4-BE49-F238E27FC236}">
                <a16:creationId xmlns:a16="http://schemas.microsoft.com/office/drawing/2014/main" id="{E6904F85-D7B4-4C3E-AC49-768644AE9445}"/>
              </a:ext>
            </a:extLst>
          </p:cNvPr>
          <p:cNvSpPr/>
          <p:nvPr userDrawn="1"/>
        </p:nvSpPr>
        <p:spPr>
          <a:xfrm>
            <a:off x="2999643" y="3272151"/>
            <a:ext cx="839614" cy="411225"/>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71</a:t>
            </a:r>
          </a:p>
          <a:p>
            <a:pPr algn="ctr"/>
            <a:r>
              <a:rPr lang="en-GB" sz="800">
                <a:solidFill>
                  <a:schemeClr val="bg1"/>
                </a:solidFill>
              </a:rPr>
              <a:t>13</a:t>
            </a:r>
          </a:p>
          <a:p>
            <a:pPr algn="ctr"/>
            <a:r>
              <a:rPr lang="en-GB" sz="800">
                <a:solidFill>
                  <a:schemeClr val="bg1"/>
                </a:solidFill>
              </a:rPr>
              <a:t>130</a:t>
            </a:r>
          </a:p>
        </p:txBody>
      </p:sp>
      <p:sp>
        <p:nvSpPr>
          <p:cNvPr id="127" name="Rectangle 126">
            <a:extLst>
              <a:ext uri="{FF2B5EF4-FFF2-40B4-BE49-F238E27FC236}">
                <a16:creationId xmlns:a16="http://schemas.microsoft.com/office/drawing/2014/main" id="{FF58225A-59A1-4A4A-A075-B779934724A0}"/>
              </a:ext>
            </a:extLst>
          </p:cNvPr>
          <p:cNvSpPr/>
          <p:nvPr userDrawn="1"/>
        </p:nvSpPr>
        <p:spPr>
          <a:xfrm>
            <a:off x="2999643" y="3786713"/>
            <a:ext cx="839614" cy="411225"/>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255</a:t>
            </a:r>
          </a:p>
          <a:p>
            <a:pPr algn="ctr"/>
            <a:r>
              <a:rPr lang="en-GB" sz="800">
                <a:solidFill>
                  <a:sysClr val="windowText" lastClr="000000"/>
                </a:solidFill>
              </a:rPr>
              <a:t>163</a:t>
            </a:r>
          </a:p>
          <a:p>
            <a:pPr algn="ctr"/>
            <a:r>
              <a:rPr lang="en-GB" sz="800">
                <a:solidFill>
                  <a:sysClr val="windowText" lastClr="000000"/>
                </a:solidFill>
              </a:rPr>
              <a:t>218</a:t>
            </a:r>
          </a:p>
        </p:txBody>
      </p:sp>
      <p:sp>
        <p:nvSpPr>
          <p:cNvPr id="128" name="Rectangle 127">
            <a:extLst>
              <a:ext uri="{FF2B5EF4-FFF2-40B4-BE49-F238E27FC236}">
                <a16:creationId xmlns:a16="http://schemas.microsoft.com/office/drawing/2014/main" id="{3C59B207-7A8D-4660-8DB5-FD4B071F617E}"/>
              </a:ext>
            </a:extLst>
          </p:cNvPr>
          <p:cNvSpPr/>
          <p:nvPr userDrawn="1"/>
        </p:nvSpPr>
        <p:spPr>
          <a:xfrm>
            <a:off x="2999643" y="4301273"/>
            <a:ext cx="839614" cy="411225"/>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9</a:t>
            </a:r>
          </a:p>
          <a:p>
            <a:pPr algn="ctr"/>
            <a:r>
              <a:rPr lang="en-GB" sz="800">
                <a:solidFill>
                  <a:schemeClr val="bg1"/>
                </a:solidFill>
              </a:rPr>
              <a:t>142</a:t>
            </a:r>
          </a:p>
          <a:p>
            <a:pPr algn="ctr"/>
            <a:r>
              <a:rPr lang="en-GB" sz="800">
                <a:solidFill>
                  <a:schemeClr val="bg1"/>
                </a:solidFill>
              </a:rPr>
              <a:t>126</a:t>
            </a:r>
          </a:p>
        </p:txBody>
      </p:sp>
      <p:sp>
        <p:nvSpPr>
          <p:cNvPr id="129" name="Rectangle 128">
            <a:extLst>
              <a:ext uri="{FF2B5EF4-FFF2-40B4-BE49-F238E27FC236}">
                <a16:creationId xmlns:a16="http://schemas.microsoft.com/office/drawing/2014/main" id="{678AFB1A-195E-44FA-BE15-D720E8B85D8F}"/>
              </a:ext>
            </a:extLst>
          </p:cNvPr>
          <p:cNvSpPr/>
          <p:nvPr userDrawn="1"/>
        </p:nvSpPr>
        <p:spPr>
          <a:xfrm>
            <a:off x="2999643" y="4809441"/>
            <a:ext cx="839614" cy="411225"/>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92</a:t>
            </a:r>
          </a:p>
          <a:p>
            <a:pPr algn="ctr"/>
            <a:r>
              <a:rPr lang="en-GB" sz="800">
                <a:solidFill>
                  <a:schemeClr val="bg1"/>
                </a:solidFill>
              </a:rPr>
              <a:t>174</a:t>
            </a:r>
          </a:p>
        </p:txBody>
      </p:sp>
      <p:sp>
        <p:nvSpPr>
          <p:cNvPr id="130" name="Rectangle 129">
            <a:extLst>
              <a:ext uri="{FF2B5EF4-FFF2-40B4-BE49-F238E27FC236}">
                <a16:creationId xmlns:a16="http://schemas.microsoft.com/office/drawing/2014/main" id="{1B6D0FF4-11D1-457F-956E-EAB85D8156E2}"/>
              </a:ext>
            </a:extLst>
          </p:cNvPr>
          <p:cNvSpPr/>
          <p:nvPr userDrawn="1"/>
        </p:nvSpPr>
        <p:spPr>
          <a:xfrm>
            <a:off x="2999643" y="5324001"/>
            <a:ext cx="839614" cy="411225"/>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accent3"/>
                </a:solidFill>
              </a:rPr>
              <a:t>99</a:t>
            </a:r>
          </a:p>
          <a:p>
            <a:pPr algn="ctr"/>
            <a:r>
              <a:rPr lang="en-GB" sz="800">
                <a:solidFill>
                  <a:schemeClr val="accent3"/>
                </a:solidFill>
              </a:rPr>
              <a:t>235</a:t>
            </a:r>
          </a:p>
          <a:p>
            <a:pPr algn="ctr"/>
            <a:r>
              <a:rPr lang="en-GB" sz="800">
                <a:solidFill>
                  <a:schemeClr val="accent3"/>
                </a:solidFill>
              </a:rPr>
              <a:t>218</a:t>
            </a:r>
          </a:p>
        </p:txBody>
      </p:sp>
      <p:sp>
        <p:nvSpPr>
          <p:cNvPr id="131" name="TextBox 130">
            <a:extLst>
              <a:ext uri="{FF2B5EF4-FFF2-40B4-BE49-F238E27FC236}">
                <a16:creationId xmlns:a16="http://schemas.microsoft.com/office/drawing/2014/main" id="{BB5D52C5-6967-46A4-840A-0F4BBAAA614D}"/>
              </a:ext>
            </a:extLst>
          </p:cNvPr>
          <p:cNvSpPr txBox="1">
            <a:spLocks/>
          </p:cNvSpPr>
          <p:nvPr userDrawn="1"/>
        </p:nvSpPr>
        <p:spPr>
          <a:xfrm>
            <a:off x="3916179" y="3363960"/>
            <a:ext cx="1253995" cy="237066"/>
          </a:xfrm>
          <a:prstGeom prst="rect">
            <a:avLst/>
          </a:prstGeom>
          <a:noFill/>
        </p:spPr>
        <p:txBody>
          <a:bodyPr wrap="square" lIns="54610" tIns="54610" rIns="54610" bIns="54610" rtlCol="0" anchor="ctr">
            <a:noAutofit/>
          </a:bodyPr>
          <a:lstStyle/>
          <a:p>
            <a:pPr algn="l">
              <a:spcAft>
                <a:spcPts val="600"/>
              </a:spcAft>
            </a:pPr>
            <a:r>
              <a:rPr lang="en-GB" sz="1000"/>
              <a:t>Dark Pink</a:t>
            </a:r>
          </a:p>
        </p:txBody>
      </p:sp>
      <p:sp>
        <p:nvSpPr>
          <p:cNvPr id="132" name="TextBox 131">
            <a:extLst>
              <a:ext uri="{FF2B5EF4-FFF2-40B4-BE49-F238E27FC236}">
                <a16:creationId xmlns:a16="http://schemas.microsoft.com/office/drawing/2014/main" id="{DD7E36A7-608E-4095-AFE8-44754410AE91}"/>
              </a:ext>
            </a:extLst>
          </p:cNvPr>
          <p:cNvSpPr txBox="1">
            <a:spLocks/>
          </p:cNvSpPr>
          <p:nvPr userDrawn="1"/>
        </p:nvSpPr>
        <p:spPr>
          <a:xfrm>
            <a:off x="3916179" y="2341846"/>
            <a:ext cx="1253995" cy="237066"/>
          </a:xfrm>
          <a:prstGeom prst="rect">
            <a:avLst/>
          </a:prstGeom>
          <a:noFill/>
        </p:spPr>
        <p:txBody>
          <a:bodyPr wrap="square" lIns="54610" tIns="54610" rIns="54610" bIns="54610" rtlCol="0" anchor="ctr">
            <a:noAutofit/>
          </a:bodyPr>
          <a:lstStyle/>
          <a:p>
            <a:pPr algn="l">
              <a:spcAft>
                <a:spcPts val="600"/>
              </a:spcAft>
            </a:pPr>
            <a:r>
              <a:rPr lang="en-GB" sz="1000"/>
              <a:t>Dark Purple</a:t>
            </a:r>
          </a:p>
        </p:txBody>
      </p:sp>
      <p:sp>
        <p:nvSpPr>
          <p:cNvPr id="133" name="TextBox 132">
            <a:extLst>
              <a:ext uri="{FF2B5EF4-FFF2-40B4-BE49-F238E27FC236}">
                <a16:creationId xmlns:a16="http://schemas.microsoft.com/office/drawing/2014/main" id="{9C9FED5C-190D-49E2-B63F-2F4A8F4FD2A9}"/>
              </a:ext>
            </a:extLst>
          </p:cNvPr>
          <p:cNvSpPr txBox="1">
            <a:spLocks/>
          </p:cNvSpPr>
          <p:nvPr userDrawn="1"/>
        </p:nvSpPr>
        <p:spPr>
          <a:xfrm>
            <a:off x="3916179" y="3875017"/>
            <a:ext cx="1253995" cy="237066"/>
          </a:xfrm>
          <a:prstGeom prst="rect">
            <a:avLst/>
          </a:prstGeom>
          <a:noFill/>
        </p:spPr>
        <p:txBody>
          <a:bodyPr wrap="square" lIns="54610" tIns="54610" rIns="54610" bIns="54610" rtlCol="0" anchor="ctr">
            <a:noAutofit/>
          </a:bodyPr>
          <a:lstStyle/>
          <a:p>
            <a:pPr algn="l">
              <a:spcAft>
                <a:spcPts val="600"/>
              </a:spcAft>
            </a:pPr>
            <a:r>
              <a:rPr lang="en-GB" sz="1000"/>
              <a:t>Light Pink</a:t>
            </a:r>
          </a:p>
        </p:txBody>
      </p:sp>
      <p:sp>
        <p:nvSpPr>
          <p:cNvPr id="134" name="TextBox 133">
            <a:extLst>
              <a:ext uri="{FF2B5EF4-FFF2-40B4-BE49-F238E27FC236}">
                <a16:creationId xmlns:a16="http://schemas.microsoft.com/office/drawing/2014/main" id="{287480E6-9759-4B71-B8CA-452C4A2006EC}"/>
              </a:ext>
            </a:extLst>
          </p:cNvPr>
          <p:cNvSpPr txBox="1">
            <a:spLocks/>
          </p:cNvSpPr>
          <p:nvPr userDrawn="1"/>
        </p:nvSpPr>
        <p:spPr>
          <a:xfrm>
            <a:off x="3916179" y="4386074"/>
            <a:ext cx="1253995" cy="237066"/>
          </a:xfrm>
          <a:prstGeom prst="rect">
            <a:avLst/>
          </a:prstGeom>
          <a:noFill/>
        </p:spPr>
        <p:txBody>
          <a:bodyPr wrap="square" lIns="54610" tIns="54610" rIns="54610" bIns="54610" rtlCol="0" anchor="ctr">
            <a:noAutofit/>
          </a:bodyPr>
          <a:lstStyle/>
          <a:p>
            <a:pPr algn="l">
              <a:spcAft>
                <a:spcPts val="600"/>
              </a:spcAft>
            </a:pPr>
            <a:r>
              <a:rPr lang="en-GB" sz="1000"/>
              <a:t>Dark Green</a:t>
            </a:r>
          </a:p>
        </p:txBody>
      </p:sp>
      <p:sp>
        <p:nvSpPr>
          <p:cNvPr id="135" name="TextBox 134">
            <a:extLst>
              <a:ext uri="{FF2B5EF4-FFF2-40B4-BE49-F238E27FC236}">
                <a16:creationId xmlns:a16="http://schemas.microsoft.com/office/drawing/2014/main" id="{699CFDB7-519B-4F93-8992-FB8E8F58BBA8}"/>
              </a:ext>
            </a:extLst>
          </p:cNvPr>
          <p:cNvSpPr txBox="1">
            <a:spLocks/>
          </p:cNvSpPr>
          <p:nvPr userDrawn="1"/>
        </p:nvSpPr>
        <p:spPr>
          <a:xfrm>
            <a:off x="3916179" y="2852903"/>
            <a:ext cx="1253995" cy="237066"/>
          </a:xfrm>
          <a:prstGeom prst="rect">
            <a:avLst/>
          </a:prstGeom>
          <a:noFill/>
        </p:spPr>
        <p:txBody>
          <a:bodyPr wrap="square" lIns="54610" tIns="54610" rIns="54610" bIns="54610" rtlCol="0" anchor="ctr">
            <a:noAutofit/>
          </a:bodyPr>
          <a:lstStyle/>
          <a:p>
            <a:pPr algn="l">
              <a:spcAft>
                <a:spcPts val="600"/>
              </a:spcAft>
            </a:pPr>
            <a:r>
              <a:rPr lang="en-GB" sz="1000"/>
              <a:t>Light Purple</a:t>
            </a:r>
          </a:p>
        </p:txBody>
      </p:sp>
      <p:sp>
        <p:nvSpPr>
          <p:cNvPr id="136" name="TextBox 135">
            <a:extLst>
              <a:ext uri="{FF2B5EF4-FFF2-40B4-BE49-F238E27FC236}">
                <a16:creationId xmlns:a16="http://schemas.microsoft.com/office/drawing/2014/main" id="{04261309-AD94-4DA2-9DE0-CF08CDC08A2D}"/>
              </a:ext>
            </a:extLst>
          </p:cNvPr>
          <p:cNvSpPr txBox="1">
            <a:spLocks/>
          </p:cNvSpPr>
          <p:nvPr userDrawn="1"/>
        </p:nvSpPr>
        <p:spPr>
          <a:xfrm>
            <a:off x="3916179" y="4897131"/>
            <a:ext cx="1253995" cy="237066"/>
          </a:xfrm>
          <a:prstGeom prst="rect">
            <a:avLst/>
          </a:prstGeom>
          <a:noFill/>
        </p:spPr>
        <p:txBody>
          <a:bodyPr wrap="square" lIns="54610" tIns="54610" rIns="54610" bIns="54610" rtlCol="0" anchor="ctr">
            <a:noAutofit/>
          </a:bodyPr>
          <a:lstStyle/>
          <a:p>
            <a:pPr algn="l">
              <a:spcAft>
                <a:spcPts val="600"/>
              </a:spcAft>
            </a:pPr>
            <a:r>
              <a:rPr lang="en-GB" sz="1000"/>
              <a:t>Green</a:t>
            </a:r>
          </a:p>
        </p:txBody>
      </p:sp>
      <p:sp>
        <p:nvSpPr>
          <p:cNvPr id="137" name="TextBox 136">
            <a:extLst>
              <a:ext uri="{FF2B5EF4-FFF2-40B4-BE49-F238E27FC236}">
                <a16:creationId xmlns:a16="http://schemas.microsoft.com/office/drawing/2014/main" id="{22F2A8E7-CBDC-4379-8206-549AD18BA6BE}"/>
              </a:ext>
            </a:extLst>
          </p:cNvPr>
          <p:cNvSpPr txBox="1">
            <a:spLocks/>
          </p:cNvSpPr>
          <p:nvPr userDrawn="1"/>
        </p:nvSpPr>
        <p:spPr>
          <a:xfrm>
            <a:off x="3916179" y="5408188"/>
            <a:ext cx="1253995" cy="237066"/>
          </a:xfrm>
          <a:prstGeom prst="rect">
            <a:avLst/>
          </a:prstGeom>
          <a:noFill/>
        </p:spPr>
        <p:txBody>
          <a:bodyPr wrap="square" lIns="54610" tIns="54610" rIns="54610" bIns="54610" rtlCol="0" anchor="ctr">
            <a:noAutofit/>
          </a:bodyPr>
          <a:lstStyle/>
          <a:p>
            <a:pPr algn="l">
              <a:spcAft>
                <a:spcPts val="600"/>
              </a:spcAft>
            </a:pPr>
            <a:r>
              <a:rPr lang="en-GB" sz="1000"/>
              <a:t>Light Green</a:t>
            </a:r>
          </a:p>
        </p:txBody>
      </p:sp>
      <p:sp>
        <p:nvSpPr>
          <p:cNvPr id="138" name="Rectangle 137">
            <a:extLst>
              <a:ext uri="{FF2B5EF4-FFF2-40B4-BE49-F238E27FC236}">
                <a16:creationId xmlns:a16="http://schemas.microsoft.com/office/drawing/2014/main" id="{D87A6D94-65CA-428E-BED2-08188E10A89C}"/>
              </a:ext>
            </a:extLst>
          </p:cNvPr>
          <p:cNvSpPr/>
          <p:nvPr userDrawn="1"/>
        </p:nvSpPr>
        <p:spPr>
          <a:xfrm>
            <a:off x="5232206" y="1731971"/>
            <a:ext cx="839614" cy="411225"/>
          </a:xfrm>
          <a:prstGeom prst="rect">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51</a:t>
            </a:r>
          </a:p>
          <a:p>
            <a:pPr algn="ctr"/>
            <a:r>
              <a:rPr lang="en-GB" sz="800">
                <a:solidFill>
                  <a:schemeClr val="bg1"/>
                </a:solidFill>
              </a:rPr>
              <a:t>51</a:t>
            </a:r>
          </a:p>
          <a:p>
            <a:pPr algn="ctr"/>
            <a:r>
              <a:rPr lang="en-GB" sz="800">
                <a:solidFill>
                  <a:schemeClr val="bg1"/>
                </a:solidFill>
              </a:rPr>
              <a:t>51</a:t>
            </a:r>
          </a:p>
        </p:txBody>
      </p:sp>
      <p:sp>
        <p:nvSpPr>
          <p:cNvPr id="139" name="Rectangle 138">
            <a:extLst>
              <a:ext uri="{FF2B5EF4-FFF2-40B4-BE49-F238E27FC236}">
                <a16:creationId xmlns:a16="http://schemas.microsoft.com/office/drawing/2014/main" id="{DB37D1E0-6E13-43AA-8690-2187719986CE}"/>
              </a:ext>
            </a:extLst>
          </p:cNvPr>
          <p:cNvSpPr/>
          <p:nvPr userDrawn="1"/>
        </p:nvSpPr>
        <p:spPr>
          <a:xfrm>
            <a:off x="5232206" y="2246533"/>
            <a:ext cx="839614" cy="411225"/>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a:p>
            <a:pPr algn="ctr"/>
            <a:endParaRPr lang="en-GB" sz="800">
              <a:solidFill>
                <a:schemeClr val="bg1"/>
              </a:solidFill>
            </a:endParaRPr>
          </a:p>
        </p:txBody>
      </p:sp>
      <p:sp>
        <p:nvSpPr>
          <p:cNvPr id="140" name="TextBox 139">
            <a:extLst>
              <a:ext uri="{FF2B5EF4-FFF2-40B4-BE49-F238E27FC236}">
                <a16:creationId xmlns:a16="http://schemas.microsoft.com/office/drawing/2014/main" id="{7D0EC1A1-8663-4279-B928-3DE7DCA9903E}"/>
              </a:ext>
            </a:extLst>
          </p:cNvPr>
          <p:cNvSpPr txBox="1"/>
          <p:nvPr userDrawn="1"/>
        </p:nvSpPr>
        <p:spPr>
          <a:xfrm>
            <a:off x="5225411" y="1330325"/>
            <a:ext cx="1545229" cy="307777"/>
          </a:xfrm>
          <a:prstGeom prst="rect">
            <a:avLst/>
          </a:prstGeom>
          <a:noFill/>
        </p:spPr>
        <p:txBody>
          <a:bodyPr wrap="square" lIns="0" tIns="0" rIns="0" bIns="0" rtlCol="0">
            <a:spAutoFit/>
          </a:bodyPr>
          <a:lstStyle/>
          <a:p>
            <a:pPr algn="l">
              <a:spcAft>
                <a:spcPts val="600"/>
              </a:spcAft>
            </a:pPr>
            <a:r>
              <a:rPr lang="en-US" sz="1000" b="1">
                <a:solidFill>
                  <a:sysClr val="windowText" lastClr="000000"/>
                </a:solidFill>
              </a:rPr>
              <a:t>Neutrals for Infographics and charts only </a:t>
            </a:r>
          </a:p>
        </p:txBody>
      </p:sp>
      <p:sp>
        <p:nvSpPr>
          <p:cNvPr id="141" name="Rectangle 140">
            <a:extLst>
              <a:ext uri="{FF2B5EF4-FFF2-40B4-BE49-F238E27FC236}">
                <a16:creationId xmlns:a16="http://schemas.microsoft.com/office/drawing/2014/main" id="{CCF5BD29-5929-45B7-A56B-8DBE91DA9C55}"/>
              </a:ext>
            </a:extLst>
          </p:cNvPr>
          <p:cNvSpPr/>
          <p:nvPr userDrawn="1"/>
        </p:nvSpPr>
        <p:spPr>
          <a:xfrm>
            <a:off x="5232206" y="2761094"/>
            <a:ext cx="839614" cy="411225"/>
          </a:xfrm>
          <a:prstGeom prst="rect">
            <a:avLst/>
          </a:prstGeom>
          <a:solidFill>
            <a:srgbClr val="98989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52</a:t>
            </a:r>
          </a:p>
          <a:p>
            <a:pPr algn="ctr"/>
            <a:r>
              <a:rPr lang="en-GB" sz="800">
                <a:solidFill>
                  <a:schemeClr val="bg1"/>
                </a:solidFill>
              </a:rPr>
              <a:t>152</a:t>
            </a:r>
          </a:p>
          <a:p>
            <a:pPr algn="ctr"/>
            <a:r>
              <a:rPr lang="en-GB" sz="800">
                <a:solidFill>
                  <a:schemeClr val="bg1"/>
                </a:solidFill>
              </a:rPr>
              <a:t>152</a:t>
            </a:r>
          </a:p>
        </p:txBody>
      </p:sp>
      <p:sp>
        <p:nvSpPr>
          <p:cNvPr id="142" name="Rectangle 141">
            <a:extLst>
              <a:ext uri="{FF2B5EF4-FFF2-40B4-BE49-F238E27FC236}">
                <a16:creationId xmlns:a16="http://schemas.microsoft.com/office/drawing/2014/main" id="{38184FEE-70BA-491C-9F07-837F82AA106B}"/>
              </a:ext>
            </a:extLst>
          </p:cNvPr>
          <p:cNvSpPr/>
          <p:nvPr userDrawn="1"/>
        </p:nvSpPr>
        <p:spPr>
          <a:xfrm>
            <a:off x="5232206" y="3275656"/>
            <a:ext cx="839614" cy="411225"/>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78</a:t>
            </a:r>
          </a:p>
          <a:p>
            <a:pPr algn="ctr"/>
            <a:r>
              <a:rPr lang="en-GB" sz="800">
                <a:solidFill>
                  <a:sysClr val="windowText" lastClr="000000"/>
                </a:solidFill>
              </a:rPr>
              <a:t>178</a:t>
            </a:r>
          </a:p>
          <a:p>
            <a:pPr algn="ctr"/>
            <a:r>
              <a:rPr lang="en-GB" sz="800">
                <a:solidFill>
                  <a:sysClr val="windowText" lastClr="000000"/>
                </a:solidFill>
              </a:rPr>
              <a:t>178</a:t>
            </a:r>
          </a:p>
        </p:txBody>
      </p:sp>
      <p:sp>
        <p:nvSpPr>
          <p:cNvPr id="143" name="Rectangle 142">
            <a:extLst>
              <a:ext uri="{FF2B5EF4-FFF2-40B4-BE49-F238E27FC236}">
                <a16:creationId xmlns:a16="http://schemas.microsoft.com/office/drawing/2014/main" id="{90EACDDE-24FA-462A-9B3D-8E1261BF7BB1}"/>
              </a:ext>
            </a:extLst>
          </p:cNvPr>
          <p:cNvSpPr/>
          <p:nvPr userDrawn="1"/>
        </p:nvSpPr>
        <p:spPr>
          <a:xfrm>
            <a:off x="5232206" y="3790216"/>
            <a:ext cx="839614" cy="411225"/>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229</a:t>
            </a:r>
          </a:p>
          <a:p>
            <a:pPr algn="ctr"/>
            <a:r>
              <a:rPr lang="en-GB" sz="800">
                <a:solidFill>
                  <a:schemeClr val="tx1"/>
                </a:solidFill>
              </a:rPr>
              <a:t>229</a:t>
            </a:r>
          </a:p>
          <a:p>
            <a:pPr algn="ctr"/>
            <a:r>
              <a:rPr lang="en-GB" sz="800">
                <a:solidFill>
                  <a:schemeClr val="tx1"/>
                </a:solidFill>
              </a:rPr>
              <a:t>229</a:t>
            </a:r>
          </a:p>
        </p:txBody>
      </p:sp>
      <p:sp>
        <p:nvSpPr>
          <p:cNvPr id="144" name="TextBox 143">
            <a:extLst>
              <a:ext uri="{FF2B5EF4-FFF2-40B4-BE49-F238E27FC236}">
                <a16:creationId xmlns:a16="http://schemas.microsoft.com/office/drawing/2014/main" id="{EC3FEA02-2190-4DF1-916F-7ACD48F0B4C2}"/>
              </a:ext>
            </a:extLst>
          </p:cNvPr>
          <p:cNvSpPr txBox="1"/>
          <p:nvPr userDrawn="1"/>
        </p:nvSpPr>
        <p:spPr>
          <a:xfrm>
            <a:off x="6203979" y="2852903"/>
            <a:ext cx="1253995" cy="237066"/>
          </a:xfrm>
          <a:prstGeom prst="rect">
            <a:avLst/>
          </a:prstGeom>
          <a:noFill/>
        </p:spPr>
        <p:txBody>
          <a:bodyPr wrap="square" lIns="54610" tIns="54610" rIns="54610" bIns="54610" rtlCol="0" anchor="ctr">
            <a:noAutofit/>
          </a:bodyPr>
          <a:lstStyle/>
          <a:p>
            <a:pPr algn="l">
              <a:spcAft>
                <a:spcPts val="600"/>
              </a:spcAft>
            </a:pPr>
            <a:r>
              <a:rPr lang="en-GB" sz="1000"/>
              <a:t>Grey 3</a:t>
            </a:r>
          </a:p>
        </p:txBody>
      </p:sp>
      <p:sp>
        <p:nvSpPr>
          <p:cNvPr id="145" name="TextBox 144">
            <a:extLst>
              <a:ext uri="{FF2B5EF4-FFF2-40B4-BE49-F238E27FC236}">
                <a16:creationId xmlns:a16="http://schemas.microsoft.com/office/drawing/2014/main" id="{79E07AF7-FC15-4556-9563-C9C281FDA5F2}"/>
              </a:ext>
            </a:extLst>
          </p:cNvPr>
          <p:cNvSpPr txBox="1"/>
          <p:nvPr userDrawn="1"/>
        </p:nvSpPr>
        <p:spPr>
          <a:xfrm>
            <a:off x="6203979" y="1830789"/>
            <a:ext cx="1253995" cy="237066"/>
          </a:xfrm>
          <a:prstGeom prst="rect">
            <a:avLst/>
          </a:prstGeom>
          <a:noFill/>
        </p:spPr>
        <p:txBody>
          <a:bodyPr wrap="square" lIns="54610" tIns="54610" rIns="54610" bIns="54610" rtlCol="0" anchor="ctr">
            <a:noAutofit/>
          </a:bodyPr>
          <a:lstStyle/>
          <a:p>
            <a:pPr algn="l">
              <a:spcAft>
                <a:spcPts val="600"/>
              </a:spcAft>
            </a:pPr>
            <a:r>
              <a:rPr lang="en-GB" sz="1000"/>
              <a:t>Grey 1</a:t>
            </a:r>
          </a:p>
        </p:txBody>
      </p:sp>
      <p:sp>
        <p:nvSpPr>
          <p:cNvPr id="146" name="TextBox 145">
            <a:extLst>
              <a:ext uri="{FF2B5EF4-FFF2-40B4-BE49-F238E27FC236}">
                <a16:creationId xmlns:a16="http://schemas.microsoft.com/office/drawing/2014/main" id="{A121C6FF-8D6E-4436-A2DB-59B64FAD7076}"/>
              </a:ext>
            </a:extLst>
          </p:cNvPr>
          <p:cNvSpPr txBox="1"/>
          <p:nvPr userDrawn="1"/>
        </p:nvSpPr>
        <p:spPr>
          <a:xfrm>
            <a:off x="6203979" y="3363960"/>
            <a:ext cx="1253995" cy="237066"/>
          </a:xfrm>
          <a:prstGeom prst="rect">
            <a:avLst/>
          </a:prstGeom>
          <a:noFill/>
        </p:spPr>
        <p:txBody>
          <a:bodyPr wrap="square" lIns="54610" tIns="54610" rIns="54610" bIns="54610" rtlCol="0" anchor="ctr">
            <a:noAutofit/>
          </a:bodyPr>
          <a:lstStyle/>
          <a:p>
            <a:pPr algn="l">
              <a:spcAft>
                <a:spcPts val="600"/>
              </a:spcAft>
            </a:pPr>
            <a:r>
              <a:rPr lang="en-GB" sz="1000"/>
              <a:t>Grey 4</a:t>
            </a:r>
          </a:p>
        </p:txBody>
      </p:sp>
      <p:sp>
        <p:nvSpPr>
          <p:cNvPr id="147" name="TextBox 146">
            <a:extLst>
              <a:ext uri="{FF2B5EF4-FFF2-40B4-BE49-F238E27FC236}">
                <a16:creationId xmlns:a16="http://schemas.microsoft.com/office/drawing/2014/main" id="{BAED589B-5ED1-418C-9E67-338784BC8640}"/>
              </a:ext>
            </a:extLst>
          </p:cNvPr>
          <p:cNvSpPr txBox="1"/>
          <p:nvPr userDrawn="1"/>
        </p:nvSpPr>
        <p:spPr>
          <a:xfrm>
            <a:off x="6203979" y="3875017"/>
            <a:ext cx="1253995" cy="237066"/>
          </a:xfrm>
          <a:prstGeom prst="rect">
            <a:avLst/>
          </a:prstGeom>
          <a:noFill/>
        </p:spPr>
        <p:txBody>
          <a:bodyPr wrap="square" lIns="54610" tIns="54610" rIns="54610" bIns="54610" rtlCol="0" anchor="ctr">
            <a:noAutofit/>
          </a:bodyPr>
          <a:lstStyle/>
          <a:p>
            <a:pPr algn="l">
              <a:spcAft>
                <a:spcPts val="600"/>
              </a:spcAft>
            </a:pPr>
            <a:r>
              <a:rPr lang="en-GB" sz="1000"/>
              <a:t>Grey 5</a:t>
            </a:r>
          </a:p>
        </p:txBody>
      </p:sp>
      <p:sp>
        <p:nvSpPr>
          <p:cNvPr id="148" name="TextBox 147">
            <a:extLst>
              <a:ext uri="{FF2B5EF4-FFF2-40B4-BE49-F238E27FC236}">
                <a16:creationId xmlns:a16="http://schemas.microsoft.com/office/drawing/2014/main" id="{70D02553-48DF-4041-99A5-AA13C2DC2B44}"/>
              </a:ext>
            </a:extLst>
          </p:cNvPr>
          <p:cNvSpPr txBox="1"/>
          <p:nvPr userDrawn="1"/>
        </p:nvSpPr>
        <p:spPr>
          <a:xfrm>
            <a:off x="6203979" y="2341846"/>
            <a:ext cx="1253995" cy="237066"/>
          </a:xfrm>
          <a:prstGeom prst="rect">
            <a:avLst/>
          </a:prstGeom>
          <a:noFill/>
        </p:spPr>
        <p:txBody>
          <a:bodyPr wrap="square" lIns="54610" tIns="54610" rIns="54610" bIns="54610" rtlCol="0" anchor="ctr">
            <a:noAutofit/>
          </a:bodyPr>
          <a:lstStyle/>
          <a:p>
            <a:pPr algn="l">
              <a:spcAft>
                <a:spcPts val="600"/>
              </a:spcAft>
            </a:pPr>
            <a:r>
              <a:rPr lang="en-GB" sz="1000"/>
              <a:t>Grey 2</a:t>
            </a:r>
          </a:p>
        </p:txBody>
      </p:sp>
      <p:sp>
        <p:nvSpPr>
          <p:cNvPr id="149" name="Rectangle 148">
            <a:extLst>
              <a:ext uri="{FF2B5EF4-FFF2-40B4-BE49-F238E27FC236}">
                <a16:creationId xmlns:a16="http://schemas.microsoft.com/office/drawing/2014/main" id="{B4CDB103-522D-48EC-B8B2-A2E4667B4B76}"/>
              </a:ext>
            </a:extLst>
          </p:cNvPr>
          <p:cNvSpPr/>
          <p:nvPr userDrawn="1"/>
        </p:nvSpPr>
        <p:spPr>
          <a:xfrm>
            <a:off x="7170486" y="2656172"/>
            <a:ext cx="839614" cy="411225"/>
          </a:xfrm>
          <a:prstGeom prst="rect">
            <a:avLst/>
          </a:prstGeom>
          <a:gradFill>
            <a:gsLst>
              <a:gs pos="100000">
                <a:schemeClr val="accent1"/>
              </a:gs>
              <a:gs pos="0">
                <a:schemeClr val="accent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a:solidFill>
                <a:schemeClr val="bg1"/>
              </a:solidFill>
            </a:endParaRPr>
          </a:p>
        </p:txBody>
      </p:sp>
      <p:sp>
        <p:nvSpPr>
          <p:cNvPr id="150" name="Rectangle 149">
            <a:extLst>
              <a:ext uri="{FF2B5EF4-FFF2-40B4-BE49-F238E27FC236}">
                <a16:creationId xmlns:a16="http://schemas.microsoft.com/office/drawing/2014/main" id="{1AFFBE6D-0AD2-4A35-9AA7-45A0FCB4A01F}"/>
              </a:ext>
            </a:extLst>
          </p:cNvPr>
          <p:cNvSpPr/>
          <p:nvPr userDrawn="1"/>
        </p:nvSpPr>
        <p:spPr>
          <a:xfrm>
            <a:off x="9170077" y="2656172"/>
            <a:ext cx="839614" cy="411225"/>
          </a:xfrm>
          <a:prstGeom prst="rect">
            <a:avLst/>
          </a:prstGeom>
          <a:gradFill>
            <a:gsLst>
              <a:gs pos="100000">
                <a:srgbClr val="ACEAFF"/>
              </a:gs>
              <a:gs pos="0">
                <a:schemeClr val="accent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endParaRPr lang="en-GB" sz="800">
              <a:solidFill>
                <a:schemeClr val="bg1"/>
              </a:solidFill>
            </a:endParaRPr>
          </a:p>
        </p:txBody>
      </p:sp>
      <p:sp>
        <p:nvSpPr>
          <p:cNvPr id="151" name="TextBox 150">
            <a:extLst>
              <a:ext uri="{FF2B5EF4-FFF2-40B4-BE49-F238E27FC236}">
                <a16:creationId xmlns:a16="http://schemas.microsoft.com/office/drawing/2014/main" id="{ECFF6FFB-5D07-4250-BEF0-CDC882689078}"/>
              </a:ext>
            </a:extLst>
          </p:cNvPr>
          <p:cNvSpPr txBox="1"/>
          <p:nvPr userDrawn="1"/>
        </p:nvSpPr>
        <p:spPr>
          <a:xfrm>
            <a:off x="8028290" y="2743862"/>
            <a:ext cx="1568421" cy="237066"/>
          </a:xfrm>
          <a:prstGeom prst="rect">
            <a:avLst/>
          </a:prstGeom>
          <a:noFill/>
        </p:spPr>
        <p:txBody>
          <a:bodyPr wrap="square" lIns="54610" tIns="54610" rIns="54610" bIns="54610" rtlCol="0" anchor="ctr">
            <a:noAutofit/>
          </a:bodyPr>
          <a:lstStyle/>
          <a:p>
            <a:pPr algn="l">
              <a:spcAft>
                <a:spcPts val="600"/>
              </a:spcAft>
            </a:pPr>
            <a:r>
              <a:rPr lang="en-GB" sz="1000"/>
              <a:t>Purple/</a:t>
            </a:r>
            <a:br>
              <a:rPr lang="en-GB" sz="1000"/>
            </a:br>
            <a:r>
              <a:rPr lang="en-GB" sz="1000"/>
              <a:t>Cobalt gradient</a:t>
            </a:r>
          </a:p>
        </p:txBody>
      </p:sp>
      <p:sp>
        <p:nvSpPr>
          <p:cNvPr id="152" name="TextBox 151">
            <a:extLst>
              <a:ext uri="{FF2B5EF4-FFF2-40B4-BE49-F238E27FC236}">
                <a16:creationId xmlns:a16="http://schemas.microsoft.com/office/drawing/2014/main" id="{45965361-0B4C-4736-ACD2-BA200F28104F}"/>
              </a:ext>
            </a:extLst>
          </p:cNvPr>
          <p:cNvSpPr txBox="1"/>
          <p:nvPr userDrawn="1"/>
        </p:nvSpPr>
        <p:spPr>
          <a:xfrm>
            <a:off x="10053992" y="2743862"/>
            <a:ext cx="1287337" cy="237066"/>
          </a:xfrm>
          <a:prstGeom prst="rect">
            <a:avLst/>
          </a:prstGeom>
          <a:noFill/>
        </p:spPr>
        <p:txBody>
          <a:bodyPr wrap="square" lIns="54610" tIns="54610" rIns="54610" bIns="54610" rtlCol="0" anchor="ctr">
            <a:noAutofit/>
          </a:bodyPr>
          <a:lstStyle/>
          <a:p>
            <a:pPr algn="l">
              <a:spcAft>
                <a:spcPts val="600"/>
              </a:spcAft>
            </a:pPr>
            <a:r>
              <a:rPr lang="en-GB" sz="1000"/>
              <a:t>Pacific/</a:t>
            </a:r>
            <a:br>
              <a:rPr lang="en-GB" sz="1000"/>
            </a:br>
            <a:r>
              <a:rPr lang="en-GB" sz="1000"/>
              <a:t>Light Blue gradient</a:t>
            </a:r>
          </a:p>
        </p:txBody>
      </p:sp>
      <p:sp>
        <p:nvSpPr>
          <p:cNvPr id="153" name="TextBox 152">
            <a:extLst>
              <a:ext uri="{FF2B5EF4-FFF2-40B4-BE49-F238E27FC236}">
                <a16:creationId xmlns:a16="http://schemas.microsoft.com/office/drawing/2014/main" id="{BD735D06-416E-49AE-B073-B2BD1542A5DE}"/>
              </a:ext>
            </a:extLst>
          </p:cNvPr>
          <p:cNvSpPr txBox="1"/>
          <p:nvPr userDrawn="1"/>
        </p:nvSpPr>
        <p:spPr>
          <a:xfrm>
            <a:off x="7146554" y="1298952"/>
            <a:ext cx="4047046" cy="1269578"/>
          </a:xfrm>
          <a:prstGeom prst="rect">
            <a:avLst/>
          </a:prstGeom>
          <a:noFill/>
        </p:spPr>
        <p:txBody>
          <a:bodyPr wrap="square" lIns="0" tIns="0" rIns="0" bIns="0" rtlCol="0">
            <a:spAutoFit/>
          </a:bodyPr>
          <a:lstStyle/>
          <a:p>
            <a:pPr algn="l">
              <a:spcAft>
                <a:spcPts val="300"/>
              </a:spcAft>
            </a:pPr>
            <a:r>
              <a:rPr lang="en-US" sz="1000" b="1">
                <a:solidFill>
                  <a:sysClr val="windowText" lastClr="000000"/>
                </a:solidFill>
              </a:rPr>
              <a:t>Gradients</a:t>
            </a:r>
          </a:p>
          <a:p>
            <a:pPr marL="171450" indent="-171450" algn="l">
              <a:spcAft>
                <a:spcPts val="300"/>
              </a:spcAft>
              <a:buFont typeface="Arial" panose="020B0604020202020204" pitchFamily="34" charset="0"/>
              <a:buChar char="•"/>
            </a:pPr>
            <a:r>
              <a:rPr lang="en-GB" sz="1000" b="0">
                <a:solidFill>
                  <a:sysClr val="windowText" lastClr="000000"/>
                </a:solidFill>
              </a:rPr>
              <a:t>The colours are applied at both ends of the gradient, at 0% and 100% locations</a:t>
            </a:r>
          </a:p>
          <a:p>
            <a:pPr marL="171450" indent="-171450" algn="l">
              <a:spcAft>
                <a:spcPts val="300"/>
              </a:spcAft>
              <a:buFont typeface="Arial" panose="020B0604020202020204" pitchFamily="34" charset="0"/>
              <a:buChar char="•"/>
            </a:pPr>
            <a:r>
              <a:rPr lang="en-GB" sz="1000" b="0">
                <a:solidFill>
                  <a:sysClr val="windowText" lastClr="000000"/>
                </a:solidFill>
              </a:rPr>
              <a:t>The mid-point is at 50%</a:t>
            </a:r>
          </a:p>
          <a:p>
            <a:pPr marL="171450" indent="-171450" algn="l">
              <a:spcAft>
                <a:spcPts val="300"/>
              </a:spcAft>
              <a:buFont typeface="Arial" panose="020B0604020202020204" pitchFamily="34" charset="0"/>
              <a:buChar char="•"/>
            </a:pPr>
            <a:r>
              <a:rPr lang="en-GB" sz="1000" b="0">
                <a:solidFill>
                  <a:sysClr val="windowText" lastClr="000000"/>
                </a:solidFill>
              </a:rPr>
              <a:t>The gradients are used at a 0º angle</a:t>
            </a:r>
          </a:p>
          <a:p>
            <a:pPr marL="171450" indent="-171450" algn="l">
              <a:spcAft>
                <a:spcPts val="300"/>
              </a:spcAft>
              <a:buFont typeface="Arial" panose="020B0604020202020204" pitchFamily="34" charset="0"/>
              <a:buChar char="•"/>
            </a:pPr>
            <a:r>
              <a:rPr lang="en-GB" sz="1000" b="0">
                <a:solidFill>
                  <a:sysClr val="windowText" lastClr="000000"/>
                </a:solidFill>
              </a:rPr>
              <a:t>Use the linear gradient, never radial</a:t>
            </a:r>
          </a:p>
          <a:p>
            <a:pPr marL="171450" indent="-171450" algn="l">
              <a:spcAft>
                <a:spcPts val="300"/>
              </a:spcAft>
              <a:buFont typeface="Arial" panose="020B0604020202020204" pitchFamily="34" charset="0"/>
              <a:buChar char="•"/>
            </a:pPr>
            <a:r>
              <a:rPr lang="en-GB" sz="1000" b="0">
                <a:solidFill>
                  <a:sysClr val="windowText" lastClr="000000"/>
                </a:solidFill>
              </a:rPr>
              <a:t>Do not create new gradients; use only the gradients shown here</a:t>
            </a:r>
            <a:endParaRPr lang="en-US" sz="1000" b="0">
              <a:solidFill>
                <a:sysClr val="windowText" lastClr="000000"/>
              </a:solidFill>
            </a:endParaRPr>
          </a:p>
        </p:txBody>
      </p:sp>
      <p:sp>
        <p:nvSpPr>
          <p:cNvPr id="154" name="Rectangle 153">
            <a:extLst>
              <a:ext uri="{FF2B5EF4-FFF2-40B4-BE49-F238E27FC236}">
                <a16:creationId xmlns:a16="http://schemas.microsoft.com/office/drawing/2014/main" id="{1152E5F7-E4BB-49DE-8133-604EB4B4E189}"/>
              </a:ext>
            </a:extLst>
          </p:cNvPr>
          <p:cNvSpPr/>
          <p:nvPr userDrawn="1"/>
        </p:nvSpPr>
        <p:spPr>
          <a:xfrm>
            <a:off x="5225411" y="4304594"/>
            <a:ext cx="839614" cy="411225"/>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tx1"/>
                </a:solidFill>
              </a:rPr>
              <a:t>255</a:t>
            </a:r>
          </a:p>
          <a:p>
            <a:pPr algn="ctr"/>
            <a:r>
              <a:rPr lang="en-GB" sz="800">
                <a:solidFill>
                  <a:schemeClr val="tx1"/>
                </a:solidFill>
              </a:rPr>
              <a:t>255</a:t>
            </a:r>
          </a:p>
          <a:p>
            <a:pPr algn="ctr"/>
            <a:r>
              <a:rPr lang="en-GB" sz="800">
                <a:solidFill>
                  <a:schemeClr val="tx1"/>
                </a:solidFill>
              </a:rPr>
              <a:t>255</a:t>
            </a:r>
          </a:p>
        </p:txBody>
      </p:sp>
      <p:sp>
        <p:nvSpPr>
          <p:cNvPr id="155" name="TextBox 154">
            <a:extLst>
              <a:ext uri="{FF2B5EF4-FFF2-40B4-BE49-F238E27FC236}">
                <a16:creationId xmlns:a16="http://schemas.microsoft.com/office/drawing/2014/main" id="{61D0619E-06B9-4925-A111-7A7045172CD7}"/>
              </a:ext>
            </a:extLst>
          </p:cNvPr>
          <p:cNvSpPr txBox="1"/>
          <p:nvPr userDrawn="1"/>
        </p:nvSpPr>
        <p:spPr>
          <a:xfrm>
            <a:off x="6197184" y="4389395"/>
            <a:ext cx="1253995" cy="237066"/>
          </a:xfrm>
          <a:prstGeom prst="rect">
            <a:avLst/>
          </a:prstGeom>
          <a:noFill/>
        </p:spPr>
        <p:txBody>
          <a:bodyPr wrap="square" lIns="54610" tIns="54610" rIns="54610" bIns="54610" rtlCol="0" anchor="ctr">
            <a:noAutofit/>
          </a:bodyPr>
          <a:lstStyle/>
          <a:p>
            <a:pPr algn="l">
              <a:spcAft>
                <a:spcPts val="600"/>
              </a:spcAft>
            </a:pPr>
            <a:r>
              <a:rPr lang="en-GB" sz="1000"/>
              <a:t>White</a:t>
            </a:r>
          </a:p>
        </p:txBody>
      </p:sp>
      <p:sp>
        <p:nvSpPr>
          <p:cNvPr id="156" name="TextBox 155">
            <a:extLst>
              <a:ext uri="{FF2B5EF4-FFF2-40B4-BE49-F238E27FC236}">
                <a16:creationId xmlns:a16="http://schemas.microsoft.com/office/drawing/2014/main" id="{C3D18832-9992-4165-B210-08BEC15E389B}"/>
              </a:ext>
            </a:extLst>
          </p:cNvPr>
          <p:cNvSpPr txBox="1"/>
          <p:nvPr userDrawn="1"/>
        </p:nvSpPr>
        <p:spPr>
          <a:xfrm>
            <a:off x="7146554" y="3336981"/>
            <a:ext cx="1194238" cy="153888"/>
          </a:xfrm>
          <a:prstGeom prst="rect">
            <a:avLst/>
          </a:prstGeom>
          <a:noFill/>
        </p:spPr>
        <p:txBody>
          <a:bodyPr wrap="none" lIns="0" tIns="0" rIns="0" bIns="0" rtlCol="0">
            <a:noAutofit/>
          </a:bodyPr>
          <a:lstStyle/>
          <a:p>
            <a:pPr algn="l">
              <a:spcAft>
                <a:spcPts val="600"/>
              </a:spcAft>
            </a:pPr>
            <a:r>
              <a:rPr lang="en-US" sz="1000" b="1">
                <a:solidFill>
                  <a:sysClr val="windowText" lastClr="000000"/>
                </a:solidFill>
              </a:rPr>
              <a:t>Traffic Light Palette</a:t>
            </a:r>
            <a:endParaRPr lang="en-US" sz="1000" b="0">
              <a:solidFill>
                <a:sysClr val="windowText" lastClr="000000"/>
              </a:solidFill>
            </a:endParaRPr>
          </a:p>
        </p:txBody>
      </p:sp>
      <p:sp>
        <p:nvSpPr>
          <p:cNvPr id="157" name="Rectangle 156">
            <a:extLst>
              <a:ext uri="{FF2B5EF4-FFF2-40B4-BE49-F238E27FC236}">
                <a16:creationId xmlns:a16="http://schemas.microsoft.com/office/drawing/2014/main" id="{7040BA31-C745-42A6-A259-274FCB782455}"/>
              </a:ext>
            </a:extLst>
          </p:cNvPr>
          <p:cNvSpPr>
            <a:spLocks/>
          </p:cNvSpPr>
          <p:nvPr userDrawn="1"/>
        </p:nvSpPr>
        <p:spPr>
          <a:xfrm>
            <a:off x="9353776" y="3589581"/>
            <a:ext cx="839614" cy="411225"/>
          </a:xfrm>
          <a:prstGeom prst="rect">
            <a:avLst/>
          </a:prstGeom>
          <a:solidFill>
            <a:srgbClr val="2699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8</a:t>
            </a:r>
          </a:p>
          <a:p>
            <a:pPr algn="ctr"/>
            <a:r>
              <a:rPr lang="en-GB" sz="800">
                <a:solidFill>
                  <a:schemeClr val="bg1"/>
                </a:solidFill>
              </a:rPr>
              <a:t>153</a:t>
            </a:r>
          </a:p>
          <a:p>
            <a:pPr algn="ctr"/>
            <a:r>
              <a:rPr lang="en-GB" sz="800">
                <a:solidFill>
                  <a:schemeClr val="bg1"/>
                </a:solidFill>
              </a:rPr>
              <a:t>36</a:t>
            </a:r>
          </a:p>
        </p:txBody>
      </p:sp>
      <p:sp>
        <p:nvSpPr>
          <p:cNvPr id="158" name="Rectangle 157">
            <a:extLst>
              <a:ext uri="{FF2B5EF4-FFF2-40B4-BE49-F238E27FC236}">
                <a16:creationId xmlns:a16="http://schemas.microsoft.com/office/drawing/2014/main" id="{4B99DDBE-6433-4638-B539-0E6CBDCEE9CC}"/>
              </a:ext>
            </a:extLst>
          </p:cNvPr>
          <p:cNvSpPr>
            <a:spLocks/>
          </p:cNvSpPr>
          <p:nvPr userDrawn="1"/>
        </p:nvSpPr>
        <p:spPr>
          <a:xfrm>
            <a:off x="8262131" y="3589581"/>
            <a:ext cx="839614" cy="411225"/>
          </a:xfrm>
          <a:prstGeom prst="rect">
            <a:avLst/>
          </a:prstGeom>
          <a:solidFill>
            <a:srgbClr val="F1C44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41</a:t>
            </a:r>
          </a:p>
          <a:p>
            <a:pPr algn="ctr"/>
            <a:r>
              <a:rPr lang="en-GB" sz="800">
                <a:solidFill>
                  <a:schemeClr val="bg1"/>
                </a:solidFill>
              </a:rPr>
              <a:t>196</a:t>
            </a:r>
          </a:p>
          <a:p>
            <a:pPr algn="ctr"/>
            <a:r>
              <a:rPr lang="en-GB" sz="800">
                <a:solidFill>
                  <a:schemeClr val="bg1"/>
                </a:solidFill>
              </a:rPr>
              <a:t>77</a:t>
            </a:r>
          </a:p>
        </p:txBody>
      </p:sp>
      <p:sp>
        <p:nvSpPr>
          <p:cNvPr id="159" name="Rectangle 158">
            <a:extLst>
              <a:ext uri="{FF2B5EF4-FFF2-40B4-BE49-F238E27FC236}">
                <a16:creationId xmlns:a16="http://schemas.microsoft.com/office/drawing/2014/main" id="{3A6351DC-3B01-4037-880C-C8E795F7B06E}"/>
              </a:ext>
            </a:extLst>
          </p:cNvPr>
          <p:cNvSpPr>
            <a:spLocks/>
          </p:cNvSpPr>
          <p:nvPr userDrawn="1"/>
        </p:nvSpPr>
        <p:spPr>
          <a:xfrm>
            <a:off x="7170486" y="3589581"/>
            <a:ext cx="839614" cy="411225"/>
          </a:xfrm>
          <a:prstGeom prst="rect">
            <a:avLst/>
          </a:prstGeom>
          <a:solidFill>
            <a:srgbClr val="ED212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37</a:t>
            </a:r>
          </a:p>
          <a:p>
            <a:pPr algn="ctr"/>
            <a:r>
              <a:rPr lang="en-GB" sz="800">
                <a:solidFill>
                  <a:schemeClr val="bg1"/>
                </a:solidFill>
              </a:rPr>
              <a:t>33</a:t>
            </a:r>
          </a:p>
          <a:p>
            <a:pPr algn="ctr"/>
            <a:r>
              <a:rPr lang="en-GB" sz="800">
                <a:solidFill>
                  <a:schemeClr val="bg1"/>
                </a:solidFill>
              </a:rPr>
              <a:t>36</a:t>
            </a:r>
          </a:p>
        </p:txBody>
      </p:sp>
      <p:sp>
        <p:nvSpPr>
          <p:cNvPr id="160" name="TextBox 159">
            <a:extLst>
              <a:ext uri="{FF2B5EF4-FFF2-40B4-BE49-F238E27FC236}">
                <a16:creationId xmlns:a16="http://schemas.microsoft.com/office/drawing/2014/main" id="{635214C5-4BAA-4A50-9320-5CB0DF83257E}"/>
              </a:ext>
            </a:extLst>
          </p:cNvPr>
          <p:cNvSpPr txBox="1"/>
          <p:nvPr userDrawn="1"/>
        </p:nvSpPr>
        <p:spPr>
          <a:xfrm>
            <a:off x="7146553" y="4285684"/>
            <a:ext cx="4159622" cy="626317"/>
          </a:xfrm>
          <a:prstGeom prst="rect">
            <a:avLst/>
          </a:prstGeom>
          <a:noFill/>
        </p:spPr>
        <p:txBody>
          <a:bodyPr wrap="square" lIns="0" tIns="0" rIns="0" bIns="0" rtlCol="0">
            <a:noAutofit/>
          </a:bodyPr>
          <a:lstStyle/>
          <a:p>
            <a:pPr algn="l">
              <a:spcAft>
                <a:spcPts val="600"/>
              </a:spcAft>
            </a:pPr>
            <a:r>
              <a:rPr lang="en-US" sz="1000" b="1">
                <a:solidFill>
                  <a:sysClr val="windowText" lastClr="000000"/>
                </a:solidFill>
              </a:rPr>
              <a:t>Potential chart colour order</a:t>
            </a:r>
          </a:p>
          <a:p>
            <a:pPr marL="171450" indent="-171450" algn="l">
              <a:spcAft>
                <a:spcPts val="300"/>
              </a:spcAft>
              <a:buFont typeface="Arial" panose="020B0604020202020204" pitchFamily="34" charset="0"/>
              <a:buChar char="•"/>
            </a:pPr>
            <a:r>
              <a:rPr lang="en-US" sz="1000" b="0">
                <a:solidFill>
                  <a:sysClr val="windowText" lastClr="000000"/>
                </a:solidFill>
              </a:rPr>
              <a:t>Prioritize our blues, but they don’t have to be used all at once</a:t>
            </a:r>
          </a:p>
          <a:p>
            <a:pPr marL="171450" indent="-171450" algn="l">
              <a:spcAft>
                <a:spcPts val="300"/>
              </a:spcAft>
              <a:buFont typeface="Arial" panose="020B0604020202020204" pitchFamily="34" charset="0"/>
              <a:buChar char="•"/>
            </a:pPr>
            <a:r>
              <a:rPr lang="en-US" sz="1000" b="0">
                <a:solidFill>
                  <a:sysClr val="windowText" lastClr="000000"/>
                </a:solidFill>
              </a:rPr>
              <a:t>Mix light, mid and dark tones within data sets</a:t>
            </a:r>
          </a:p>
        </p:txBody>
      </p:sp>
      <p:cxnSp>
        <p:nvCxnSpPr>
          <p:cNvPr id="161" name="Straight Connector 160">
            <a:extLst>
              <a:ext uri="{FF2B5EF4-FFF2-40B4-BE49-F238E27FC236}">
                <a16:creationId xmlns:a16="http://schemas.microsoft.com/office/drawing/2014/main" id="{DFD4867A-1A92-421F-8657-C66FC828DC3F}"/>
              </a:ext>
            </a:extLst>
          </p:cNvPr>
          <p:cNvCxnSpPr/>
          <p:nvPr userDrawn="1"/>
        </p:nvCxnSpPr>
        <p:spPr>
          <a:xfrm>
            <a:off x="7170486" y="324260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55583A41-2319-41CD-ABFA-0207054AA3EE}"/>
              </a:ext>
            </a:extLst>
          </p:cNvPr>
          <p:cNvCxnSpPr/>
          <p:nvPr userDrawn="1"/>
        </p:nvCxnSpPr>
        <p:spPr>
          <a:xfrm>
            <a:off x="7170486" y="4176642"/>
            <a:ext cx="4023114"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63" name="Group 162">
            <a:extLst>
              <a:ext uri="{FF2B5EF4-FFF2-40B4-BE49-F238E27FC236}">
                <a16:creationId xmlns:a16="http://schemas.microsoft.com/office/drawing/2014/main" id="{F716E007-E231-43B7-9A32-74352F6D3DD6}"/>
              </a:ext>
            </a:extLst>
          </p:cNvPr>
          <p:cNvGrpSpPr/>
          <p:nvPr userDrawn="1"/>
        </p:nvGrpSpPr>
        <p:grpSpPr>
          <a:xfrm>
            <a:off x="7170486" y="5015319"/>
            <a:ext cx="4023114" cy="868052"/>
            <a:chOff x="6942744" y="5227726"/>
            <a:chExt cx="6397168" cy="1380293"/>
          </a:xfrm>
        </p:grpSpPr>
        <p:sp>
          <p:nvSpPr>
            <p:cNvPr id="164" name="Rectangle 163">
              <a:extLst>
                <a:ext uri="{FF2B5EF4-FFF2-40B4-BE49-F238E27FC236}">
                  <a16:creationId xmlns:a16="http://schemas.microsoft.com/office/drawing/2014/main" id="{993A69B1-BDE3-4C42-8222-8BEB1EAE80F0}"/>
                </a:ext>
              </a:extLst>
            </p:cNvPr>
            <p:cNvSpPr/>
            <p:nvPr userDrawn="1"/>
          </p:nvSpPr>
          <p:spPr>
            <a:xfrm>
              <a:off x="8821942" y="5227726"/>
              <a:ext cx="759576" cy="592341"/>
            </a:xfrm>
            <a:prstGeom prst="rect">
              <a:avLst/>
            </a:prstGeom>
            <a:solidFill>
              <a:srgbClr val="1E49E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30</a:t>
              </a:r>
            </a:p>
            <a:p>
              <a:pPr algn="ctr"/>
              <a:r>
                <a:rPr lang="en-GB" sz="800">
                  <a:solidFill>
                    <a:schemeClr val="bg1"/>
                  </a:solidFill>
                </a:rPr>
                <a:t>73</a:t>
              </a:r>
            </a:p>
            <a:p>
              <a:pPr algn="ctr"/>
              <a:r>
                <a:rPr lang="en-GB" sz="800">
                  <a:solidFill>
                    <a:schemeClr val="bg1"/>
                  </a:solidFill>
                </a:rPr>
                <a:t>226</a:t>
              </a:r>
            </a:p>
          </p:txBody>
        </p:sp>
        <p:sp>
          <p:nvSpPr>
            <p:cNvPr id="165" name="Rectangle 164">
              <a:extLst>
                <a:ext uri="{FF2B5EF4-FFF2-40B4-BE49-F238E27FC236}">
                  <a16:creationId xmlns:a16="http://schemas.microsoft.com/office/drawing/2014/main" id="{7255A4EC-419D-4153-BB31-DD7B5550239F}"/>
                </a:ext>
              </a:extLst>
            </p:cNvPr>
            <p:cNvSpPr/>
            <p:nvPr userDrawn="1"/>
          </p:nvSpPr>
          <p:spPr>
            <a:xfrm>
              <a:off x="6942744" y="5227726"/>
              <a:ext cx="759576" cy="592341"/>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51</a:t>
              </a:r>
            </a:p>
            <a:p>
              <a:pPr algn="ctr"/>
              <a:r>
                <a:rPr lang="en-GB" sz="800">
                  <a:solidFill>
                    <a:schemeClr val="bg1"/>
                  </a:solidFill>
                </a:rPr>
                <a:t>141</a:t>
              </a:r>
            </a:p>
          </p:txBody>
        </p:sp>
        <p:sp>
          <p:nvSpPr>
            <p:cNvPr id="166" name="Rectangle 165">
              <a:extLst>
                <a:ext uri="{FF2B5EF4-FFF2-40B4-BE49-F238E27FC236}">
                  <a16:creationId xmlns:a16="http://schemas.microsoft.com/office/drawing/2014/main" id="{17499C6E-1341-4B85-A716-6F2ADD3B6014}"/>
                </a:ext>
              </a:extLst>
            </p:cNvPr>
            <p:cNvSpPr/>
            <p:nvPr userDrawn="1"/>
          </p:nvSpPr>
          <p:spPr>
            <a:xfrm>
              <a:off x="9761541" y="5227726"/>
              <a:ext cx="759576" cy="592341"/>
            </a:xfrm>
            <a:prstGeom prst="rect">
              <a:avLst/>
            </a:prstGeom>
            <a:solidFill>
              <a:srgbClr val="76D2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118</a:t>
              </a:r>
            </a:p>
            <a:p>
              <a:pPr algn="ctr"/>
              <a:r>
                <a:rPr lang="en-GB" sz="800">
                  <a:solidFill>
                    <a:sysClr val="windowText" lastClr="000000"/>
                  </a:solidFill>
                </a:rPr>
                <a:t>210</a:t>
              </a:r>
            </a:p>
            <a:p>
              <a:pPr algn="ctr"/>
              <a:r>
                <a:rPr lang="en-GB" sz="800">
                  <a:solidFill>
                    <a:sysClr val="windowText" lastClr="000000"/>
                  </a:solidFill>
                </a:rPr>
                <a:t>255</a:t>
              </a:r>
            </a:p>
          </p:txBody>
        </p:sp>
        <p:sp>
          <p:nvSpPr>
            <p:cNvPr id="167" name="Rectangle 166">
              <a:extLst>
                <a:ext uri="{FF2B5EF4-FFF2-40B4-BE49-F238E27FC236}">
                  <a16:creationId xmlns:a16="http://schemas.microsoft.com/office/drawing/2014/main" id="{F6237983-6574-4DDE-8B7D-5ECAE423FDE4}"/>
                </a:ext>
              </a:extLst>
            </p:cNvPr>
            <p:cNvSpPr/>
            <p:nvPr userDrawn="1"/>
          </p:nvSpPr>
          <p:spPr>
            <a:xfrm>
              <a:off x="11640737" y="5227726"/>
              <a:ext cx="759576" cy="592341"/>
            </a:xfrm>
            <a:prstGeom prst="rect">
              <a:avLst/>
            </a:prstGeom>
            <a:solidFill>
              <a:srgbClr val="B497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80</a:t>
              </a:r>
            </a:p>
            <a:p>
              <a:pPr algn="ctr"/>
              <a:r>
                <a:rPr lang="en-GB" sz="800">
                  <a:solidFill>
                    <a:schemeClr val="bg1"/>
                  </a:solidFill>
                </a:rPr>
                <a:t>151</a:t>
              </a:r>
            </a:p>
            <a:p>
              <a:pPr algn="ctr"/>
              <a:r>
                <a:rPr lang="en-GB" sz="800">
                  <a:solidFill>
                    <a:schemeClr val="bg1"/>
                  </a:solidFill>
                </a:rPr>
                <a:t>255</a:t>
              </a:r>
            </a:p>
          </p:txBody>
        </p:sp>
        <p:sp>
          <p:nvSpPr>
            <p:cNvPr id="168" name="Rectangle 167">
              <a:extLst>
                <a:ext uri="{FF2B5EF4-FFF2-40B4-BE49-F238E27FC236}">
                  <a16:creationId xmlns:a16="http://schemas.microsoft.com/office/drawing/2014/main" id="{37A4F0A7-B94F-4F52-B517-956195BC3A9D}"/>
                </a:ext>
              </a:extLst>
            </p:cNvPr>
            <p:cNvSpPr/>
            <p:nvPr userDrawn="1"/>
          </p:nvSpPr>
          <p:spPr>
            <a:xfrm>
              <a:off x="8821942" y="6015678"/>
              <a:ext cx="759576" cy="592341"/>
            </a:xfrm>
            <a:prstGeom prst="rect">
              <a:avLst/>
            </a:prstGeom>
            <a:solidFill>
              <a:srgbClr val="FD349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3</a:t>
              </a:r>
            </a:p>
            <a:p>
              <a:pPr algn="ctr"/>
              <a:r>
                <a:rPr lang="en-GB" sz="800">
                  <a:solidFill>
                    <a:schemeClr val="bg1"/>
                  </a:solidFill>
                </a:rPr>
                <a:t>52</a:t>
              </a:r>
            </a:p>
            <a:p>
              <a:pPr algn="ctr"/>
              <a:r>
                <a:rPr lang="en-GB" sz="800">
                  <a:solidFill>
                    <a:schemeClr val="bg1"/>
                  </a:solidFill>
                </a:rPr>
                <a:t>156</a:t>
              </a:r>
            </a:p>
          </p:txBody>
        </p:sp>
        <p:sp>
          <p:nvSpPr>
            <p:cNvPr id="169" name="Rectangle 168">
              <a:extLst>
                <a:ext uri="{FF2B5EF4-FFF2-40B4-BE49-F238E27FC236}">
                  <a16:creationId xmlns:a16="http://schemas.microsoft.com/office/drawing/2014/main" id="{6EDD5B52-450F-4A6A-AD15-F7461342565E}"/>
                </a:ext>
              </a:extLst>
            </p:cNvPr>
            <p:cNvSpPr/>
            <p:nvPr userDrawn="1"/>
          </p:nvSpPr>
          <p:spPr>
            <a:xfrm>
              <a:off x="10701139" y="5227726"/>
              <a:ext cx="759576" cy="592341"/>
            </a:xfrm>
            <a:prstGeom prst="rect">
              <a:avLst/>
            </a:prstGeom>
            <a:solidFill>
              <a:srgbClr val="7213E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14</a:t>
              </a:r>
            </a:p>
            <a:p>
              <a:pPr algn="ctr"/>
              <a:r>
                <a:rPr lang="en-GB" sz="800">
                  <a:solidFill>
                    <a:schemeClr val="bg1"/>
                  </a:solidFill>
                </a:rPr>
                <a:t>19</a:t>
              </a:r>
            </a:p>
            <a:p>
              <a:pPr algn="ctr"/>
              <a:r>
                <a:rPr lang="en-GB" sz="800">
                  <a:solidFill>
                    <a:schemeClr val="bg1"/>
                  </a:solidFill>
                </a:rPr>
                <a:t>234</a:t>
              </a:r>
            </a:p>
          </p:txBody>
        </p:sp>
        <p:sp>
          <p:nvSpPr>
            <p:cNvPr id="170" name="Rectangle 169">
              <a:extLst>
                <a:ext uri="{FF2B5EF4-FFF2-40B4-BE49-F238E27FC236}">
                  <a16:creationId xmlns:a16="http://schemas.microsoft.com/office/drawing/2014/main" id="{27FF7FCC-29A0-455E-84EC-39437F27557C}"/>
                </a:ext>
              </a:extLst>
            </p:cNvPr>
            <p:cNvSpPr/>
            <p:nvPr userDrawn="1"/>
          </p:nvSpPr>
          <p:spPr>
            <a:xfrm>
              <a:off x="9761541" y="6015678"/>
              <a:ext cx="759576" cy="592341"/>
            </a:xfrm>
            <a:prstGeom prst="rect">
              <a:avLst/>
            </a:prstGeom>
            <a:solidFill>
              <a:srgbClr val="FFA3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255</a:t>
              </a:r>
            </a:p>
            <a:p>
              <a:pPr algn="ctr"/>
              <a:r>
                <a:rPr lang="en-GB" sz="800">
                  <a:solidFill>
                    <a:schemeClr val="bg1"/>
                  </a:solidFill>
                </a:rPr>
                <a:t>163</a:t>
              </a:r>
            </a:p>
            <a:p>
              <a:pPr algn="ctr"/>
              <a:r>
                <a:rPr lang="en-GB" sz="800">
                  <a:solidFill>
                    <a:schemeClr val="bg1"/>
                  </a:solidFill>
                </a:rPr>
                <a:t>218</a:t>
              </a:r>
            </a:p>
          </p:txBody>
        </p:sp>
        <p:sp>
          <p:nvSpPr>
            <p:cNvPr id="171" name="Rectangle 170">
              <a:extLst>
                <a:ext uri="{FF2B5EF4-FFF2-40B4-BE49-F238E27FC236}">
                  <a16:creationId xmlns:a16="http://schemas.microsoft.com/office/drawing/2014/main" id="{2E6838E0-8BFD-4698-828A-22B4A7BF89D4}"/>
                </a:ext>
              </a:extLst>
            </p:cNvPr>
            <p:cNvSpPr/>
            <p:nvPr userDrawn="1"/>
          </p:nvSpPr>
          <p:spPr>
            <a:xfrm>
              <a:off x="6942744" y="6015678"/>
              <a:ext cx="759576" cy="592341"/>
            </a:xfrm>
            <a:prstGeom prst="rect">
              <a:avLst/>
            </a:prstGeom>
            <a:solidFill>
              <a:srgbClr val="00C0A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92</a:t>
              </a:r>
            </a:p>
            <a:p>
              <a:pPr algn="ctr"/>
              <a:r>
                <a:rPr lang="en-GB" sz="800">
                  <a:solidFill>
                    <a:schemeClr val="bg1"/>
                  </a:solidFill>
                </a:rPr>
                <a:t>174</a:t>
              </a:r>
            </a:p>
          </p:txBody>
        </p:sp>
        <p:sp>
          <p:nvSpPr>
            <p:cNvPr id="172" name="Rectangle 171">
              <a:extLst>
                <a:ext uri="{FF2B5EF4-FFF2-40B4-BE49-F238E27FC236}">
                  <a16:creationId xmlns:a16="http://schemas.microsoft.com/office/drawing/2014/main" id="{5EA6844A-1DD6-45EA-BC17-B49049C22187}"/>
                </a:ext>
              </a:extLst>
            </p:cNvPr>
            <p:cNvSpPr/>
            <p:nvPr userDrawn="1"/>
          </p:nvSpPr>
          <p:spPr>
            <a:xfrm>
              <a:off x="12580336" y="6015678"/>
              <a:ext cx="759576" cy="592341"/>
            </a:xfrm>
            <a:prstGeom prst="rect">
              <a:avLst/>
            </a:prstGeom>
            <a:solidFill>
              <a:srgbClr val="63EBDA"/>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ysClr val="windowText" lastClr="000000"/>
                  </a:solidFill>
                </a:rPr>
                <a:t>99</a:t>
              </a:r>
            </a:p>
            <a:p>
              <a:pPr algn="ctr"/>
              <a:r>
                <a:rPr lang="en-GB" sz="800">
                  <a:solidFill>
                    <a:sysClr val="windowText" lastClr="000000"/>
                  </a:solidFill>
                </a:rPr>
                <a:t>235</a:t>
              </a:r>
            </a:p>
            <a:p>
              <a:pPr algn="ctr"/>
              <a:r>
                <a:rPr lang="en-GB" sz="800">
                  <a:solidFill>
                    <a:sysClr val="windowText" lastClr="000000"/>
                  </a:solidFill>
                </a:rPr>
                <a:t>218</a:t>
              </a:r>
            </a:p>
          </p:txBody>
        </p:sp>
        <p:sp>
          <p:nvSpPr>
            <p:cNvPr id="173" name="Rectangle 172">
              <a:extLst>
                <a:ext uri="{FF2B5EF4-FFF2-40B4-BE49-F238E27FC236}">
                  <a16:creationId xmlns:a16="http://schemas.microsoft.com/office/drawing/2014/main" id="{1C9B77D1-2A50-44ED-9004-8C5D7C896235}"/>
                </a:ext>
              </a:extLst>
            </p:cNvPr>
            <p:cNvSpPr/>
            <p:nvPr userDrawn="1"/>
          </p:nvSpPr>
          <p:spPr>
            <a:xfrm>
              <a:off x="7882343" y="5227726"/>
              <a:ext cx="759576" cy="592341"/>
            </a:xfrm>
            <a:prstGeom prst="rect">
              <a:avLst/>
            </a:prstGeom>
            <a:solidFill>
              <a:srgbClr val="00B8F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0</a:t>
              </a:r>
            </a:p>
            <a:p>
              <a:pPr algn="ctr"/>
              <a:r>
                <a:rPr lang="en-GB" sz="800">
                  <a:solidFill>
                    <a:schemeClr val="bg1"/>
                  </a:solidFill>
                </a:rPr>
                <a:t>184</a:t>
              </a:r>
            </a:p>
            <a:p>
              <a:pPr algn="ctr"/>
              <a:r>
                <a:rPr lang="en-GB" sz="800">
                  <a:solidFill>
                    <a:schemeClr val="bg1"/>
                  </a:solidFill>
                </a:rPr>
                <a:t>245</a:t>
              </a:r>
            </a:p>
          </p:txBody>
        </p:sp>
        <p:sp>
          <p:nvSpPr>
            <p:cNvPr id="174" name="Rectangle 173">
              <a:extLst>
                <a:ext uri="{FF2B5EF4-FFF2-40B4-BE49-F238E27FC236}">
                  <a16:creationId xmlns:a16="http://schemas.microsoft.com/office/drawing/2014/main" id="{7E153590-9818-4057-9DE6-89D8FEE4BAAA}"/>
                </a:ext>
              </a:extLst>
            </p:cNvPr>
            <p:cNvSpPr/>
            <p:nvPr userDrawn="1"/>
          </p:nvSpPr>
          <p:spPr>
            <a:xfrm>
              <a:off x="11640737" y="6015678"/>
              <a:ext cx="759576" cy="592341"/>
            </a:xfrm>
            <a:prstGeom prst="rect">
              <a:avLst/>
            </a:prstGeom>
            <a:solidFill>
              <a:srgbClr val="510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81</a:t>
              </a:r>
            </a:p>
            <a:p>
              <a:pPr algn="ctr"/>
              <a:r>
                <a:rPr lang="en-GB" sz="800">
                  <a:solidFill>
                    <a:schemeClr val="bg1"/>
                  </a:solidFill>
                </a:rPr>
                <a:t>13</a:t>
              </a:r>
            </a:p>
            <a:p>
              <a:pPr algn="ctr"/>
              <a:r>
                <a:rPr lang="en-GB" sz="800">
                  <a:solidFill>
                    <a:schemeClr val="bg1"/>
                  </a:solidFill>
                </a:rPr>
                <a:t>188</a:t>
              </a:r>
            </a:p>
          </p:txBody>
        </p:sp>
        <p:sp>
          <p:nvSpPr>
            <p:cNvPr id="175" name="Rectangle 174">
              <a:extLst>
                <a:ext uri="{FF2B5EF4-FFF2-40B4-BE49-F238E27FC236}">
                  <a16:creationId xmlns:a16="http://schemas.microsoft.com/office/drawing/2014/main" id="{56A2AB59-49D2-4E6A-BE03-C2AED59B9022}"/>
                </a:ext>
              </a:extLst>
            </p:cNvPr>
            <p:cNvSpPr/>
            <p:nvPr userDrawn="1"/>
          </p:nvSpPr>
          <p:spPr>
            <a:xfrm>
              <a:off x="12580336" y="5227726"/>
              <a:ext cx="759576" cy="592341"/>
            </a:xfrm>
            <a:prstGeom prst="rect">
              <a:avLst/>
            </a:prstGeom>
            <a:solidFill>
              <a:srgbClr val="098E7E"/>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9</a:t>
              </a:r>
            </a:p>
            <a:p>
              <a:pPr algn="ctr"/>
              <a:r>
                <a:rPr lang="en-GB" sz="800">
                  <a:solidFill>
                    <a:schemeClr val="bg1"/>
                  </a:solidFill>
                </a:rPr>
                <a:t>142</a:t>
              </a:r>
            </a:p>
            <a:p>
              <a:pPr algn="ctr"/>
              <a:r>
                <a:rPr lang="en-GB" sz="800">
                  <a:solidFill>
                    <a:schemeClr val="bg1"/>
                  </a:solidFill>
                </a:rPr>
                <a:t>126</a:t>
              </a:r>
            </a:p>
          </p:txBody>
        </p:sp>
        <p:sp>
          <p:nvSpPr>
            <p:cNvPr id="176" name="Rectangle 175">
              <a:extLst>
                <a:ext uri="{FF2B5EF4-FFF2-40B4-BE49-F238E27FC236}">
                  <a16:creationId xmlns:a16="http://schemas.microsoft.com/office/drawing/2014/main" id="{B989E093-335D-4E16-97F4-562E934C8AFB}"/>
                </a:ext>
              </a:extLst>
            </p:cNvPr>
            <p:cNvSpPr/>
            <p:nvPr userDrawn="1"/>
          </p:nvSpPr>
          <p:spPr>
            <a:xfrm>
              <a:off x="10701139" y="6015678"/>
              <a:ext cx="759576" cy="592341"/>
            </a:xfrm>
            <a:prstGeom prst="rect">
              <a:avLst/>
            </a:prstGeom>
            <a:solidFill>
              <a:srgbClr val="66666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02</a:t>
              </a:r>
            </a:p>
            <a:p>
              <a:pPr algn="ctr"/>
              <a:r>
                <a:rPr lang="en-GB" sz="800">
                  <a:solidFill>
                    <a:schemeClr val="bg1"/>
                  </a:solidFill>
                </a:rPr>
                <a:t>102</a:t>
              </a:r>
            </a:p>
            <a:p>
              <a:pPr algn="ctr"/>
              <a:r>
                <a:rPr lang="en-GB" sz="800">
                  <a:solidFill>
                    <a:schemeClr val="bg1"/>
                  </a:solidFill>
                </a:rPr>
                <a:t>102</a:t>
              </a:r>
            </a:p>
          </p:txBody>
        </p:sp>
        <p:sp>
          <p:nvSpPr>
            <p:cNvPr id="177" name="Rectangle 176">
              <a:extLst>
                <a:ext uri="{FF2B5EF4-FFF2-40B4-BE49-F238E27FC236}">
                  <a16:creationId xmlns:a16="http://schemas.microsoft.com/office/drawing/2014/main" id="{64956687-528B-4CB8-A625-4745C97369CE}"/>
                </a:ext>
              </a:extLst>
            </p:cNvPr>
            <p:cNvSpPr/>
            <p:nvPr userDrawn="1"/>
          </p:nvSpPr>
          <p:spPr>
            <a:xfrm>
              <a:off x="7882343" y="6015678"/>
              <a:ext cx="759576" cy="592341"/>
            </a:xfrm>
            <a:prstGeom prst="rect">
              <a:avLst/>
            </a:prstGeom>
            <a:solidFill>
              <a:srgbClr val="AB0D8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algn="ctr"/>
              <a:r>
                <a:rPr lang="en-GB" sz="800">
                  <a:solidFill>
                    <a:schemeClr val="bg1"/>
                  </a:solidFill>
                </a:rPr>
                <a:t>171</a:t>
              </a:r>
            </a:p>
            <a:p>
              <a:pPr algn="ctr"/>
              <a:r>
                <a:rPr lang="en-GB" sz="800">
                  <a:solidFill>
                    <a:schemeClr val="bg1"/>
                  </a:solidFill>
                </a:rPr>
                <a:t>13</a:t>
              </a:r>
            </a:p>
            <a:p>
              <a:pPr algn="ctr"/>
              <a:r>
                <a:rPr lang="en-GB" sz="800">
                  <a:solidFill>
                    <a:schemeClr val="bg1"/>
                  </a:solidFill>
                </a:rPr>
                <a:t>130</a:t>
              </a:r>
            </a:p>
          </p:txBody>
        </p:sp>
      </p:grpSp>
    </p:spTree>
    <p:extLst>
      <p:ext uri="{BB962C8B-B14F-4D97-AF65-F5344CB8AC3E}">
        <p14:creationId xmlns:p14="http://schemas.microsoft.com/office/powerpoint/2010/main" val="12443507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Right Vertical Window_Pacific Blue">
    <p:bg>
      <p:bgPr>
        <a:gradFill>
          <a:gsLst>
            <a:gs pos="100000">
              <a:srgbClr val="ACEAFF"/>
            </a:gs>
            <a:gs pos="0">
              <a:schemeClr val="accent4"/>
            </a:gs>
          </a:gsLst>
          <a:lin ang="0" scaled="0"/>
        </a:gra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78DFFAD0-690D-40FA-92E3-26DD5F2CF717}"/>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8476" y="371311"/>
            <a:ext cx="914400" cy="368346"/>
          </a:xfrm>
          <a:prstGeom prst="rect">
            <a:avLst/>
          </a:prstGeom>
        </p:spPr>
      </p:pic>
      <p:sp>
        <p:nvSpPr>
          <p:cNvPr id="104" name="Rectangle 103">
            <a:extLst>
              <a:ext uri="{FF2B5EF4-FFF2-40B4-BE49-F238E27FC236}">
                <a16:creationId xmlns:a16="http://schemas.microsoft.com/office/drawing/2014/main" id="{6A6246C3-5BC1-4146-9E95-B8B3F1B77C22}"/>
              </a:ext>
              <a:ext uri="{C183D7F6-B498-43B3-948B-1728B52AA6E4}">
                <adec:decorative xmlns:adec="http://schemas.microsoft.com/office/drawing/2017/decorative" val="1"/>
              </a:ext>
            </a:extLst>
          </p:cNvPr>
          <p:cNvSpPr>
            <a:spLocks noChangeAspect="1"/>
          </p:cNvSpPr>
          <p:nvPr userDrawn="1"/>
        </p:nvSpPr>
        <p:spPr>
          <a:xfrm>
            <a:off x="7435789" y="371311"/>
            <a:ext cx="3764024" cy="5415923"/>
          </a:xfrm>
          <a:prstGeom prst="rect">
            <a:avLst/>
          </a:prstGeom>
          <a:gradFill>
            <a:gsLst>
              <a:gs pos="100000">
                <a:schemeClr val="accent1"/>
              </a:gs>
              <a:gs pos="0">
                <a:schemeClr val="accent5"/>
              </a:gs>
            </a:gsLst>
            <a:lin ang="0" scaled="0"/>
          </a:gradFill>
        </p:spPr>
        <p:txBody>
          <a:bodyPr vert="horz" lIns="180000" tIns="180000" rIns="180000" bIns="180000" rtlCol="0" anchor="t" anchorCtr="0">
            <a:noAutofit/>
          </a:bodyPr>
          <a:lstStyle/>
          <a:p>
            <a:pPr lvl="0">
              <a:lnSpc>
                <a:spcPct val="70000"/>
              </a:lnSpc>
              <a:spcBef>
                <a:spcPct val="0"/>
              </a:spcBef>
              <a:buNone/>
            </a:pPr>
            <a:endParaRPr lang="en-US" sz="8800" baseline="0" err="1">
              <a:solidFill>
                <a:schemeClr val="bg1"/>
              </a:solidFill>
              <a:latin typeface="KPMG Bold" panose="020B0803030202040204" pitchFamily="34" charset="0"/>
              <a:ea typeface="+mj-ea"/>
              <a:cs typeface="+mj-cs"/>
            </a:endParaRPr>
          </a:p>
        </p:txBody>
      </p:sp>
      <p:sp>
        <p:nvSpPr>
          <p:cNvPr id="2" name="Title 1"/>
          <p:cNvSpPr>
            <a:spLocks noGrp="1"/>
          </p:cNvSpPr>
          <p:nvPr>
            <p:ph type="ctrTitle" hasCustomPrompt="1"/>
          </p:nvPr>
        </p:nvSpPr>
        <p:spPr>
          <a:xfrm>
            <a:off x="7702252" y="636808"/>
            <a:ext cx="3229510" cy="3950972"/>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106" name="Text Placeholder 3">
            <a:extLst>
              <a:ext uri="{FF2B5EF4-FFF2-40B4-BE49-F238E27FC236}">
                <a16:creationId xmlns:a16="http://schemas.microsoft.com/office/drawing/2014/main" id="{E9A5689E-A0AC-4126-A5A7-5CD8528C6C2E}"/>
              </a:ext>
            </a:extLst>
          </p:cNvPr>
          <p:cNvSpPr>
            <a:spLocks noGrp="1"/>
          </p:cNvSpPr>
          <p:nvPr>
            <p:ph type="body" sz="quarter" idx="12"/>
          </p:nvPr>
        </p:nvSpPr>
        <p:spPr>
          <a:xfrm>
            <a:off x="7702252" y="4710484"/>
            <a:ext cx="3229510"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850545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Left Horizontal Window Image_KPMG Blue">
    <p:bg>
      <p:bgPr>
        <a:solidFill>
          <a:schemeClr val="accent2"/>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93430CE4-5B69-4517-8F25-A3A23061EE95}"/>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47346" y="371311"/>
            <a:ext cx="914400" cy="368346"/>
          </a:xfrm>
          <a:prstGeom prst="rect">
            <a:avLst/>
          </a:prstGeom>
        </p:spPr>
      </p:pic>
      <p:sp>
        <p:nvSpPr>
          <p:cNvPr id="2" name="Title 1"/>
          <p:cNvSpPr>
            <a:spLocks noGrp="1"/>
          </p:cNvSpPr>
          <p:nvPr>
            <p:ph type="ctrTitle" hasCustomPrompt="1"/>
          </p:nvPr>
        </p:nvSpPr>
        <p:spPr>
          <a:xfrm>
            <a:off x="7642337" y="1468380"/>
            <a:ext cx="3551186" cy="3098109"/>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6" name="Text Placeholder 3"/>
          <p:cNvSpPr>
            <a:spLocks noGrp="1"/>
          </p:cNvSpPr>
          <p:nvPr userDrawn="1">
            <p:ph type="body" sz="quarter" idx="11"/>
          </p:nvPr>
        </p:nvSpPr>
        <p:spPr>
          <a:xfrm>
            <a:off x="7648628" y="4746353"/>
            <a:ext cx="3551186"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4" name="Picture Placeholder 3">
            <a:extLst>
              <a:ext uri="{FF2B5EF4-FFF2-40B4-BE49-F238E27FC236}">
                <a16:creationId xmlns:a16="http://schemas.microsoft.com/office/drawing/2014/main" id="{6200E6EA-7AA4-4C98-8E47-F5F83446E051}"/>
              </a:ext>
            </a:extLst>
          </p:cNvPr>
          <p:cNvSpPr>
            <a:spLocks noGrp="1" noChangeAspect="1"/>
          </p:cNvSpPr>
          <p:nvPr>
            <p:ph type="pic" sz="quarter" idx="12"/>
          </p:nvPr>
        </p:nvSpPr>
        <p:spPr>
          <a:xfrm>
            <a:off x="998477" y="1468380"/>
            <a:ext cx="5885053" cy="4087973"/>
          </a:xfrm>
          <a:solidFill>
            <a:schemeClr val="accent1"/>
          </a:solidFill>
        </p:spPr>
        <p:txBody>
          <a:bodyPr anchor="ctr"/>
          <a:lstStyle>
            <a:lvl1pPr algn="ctr">
              <a:defRPr sz="1000" b="0">
                <a:solidFill>
                  <a:schemeClr val="bg1"/>
                </a:solidFill>
              </a:defRPr>
            </a:lvl1pPr>
          </a:lstStyle>
          <a:p>
            <a:r>
              <a:rPr lang="en-US"/>
              <a:t>Click icon to add picture</a:t>
            </a:r>
            <a:endParaRPr lang="en-GB"/>
          </a:p>
        </p:txBody>
      </p:sp>
    </p:spTree>
    <p:extLst>
      <p:ext uri="{BB962C8B-B14F-4D97-AF65-F5344CB8AC3E}">
        <p14:creationId xmlns:p14="http://schemas.microsoft.com/office/powerpoint/2010/main" val="2119823009"/>
      </p:ext>
    </p:extLst>
  </p:cSld>
  <p:clrMapOvr>
    <a:masterClrMapping/>
  </p:clrMapOvr>
  <p:extLst>
    <p:ext uri="{DCECCB84-F9BA-43D5-87BE-67443E8EF086}">
      <p15:sldGuideLst xmlns:p15="http://schemas.microsoft.com/office/powerpoint/2012/main">
        <p15:guide id="1" orient="horz" pos="349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Left Vertical Window Image_KPMG Blue">
    <p:bg>
      <p:bgPr>
        <a:solidFill>
          <a:schemeClr val="accent2"/>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3FEB65A9-A8F4-40C5-AC08-82132F1B1BD0}"/>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491560" y="371311"/>
            <a:ext cx="914400" cy="368346"/>
          </a:xfrm>
          <a:prstGeom prst="rect">
            <a:avLst/>
          </a:prstGeom>
        </p:spPr>
      </p:pic>
      <p:sp>
        <p:nvSpPr>
          <p:cNvPr id="2" name="Title 1"/>
          <p:cNvSpPr>
            <a:spLocks noGrp="1"/>
          </p:cNvSpPr>
          <p:nvPr>
            <p:ph type="ctrTitle" hasCustomPrompt="1"/>
          </p:nvPr>
        </p:nvSpPr>
        <p:spPr>
          <a:xfrm>
            <a:off x="5489910" y="1453783"/>
            <a:ext cx="5301922" cy="3446223"/>
          </a:xfrm>
          <a:noFill/>
          <a:ln w="3175">
            <a:noFill/>
            <a:prstDash val="lgDash"/>
          </a:ln>
        </p:spPr>
        <p:txBody>
          <a:bodyPr lIns="0" tIns="0" rIns="0" bIns="0" anchor="t" anchorCtr="0">
            <a:noAutofit/>
          </a:bodyPr>
          <a:lstStyle>
            <a:lvl1pPr algn="l">
              <a:defRPr sz="6600" baseline="0">
                <a:solidFill>
                  <a:schemeClr val="bg1"/>
                </a:solidFill>
              </a:defRPr>
            </a:lvl1pPr>
          </a:lstStyle>
          <a:p>
            <a:r>
              <a:rPr lang="en-GB"/>
              <a:t>Title slide text only</a:t>
            </a:r>
            <a:endParaRPr lang="en-US"/>
          </a:p>
        </p:txBody>
      </p:sp>
      <p:sp>
        <p:nvSpPr>
          <p:cNvPr id="6" name="Text Placeholder 3"/>
          <p:cNvSpPr>
            <a:spLocks noGrp="1"/>
          </p:cNvSpPr>
          <p:nvPr userDrawn="1">
            <p:ph type="body" sz="quarter" idx="11"/>
          </p:nvPr>
        </p:nvSpPr>
        <p:spPr>
          <a:xfrm>
            <a:off x="5489910" y="4953575"/>
            <a:ext cx="5301922" cy="810000"/>
          </a:xfrm>
          <a:ln w="3175">
            <a:noFill/>
            <a:prstDash val="lgDash"/>
          </a:ln>
        </p:spPr>
        <p:txBody>
          <a:bodyPr wrap="square" anchor="b">
            <a:noAutofit/>
          </a:bodyPr>
          <a:lstStyle>
            <a:lvl1pPr>
              <a:defRPr sz="1400">
                <a:solidFill>
                  <a:schemeClr val="bg1"/>
                </a:solidFill>
              </a:defRPr>
            </a:lvl1pPr>
            <a:lvl2pPr>
              <a:defRPr sz="14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p:txBody>
      </p:sp>
      <p:sp>
        <p:nvSpPr>
          <p:cNvPr id="28" name="Picture Placeholder 3">
            <a:extLst>
              <a:ext uri="{FF2B5EF4-FFF2-40B4-BE49-F238E27FC236}">
                <a16:creationId xmlns:a16="http://schemas.microsoft.com/office/drawing/2014/main" id="{445BA5F7-F13B-4C20-B0E0-112E55400EE4}"/>
              </a:ext>
            </a:extLst>
          </p:cNvPr>
          <p:cNvSpPr>
            <a:spLocks noGrp="1" noChangeAspect="1"/>
          </p:cNvSpPr>
          <p:nvPr>
            <p:ph type="pic" sz="quarter" idx="12"/>
          </p:nvPr>
        </p:nvSpPr>
        <p:spPr>
          <a:xfrm>
            <a:off x="998477" y="371311"/>
            <a:ext cx="3727618" cy="5392264"/>
          </a:xfrm>
          <a:solidFill>
            <a:schemeClr val="accent1"/>
          </a:solidFill>
        </p:spPr>
        <p:txBody>
          <a:bodyPr vert="horz" lIns="0" tIns="0" rIns="0" bIns="0" rtlCol="0" anchor="ctr" anchorCtr="0">
            <a:noAutofit/>
          </a:bodyPr>
          <a:lstStyle>
            <a:lvl1pPr>
              <a:defRPr lang="en-GB" sz="1000" b="0">
                <a:solidFill>
                  <a:schemeClr val="bg1"/>
                </a:solidFill>
              </a:defRPr>
            </a:lvl1pPr>
          </a:lstStyle>
          <a:p>
            <a:pPr lvl="0" algn="ctr"/>
            <a:r>
              <a:rPr lang="en-US"/>
              <a:t>Click icon to add picture</a:t>
            </a:r>
            <a:endParaRPr lang="en-GB"/>
          </a:p>
        </p:txBody>
      </p:sp>
    </p:spTree>
    <p:extLst>
      <p:ext uri="{BB962C8B-B14F-4D97-AF65-F5344CB8AC3E}">
        <p14:creationId xmlns:p14="http://schemas.microsoft.com/office/powerpoint/2010/main" val="2230989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slideLayout" Target="../slideLayouts/slideLayout29.xml"/><Relationship Id="rId39" Type="http://schemas.openxmlformats.org/officeDocument/2006/relationships/slideLayout" Target="../slideLayouts/slideLayout42.xml"/><Relationship Id="rId21" Type="http://schemas.openxmlformats.org/officeDocument/2006/relationships/slideLayout" Target="../slideLayouts/slideLayout24.xml"/><Relationship Id="rId34" Type="http://schemas.openxmlformats.org/officeDocument/2006/relationships/slideLayout" Target="../slideLayouts/slideLayout37.xml"/><Relationship Id="rId42" Type="http://schemas.openxmlformats.org/officeDocument/2006/relationships/slideLayout" Target="../slideLayouts/slideLayout45.xml"/><Relationship Id="rId47" Type="http://schemas.openxmlformats.org/officeDocument/2006/relationships/slideLayout" Target="../slideLayouts/slideLayout50.xml"/><Relationship Id="rId50" Type="http://schemas.openxmlformats.org/officeDocument/2006/relationships/slideLayout" Target="../slideLayouts/slideLayout53.xml"/><Relationship Id="rId55" Type="http://schemas.openxmlformats.org/officeDocument/2006/relationships/slideLayout" Target="../slideLayouts/slideLayout58.xml"/><Relationship Id="rId7" Type="http://schemas.openxmlformats.org/officeDocument/2006/relationships/slideLayout" Target="../slideLayouts/slideLayout10.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9" Type="http://schemas.openxmlformats.org/officeDocument/2006/relationships/slideLayout" Target="../slideLayouts/slideLayout32.xml"/><Relationship Id="rId11" Type="http://schemas.openxmlformats.org/officeDocument/2006/relationships/slideLayout" Target="../slideLayouts/slideLayout14.xml"/><Relationship Id="rId24" Type="http://schemas.openxmlformats.org/officeDocument/2006/relationships/slideLayout" Target="../slideLayouts/slideLayout27.xml"/><Relationship Id="rId32" Type="http://schemas.openxmlformats.org/officeDocument/2006/relationships/slideLayout" Target="../slideLayouts/slideLayout35.xml"/><Relationship Id="rId37" Type="http://schemas.openxmlformats.org/officeDocument/2006/relationships/slideLayout" Target="../slideLayouts/slideLayout40.xml"/><Relationship Id="rId40" Type="http://schemas.openxmlformats.org/officeDocument/2006/relationships/slideLayout" Target="../slideLayouts/slideLayout43.xml"/><Relationship Id="rId45" Type="http://schemas.openxmlformats.org/officeDocument/2006/relationships/slideLayout" Target="../slideLayouts/slideLayout48.xml"/><Relationship Id="rId53" Type="http://schemas.openxmlformats.org/officeDocument/2006/relationships/slideLayout" Target="../slideLayouts/slideLayout56.xml"/><Relationship Id="rId58" Type="http://schemas.openxmlformats.org/officeDocument/2006/relationships/slideLayout" Target="../slideLayouts/slideLayout61.xml"/><Relationship Id="rId5" Type="http://schemas.openxmlformats.org/officeDocument/2006/relationships/slideLayout" Target="../slideLayouts/slideLayout8.xml"/><Relationship Id="rId61" Type="http://schemas.openxmlformats.org/officeDocument/2006/relationships/tags" Target="../tags/tag7.xml"/><Relationship Id="rId19" Type="http://schemas.openxmlformats.org/officeDocument/2006/relationships/slideLayout" Target="../slideLayouts/slideLayout22.xml"/><Relationship Id="rId14" Type="http://schemas.openxmlformats.org/officeDocument/2006/relationships/slideLayout" Target="../slideLayouts/slideLayout17.xml"/><Relationship Id="rId22" Type="http://schemas.openxmlformats.org/officeDocument/2006/relationships/slideLayout" Target="../slideLayouts/slideLayout25.xml"/><Relationship Id="rId27" Type="http://schemas.openxmlformats.org/officeDocument/2006/relationships/slideLayout" Target="../slideLayouts/slideLayout30.xml"/><Relationship Id="rId30" Type="http://schemas.openxmlformats.org/officeDocument/2006/relationships/slideLayout" Target="../slideLayouts/slideLayout33.xml"/><Relationship Id="rId35" Type="http://schemas.openxmlformats.org/officeDocument/2006/relationships/slideLayout" Target="../slideLayouts/slideLayout38.xml"/><Relationship Id="rId43" Type="http://schemas.openxmlformats.org/officeDocument/2006/relationships/slideLayout" Target="../slideLayouts/slideLayout46.xml"/><Relationship Id="rId48" Type="http://schemas.openxmlformats.org/officeDocument/2006/relationships/slideLayout" Target="../slideLayouts/slideLayout51.xml"/><Relationship Id="rId56" Type="http://schemas.openxmlformats.org/officeDocument/2006/relationships/slideLayout" Target="../slideLayouts/slideLayout59.xml"/><Relationship Id="rId8" Type="http://schemas.openxmlformats.org/officeDocument/2006/relationships/slideLayout" Target="../slideLayouts/slideLayout11.xml"/><Relationship Id="rId51" Type="http://schemas.openxmlformats.org/officeDocument/2006/relationships/slideLayout" Target="../slideLayouts/slideLayout54.xml"/><Relationship Id="rId3" Type="http://schemas.openxmlformats.org/officeDocument/2006/relationships/slideLayout" Target="../slideLayouts/slideLayout6.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slideLayout" Target="../slideLayouts/slideLayout28.xml"/><Relationship Id="rId33" Type="http://schemas.openxmlformats.org/officeDocument/2006/relationships/slideLayout" Target="../slideLayouts/slideLayout36.xml"/><Relationship Id="rId38" Type="http://schemas.openxmlformats.org/officeDocument/2006/relationships/slideLayout" Target="../slideLayouts/slideLayout41.xml"/><Relationship Id="rId46" Type="http://schemas.openxmlformats.org/officeDocument/2006/relationships/slideLayout" Target="../slideLayouts/slideLayout49.xml"/><Relationship Id="rId59" Type="http://schemas.openxmlformats.org/officeDocument/2006/relationships/theme" Target="../theme/theme2.xml"/><Relationship Id="rId20" Type="http://schemas.openxmlformats.org/officeDocument/2006/relationships/slideLayout" Target="../slideLayouts/slideLayout23.xml"/><Relationship Id="rId41" Type="http://schemas.openxmlformats.org/officeDocument/2006/relationships/slideLayout" Target="../slideLayouts/slideLayout44.xml"/><Relationship Id="rId54" Type="http://schemas.openxmlformats.org/officeDocument/2006/relationships/slideLayout" Target="../slideLayouts/slideLayout57.xml"/><Relationship Id="rId1" Type="http://schemas.openxmlformats.org/officeDocument/2006/relationships/slideLayout" Target="../slideLayouts/slideLayout4.xml"/><Relationship Id="rId6" Type="http://schemas.openxmlformats.org/officeDocument/2006/relationships/slideLayout" Target="../slideLayouts/slideLayout9.xml"/><Relationship Id="rId15" Type="http://schemas.openxmlformats.org/officeDocument/2006/relationships/slideLayout" Target="../slideLayouts/slideLayout18.xml"/><Relationship Id="rId23" Type="http://schemas.openxmlformats.org/officeDocument/2006/relationships/slideLayout" Target="../slideLayouts/slideLayout26.xml"/><Relationship Id="rId28" Type="http://schemas.openxmlformats.org/officeDocument/2006/relationships/slideLayout" Target="../slideLayouts/slideLayout31.xml"/><Relationship Id="rId36" Type="http://schemas.openxmlformats.org/officeDocument/2006/relationships/slideLayout" Target="../slideLayouts/slideLayout39.xml"/><Relationship Id="rId49" Type="http://schemas.openxmlformats.org/officeDocument/2006/relationships/slideLayout" Target="../slideLayouts/slideLayout52.xml"/><Relationship Id="rId57" Type="http://schemas.openxmlformats.org/officeDocument/2006/relationships/slideLayout" Target="../slideLayouts/slideLayout60.xml"/><Relationship Id="rId10" Type="http://schemas.openxmlformats.org/officeDocument/2006/relationships/slideLayout" Target="../slideLayouts/slideLayout13.xml"/><Relationship Id="rId31" Type="http://schemas.openxmlformats.org/officeDocument/2006/relationships/slideLayout" Target="../slideLayouts/slideLayout34.xml"/><Relationship Id="rId44" Type="http://schemas.openxmlformats.org/officeDocument/2006/relationships/slideLayout" Target="../slideLayouts/slideLayout47.xml"/><Relationship Id="rId52" Type="http://schemas.openxmlformats.org/officeDocument/2006/relationships/slideLayout" Target="../slideLayouts/slideLayout55.xml"/><Relationship Id="rId60" Type="http://schemas.openxmlformats.org/officeDocument/2006/relationships/tags" Target="../tags/tag6.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EA1D491-BF56-4B0F-872F-2E5DCD9CAA4D}"/>
              </a:ext>
            </a:extLst>
          </p:cNvPr>
          <p:cNvSpPr>
            <a:spLocks noGrp="1"/>
          </p:cNvSpPr>
          <p:nvPr>
            <p:ph type="body" idx="1"/>
          </p:nvPr>
        </p:nvSpPr>
        <p:spPr>
          <a:xfrm>
            <a:off x="706631" y="1577568"/>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3A9DA4DB-8E42-4FB4-8465-002591BA53F5}"/>
              </a:ext>
            </a:extLst>
          </p:cNvPr>
          <p:cNvPicPr>
            <a:picLocks noChangeAspect="1"/>
          </p:cNvPicPr>
          <p:nvPr userDrawn="1"/>
        </p:nvPicPr>
        <p:blipFill>
          <a:blip r:embed="rId6"/>
          <a:stretch>
            <a:fillRect/>
          </a:stretch>
        </p:blipFill>
        <p:spPr>
          <a:xfrm>
            <a:off x="0" y="-13059"/>
            <a:ext cx="12192000" cy="1165994"/>
          </a:xfrm>
          <a:prstGeom prst="rect">
            <a:avLst/>
          </a:prstGeom>
        </p:spPr>
      </p:pic>
      <p:sp>
        <p:nvSpPr>
          <p:cNvPr id="2" name="Title Placeholder 1">
            <a:extLst>
              <a:ext uri="{FF2B5EF4-FFF2-40B4-BE49-F238E27FC236}">
                <a16:creationId xmlns:a16="http://schemas.microsoft.com/office/drawing/2014/main" id="{1D916AAC-22D2-4217-A8E4-23491E63EFF3}"/>
              </a:ext>
            </a:extLst>
          </p:cNvPr>
          <p:cNvSpPr>
            <a:spLocks noGrp="1"/>
          </p:cNvSpPr>
          <p:nvPr>
            <p:ph type="title"/>
          </p:nvPr>
        </p:nvSpPr>
        <p:spPr>
          <a:xfrm>
            <a:off x="1186855" y="66725"/>
            <a:ext cx="10515600" cy="1018714"/>
          </a:xfrm>
          <a:prstGeom prst="rect">
            <a:avLst/>
          </a:prstGeom>
        </p:spPr>
        <p:txBody>
          <a:bodyPr vert="horz" lIns="91440" tIns="45720" rIns="91440" bIns="45720" rtlCol="0" anchor="ctr">
            <a:normAutofit/>
          </a:bodyPr>
          <a:lstStyle/>
          <a:p>
            <a:r>
              <a:rPr lang="en-US"/>
              <a:t>Click to edit Master title style</a:t>
            </a:r>
          </a:p>
        </p:txBody>
      </p:sp>
    </p:spTree>
    <p:custDataLst>
      <p:tags r:id="rId5"/>
    </p:custDataLst>
    <p:extLst>
      <p:ext uri="{BB962C8B-B14F-4D97-AF65-F5344CB8AC3E}">
        <p14:creationId xmlns:p14="http://schemas.microsoft.com/office/powerpoint/2010/main" val="4027591154"/>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Lst>
  <p:txStyles>
    <p:titleStyle>
      <a:lvl1pPr algn="l" defTabSz="914400" rtl="0" eaLnBrk="1" latinLnBrk="0" hangingPunct="1">
        <a:lnSpc>
          <a:spcPct val="90000"/>
        </a:lnSpc>
        <a:spcBef>
          <a:spcPct val="0"/>
        </a:spcBef>
        <a:buNone/>
        <a:defRPr sz="4400"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95364" y="431800"/>
            <a:ext cx="10204450" cy="533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995362" y="1330325"/>
            <a:ext cx="10200683" cy="45466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Box 24">
            <a:extLst>
              <a:ext uri="{C183D7F6-B498-43B3-948B-1728B52AA6E4}">
                <adec:decorative xmlns:adec="http://schemas.microsoft.com/office/drawing/2017/decorative" val="0"/>
              </a:ext>
            </a:extLst>
          </p:cNvPr>
          <p:cNvSpPr txBox="1"/>
          <p:nvPr userDrawn="1">
            <p:custDataLst>
              <p:tags r:id="rId60"/>
            </p:custDataLst>
          </p:nvPr>
        </p:nvSpPr>
        <p:spPr>
          <a:xfrm>
            <a:off x="8967794" y="6295536"/>
            <a:ext cx="1866200" cy="923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600" b="0" kern="1200" noProof="0">
                <a:solidFill>
                  <a:schemeClr val="bg1">
                    <a:lumMod val="65000"/>
                  </a:schemeClr>
                </a:solidFill>
                <a:latin typeface="+mn-lt"/>
                <a:ea typeface="+mn-ea"/>
                <a:cs typeface="+mn-cs"/>
              </a:rPr>
              <a:t>Document Classification: KPMG Confidential</a:t>
            </a:r>
          </a:p>
        </p:txBody>
      </p:sp>
      <p:sp>
        <p:nvSpPr>
          <p:cNvPr id="29" name="Shape 8">
            <a:extLst>
              <a:ext uri="{C183D7F6-B498-43B3-948B-1728B52AA6E4}">
                <adec:decorative xmlns:adec="http://schemas.microsoft.com/office/drawing/2017/decorative" val="0"/>
              </a:ext>
            </a:extLst>
          </p:cNvPr>
          <p:cNvSpPr txBox="1">
            <a:spLocks/>
          </p:cNvSpPr>
          <p:nvPr userDrawn="1"/>
        </p:nvSpPr>
        <p:spPr>
          <a:xfrm>
            <a:off x="10946607" y="6266997"/>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z="1000" smtClean="0">
                <a:solidFill>
                  <a:schemeClr val="accent2"/>
                </a:solidFill>
                <a:latin typeface="+mn-lt"/>
                <a:ea typeface="Arial"/>
                <a:cs typeface="Arial" panose="020B0604020202020204" pitchFamily="34" charset="0"/>
              </a:rPr>
              <a:pPr algn="r"/>
              <a:t>‹#›</a:t>
            </a:fld>
            <a:endParaRPr lang="en-GB" sz="1000">
              <a:solidFill>
                <a:schemeClr val="accent2"/>
              </a:solidFill>
              <a:latin typeface="+mn-lt"/>
              <a:ea typeface="Arial"/>
              <a:cs typeface="Arial" panose="020B0604020202020204" pitchFamily="34" charset="0"/>
            </a:endParaRPr>
          </a:p>
        </p:txBody>
      </p:sp>
      <p:cxnSp>
        <p:nvCxnSpPr>
          <p:cNvPr id="17" name="Straight Connector 16">
            <a:extLst>
              <a:ext uri="{FF2B5EF4-FFF2-40B4-BE49-F238E27FC236}">
                <a16:creationId xmlns:a16="http://schemas.microsoft.com/office/drawing/2014/main" id="{F024B3B3-3138-44BB-8DDD-6BDCEF24DEDC}"/>
              </a:ext>
              <a:ext uri="{C183D7F6-B498-43B3-948B-1728B52AA6E4}">
                <adec:decorative xmlns:adec="http://schemas.microsoft.com/office/drawing/2017/decorative" val="1"/>
              </a:ext>
            </a:extLst>
          </p:cNvPr>
          <p:cNvCxnSpPr/>
          <p:nvPr userDrawn="1"/>
        </p:nvCxnSpPr>
        <p:spPr>
          <a:xfrm>
            <a:off x="10928548" y="6266997"/>
            <a:ext cx="0" cy="14941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Graphic 8">
            <a:extLst>
              <a:ext uri="{FF2B5EF4-FFF2-40B4-BE49-F238E27FC236}">
                <a16:creationId xmlns:a16="http://schemas.microsoft.com/office/drawing/2014/main" id="{9AC77B96-D96C-4FA2-858B-DEE0A3A7B7B6}"/>
              </a:ext>
              <a:ext uri="{C183D7F6-B498-43B3-948B-1728B52AA6E4}">
                <adec:decorative xmlns:adec="http://schemas.microsoft.com/office/drawing/2017/decorative" val="1"/>
              </a:ext>
            </a:extLst>
          </p:cNvPr>
          <p:cNvSpPr/>
          <p:nvPr/>
        </p:nvSpPr>
        <p:spPr>
          <a:xfrm>
            <a:off x="1003200" y="6266996"/>
            <a:ext cx="484832" cy="194706"/>
          </a:xfrm>
          <a:custGeom>
            <a:avLst/>
            <a:gdLst>
              <a:gd name="connsiteX0" fmla="*/ 480938 w 484832"/>
              <a:gd name="connsiteY0" fmla="*/ 148130 h 194706"/>
              <a:gd name="connsiteX1" fmla="*/ 455744 w 484832"/>
              <a:gd name="connsiteY1" fmla="*/ 148130 h 194706"/>
              <a:gd name="connsiteX2" fmla="*/ 459917 w 484832"/>
              <a:gd name="connsiteY2" fmla="*/ 131488 h 194706"/>
              <a:gd name="connsiteX3" fmla="*/ 409445 w 484832"/>
              <a:gd name="connsiteY3" fmla="*/ 131488 h 194706"/>
              <a:gd name="connsiteX4" fmla="*/ 405289 w 484832"/>
              <a:gd name="connsiteY4" fmla="*/ 148130 h 194706"/>
              <a:gd name="connsiteX5" fmla="*/ 380916 w 484832"/>
              <a:gd name="connsiteY5" fmla="*/ 148130 h 194706"/>
              <a:gd name="connsiteX6" fmla="*/ 380916 w 484832"/>
              <a:gd name="connsiteY6" fmla="*/ 144709 h 194706"/>
              <a:gd name="connsiteX7" fmla="*/ 382079 w 484832"/>
              <a:gd name="connsiteY7" fmla="*/ 138775 h 194706"/>
              <a:gd name="connsiteX8" fmla="*/ 418715 w 484832"/>
              <a:gd name="connsiteY8" fmla="*/ 103062 h 194706"/>
              <a:gd name="connsiteX9" fmla="*/ 433698 w 484832"/>
              <a:gd name="connsiteY9" fmla="*/ 117292 h 194706"/>
              <a:gd name="connsiteX10" fmla="*/ 463732 w 484832"/>
              <a:gd name="connsiteY10" fmla="*/ 117292 h 194706"/>
              <a:gd name="connsiteX11" fmla="*/ 461234 w 484832"/>
              <a:gd name="connsiteY11" fmla="*/ 95058 h 194706"/>
              <a:gd name="connsiteX12" fmla="*/ 425214 w 484832"/>
              <a:gd name="connsiteY12" fmla="*/ 82641 h 194706"/>
              <a:gd name="connsiteX13" fmla="*/ 380916 w 484832"/>
              <a:gd name="connsiteY13" fmla="*/ 94357 h 194706"/>
              <a:gd name="connsiteX14" fmla="*/ 380916 w 484832"/>
              <a:gd name="connsiteY14" fmla="*/ 3708 h 194706"/>
              <a:gd name="connsiteX15" fmla="*/ 480938 w 484832"/>
              <a:gd name="connsiteY15" fmla="*/ 3708 h 194706"/>
              <a:gd name="connsiteX16" fmla="*/ 421914 w 484832"/>
              <a:gd name="connsiteY16" fmla="*/ 172537 h 194706"/>
              <a:gd name="connsiteX17" fmla="*/ 405101 w 484832"/>
              <a:gd name="connsiteY17" fmla="*/ 174247 h 194706"/>
              <a:gd name="connsiteX18" fmla="*/ 380438 w 484832"/>
              <a:gd name="connsiteY18" fmla="*/ 151910 h 194706"/>
              <a:gd name="connsiteX19" fmla="*/ 427027 w 484832"/>
              <a:gd name="connsiteY19" fmla="*/ 151910 h 194706"/>
              <a:gd name="connsiteX20" fmla="*/ 364275 w 484832"/>
              <a:gd name="connsiteY20" fmla="*/ 90064 h 194706"/>
              <a:gd name="connsiteX21" fmla="*/ 364275 w 484832"/>
              <a:gd name="connsiteY21" fmla="*/ 110759 h 194706"/>
              <a:gd name="connsiteX22" fmla="*/ 350951 w 484832"/>
              <a:gd name="connsiteY22" fmla="*/ 139390 h 194706"/>
              <a:gd name="connsiteX23" fmla="*/ 349360 w 484832"/>
              <a:gd name="connsiteY23" fmla="*/ 148130 h 194706"/>
              <a:gd name="connsiteX24" fmla="*/ 334669 w 484832"/>
              <a:gd name="connsiteY24" fmla="*/ 148130 h 194706"/>
              <a:gd name="connsiteX25" fmla="*/ 347223 w 484832"/>
              <a:gd name="connsiteY25" fmla="*/ 88524 h 194706"/>
              <a:gd name="connsiteX26" fmla="*/ 304943 w 484832"/>
              <a:gd name="connsiteY26" fmla="*/ 88524 h 194706"/>
              <a:gd name="connsiteX27" fmla="*/ 267110 w 484832"/>
              <a:gd name="connsiteY27" fmla="*/ 148164 h 194706"/>
              <a:gd name="connsiteX28" fmla="*/ 264339 w 484832"/>
              <a:gd name="connsiteY28" fmla="*/ 148164 h 194706"/>
              <a:gd name="connsiteX29" fmla="*/ 264339 w 484832"/>
              <a:gd name="connsiteY29" fmla="*/ 3759 h 194706"/>
              <a:gd name="connsiteX30" fmla="*/ 364326 w 484832"/>
              <a:gd name="connsiteY30" fmla="*/ 3759 h 194706"/>
              <a:gd name="connsiteX31" fmla="*/ 308449 w 484832"/>
              <a:gd name="connsiteY31" fmla="*/ 148130 h 194706"/>
              <a:gd name="connsiteX32" fmla="*/ 293398 w 484832"/>
              <a:gd name="connsiteY32" fmla="*/ 148130 h 194706"/>
              <a:gd name="connsiteX33" fmla="*/ 316163 w 484832"/>
              <a:gd name="connsiteY33" fmla="*/ 112315 h 194706"/>
              <a:gd name="connsiteX34" fmla="*/ 247731 w 484832"/>
              <a:gd name="connsiteY34" fmla="*/ 88388 h 194706"/>
              <a:gd name="connsiteX35" fmla="*/ 222709 w 484832"/>
              <a:gd name="connsiteY35" fmla="*/ 88388 h 194706"/>
              <a:gd name="connsiteX36" fmla="*/ 205606 w 484832"/>
              <a:gd name="connsiteY36" fmla="*/ 148130 h 194706"/>
              <a:gd name="connsiteX37" fmla="*/ 179027 w 484832"/>
              <a:gd name="connsiteY37" fmla="*/ 148130 h 194706"/>
              <a:gd name="connsiteX38" fmla="*/ 203314 w 484832"/>
              <a:gd name="connsiteY38" fmla="*/ 119413 h 194706"/>
              <a:gd name="connsiteX39" fmla="*/ 199893 w 484832"/>
              <a:gd name="connsiteY39" fmla="*/ 95725 h 194706"/>
              <a:gd name="connsiteX40" fmla="*/ 167653 w 484832"/>
              <a:gd name="connsiteY40" fmla="*/ 88353 h 194706"/>
              <a:gd name="connsiteX41" fmla="*/ 147796 w 484832"/>
              <a:gd name="connsiteY41" fmla="*/ 88353 h 194706"/>
              <a:gd name="connsiteX42" fmla="*/ 147796 w 484832"/>
              <a:gd name="connsiteY42" fmla="*/ 3759 h 194706"/>
              <a:gd name="connsiteX43" fmla="*/ 247697 w 484832"/>
              <a:gd name="connsiteY43" fmla="*/ 3759 h 194706"/>
              <a:gd name="connsiteX44" fmla="*/ 231740 w 484832"/>
              <a:gd name="connsiteY44" fmla="*/ 148130 h 194706"/>
              <a:gd name="connsiteX45" fmla="*/ 242258 w 484832"/>
              <a:gd name="connsiteY45" fmla="*/ 110759 h 194706"/>
              <a:gd name="connsiteX46" fmla="*/ 242635 w 484832"/>
              <a:gd name="connsiteY46" fmla="*/ 148130 h 194706"/>
              <a:gd name="connsiteX47" fmla="*/ 158981 w 484832"/>
              <a:gd name="connsiteY47" fmla="*/ 133934 h 194706"/>
              <a:gd name="connsiteX48" fmla="*/ 158981 w 484832"/>
              <a:gd name="connsiteY48" fmla="*/ 133934 h 194706"/>
              <a:gd name="connsiteX49" fmla="*/ 155920 w 484832"/>
              <a:gd name="connsiteY49" fmla="*/ 134054 h 194706"/>
              <a:gd name="connsiteX50" fmla="*/ 152243 w 484832"/>
              <a:gd name="connsiteY50" fmla="*/ 134054 h 194706"/>
              <a:gd name="connsiteX51" fmla="*/ 145846 w 484832"/>
              <a:gd name="connsiteY51" fmla="*/ 134054 h 194706"/>
              <a:gd name="connsiteX52" fmla="*/ 148805 w 484832"/>
              <a:gd name="connsiteY52" fmla="*/ 123125 h 194706"/>
              <a:gd name="connsiteX53" fmla="*/ 150207 w 484832"/>
              <a:gd name="connsiteY53" fmla="*/ 117686 h 194706"/>
              <a:gd name="connsiteX54" fmla="*/ 153628 w 484832"/>
              <a:gd name="connsiteY54" fmla="*/ 104961 h 194706"/>
              <a:gd name="connsiteX55" fmla="*/ 157972 w 484832"/>
              <a:gd name="connsiteY55" fmla="*/ 104961 h 194706"/>
              <a:gd name="connsiteX56" fmla="*/ 162915 w 484832"/>
              <a:gd name="connsiteY56" fmla="*/ 104961 h 194706"/>
              <a:gd name="connsiteX57" fmla="*/ 178668 w 484832"/>
              <a:gd name="connsiteY57" fmla="*/ 108159 h 194706"/>
              <a:gd name="connsiteX58" fmla="*/ 178206 w 484832"/>
              <a:gd name="connsiteY58" fmla="*/ 119105 h 194706"/>
              <a:gd name="connsiteX59" fmla="*/ 159084 w 484832"/>
              <a:gd name="connsiteY59" fmla="*/ 133986 h 194706"/>
              <a:gd name="connsiteX60" fmla="*/ 131291 w 484832"/>
              <a:gd name="connsiteY60" fmla="*/ 93741 h 194706"/>
              <a:gd name="connsiteX61" fmla="*/ 129717 w 484832"/>
              <a:gd name="connsiteY61" fmla="*/ 98872 h 194706"/>
              <a:gd name="connsiteX62" fmla="*/ 115419 w 484832"/>
              <a:gd name="connsiteY62" fmla="*/ 146471 h 194706"/>
              <a:gd name="connsiteX63" fmla="*/ 114854 w 484832"/>
              <a:gd name="connsiteY63" fmla="*/ 148181 h 194706"/>
              <a:gd name="connsiteX64" fmla="*/ 67683 w 484832"/>
              <a:gd name="connsiteY64" fmla="*/ 148181 h 194706"/>
              <a:gd name="connsiteX65" fmla="*/ 64006 w 484832"/>
              <a:gd name="connsiteY65" fmla="*/ 140365 h 194706"/>
              <a:gd name="connsiteX66" fmla="*/ 114683 w 484832"/>
              <a:gd name="connsiteY66" fmla="*/ 88524 h 194706"/>
              <a:gd name="connsiteX67" fmla="*/ 82187 w 484832"/>
              <a:gd name="connsiteY67" fmla="*/ 88524 h 194706"/>
              <a:gd name="connsiteX68" fmla="*/ 42507 w 484832"/>
              <a:gd name="connsiteY68" fmla="*/ 131283 h 194706"/>
              <a:gd name="connsiteX69" fmla="*/ 55351 w 484832"/>
              <a:gd name="connsiteY69" fmla="*/ 88524 h 194706"/>
              <a:gd name="connsiteX70" fmla="*/ 31270 w 484832"/>
              <a:gd name="connsiteY70" fmla="*/ 88524 h 194706"/>
              <a:gd name="connsiteX71" fmla="*/ 31270 w 484832"/>
              <a:gd name="connsiteY71" fmla="*/ 3759 h 194706"/>
              <a:gd name="connsiteX72" fmla="*/ 131188 w 484832"/>
              <a:gd name="connsiteY72" fmla="*/ 3759 h 194706"/>
              <a:gd name="connsiteX73" fmla="*/ 377119 w 484832"/>
              <a:gd name="connsiteY73" fmla="*/ -89 h 194706"/>
              <a:gd name="connsiteX74" fmla="*/ 377119 w 484832"/>
              <a:gd name="connsiteY74" fmla="*/ 97076 h 194706"/>
              <a:gd name="connsiteX75" fmla="*/ 368140 w 484832"/>
              <a:gd name="connsiteY75" fmla="*/ 105713 h 194706"/>
              <a:gd name="connsiteX76" fmla="*/ 368140 w 484832"/>
              <a:gd name="connsiteY76" fmla="*/ -89 h 194706"/>
              <a:gd name="connsiteX77" fmla="*/ 260525 w 484832"/>
              <a:gd name="connsiteY77" fmla="*/ -89 h 194706"/>
              <a:gd name="connsiteX78" fmla="*/ 260525 w 484832"/>
              <a:gd name="connsiteY78" fmla="*/ 88388 h 194706"/>
              <a:gd name="connsiteX79" fmla="*/ 251614 w 484832"/>
              <a:gd name="connsiteY79" fmla="*/ 88388 h 194706"/>
              <a:gd name="connsiteX80" fmla="*/ 251614 w 484832"/>
              <a:gd name="connsiteY80" fmla="*/ -89 h 194706"/>
              <a:gd name="connsiteX81" fmla="*/ 143965 w 484832"/>
              <a:gd name="connsiteY81" fmla="*/ -89 h 194706"/>
              <a:gd name="connsiteX82" fmla="*/ 143965 w 484832"/>
              <a:gd name="connsiteY82" fmla="*/ 88524 h 194706"/>
              <a:gd name="connsiteX83" fmla="*/ 135071 w 484832"/>
              <a:gd name="connsiteY83" fmla="*/ 88524 h 194706"/>
              <a:gd name="connsiteX84" fmla="*/ 135071 w 484832"/>
              <a:gd name="connsiteY84" fmla="*/ -89 h 194706"/>
              <a:gd name="connsiteX85" fmla="*/ 27456 w 484832"/>
              <a:gd name="connsiteY85" fmla="*/ -89 h 194706"/>
              <a:gd name="connsiteX86" fmla="*/ 27456 w 484832"/>
              <a:gd name="connsiteY86" fmla="*/ 100907 h 194706"/>
              <a:gd name="connsiteX87" fmla="*/ -47 w 484832"/>
              <a:gd name="connsiteY87" fmla="*/ 192480 h 194706"/>
              <a:gd name="connsiteX88" fmla="*/ 24120 w 484832"/>
              <a:gd name="connsiteY88" fmla="*/ 192480 h 194706"/>
              <a:gd name="connsiteX89" fmla="*/ 36247 w 484832"/>
              <a:gd name="connsiteY89" fmla="*/ 151927 h 194706"/>
              <a:gd name="connsiteX90" fmla="*/ 39667 w 484832"/>
              <a:gd name="connsiteY90" fmla="*/ 151927 h 194706"/>
              <a:gd name="connsiteX91" fmla="*/ 59696 w 484832"/>
              <a:gd name="connsiteY91" fmla="*/ 192480 h 194706"/>
              <a:gd name="connsiteX92" fmla="*/ 89028 w 484832"/>
              <a:gd name="connsiteY92" fmla="*/ 192480 h 194706"/>
              <a:gd name="connsiteX93" fmla="*/ 69513 w 484832"/>
              <a:gd name="connsiteY93" fmla="*/ 151927 h 194706"/>
              <a:gd name="connsiteX94" fmla="*/ 113623 w 484832"/>
              <a:gd name="connsiteY94" fmla="*/ 151927 h 194706"/>
              <a:gd name="connsiteX95" fmla="*/ 101377 w 484832"/>
              <a:gd name="connsiteY95" fmla="*/ 192480 h 194706"/>
              <a:gd name="connsiteX96" fmla="*/ 127785 w 484832"/>
              <a:gd name="connsiteY96" fmla="*/ 192480 h 194706"/>
              <a:gd name="connsiteX97" fmla="*/ 139860 w 484832"/>
              <a:gd name="connsiteY97" fmla="*/ 152047 h 194706"/>
              <a:gd name="connsiteX98" fmla="*/ 145641 w 484832"/>
              <a:gd name="connsiteY98" fmla="*/ 152047 h 194706"/>
              <a:gd name="connsiteX99" fmla="*/ 145641 w 484832"/>
              <a:gd name="connsiteY99" fmla="*/ 151927 h 194706"/>
              <a:gd name="connsiteX100" fmla="*/ 204408 w 484832"/>
              <a:gd name="connsiteY100" fmla="*/ 151927 h 194706"/>
              <a:gd name="connsiteX101" fmla="*/ 192761 w 484832"/>
              <a:gd name="connsiteY101" fmla="*/ 192360 h 194706"/>
              <a:gd name="connsiteX102" fmla="*/ 219374 w 484832"/>
              <a:gd name="connsiteY102" fmla="*/ 192360 h 194706"/>
              <a:gd name="connsiteX103" fmla="*/ 230662 w 484832"/>
              <a:gd name="connsiteY103" fmla="*/ 151927 h 194706"/>
              <a:gd name="connsiteX104" fmla="*/ 242635 w 484832"/>
              <a:gd name="connsiteY104" fmla="*/ 151927 h 194706"/>
              <a:gd name="connsiteX105" fmla="*/ 242960 w 484832"/>
              <a:gd name="connsiteY105" fmla="*/ 192360 h 194706"/>
              <a:gd name="connsiteX106" fmla="*/ 265280 w 484832"/>
              <a:gd name="connsiteY106" fmla="*/ 192360 h 194706"/>
              <a:gd name="connsiteX107" fmla="*/ 290935 w 484832"/>
              <a:gd name="connsiteY107" fmla="*/ 151927 h 194706"/>
              <a:gd name="connsiteX108" fmla="*/ 307713 w 484832"/>
              <a:gd name="connsiteY108" fmla="*/ 151927 h 194706"/>
              <a:gd name="connsiteX109" fmla="*/ 299059 w 484832"/>
              <a:gd name="connsiteY109" fmla="*/ 192360 h 194706"/>
              <a:gd name="connsiteX110" fmla="*/ 325227 w 484832"/>
              <a:gd name="connsiteY110" fmla="*/ 192360 h 194706"/>
              <a:gd name="connsiteX111" fmla="*/ 333779 w 484832"/>
              <a:gd name="connsiteY111" fmla="*/ 151927 h 194706"/>
              <a:gd name="connsiteX112" fmla="*/ 348933 w 484832"/>
              <a:gd name="connsiteY112" fmla="*/ 151927 h 194706"/>
              <a:gd name="connsiteX113" fmla="*/ 359845 w 484832"/>
              <a:gd name="connsiteY113" fmla="*/ 183517 h 194706"/>
              <a:gd name="connsiteX114" fmla="*/ 397131 w 484832"/>
              <a:gd name="connsiteY114" fmla="*/ 194617 h 194706"/>
              <a:gd name="connsiteX115" fmla="*/ 445807 w 484832"/>
              <a:gd name="connsiteY115" fmla="*/ 188648 h 194706"/>
              <a:gd name="connsiteX116" fmla="*/ 454872 w 484832"/>
              <a:gd name="connsiteY116" fmla="*/ 151927 h 194706"/>
              <a:gd name="connsiteX117" fmla="*/ 484786 w 484832"/>
              <a:gd name="connsiteY117" fmla="*/ 151927 h 194706"/>
              <a:gd name="connsiteX118" fmla="*/ 484786 w 484832"/>
              <a:gd name="connsiteY118" fmla="*/ -89 h 19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484832" h="194706">
                <a:moveTo>
                  <a:pt x="480938" y="148130"/>
                </a:moveTo>
                <a:lnTo>
                  <a:pt x="455744" y="148130"/>
                </a:lnTo>
                <a:lnTo>
                  <a:pt x="459917" y="131488"/>
                </a:lnTo>
                <a:lnTo>
                  <a:pt x="409445" y="131488"/>
                </a:lnTo>
                <a:lnTo>
                  <a:pt x="405289" y="148130"/>
                </a:lnTo>
                <a:lnTo>
                  <a:pt x="380916" y="148130"/>
                </a:lnTo>
                <a:lnTo>
                  <a:pt x="380916" y="144709"/>
                </a:lnTo>
                <a:cubicBezTo>
                  <a:pt x="381293" y="142845"/>
                  <a:pt x="381618" y="140878"/>
                  <a:pt x="382079" y="138775"/>
                </a:cubicBezTo>
                <a:cubicBezTo>
                  <a:pt x="386526" y="120816"/>
                  <a:pt x="398311" y="103062"/>
                  <a:pt x="418715" y="103062"/>
                </a:cubicBezTo>
                <a:cubicBezTo>
                  <a:pt x="426771" y="103062"/>
                  <a:pt x="434792" y="106141"/>
                  <a:pt x="433698" y="117292"/>
                </a:cubicBezTo>
                <a:lnTo>
                  <a:pt x="463732" y="117292"/>
                </a:lnTo>
                <a:cubicBezTo>
                  <a:pt x="464912" y="112161"/>
                  <a:pt x="466896" y="103216"/>
                  <a:pt x="461234" y="95058"/>
                </a:cubicBezTo>
                <a:cubicBezTo>
                  <a:pt x="454821" y="86198"/>
                  <a:pt x="441942" y="82641"/>
                  <a:pt x="425214" y="82641"/>
                </a:cubicBezTo>
                <a:cubicBezTo>
                  <a:pt x="413328" y="82641"/>
                  <a:pt x="395933" y="84539"/>
                  <a:pt x="380916" y="94357"/>
                </a:cubicBezTo>
                <a:lnTo>
                  <a:pt x="380916" y="3708"/>
                </a:lnTo>
                <a:lnTo>
                  <a:pt x="480938" y="3708"/>
                </a:lnTo>
                <a:close/>
                <a:moveTo>
                  <a:pt x="421914" y="172537"/>
                </a:moveTo>
                <a:cubicBezTo>
                  <a:pt x="416372" y="173606"/>
                  <a:pt x="410745" y="174179"/>
                  <a:pt x="405101" y="174247"/>
                </a:cubicBezTo>
                <a:cubicBezTo>
                  <a:pt x="390683" y="174247"/>
                  <a:pt x="380643" y="167543"/>
                  <a:pt x="380438" y="151910"/>
                </a:cubicBezTo>
                <a:lnTo>
                  <a:pt x="427027" y="151910"/>
                </a:lnTo>
                <a:close/>
                <a:moveTo>
                  <a:pt x="364275" y="90064"/>
                </a:moveTo>
                <a:lnTo>
                  <a:pt x="364275" y="110759"/>
                </a:lnTo>
                <a:cubicBezTo>
                  <a:pt x="358044" y="119364"/>
                  <a:pt x="353522" y="129082"/>
                  <a:pt x="350951" y="139390"/>
                </a:cubicBezTo>
                <a:cubicBezTo>
                  <a:pt x="350195" y="142258"/>
                  <a:pt x="349663" y="145180"/>
                  <a:pt x="349360" y="148130"/>
                </a:cubicBezTo>
                <a:lnTo>
                  <a:pt x="334669" y="148130"/>
                </a:lnTo>
                <a:lnTo>
                  <a:pt x="347223" y="88524"/>
                </a:lnTo>
                <a:lnTo>
                  <a:pt x="304943" y="88524"/>
                </a:lnTo>
                <a:lnTo>
                  <a:pt x="267110" y="148164"/>
                </a:lnTo>
                <a:lnTo>
                  <a:pt x="264339" y="148164"/>
                </a:lnTo>
                <a:lnTo>
                  <a:pt x="264339" y="3759"/>
                </a:lnTo>
                <a:lnTo>
                  <a:pt x="364326" y="3759"/>
                </a:lnTo>
                <a:close/>
                <a:moveTo>
                  <a:pt x="308449" y="148130"/>
                </a:moveTo>
                <a:lnTo>
                  <a:pt x="293398" y="148130"/>
                </a:lnTo>
                <a:lnTo>
                  <a:pt x="316163" y="112315"/>
                </a:lnTo>
                <a:close/>
                <a:moveTo>
                  <a:pt x="247731" y="88388"/>
                </a:moveTo>
                <a:lnTo>
                  <a:pt x="222709" y="88388"/>
                </a:lnTo>
                <a:lnTo>
                  <a:pt x="205606" y="148130"/>
                </a:lnTo>
                <a:lnTo>
                  <a:pt x="179027" y="148130"/>
                </a:lnTo>
                <a:cubicBezTo>
                  <a:pt x="192538" y="143136"/>
                  <a:pt x="200765" y="133592"/>
                  <a:pt x="203314" y="119413"/>
                </a:cubicBezTo>
                <a:cubicBezTo>
                  <a:pt x="205400" y="108399"/>
                  <a:pt x="204408" y="101164"/>
                  <a:pt x="199893" y="95725"/>
                </a:cubicBezTo>
                <a:cubicBezTo>
                  <a:pt x="193154" y="87652"/>
                  <a:pt x="179642" y="88353"/>
                  <a:pt x="167653" y="88353"/>
                </a:cubicBezTo>
                <a:lnTo>
                  <a:pt x="147796" y="88353"/>
                </a:lnTo>
                <a:lnTo>
                  <a:pt x="147796" y="3759"/>
                </a:lnTo>
                <a:lnTo>
                  <a:pt x="247697" y="3759"/>
                </a:lnTo>
                <a:close/>
                <a:moveTo>
                  <a:pt x="231740" y="148130"/>
                </a:moveTo>
                <a:lnTo>
                  <a:pt x="242258" y="110759"/>
                </a:lnTo>
                <a:lnTo>
                  <a:pt x="242635" y="148130"/>
                </a:lnTo>
                <a:close/>
                <a:moveTo>
                  <a:pt x="158981" y="133934"/>
                </a:moveTo>
                <a:lnTo>
                  <a:pt x="158981" y="133934"/>
                </a:lnTo>
                <a:cubicBezTo>
                  <a:pt x="158007" y="133934"/>
                  <a:pt x="157032" y="134054"/>
                  <a:pt x="155920" y="134054"/>
                </a:cubicBezTo>
                <a:cubicBezTo>
                  <a:pt x="154466" y="134054"/>
                  <a:pt x="153320" y="134054"/>
                  <a:pt x="152243" y="134054"/>
                </a:cubicBezTo>
                <a:lnTo>
                  <a:pt x="145846" y="134054"/>
                </a:lnTo>
                <a:lnTo>
                  <a:pt x="148805" y="123125"/>
                </a:lnTo>
                <a:lnTo>
                  <a:pt x="150207" y="117686"/>
                </a:lnTo>
                <a:lnTo>
                  <a:pt x="153628" y="104961"/>
                </a:lnTo>
                <a:cubicBezTo>
                  <a:pt x="155116" y="104961"/>
                  <a:pt x="156570" y="104961"/>
                  <a:pt x="157972" y="104961"/>
                </a:cubicBezTo>
                <a:lnTo>
                  <a:pt x="162915" y="104961"/>
                </a:lnTo>
                <a:cubicBezTo>
                  <a:pt x="171467" y="104961"/>
                  <a:pt x="176718" y="105440"/>
                  <a:pt x="178668" y="108159"/>
                </a:cubicBezTo>
                <a:cubicBezTo>
                  <a:pt x="180156" y="110212"/>
                  <a:pt x="179967" y="113735"/>
                  <a:pt x="178206" y="119105"/>
                </a:cubicBezTo>
                <a:cubicBezTo>
                  <a:pt x="175196" y="128341"/>
                  <a:pt x="171364" y="133045"/>
                  <a:pt x="159084" y="133986"/>
                </a:cubicBezTo>
                <a:moveTo>
                  <a:pt x="131291" y="93741"/>
                </a:moveTo>
                <a:lnTo>
                  <a:pt x="129717" y="98872"/>
                </a:lnTo>
                <a:lnTo>
                  <a:pt x="115419" y="146471"/>
                </a:lnTo>
                <a:lnTo>
                  <a:pt x="114854" y="148181"/>
                </a:lnTo>
                <a:lnTo>
                  <a:pt x="67683" y="148181"/>
                </a:lnTo>
                <a:lnTo>
                  <a:pt x="64006" y="140365"/>
                </a:lnTo>
                <a:lnTo>
                  <a:pt x="114683" y="88524"/>
                </a:lnTo>
                <a:lnTo>
                  <a:pt x="82187" y="88524"/>
                </a:lnTo>
                <a:lnTo>
                  <a:pt x="42507" y="131283"/>
                </a:lnTo>
                <a:lnTo>
                  <a:pt x="55351" y="88524"/>
                </a:lnTo>
                <a:lnTo>
                  <a:pt x="31270" y="88524"/>
                </a:lnTo>
                <a:lnTo>
                  <a:pt x="31270" y="3759"/>
                </a:lnTo>
                <a:lnTo>
                  <a:pt x="131188" y="3759"/>
                </a:lnTo>
                <a:close/>
                <a:moveTo>
                  <a:pt x="377119" y="-89"/>
                </a:moveTo>
                <a:lnTo>
                  <a:pt x="377119" y="97076"/>
                </a:lnTo>
                <a:cubicBezTo>
                  <a:pt x="373861" y="99667"/>
                  <a:pt x="370856" y="102560"/>
                  <a:pt x="368140" y="105713"/>
                </a:cubicBezTo>
                <a:lnTo>
                  <a:pt x="368140" y="-89"/>
                </a:lnTo>
                <a:lnTo>
                  <a:pt x="260525" y="-89"/>
                </a:lnTo>
                <a:lnTo>
                  <a:pt x="260525" y="88388"/>
                </a:lnTo>
                <a:lnTo>
                  <a:pt x="251614" y="88388"/>
                </a:lnTo>
                <a:lnTo>
                  <a:pt x="251614" y="-89"/>
                </a:lnTo>
                <a:lnTo>
                  <a:pt x="143965" y="-89"/>
                </a:lnTo>
                <a:lnTo>
                  <a:pt x="143965" y="88524"/>
                </a:lnTo>
                <a:lnTo>
                  <a:pt x="135071" y="88524"/>
                </a:lnTo>
                <a:lnTo>
                  <a:pt x="135071" y="-89"/>
                </a:lnTo>
                <a:lnTo>
                  <a:pt x="27456" y="-89"/>
                </a:lnTo>
                <a:lnTo>
                  <a:pt x="27456" y="100907"/>
                </a:lnTo>
                <a:lnTo>
                  <a:pt x="-47" y="192480"/>
                </a:lnTo>
                <a:lnTo>
                  <a:pt x="24120" y="192480"/>
                </a:lnTo>
                <a:lnTo>
                  <a:pt x="36247" y="151927"/>
                </a:lnTo>
                <a:lnTo>
                  <a:pt x="39667" y="151927"/>
                </a:lnTo>
                <a:lnTo>
                  <a:pt x="59696" y="192480"/>
                </a:lnTo>
                <a:lnTo>
                  <a:pt x="89028" y="192480"/>
                </a:lnTo>
                <a:lnTo>
                  <a:pt x="69513" y="151927"/>
                </a:lnTo>
                <a:lnTo>
                  <a:pt x="113623" y="151927"/>
                </a:lnTo>
                <a:lnTo>
                  <a:pt x="101377" y="192480"/>
                </a:lnTo>
                <a:lnTo>
                  <a:pt x="127785" y="192480"/>
                </a:lnTo>
                <a:lnTo>
                  <a:pt x="139860" y="152047"/>
                </a:lnTo>
                <a:lnTo>
                  <a:pt x="145641" y="152047"/>
                </a:lnTo>
                <a:lnTo>
                  <a:pt x="145641" y="151927"/>
                </a:lnTo>
                <a:lnTo>
                  <a:pt x="204408" y="151927"/>
                </a:lnTo>
                <a:lnTo>
                  <a:pt x="192761" y="192360"/>
                </a:lnTo>
                <a:lnTo>
                  <a:pt x="219374" y="192360"/>
                </a:lnTo>
                <a:lnTo>
                  <a:pt x="230662" y="151927"/>
                </a:lnTo>
                <a:lnTo>
                  <a:pt x="242635" y="151927"/>
                </a:lnTo>
                <a:lnTo>
                  <a:pt x="242960" y="192360"/>
                </a:lnTo>
                <a:lnTo>
                  <a:pt x="265280" y="192360"/>
                </a:lnTo>
                <a:lnTo>
                  <a:pt x="290935" y="151927"/>
                </a:lnTo>
                <a:lnTo>
                  <a:pt x="307713" y="151927"/>
                </a:lnTo>
                <a:lnTo>
                  <a:pt x="299059" y="192360"/>
                </a:lnTo>
                <a:lnTo>
                  <a:pt x="325227" y="192360"/>
                </a:lnTo>
                <a:lnTo>
                  <a:pt x="333779" y="151927"/>
                </a:lnTo>
                <a:lnTo>
                  <a:pt x="348933" y="151927"/>
                </a:lnTo>
                <a:cubicBezTo>
                  <a:pt x="348334" y="164464"/>
                  <a:pt x="351533" y="175872"/>
                  <a:pt x="359845" y="183517"/>
                </a:cubicBezTo>
                <a:cubicBezTo>
                  <a:pt x="370004" y="192839"/>
                  <a:pt x="385603" y="194617"/>
                  <a:pt x="397131" y="194617"/>
                </a:cubicBezTo>
                <a:cubicBezTo>
                  <a:pt x="413526" y="194421"/>
                  <a:pt x="429850" y="192418"/>
                  <a:pt x="445807" y="188648"/>
                </a:cubicBezTo>
                <a:lnTo>
                  <a:pt x="454872" y="151927"/>
                </a:lnTo>
                <a:lnTo>
                  <a:pt x="484786" y="151927"/>
                </a:lnTo>
                <a:lnTo>
                  <a:pt x="484786" y="-89"/>
                </a:lnTo>
                <a:close/>
              </a:path>
            </a:pathLst>
          </a:custGeom>
          <a:solidFill>
            <a:schemeClr val="tx2"/>
          </a:solidFill>
          <a:ln w="1683" cap="flat">
            <a:noFill/>
            <a:prstDash val="solid"/>
            <a:miter/>
          </a:ln>
        </p:spPr>
        <p:txBody>
          <a:bodyPr rtlCol="0" anchor="ctr"/>
          <a:lstStyle/>
          <a:p>
            <a:endParaRPr lang="en-GB"/>
          </a:p>
        </p:txBody>
      </p:sp>
      <p:sp>
        <p:nvSpPr>
          <p:cNvPr id="8" name="TextBox 7">
            <a:extLst>
              <a:ext uri="{C183D7F6-B498-43B3-948B-1728B52AA6E4}">
                <adec:decorative xmlns:adec="http://schemas.microsoft.com/office/drawing/2017/decorative" val="0"/>
              </a:ext>
            </a:extLst>
          </p:cNvPr>
          <p:cNvSpPr txBox="1"/>
          <p:nvPr userDrawn="1">
            <p:custDataLst>
              <p:tags r:id="rId61"/>
            </p:custDataLst>
          </p:nvPr>
        </p:nvSpPr>
        <p:spPr>
          <a:xfrm>
            <a:off x="1885685" y="6266997"/>
            <a:ext cx="4623066"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a:solidFill>
                  <a:schemeClr val="bg1">
                    <a:lumMod val="65000"/>
                  </a:schemeClr>
                </a:solidFill>
                <a:latin typeface="+mn-lt"/>
                <a:ea typeface="+mn-ea"/>
                <a:cs typeface="+mn-cs"/>
              </a:rPr>
              <a:t>© [year] [legal member firm name], a [jurisdiction] [legal structure] and a member firm of the KPMG global organization of independent member firms affiliated with KPMG International Limited, a private English company limited by guarantee. All rights reserved.</a:t>
            </a:r>
          </a:p>
        </p:txBody>
      </p:sp>
    </p:spTree>
    <p:extLst>
      <p:ext uri="{BB962C8B-B14F-4D97-AF65-F5344CB8AC3E}">
        <p14:creationId xmlns:p14="http://schemas.microsoft.com/office/powerpoint/2010/main" val="1698233589"/>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 id="2147483683" r:id="rId16"/>
    <p:sldLayoutId id="2147483684" r:id="rId17"/>
    <p:sldLayoutId id="2147483685" r:id="rId18"/>
    <p:sldLayoutId id="2147483686" r:id="rId19"/>
    <p:sldLayoutId id="2147483687" r:id="rId20"/>
    <p:sldLayoutId id="2147483688" r:id="rId21"/>
    <p:sldLayoutId id="2147483689" r:id="rId22"/>
    <p:sldLayoutId id="2147483690" r:id="rId23"/>
    <p:sldLayoutId id="2147483691" r:id="rId24"/>
    <p:sldLayoutId id="2147483692" r:id="rId25"/>
    <p:sldLayoutId id="2147483693" r:id="rId26"/>
    <p:sldLayoutId id="2147483694" r:id="rId27"/>
    <p:sldLayoutId id="2147483695" r:id="rId28"/>
    <p:sldLayoutId id="2147483696" r:id="rId29"/>
    <p:sldLayoutId id="2147483697" r:id="rId30"/>
    <p:sldLayoutId id="2147483698" r:id="rId31"/>
    <p:sldLayoutId id="2147483699" r:id="rId32"/>
    <p:sldLayoutId id="2147483700" r:id="rId33"/>
    <p:sldLayoutId id="2147483701" r:id="rId34"/>
    <p:sldLayoutId id="2147483702" r:id="rId35"/>
    <p:sldLayoutId id="2147483703" r:id="rId36"/>
    <p:sldLayoutId id="2147483704" r:id="rId37"/>
    <p:sldLayoutId id="2147483705" r:id="rId38"/>
    <p:sldLayoutId id="2147483706" r:id="rId39"/>
    <p:sldLayoutId id="2147483707" r:id="rId40"/>
    <p:sldLayoutId id="2147483708" r:id="rId41"/>
    <p:sldLayoutId id="2147483709" r:id="rId42"/>
    <p:sldLayoutId id="2147483710" r:id="rId43"/>
    <p:sldLayoutId id="2147483711" r:id="rId44"/>
    <p:sldLayoutId id="2147483712" r:id="rId45"/>
    <p:sldLayoutId id="2147483713" r:id="rId46"/>
    <p:sldLayoutId id="2147483714" r:id="rId47"/>
    <p:sldLayoutId id="2147483715" r:id="rId48"/>
    <p:sldLayoutId id="2147483716" r:id="rId49"/>
    <p:sldLayoutId id="2147483717" r:id="rId50"/>
    <p:sldLayoutId id="2147483718" r:id="rId51"/>
    <p:sldLayoutId id="2147483719" r:id="rId52"/>
    <p:sldLayoutId id="2147483720" r:id="rId53"/>
    <p:sldLayoutId id="2147483721" r:id="rId54"/>
    <p:sldLayoutId id="2147483722" r:id="rId55"/>
    <p:sldLayoutId id="2147483723" r:id="rId56"/>
    <p:sldLayoutId id="2147483724" r:id="rId57"/>
    <p:sldLayoutId id="2147483725" r:id="rId58"/>
  </p:sldLayoutIdLst>
  <p:txStyles>
    <p:titleStyle>
      <a:lvl1pPr algn="l" defTabSz="914400" rtl="0" eaLnBrk="1" latinLnBrk="0" hangingPunct="1">
        <a:lnSpc>
          <a:spcPct val="70000"/>
        </a:lnSpc>
        <a:spcBef>
          <a:spcPct val="0"/>
        </a:spcBef>
        <a:buNone/>
        <a:defRPr sz="44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6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02">
          <p15:clr>
            <a:srgbClr val="F26B43"/>
          </p15:clr>
        </p15:guide>
        <p15:guide id="2" pos="627">
          <p15:clr>
            <a:srgbClr val="F26B43"/>
          </p15:clr>
        </p15:guide>
        <p15:guide id="3" pos="7055">
          <p15:clr>
            <a:srgbClr val="F26B43"/>
          </p15:clr>
        </p15:guide>
        <p15:guide id="4" orient="horz" pos="838">
          <p15:clr>
            <a:srgbClr val="F26B43"/>
          </p15:clr>
        </p15:guide>
        <p15:guide id="5" orient="horz" pos="612">
          <p15:clr>
            <a:srgbClr val="F26B43"/>
          </p15:clr>
        </p15:guide>
        <p15:guide id="6" orient="horz" pos="27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Layout" Target="../slideLayouts/slideLayout1.xml"/><Relationship Id="rId1" Type="http://schemas.openxmlformats.org/officeDocument/2006/relationships/tags" Target="../tags/tag26.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35.xml"/><Relationship Id="rId4" Type="http://schemas.openxmlformats.org/officeDocument/2006/relationships/image" Target="../media/image40.png"/></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36.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7.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8.xml"/></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Layout" Target="../slideLayouts/slideLayout3.xml"/><Relationship Id="rId1" Type="http://schemas.openxmlformats.org/officeDocument/2006/relationships/tags" Target="../tags/tag39.xml"/></Relationships>
</file>

<file path=ppt/slides/_rels/slide15.xml.rels><?xml version="1.0" encoding="UTF-8" standalone="yes"?>
<Relationships xmlns="http://schemas.openxmlformats.org/package/2006/relationships"><Relationship Id="rId3" Type="http://schemas.openxmlformats.org/officeDocument/2006/relationships/hyperlink" Target="https://www.floridadisaster.org/froc/" TargetMode="External"/><Relationship Id="rId2" Type="http://schemas.openxmlformats.org/officeDocument/2006/relationships/slideLayout" Target="../slideLayouts/slideLayout3.xml"/><Relationship Id="rId1" Type="http://schemas.openxmlformats.org/officeDocument/2006/relationships/tags" Target="../tags/tag40.xml"/><Relationship Id="rId6" Type="http://schemas.openxmlformats.org/officeDocument/2006/relationships/image" Target="../media/image34.png"/><Relationship Id="rId5" Type="http://schemas.openxmlformats.org/officeDocument/2006/relationships/image" Target="../media/image43.png"/><Relationship Id="rId4" Type="http://schemas.openxmlformats.org/officeDocument/2006/relationships/image" Target="../media/image42.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ags" Target="../tags/tag41.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42.xml"/><Relationship Id="rId4" Type="http://schemas.openxmlformats.org/officeDocument/2006/relationships/image" Target="../media/image44.png"/></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43.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7.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45.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46.xml"/></Relationships>
</file>

<file path=ppt/slides/_rels/slide2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slideLayout" Target="../slideLayouts/slideLayout3.xml"/><Relationship Id="rId1" Type="http://schemas.openxmlformats.org/officeDocument/2006/relationships/tags" Target="../tags/tag47.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48.xml"/></Relationships>
</file>

<file path=ppt/slides/_rels/slide24.xml.rels><?xml version="1.0" encoding="UTF-8" standalone="yes"?>
<Relationships xmlns="http://schemas.openxmlformats.org/package/2006/relationships"><Relationship Id="rId8" Type="http://schemas.openxmlformats.org/officeDocument/2006/relationships/customXml" Target="../ink/ink3.xml"/><Relationship Id="rId13"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48.png"/><Relationship Id="rId12" Type="http://schemas.openxmlformats.org/officeDocument/2006/relationships/customXml" Target="../ink/ink5.xml"/><Relationship Id="rId2" Type="http://schemas.openxmlformats.org/officeDocument/2006/relationships/slideLayout" Target="../slideLayouts/slideLayout3.xml"/><Relationship Id="rId1" Type="http://schemas.openxmlformats.org/officeDocument/2006/relationships/tags" Target="../tags/tag49.xml"/><Relationship Id="rId6" Type="http://schemas.openxmlformats.org/officeDocument/2006/relationships/customXml" Target="../ink/ink2.xml"/><Relationship Id="rId11" Type="http://schemas.openxmlformats.org/officeDocument/2006/relationships/image" Target="../media/image50.png"/><Relationship Id="rId5" Type="http://schemas.openxmlformats.org/officeDocument/2006/relationships/image" Target="../media/image47.png"/><Relationship Id="rId10" Type="http://schemas.openxmlformats.org/officeDocument/2006/relationships/customXml" Target="../ink/ink4.xml"/><Relationship Id="rId4" Type="http://schemas.openxmlformats.org/officeDocument/2006/relationships/customXml" Target="../ink/ink1.xml"/><Relationship Id="rId9" Type="http://schemas.openxmlformats.org/officeDocument/2006/relationships/image" Target="../media/image49.png"/></Relationships>
</file>

<file path=ppt/slides/_rels/slide25.xml.rels><?xml version="1.0" encoding="UTF-8" standalone="yes"?>
<Relationships xmlns="http://schemas.openxmlformats.org/package/2006/relationships"><Relationship Id="rId8" Type="http://schemas.openxmlformats.org/officeDocument/2006/relationships/customXml" Target="../ink/ink8.xml"/><Relationship Id="rId3" Type="http://schemas.openxmlformats.org/officeDocument/2006/relationships/image" Target="../media/image52.png"/><Relationship Id="rId7" Type="http://schemas.openxmlformats.org/officeDocument/2006/relationships/image" Target="../media/image54.png"/><Relationship Id="rId2" Type="http://schemas.openxmlformats.org/officeDocument/2006/relationships/slideLayout" Target="../slideLayouts/slideLayout3.xml"/><Relationship Id="rId1" Type="http://schemas.openxmlformats.org/officeDocument/2006/relationships/tags" Target="../tags/tag50.xml"/><Relationship Id="rId6" Type="http://schemas.openxmlformats.org/officeDocument/2006/relationships/customXml" Target="../ink/ink7.xml"/><Relationship Id="rId11" Type="http://schemas.openxmlformats.org/officeDocument/2006/relationships/image" Target="../media/image56.png"/><Relationship Id="rId5" Type="http://schemas.openxmlformats.org/officeDocument/2006/relationships/image" Target="../media/image53.png"/><Relationship Id="rId10" Type="http://schemas.openxmlformats.org/officeDocument/2006/relationships/customXml" Target="../ink/ink9.xml"/><Relationship Id="rId4" Type="http://schemas.openxmlformats.org/officeDocument/2006/relationships/customXml" Target="../ink/ink6.xml"/><Relationship Id="rId9" Type="http://schemas.openxmlformats.org/officeDocument/2006/relationships/image" Target="../media/image55.png"/></Relationships>
</file>

<file path=ppt/slides/_rels/slide2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slideLayout" Target="../slideLayouts/slideLayout3.xml"/><Relationship Id="rId1" Type="http://schemas.openxmlformats.org/officeDocument/2006/relationships/tags" Target="../tags/tag51.xml"/><Relationship Id="rId5" Type="http://schemas.openxmlformats.org/officeDocument/2006/relationships/image" Target="../media/image58.png"/><Relationship Id="rId4" Type="http://schemas.openxmlformats.org/officeDocument/2006/relationships/customXml" Target="../ink/ink10.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52.xml"/></Relationships>
</file>

<file path=ppt/slides/_rels/slide2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Layout" Target="../slideLayouts/slideLayout3.xml"/><Relationship Id="rId1" Type="http://schemas.openxmlformats.org/officeDocument/2006/relationships/tags" Target="../tags/tag53.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54.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28.xml"/><Relationship Id="rId6" Type="http://schemas.openxmlformats.org/officeDocument/2006/relationships/image" Target="../media/image33.jpeg"/><Relationship Id="rId5" Type="http://schemas.openxmlformats.org/officeDocument/2006/relationships/image" Target="../media/image32.png"/><Relationship Id="rId4" Type="http://schemas.openxmlformats.org/officeDocument/2006/relationships/image" Target="../media/image31.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xml"/><Relationship Id="rId1" Type="http://schemas.openxmlformats.org/officeDocument/2006/relationships/tags" Target="../tags/tag55.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56.xml"/></Relationships>
</file>

<file path=ppt/slides/_rels/slide3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Layout" Target="../slideLayouts/slideLayout3.xml"/><Relationship Id="rId1" Type="http://schemas.openxmlformats.org/officeDocument/2006/relationships/tags" Target="../tags/tag57.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58.xml"/></Relationships>
</file>

<file path=ppt/slides/_rels/slide3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Layout" Target="../slideLayouts/slideLayout3.xml"/><Relationship Id="rId1" Type="http://schemas.openxmlformats.org/officeDocument/2006/relationships/tags" Target="../tags/tag59.xml"/></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60.xml"/></Relationships>
</file>

<file path=ppt/slides/_rels/slide3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Layout" Target="../slideLayouts/slideLayout3.xml"/><Relationship Id="rId1" Type="http://schemas.openxmlformats.org/officeDocument/2006/relationships/tags" Target="../tags/tag61.xml"/></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62.xml"/></Relationships>
</file>

<file path=ppt/slides/_rels/slide3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Layout" Target="../slideLayouts/slideLayout3.xml"/><Relationship Id="rId1" Type="http://schemas.openxmlformats.org/officeDocument/2006/relationships/tags" Target="../tags/tag63.xml"/></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6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29.xml"/><Relationship Id="rId4" Type="http://schemas.openxmlformats.org/officeDocument/2006/relationships/image" Target="../media/image34.png"/></Relationships>
</file>

<file path=ppt/slides/_rels/slide4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Layout" Target="../slideLayouts/slideLayout3.xml"/><Relationship Id="rId1" Type="http://schemas.openxmlformats.org/officeDocument/2006/relationships/tags" Target="../tags/tag65.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66.xml"/></Relationships>
</file>

<file path=ppt/slides/_rels/slide4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slideLayout" Target="../slideLayouts/slideLayout2.xml"/><Relationship Id="rId1" Type="http://schemas.openxmlformats.org/officeDocument/2006/relationships/tags" Target="../tags/tag67.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68.xml"/></Relationships>
</file>

<file path=ppt/slides/_rels/slide4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slideLayout" Target="../slideLayouts/slideLayout3.xml"/><Relationship Id="rId1" Type="http://schemas.openxmlformats.org/officeDocument/2006/relationships/tags" Target="../tags/tag69.xml"/><Relationship Id="rId5" Type="http://schemas.openxmlformats.org/officeDocument/2006/relationships/image" Target="../media/image63.png"/><Relationship Id="rId4" Type="http://schemas.openxmlformats.org/officeDocument/2006/relationships/image" Target="../media/image62.svg"/></Relationships>
</file>

<file path=ppt/slides/_rels/slide4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70.xml"/></Relationships>
</file>

<file path=ppt/slides/_rels/slide4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1.xml"/></Relationships>
</file>

<file path=ppt/slides/_rels/slide4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slideLayout" Target="../slideLayouts/slideLayout2.xml"/><Relationship Id="rId1" Type="http://schemas.openxmlformats.org/officeDocument/2006/relationships/tags" Target="../tags/tag72.xml"/></Relationships>
</file>

<file path=ppt/slides/_rels/slide48.xml.rels><?xml version="1.0" encoding="UTF-8" standalone="yes"?>
<Relationships xmlns="http://schemas.openxmlformats.org/package/2006/relationships"><Relationship Id="rId3" Type="http://schemas.openxmlformats.org/officeDocument/2006/relationships/hyperlink" Target="http://commons.wikimedia.org/wiki/File%3ADaytona_Beach%2C_Florida_(4783857222).jpg" TargetMode="External"/><Relationship Id="rId2" Type="http://schemas.openxmlformats.org/officeDocument/2006/relationships/slideLayout" Target="../slideLayouts/slideLayout3.xml"/><Relationship Id="rId1" Type="http://schemas.openxmlformats.org/officeDocument/2006/relationships/tags" Target="../tags/tag73.xml"/><Relationship Id="rId5" Type="http://schemas.openxmlformats.org/officeDocument/2006/relationships/image" Target="../media/image65.jpeg"/><Relationship Id="rId4" Type="http://schemas.openxmlformats.org/officeDocument/2006/relationships/hyperlink" Target="https://creativecommons.org/licenses/by-sa/3.0/"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slideLayout" Target="../slideLayouts/slideLayout3.xml"/><Relationship Id="rId1" Type="http://schemas.openxmlformats.org/officeDocument/2006/relationships/tags" Target="../tags/tag7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30.xml"/></Relationships>
</file>

<file path=ppt/slides/_rels/slide50.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slideLayout" Target="../slideLayouts/slideLayout3.xml"/><Relationship Id="rId1" Type="http://schemas.openxmlformats.org/officeDocument/2006/relationships/tags" Target="../tags/tag75.xml"/><Relationship Id="rId4" Type="http://schemas.openxmlformats.org/officeDocument/2006/relationships/hyperlink" Target="https://www.publicdomainpictures.net/en/view-image.php?image=170523&amp;picture=sun-clouds-blue-sky"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slideLayout" Target="../slideLayouts/slideLayout3.xml"/><Relationship Id="rId1" Type="http://schemas.openxmlformats.org/officeDocument/2006/relationships/tags" Target="../tags/tag76.xml"/><Relationship Id="rId4" Type="http://schemas.openxmlformats.org/officeDocument/2006/relationships/hyperlink" Target="https://satisfyingretirement.blogspot.com/2017/09/hurricanes-and-retirement-what-do-they.html" TargetMode="Externa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ags" Target="../tags/tag77.xml"/><Relationship Id="rId5" Type="http://schemas.openxmlformats.org/officeDocument/2006/relationships/hyperlink" Target="https://skepticalscience.com/print.php?n=4338" TargetMode="External"/><Relationship Id="rId4" Type="http://schemas.openxmlformats.org/officeDocument/2006/relationships/image" Target="../media/image69.jpeg"/></Relationships>
</file>

<file path=ppt/slides/_rels/slide5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slideLayout" Target="../slideLayouts/slideLayout3.xml"/><Relationship Id="rId1" Type="http://schemas.openxmlformats.org/officeDocument/2006/relationships/tags" Target="../tags/tag78.xml"/></Relationships>
</file>

<file path=ppt/slides/_rels/slide5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9.xml"/></Relationships>
</file>

<file path=ppt/slides/_rels/slide5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Layout" Target="../slideLayouts/slideLayout2.xml"/><Relationship Id="rId1" Type="http://schemas.openxmlformats.org/officeDocument/2006/relationships/tags" Target="../tags/tag80.xml"/></Relationships>
</file>

<file path=ppt/slides/_rels/slide5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Layout" Target="../slideLayouts/slideLayout2.xml"/><Relationship Id="rId1" Type="http://schemas.openxmlformats.org/officeDocument/2006/relationships/tags" Target="../tags/tag81.xml"/></Relationships>
</file>

<file path=ppt/slides/_rels/slide57.xml.rels><?xml version="1.0" encoding="UTF-8" standalone="yes"?>
<Relationships xmlns="http://schemas.openxmlformats.org/package/2006/relationships"><Relationship Id="rId3" Type="http://schemas.openxmlformats.org/officeDocument/2006/relationships/hyperlink" Target="https://urldefense.com/v3/__https:/froc.floridadisaster.org/__;!!N8Xdb1VRTUMlZeI!i8ira-W61WwVkHWN9zSK4KkVdpEJZKZl15Pr7Dj-wHzjdmCc24bVsMm30TP4khhl_ndY4BbrQcPQL3SGRM9TLdCFhgc$" TargetMode="External"/><Relationship Id="rId2" Type="http://schemas.openxmlformats.org/officeDocument/2006/relationships/notesSlide" Target="../notesSlides/notesSlide17.xml"/><Relationship Id="rId1" Type="http://schemas.openxmlformats.org/officeDocument/2006/relationships/slideLayout" Target="../slideLayouts/slideLayout1.xml"/><Relationship Id="rId5" Type="http://schemas.openxmlformats.org/officeDocument/2006/relationships/hyperlink" Target="mailto:F-ROC@em.myflorida.com" TargetMode="External"/><Relationship Id="rId4" Type="http://schemas.openxmlformats.org/officeDocument/2006/relationships/hyperlink" Target="https://urldefense.com/v3/__https:/www.floridadisaster.org/contentassets/6210cd586424454dac89e19660f8722b/2023-2024-official-f-roc-participation-request-form.pdf__;!!N8Xdb1VRTUMlZeI!i8ira-W61WwVkHWN9zSK4KkVdpEJZKZl15Pr7Dj-wHzjdmCc24bVsMm30TP4khhl_ndY4BbrQcPQL3SGRM9TDY3pxHk$" TargetMode="Externa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xml"/><Relationship Id="rId1" Type="http://schemas.openxmlformats.org/officeDocument/2006/relationships/tags" Target="../tags/tag82.xml"/><Relationship Id="rId4" Type="http://schemas.openxmlformats.org/officeDocument/2006/relationships/image" Target="../media/image34.png"/></Relationships>
</file>

<file path=ppt/slides/_rels/slide5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slideLayout" Target="../slideLayouts/slideLayout1.xml"/><Relationship Id="rId1" Type="http://schemas.openxmlformats.org/officeDocument/2006/relationships/tags" Target="../tags/tag83.xml"/></Relationships>
</file>

<file path=ppt/slides/_rels/slide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slideLayout" Target="../slideLayouts/slideLayout2.xml"/><Relationship Id="rId1" Type="http://schemas.openxmlformats.org/officeDocument/2006/relationships/tags" Target="../tags/tag31.xml"/><Relationship Id="rId4" Type="http://schemas.openxmlformats.org/officeDocument/2006/relationships/image" Target="../media/image36.png"/></Relationships>
</file>

<file path=ppt/slides/_rels/slide6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Layout" Target="../slideLayouts/slideLayout2.xml"/><Relationship Id="rId1" Type="http://schemas.openxmlformats.org/officeDocument/2006/relationships/tags" Target="../tags/tag84.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2.xml"/></Relationships>
</file>

<file path=ppt/slides/_rels/slide8.xml.rels><?xml version="1.0" encoding="UTF-8" standalone="yes"?>
<Relationships xmlns="http://schemas.openxmlformats.org/package/2006/relationships"><Relationship Id="rId3" Type="http://schemas.openxmlformats.org/officeDocument/2006/relationships/video" Target="../media/media1.mp4"/><Relationship Id="rId2" Type="http://schemas.microsoft.com/office/2007/relationships/media" Target="../media/media1.mp4"/><Relationship Id="rId1" Type="http://schemas.openxmlformats.org/officeDocument/2006/relationships/tags" Target="../tags/tag33.xml"/><Relationship Id="rId5" Type="http://schemas.openxmlformats.org/officeDocument/2006/relationships/image" Target="../media/image37.png"/><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34.xml"/><Relationship Id="rId5" Type="http://schemas.openxmlformats.org/officeDocument/2006/relationships/image" Target="../media/image39.png"/><Relationship Id="rId4"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375618-B5FB-46DA-A27C-C972F7E839BB}"/>
              </a:ext>
            </a:extLst>
          </p:cNvPr>
          <p:cNvSpPr>
            <a:spLocks noGrp="1"/>
          </p:cNvSpPr>
          <p:nvPr>
            <p:ph type="title"/>
          </p:nvPr>
        </p:nvSpPr>
        <p:spPr/>
        <p:txBody>
          <a:bodyPr/>
          <a:lstStyle/>
          <a:p>
            <a:r>
              <a:rPr lang="en-US">
                <a:cs typeface="Arial" panose="020B0604020202020204" pitchFamily="34" charset="0"/>
              </a:rPr>
              <a:t>Check-in for the Session</a:t>
            </a:r>
          </a:p>
        </p:txBody>
      </p:sp>
      <p:sp>
        <p:nvSpPr>
          <p:cNvPr id="3" name="Content Placeholder 2">
            <a:extLst>
              <a:ext uri="{FF2B5EF4-FFF2-40B4-BE49-F238E27FC236}">
                <a16:creationId xmlns:a16="http://schemas.microsoft.com/office/drawing/2014/main" id="{E4159C8A-B022-4A34-876B-29BB8DE04A9F}"/>
              </a:ext>
            </a:extLst>
          </p:cNvPr>
          <p:cNvSpPr>
            <a:spLocks noGrp="1"/>
          </p:cNvSpPr>
          <p:nvPr>
            <p:ph idx="1"/>
          </p:nvPr>
        </p:nvSpPr>
        <p:spPr>
          <a:xfrm>
            <a:off x="468795" y="1473075"/>
            <a:ext cx="8207119" cy="3015535"/>
          </a:xfrm>
        </p:spPr>
        <p:txBody>
          <a:bodyPr>
            <a:normAutofit lnSpcReduction="10000"/>
          </a:bodyPr>
          <a:lstStyle/>
          <a:p>
            <a:pPr marL="0" indent="0">
              <a:lnSpc>
                <a:spcPct val="120000"/>
              </a:lnSpc>
              <a:buNone/>
            </a:pPr>
            <a:r>
              <a:rPr lang="en-US">
                <a:cs typeface="Arial" panose="020B0604020202020204" pitchFamily="34" charset="0"/>
              </a:rPr>
              <a:t>During this session we will be using a poll to track attendance</a:t>
            </a:r>
          </a:p>
          <a:p>
            <a:pPr marL="0" indent="0">
              <a:lnSpc>
                <a:spcPct val="120000"/>
              </a:lnSpc>
              <a:buNone/>
            </a:pPr>
            <a:r>
              <a:rPr lang="en-US">
                <a:cs typeface="Arial" panose="020B0604020202020204" pitchFamily="34" charset="0"/>
              </a:rPr>
              <a:t>To access the poll from your laptop OR mobile device, either:</a:t>
            </a:r>
          </a:p>
          <a:p>
            <a:pPr lvl="1">
              <a:lnSpc>
                <a:spcPct val="120000"/>
              </a:lnSpc>
            </a:pPr>
            <a:r>
              <a:rPr lang="en-US">
                <a:cs typeface="Arial" panose="020B0604020202020204" pitchFamily="34" charset="0"/>
              </a:rPr>
              <a:t>Scan the QR code on your phone/device</a:t>
            </a:r>
          </a:p>
          <a:p>
            <a:pPr lvl="1">
              <a:lnSpc>
                <a:spcPct val="120000"/>
              </a:lnSpc>
            </a:pPr>
            <a:r>
              <a:rPr lang="en-US">
                <a:cs typeface="Arial" panose="020B0604020202020204" pitchFamily="34" charset="0"/>
              </a:rPr>
              <a:t>Or type the below URL into your browser:</a:t>
            </a:r>
            <a:endParaRPr lang="en-US" u="sng">
              <a:cs typeface="Arial" panose="020B0604020202020204" pitchFamily="34" charset="0"/>
            </a:endParaRPr>
          </a:p>
        </p:txBody>
      </p:sp>
      <p:pic>
        <p:nvPicPr>
          <p:cNvPr id="7" name="Picture 6" descr="A qr code on a green background&#10;&#10;Description automatically generated">
            <a:extLst>
              <a:ext uri="{FF2B5EF4-FFF2-40B4-BE49-F238E27FC236}">
                <a16:creationId xmlns:a16="http://schemas.microsoft.com/office/drawing/2014/main" id="{F7F61DBD-94B7-8F09-1375-49275486B20C}"/>
              </a:ext>
            </a:extLst>
          </p:cNvPr>
          <p:cNvPicPr>
            <a:picLocks noChangeAspect="1"/>
          </p:cNvPicPr>
          <p:nvPr/>
        </p:nvPicPr>
        <p:blipFill rotWithShape="1">
          <a:blip r:embed="rId3">
            <a:extLst>
              <a:ext uri="{28A0092B-C50C-407E-A947-70E740481C1C}">
                <a14:useLocalDpi xmlns:a14="http://schemas.microsoft.com/office/drawing/2010/main" val="0"/>
              </a:ext>
            </a:extLst>
          </a:blip>
          <a:srcRect l="26209" t="36471" r="24902" b="15032"/>
          <a:stretch/>
        </p:blipFill>
        <p:spPr>
          <a:xfrm>
            <a:off x="8675914" y="1552695"/>
            <a:ext cx="3193357" cy="3167743"/>
          </a:xfrm>
          <a:prstGeom prst="rect">
            <a:avLst/>
          </a:prstGeom>
        </p:spPr>
      </p:pic>
      <p:sp>
        <p:nvSpPr>
          <p:cNvPr id="8" name="TextBox 7">
            <a:extLst>
              <a:ext uri="{FF2B5EF4-FFF2-40B4-BE49-F238E27FC236}">
                <a16:creationId xmlns:a16="http://schemas.microsoft.com/office/drawing/2014/main" id="{7926F13C-4753-9FA5-57E2-2EFA4E5DC6CD}"/>
              </a:ext>
            </a:extLst>
          </p:cNvPr>
          <p:cNvSpPr txBox="1"/>
          <p:nvPr/>
        </p:nvSpPr>
        <p:spPr>
          <a:xfrm>
            <a:off x="1018169" y="4720438"/>
            <a:ext cx="10155662" cy="1938992"/>
          </a:xfrm>
          <a:prstGeom prst="rect">
            <a:avLst/>
          </a:prstGeom>
          <a:noFill/>
        </p:spPr>
        <p:txBody>
          <a:bodyPr wrap="square" rtlCol="0">
            <a:spAutoFit/>
          </a:bodyPr>
          <a:lstStyle/>
          <a:p>
            <a:r>
              <a:rPr lang="en-US" sz="6000" u="sng">
                <a:cs typeface="Arial" panose="020B0604020202020204" pitchFamily="34" charset="0"/>
              </a:rPr>
              <a:t>https://forms.microsoft.com/e/Gyeb4RQJYd</a:t>
            </a:r>
            <a:endParaRPr lang="en-US" sz="6000"/>
          </a:p>
        </p:txBody>
      </p:sp>
    </p:spTree>
    <p:custDataLst>
      <p:tags r:id="rId1"/>
    </p:custDataLst>
    <p:extLst>
      <p:ext uri="{BB962C8B-B14F-4D97-AF65-F5344CB8AC3E}">
        <p14:creationId xmlns:p14="http://schemas.microsoft.com/office/powerpoint/2010/main" val="7233070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80BA5E-7179-4FA0-894D-3397905642BC}"/>
              </a:ext>
            </a:extLst>
          </p:cNvPr>
          <p:cNvSpPr>
            <a:spLocks noGrp="1"/>
          </p:cNvSpPr>
          <p:nvPr>
            <p:ph type="title"/>
          </p:nvPr>
        </p:nvSpPr>
        <p:spPr/>
        <p:txBody>
          <a:bodyPr>
            <a:normAutofit/>
          </a:bodyPr>
          <a:lstStyle/>
          <a:p>
            <a:r>
              <a:rPr lang="en-US"/>
              <a:t>What will Help Change Public Assistance?</a:t>
            </a:r>
            <a:endParaRPr lang="en-US">
              <a:solidFill>
                <a:schemeClr val="bg1"/>
              </a:solidFill>
            </a:endParaRPr>
          </a:p>
        </p:txBody>
      </p:sp>
      <p:sp>
        <p:nvSpPr>
          <p:cNvPr id="61" name="Slide Number Placeholder 60">
            <a:extLst>
              <a:ext uri="{FF2B5EF4-FFF2-40B4-BE49-F238E27FC236}">
                <a16:creationId xmlns:a16="http://schemas.microsoft.com/office/drawing/2014/main" id="{EDAEACD0-50F7-B8F1-23C2-28788C0A2FCD}"/>
              </a:ext>
            </a:extLst>
          </p:cNvPr>
          <p:cNvSpPr>
            <a:spLocks noGrp="1"/>
          </p:cNvSpPr>
          <p:nvPr>
            <p:ph type="sldNum" sz="quarter" idx="12"/>
          </p:nvPr>
        </p:nvSpPr>
        <p:spPr>
          <a:xfrm>
            <a:off x="4724400" y="6481407"/>
            <a:ext cx="2743200" cy="218622"/>
          </a:xfrm>
        </p:spPr>
        <p:txBody>
          <a:bodyPr/>
          <a:lstStyle/>
          <a:p>
            <a:pPr algn="ctr"/>
            <a:r>
              <a:rPr lang="en-US" sz="900" b="1">
                <a:solidFill>
                  <a:srgbClr val="002060"/>
                </a:solidFill>
                <a:latin typeface="Arial" panose="020B0604020202020204" pitchFamily="34" charset="0"/>
                <a:cs typeface="Arial" panose="020B0604020202020204" pitchFamily="34" charset="0"/>
              </a:rPr>
              <a:t>- </a:t>
            </a:r>
            <a:fld id="{425190C6-7B3E-465D-8846-AA81F2046AC6}" type="slidenum">
              <a:rPr lang="en-US" sz="900" b="1" smtClean="0">
                <a:solidFill>
                  <a:srgbClr val="002060"/>
                </a:solidFill>
                <a:latin typeface="Arial" panose="020B0604020202020204" pitchFamily="34" charset="0"/>
                <a:cs typeface="Arial" panose="020B0604020202020204" pitchFamily="34" charset="0"/>
              </a:rPr>
              <a:pPr algn="ctr"/>
              <a:t>10</a:t>
            </a:fld>
            <a:r>
              <a:rPr lang="en-US" sz="900" b="1">
                <a:solidFill>
                  <a:srgbClr val="002060"/>
                </a:solidFill>
                <a:latin typeface="Arial" panose="020B0604020202020204" pitchFamily="34" charset="0"/>
                <a:cs typeface="Arial" panose="020B0604020202020204" pitchFamily="34" charset="0"/>
              </a:rPr>
              <a:t> -</a:t>
            </a:r>
          </a:p>
        </p:txBody>
      </p:sp>
      <p:sp>
        <p:nvSpPr>
          <p:cNvPr id="4" name="Content Placeholder 2">
            <a:extLst>
              <a:ext uri="{FF2B5EF4-FFF2-40B4-BE49-F238E27FC236}">
                <a16:creationId xmlns:a16="http://schemas.microsoft.com/office/drawing/2014/main" id="{BB703FA8-957D-D6EE-1C0C-859AB5B38CF5}"/>
              </a:ext>
            </a:extLst>
          </p:cNvPr>
          <p:cNvSpPr txBox="1">
            <a:spLocks/>
          </p:cNvSpPr>
          <p:nvPr/>
        </p:nvSpPr>
        <p:spPr>
          <a:xfrm>
            <a:off x="258657" y="1247842"/>
            <a:ext cx="11674687" cy="809001"/>
          </a:xfrm>
          <a:prstGeom prst="rect">
            <a:avLst/>
          </a:prstGeom>
        </p:spPr>
        <p:txBody>
          <a:bodyPr vert="horz" lIns="91440" tIns="45720" rIns="91440" bIns="45720" rtlCol="0">
            <a:noAutofit/>
          </a:bodyPr>
          <a:lstStyle>
            <a:lvl1pPr marL="228589" indent="-228589" algn="l" defTabSz="914354" rtl="0" eaLnBrk="1" latinLnBrk="0" hangingPunct="1">
              <a:lnSpc>
                <a:spcPct val="90000"/>
              </a:lnSpc>
              <a:spcBef>
                <a:spcPts val="1000"/>
              </a:spcBef>
              <a:buFont typeface="Arial" panose="020B0604020202020204" pitchFamily="34" charset="0"/>
              <a:buChar char="•"/>
              <a:defRPr sz="2800" kern="1200">
                <a:solidFill>
                  <a:schemeClr val="bg2">
                    <a:lumMod val="50000"/>
                  </a:schemeClr>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2400" kern="1200">
                <a:solidFill>
                  <a:schemeClr val="bg2">
                    <a:lumMod val="50000"/>
                  </a:schemeClr>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2000" kern="1200">
                <a:solidFill>
                  <a:schemeClr val="bg2">
                    <a:lumMod val="50000"/>
                  </a:schemeClr>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bg2">
                    <a:lumMod val="50000"/>
                  </a:schemeClr>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bg2">
                    <a:lumMod val="50000"/>
                  </a:schemeClr>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Clr>
                <a:srgbClr val="000000"/>
              </a:buClr>
              <a:buFont typeface="Arial" panose="020B0604020202020204" pitchFamily="34" charset="0"/>
              <a:buNone/>
              <a:defRPr/>
            </a:pPr>
            <a:r>
              <a:rPr lang="en-US" sz="1800" b="1" i="1">
                <a:solidFill>
                  <a:srgbClr val="000000"/>
                </a:solidFill>
                <a:cs typeface="Arial" panose="020B0604020202020204" pitchFamily="34" charset="0"/>
                <a:sym typeface="Arial"/>
              </a:rPr>
              <a:t>The State-sponsored F-ROC initiative addresses current-state challenges by encouraging a proactive and streamlined approach to recovery, reducing risk, and implementing measures that enhance Applicants’ ability to successfully navigate the Public Assistance process.</a:t>
            </a:r>
          </a:p>
        </p:txBody>
      </p:sp>
      <p:pic>
        <p:nvPicPr>
          <p:cNvPr id="445" name="Picture 444">
            <a:extLst>
              <a:ext uri="{FF2B5EF4-FFF2-40B4-BE49-F238E27FC236}">
                <a16:creationId xmlns:a16="http://schemas.microsoft.com/office/drawing/2014/main" id="{6F423074-F219-4467-CC4F-65EC48F4CCE5}"/>
              </a:ext>
            </a:extLst>
          </p:cNvPr>
          <p:cNvPicPr>
            <a:picLocks noChangeAspect="1"/>
          </p:cNvPicPr>
          <p:nvPr/>
        </p:nvPicPr>
        <p:blipFill>
          <a:blip r:embed="rId4"/>
          <a:stretch>
            <a:fillRect/>
          </a:stretch>
        </p:blipFill>
        <p:spPr>
          <a:xfrm>
            <a:off x="4230383" y="2470852"/>
            <a:ext cx="3731233" cy="3453160"/>
          </a:xfrm>
          <a:prstGeom prst="rect">
            <a:avLst/>
          </a:prstGeom>
        </p:spPr>
      </p:pic>
      <p:sp>
        <p:nvSpPr>
          <p:cNvPr id="460" name="Freeform 5">
            <a:extLst>
              <a:ext uri="{FF2B5EF4-FFF2-40B4-BE49-F238E27FC236}">
                <a16:creationId xmlns:a16="http://schemas.microsoft.com/office/drawing/2014/main" id="{B2B52AF5-E4CE-4A7A-424C-3171E70476E4}"/>
              </a:ext>
            </a:extLst>
          </p:cNvPr>
          <p:cNvSpPr>
            <a:spLocks/>
          </p:cNvSpPr>
          <p:nvPr/>
        </p:nvSpPr>
        <p:spPr bwMode="gray">
          <a:xfrm>
            <a:off x="760486" y="4638567"/>
            <a:ext cx="3157287" cy="1666962"/>
          </a:xfrm>
          <a:custGeom>
            <a:avLst/>
            <a:gdLst>
              <a:gd name="T0" fmla="*/ 1741 w 1906"/>
              <a:gd name="T1" fmla="*/ 0 h 1006"/>
              <a:gd name="T2" fmla="*/ 1760 w 1906"/>
              <a:gd name="T3" fmla="*/ 21 h 1006"/>
              <a:gd name="T4" fmla="*/ 1680 w 1906"/>
              <a:gd name="T5" fmla="*/ 99 h 1006"/>
              <a:gd name="T6" fmla="*/ 0 w 1906"/>
              <a:gd name="T7" fmla="*/ 99 h 1006"/>
              <a:gd name="T8" fmla="*/ 0 w 1906"/>
              <a:gd name="T9" fmla="*/ 1006 h 1006"/>
              <a:gd name="T10" fmla="*/ 1805 w 1906"/>
              <a:gd name="T11" fmla="*/ 1006 h 1006"/>
              <a:gd name="T12" fmla="*/ 1805 w 1906"/>
              <a:gd name="T13" fmla="*/ 227 h 1006"/>
              <a:gd name="T14" fmla="*/ 1885 w 1906"/>
              <a:gd name="T15" fmla="*/ 149 h 1006"/>
              <a:gd name="T16" fmla="*/ 1904 w 1906"/>
              <a:gd name="T17" fmla="*/ 168 h 1006"/>
              <a:gd name="T18" fmla="*/ 1906 w 1906"/>
              <a:gd name="T19" fmla="*/ 3 h 1006"/>
              <a:gd name="T20" fmla="*/ 1741 w 1906"/>
              <a:gd name="T21" fmla="*/ 0 h 1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06" h="1006">
                <a:moveTo>
                  <a:pt x="1741" y="0"/>
                </a:moveTo>
                <a:lnTo>
                  <a:pt x="1760" y="21"/>
                </a:lnTo>
                <a:lnTo>
                  <a:pt x="1680" y="99"/>
                </a:lnTo>
                <a:lnTo>
                  <a:pt x="0" y="99"/>
                </a:lnTo>
                <a:lnTo>
                  <a:pt x="0" y="1006"/>
                </a:lnTo>
                <a:lnTo>
                  <a:pt x="1805" y="1006"/>
                </a:lnTo>
                <a:lnTo>
                  <a:pt x="1805" y="227"/>
                </a:lnTo>
                <a:lnTo>
                  <a:pt x="1885" y="149"/>
                </a:lnTo>
                <a:lnTo>
                  <a:pt x="1904" y="168"/>
                </a:lnTo>
                <a:lnTo>
                  <a:pt x="1906" y="3"/>
                </a:lnTo>
                <a:lnTo>
                  <a:pt x="1741" y="0"/>
                </a:lnTo>
                <a:close/>
              </a:path>
            </a:pathLst>
          </a:custGeom>
          <a:solidFill>
            <a:schemeClr val="bg1"/>
          </a:solidFill>
          <a:ln w="28575" cap="flat" cmpd="sng">
            <a:noFill/>
            <a:prstDash val="solid"/>
            <a:miter lim="800000"/>
            <a:headEnd/>
            <a:tailEnd/>
          </a:ln>
          <a:effectLst>
            <a:outerShdw blurRad="63500" sx="102000" sy="102000" algn="ctr" rotWithShape="0">
              <a:prstClr val="black">
                <a:alpha val="40000"/>
              </a:prstClr>
            </a:outerShdw>
          </a:effectLst>
        </p:spPr>
        <p:txBody>
          <a:bodyPr>
            <a:noAutofit/>
          </a:bodyPr>
          <a:lstStyle/>
          <a:p>
            <a:endParaRPr lang="fr-FR">
              <a:latin typeface="Arial" panose="020B0604020202020204" pitchFamily="34" charset="0"/>
              <a:cs typeface="Arial" panose="020B0604020202020204" pitchFamily="34" charset="0"/>
            </a:endParaRPr>
          </a:p>
        </p:txBody>
      </p:sp>
      <p:sp>
        <p:nvSpPr>
          <p:cNvPr id="461" name="Freeform 6">
            <a:extLst>
              <a:ext uri="{FF2B5EF4-FFF2-40B4-BE49-F238E27FC236}">
                <a16:creationId xmlns:a16="http://schemas.microsoft.com/office/drawing/2014/main" id="{812B6426-CD45-A66C-6917-A823F84D7E14}"/>
              </a:ext>
            </a:extLst>
          </p:cNvPr>
          <p:cNvSpPr>
            <a:spLocks/>
          </p:cNvSpPr>
          <p:nvPr/>
        </p:nvSpPr>
        <p:spPr bwMode="gray">
          <a:xfrm>
            <a:off x="760486" y="2351596"/>
            <a:ext cx="3157287" cy="1666962"/>
          </a:xfrm>
          <a:custGeom>
            <a:avLst/>
            <a:gdLst>
              <a:gd name="T0" fmla="*/ 1906 w 1906"/>
              <a:gd name="T1" fmla="*/ 1003 h 1006"/>
              <a:gd name="T2" fmla="*/ 1904 w 1906"/>
              <a:gd name="T3" fmla="*/ 838 h 1006"/>
              <a:gd name="T4" fmla="*/ 1885 w 1906"/>
              <a:gd name="T5" fmla="*/ 857 h 1006"/>
              <a:gd name="T6" fmla="*/ 1805 w 1906"/>
              <a:gd name="T7" fmla="*/ 779 h 1006"/>
              <a:gd name="T8" fmla="*/ 1805 w 1906"/>
              <a:gd name="T9" fmla="*/ 0 h 1006"/>
              <a:gd name="T10" fmla="*/ 0 w 1906"/>
              <a:gd name="T11" fmla="*/ 0 h 1006"/>
              <a:gd name="T12" fmla="*/ 0 w 1906"/>
              <a:gd name="T13" fmla="*/ 906 h 1006"/>
              <a:gd name="T14" fmla="*/ 1680 w 1906"/>
              <a:gd name="T15" fmla="*/ 906 h 1006"/>
              <a:gd name="T16" fmla="*/ 1760 w 1906"/>
              <a:gd name="T17" fmla="*/ 984 h 1006"/>
              <a:gd name="T18" fmla="*/ 1741 w 1906"/>
              <a:gd name="T19" fmla="*/ 1006 h 1006"/>
              <a:gd name="T20" fmla="*/ 1906 w 1906"/>
              <a:gd name="T21" fmla="*/ 1003 h 1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06" h="1006">
                <a:moveTo>
                  <a:pt x="1906" y="1003"/>
                </a:moveTo>
                <a:lnTo>
                  <a:pt x="1904" y="838"/>
                </a:lnTo>
                <a:lnTo>
                  <a:pt x="1885" y="857"/>
                </a:lnTo>
                <a:lnTo>
                  <a:pt x="1805" y="779"/>
                </a:lnTo>
                <a:lnTo>
                  <a:pt x="1805" y="0"/>
                </a:lnTo>
                <a:lnTo>
                  <a:pt x="0" y="0"/>
                </a:lnTo>
                <a:lnTo>
                  <a:pt x="0" y="906"/>
                </a:lnTo>
                <a:lnTo>
                  <a:pt x="1680" y="906"/>
                </a:lnTo>
                <a:lnTo>
                  <a:pt x="1760" y="984"/>
                </a:lnTo>
                <a:lnTo>
                  <a:pt x="1741" y="1006"/>
                </a:lnTo>
                <a:lnTo>
                  <a:pt x="1906" y="1003"/>
                </a:lnTo>
                <a:close/>
              </a:path>
            </a:pathLst>
          </a:custGeom>
          <a:solidFill>
            <a:schemeClr val="bg1"/>
          </a:solidFill>
          <a:ln w="28575" cap="flat" cmpd="sng">
            <a:noFill/>
            <a:prstDash val="solid"/>
            <a:miter lim="800000"/>
            <a:headEnd/>
            <a:tailEnd/>
          </a:ln>
          <a:effectLst>
            <a:outerShdw blurRad="63500" sx="102000" sy="102000" algn="ctr" rotWithShape="0">
              <a:prstClr val="black">
                <a:alpha val="40000"/>
              </a:prstClr>
            </a:outerShdw>
          </a:effectLst>
        </p:spPr>
        <p:txBody>
          <a:bodyPr>
            <a:noAutofit/>
          </a:bodyPr>
          <a:lstStyle/>
          <a:p>
            <a:endParaRPr lang="fr-FR">
              <a:latin typeface="Arial" panose="020B0604020202020204" pitchFamily="34" charset="0"/>
              <a:cs typeface="Arial" panose="020B0604020202020204" pitchFamily="34" charset="0"/>
            </a:endParaRPr>
          </a:p>
        </p:txBody>
      </p:sp>
      <p:sp>
        <p:nvSpPr>
          <p:cNvPr id="462" name="Freeform 7">
            <a:extLst>
              <a:ext uri="{FF2B5EF4-FFF2-40B4-BE49-F238E27FC236}">
                <a16:creationId xmlns:a16="http://schemas.microsoft.com/office/drawing/2014/main" id="{C828BBBD-0B8E-CCD6-6723-FB79E9FDA837}"/>
              </a:ext>
            </a:extLst>
          </p:cNvPr>
          <p:cNvSpPr>
            <a:spLocks/>
          </p:cNvSpPr>
          <p:nvPr/>
        </p:nvSpPr>
        <p:spPr bwMode="gray">
          <a:xfrm>
            <a:off x="8256729" y="2351596"/>
            <a:ext cx="3168600" cy="1666962"/>
          </a:xfrm>
          <a:custGeom>
            <a:avLst/>
            <a:gdLst>
              <a:gd name="T0" fmla="*/ 102 w 1895"/>
              <a:gd name="T1" fmla="*/ 0 h 1006"/>
              <a:gd name="T2" fmla="*/ 102 w 1895"/>
              <a:gd name="T3" fmla="*/ 779 h 1006"/>
              <a:gd name="T4" fmla="*/ 21 w 1895"/>
              <a:gd name="T5" fmla="*/ 857 h 1006"/>
              <a:gd name="T6" fmla="*/ 3 w 1895"/>
              <a:gd name="T7" fmla="*/ 838 h 1006"/>
              <a:gd name="T8" fmla="*/ 0 w 1895"/>
              <a:gd name="T9" fmla="*/ 1003 h 1006"/>
              <a:gd name="T10" fmla="*/ 166 w 1895"/>
              <a:gd name="T11" fmla="*/ 1006 h 1006"/>
              <a:gd name="T12" fmla="*/ 147 w 1895"/>
              <a:gd name="T13" fmla="*/ 984 h 1006"/>
              <a:gd name="T14" fmla="*/ 227 w 1895"/>
              <a:gd name="T15" fmla="*/ 906 h 1006"/>
              <a:gd name="T16" fmla="*/ 1895 w 1895"/>
              <a:gd name="T17" fmla="*/ 906 h 1006"/>
              <a:gd name="T18" fmla="*/ 1895 w 1895"/>
              <a:gd name="T19" fmla="*/ 0 h 1006"/>
              <a:gd name="T20" fmla="*/ 102 w 1895"/>
              <a:gd name="T21" fmla="*/ 0 h 1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95" h="1006">
                <a:moveTo>
                  <a:pt x="102" y="0"/>
                </a:moveTo>
                <a:lnTo>
                  <a:pt x="102" y="779"/>
                </a:lnTo>
                <a:lnTo>
                  <a:pt x="21" y="857"/>
                </a:lnTo>
                <a:lnTo>
                  <a:pt x="3" y="838"/>
                </a:lnTo>
                <a:lnTo>
                  <a:pt x="0" y="1003"/>
                </a:lnTo>
                <a:lnTo>
                  <a:pt x="166" y="1006"/>
                </a:lnTo>
                <a:lnTo>
                  <a:pt x="147" y="984"/>
                </a:lnTo>
                <a:lnTo>
                  <a:pt x="227" y="906"/>
                </a:lnTo>
                <a:lnTo>
                  <a:pt x="1895" y="906"/>
                </a:lnTo>
                <a:lnTo>
                  <a:pt x="1895" y="0"/>
                </a:lnTo>
                <a:lnTo>
                  <a:pt x="102" y="0"/>
                </a:lnTo>
                <a:close/>
              </a:path>
            </a:pathLst>
          </a:custGeom>
          <a:solidFill>
            <a:schemeClr val="bg1"/>
          </a:solidFill>
          <a:ln w="28575" cap="flat" cmpd="sng">
            <a:noFill/>
            <a:prstDash val="solid"/>
            <a:miter lim="800000"/>
            <a:headEnd/>
            <a:tailEnd/>
          </a:ln>
          <a:effectLst>
            <a:outerShdw blurRad="63500" sx="102000" sy="102000" algn="ctr" rotWithShape="0">
              <a:prstClr val="black">
                <a:alpha val="40000"/>
              </a:prstClr>
            </a:outerShdw>
          </a:effectLst>
        </p:spPr>
        <p:txBody>
          <a:bodyPr>
            <a:noAutofit/>
          </a:bodyPr>
          <a:lstStyle/>
          <a:p>
            <a:endParaRPr lang="fr-FR">
              <a:latin typeface="Arial" panose="020B0604020202020204" pitchFamily="34" charset="0"/>
              <a:cs typeface="Arial" panose="020B0604020202020204" pitchFamily="34" charset="0"/>
            </a:endParaRPr>
          </a:p>
        </p:txBody>
      </p:sp>
      <p:sp>
        <p:nvSpPr>
          <p:cNvPr id="463" name="Freeform 8">
            <a:extLst>
              <a:ext uri="{FF2B5EF4-FFF2-40B4-BE49-F238E27FC236}">
                <a16:creationId xmlns:a16="http://schemas.microsoft.com/office/drawing/2014/main" id="{7AAE99D8-89CD-DF45-8521-FCBF2F524208}"/>
              </a:ext>
            </a:extLst>
          </p:cNvPr>
          <p:cNvSpPr>
            <a:spLocks/>
          </p:cNvSpPr>
          <p:nvPr/>
        </p:nvSpPr>
        <p:spPr bwMode="gray">
          <a:xfrm>
            <a:off x="8274226" y="4638567"/>
            <a:ext cx="3139790" cy="1666962"/>
          </a:xfrm>
          <a:custGeom>
            <a:avLst/>
            <a:gdLst>
              <a:gd name="T0" fmla="*/ 227 w 1895"/>
              <a:gd name="T1" fmla="*/ 99 h 1006"/>
              <a:gd name="T2" fmla="*/ 147 w 1895"/>
              <a:gd name="T3" fmla="*/ 21 h 1006"/>
              <a:gd name="T4" fmla="*/ 166 w 1895"/>
              <a:gd name="T5" fmla="*/ 0 h 1006"/>
              <a:gd name="T6" fmla="*/ 0 w 1895"/>
              <a:gd name="T7" fmla="*/ 3 h 1006"/>
              <a:gd name="T8" fmla="*/ 3 w 1895"/>
              <a:gd name="T9" fmla="*/ 168 h 1006"/>
              <a:gd name="T10" fmla="*/ 21 w 1895"/>
              <a:gd name="T11" fmla="*/ 149 h 1006"/>
              <a:gd name="T12" fmla="*/ 102 w 1895"/>
              <a:gd name="T13" fmla="*/ 227 h 1006"/>
              <a:gd name="T14" fmla="*/ 102 w 1895"/>
              <a:gd name="T15" fmla="*/ 1006 h 1006"/>
              <a:gd name="T16" fmla="*/ 1895 w 1895"/>
              <a:gd name="T17" fmla="*/ 1006 h 1006"/>
              <a:gd name="T18" fmla="*/ 1895 w 1895"/>
              <a:gd name="T19" fmla="*/ 99 h 1006"/>
              <a:gd name="T20" fmla="*/ 227 w 1895"/>
              <a:gd name="T21" fmla="*/ 99 h 1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95" h="1006">
                <a:moveTo>
                  <a:pt x="227" y="99"/>
                </a:moveTo>
                <a:lnTo>
                  <a:pt x="147" y="21"/>
                </a:lnTo>
                <a:lnTo>
                  <a:pt x="166" y="0"/>
                </a:lnTo>
                <a:lnTo>
                  <a:pt x="0" y="3"/>
                </a:lnTo>
                <a:lnTo>
                  <a:pt x="3" y="168"/>
                </a:lnTo>
                <a:lnTo>
                  <a:pt x="21" y="149"/>
                </a:lnTo>
                <a:lnTo>
                  <a:pt x="102" y="227"/>
                </a:lnTo>
                <a:lnTo>
                  <a:pt x="102" y="1006"/>
                </a:lnTo>
                <a:lnTo>
                  <a:pt x="1895" y="1006"/>
                </a:lnTo>
                <a:lnTo>
                  <a:pt x="1895" y="99"/>
                </a:lnTo>
                <a:lnTo>
                  <a:pt x="227" y="99"/>
                </a:lnTo>
                <a:close/>
              </a:path>
            </a:pathLst>
          </a:custGeom>
          <a:solidFill>
            <a:schemeClr val="bg1"/>
          </a:solidFill>
          <a:ln w="28575" cap="flat" cmpd="sng">
            <a:noFill/>
            <a:prstDash val="solid"/>
            <a:miter lim="800000"/>
            <a:headEnd/>
            <a:tailEnd/>
          </a:ln>
          <a:effectLst>
            <a:outerShdw blurRad="63500" sx="102000" sy="102000" algn="ctr" rotWithShape="0">
              <a:prstClr val="black">
                <a:alpha val="40000"/>
              </a:prstClr>
            </a:outerShdw>
          </a:effectLst>
        </p:spPr>
        <p:txBody>
          <a:bodyPr>
            <a:noAutofit/>
          </a:bodyPr>
          <a:lstStyle/>
          <a:p>
            <a:endParaRPr lang="fr-FR">
              <a:latin typeface="Arial" panose="020B0604020202020204" pitchFamily="34" charset="0"/>
              <a:cs typeface="Arial" panose="020B0604020202020204" pitchFamily="34" charset="0"/>
            </a:endParaRPr>
          </a:p>
        </p:txBody>
      </p:sp>
      <p:sp>
        <p:nvSpPr>
          <p:cNvPr id="464" name="TextBox 463">
            <a:extLst>
              <a:ext uri="{FF2B5EF4-FFF2-40B4-BE49-F238E27FC236}">
                <a16:creationId xmlns:a16="http://schemas.microsoft.com/office/drawing/2014/main" id="{4508729B-24AC-EB33-8B8B-DEFF007F49EF}"/>
              </a:ext>
            </a:extLst>
          </p:cNvPr>
          <p:cNvSpPr txBox="1"/>
          <p:nvPr/>
        </p:nvSpPr>
        <p:spPr>
          <a:xfrm>
            <a:off x="760485" y="2351596"/>
            <a:ext cx="2992649" cy="338554"/>
          </a:xfrm>
          <a:prstGeom prst="rect">
            <a:avLst/>
          </a:prstGeom>
          <a:solidFill>
            <a:srgbClr val="0A285C"/>
          </a:solidFill>
        </p:spPr>
        <p:txBody>
          <a:bodyPr wrap="square" rtlCol="0">
            <a:spAutoFit/>
          </a:bodyPr>
          <a:lstStyle/>
          <a:p>
            <a:pPr algn="ctr"/>
            <a:r>
              <a:rPr lang="en-US" sz="1600" b="1">
                <a:solidFill>
                  <a:schemeClr val="bg1">
                    <a:lumMod val="95000"/>
                  </a:schemeClr>
                </a:solidFill>
                <a:cs typeface="Arial" panose="020B0604020202020204" pitchFamily="34" charset="0"/>
              </a:rPr>
              <a:t>PILLAR 1: STANDARDIZATION</a:t>
            </a:r>
          </a:p>
        </p:txBody>
      </p:sp>
      <p:sp>
        <p:nvSpPr>
          <p:cNvPr id="465" name="TextBox 464">
            <a:extLst>
              <a:ext uri="{FF2B5EF4-FFF2-40B4-BE49-F238E27FC236}">
                <a16:creationId xmlns:a16="http://schemas.microsoft.com/office/drawing/2014/main" id="{0123D668-41A8-61C2-0CD2-BD28F480CC09}"/>
              </a:ext>
            </a:extLst>
          </p:cNvPr>
          <p:cNvSpPr txBox="1"/>
          <p:nvPr/>
        </p:nvSpPr>
        <p:spPr>
          <a:xfrm>
            <a:off x="760484" y="4792015"/>
            <a:ext cx="2992649" cy="338554"/>
          </a:xfrm>
          <a:prstGeom prst="rect">
            <a:avLst/>
          </a:prstGeom>
          <a:solidFill>
            <a:srgbClr val="C55A11"/>
          </a:solidFill>
        </p:spPr>
        <p:txBody>
          <a:bodyPr wrap="square" rtlCol="0">
            <a:spAutoFit/>
          </a:bodyPr>
          <a:lstStyle/>
          <a:p>
            <a:pPr algn="ctr"/>
            <a:r>
              <a:rPr lang="en-US" sz="1600" b="1">
                <a:solidFill>
                  <a:schemeClr val="bg1">
                    <a:lumMod val="95000"/>
                  </a:schemeClr>
                </a:solidFill>
                <a:cs typeface="Arial" panose="020B0604020202020204" pitchFamily="34" charset="0"/>
              </a:rPr>
              <a:t>PILLAR 2: PROCUREMENT</a:t>
            </a:r>
          </a:p>
        </p:txBody>
      </p:sp>
      <p:sp>
        <p:nvSpPr>
          <p:cNvPr id="466" name="TextBox 465">
            <a:extLst>
              <a:ext uri="{FF2B5EF4-FFF2-40B4-BE49-F238E27FC236}">
                <a16:creationId xmlns:a16="http://schemas.microsoft.com/office/drawing/2014/main" id="{46E82912-8EC2-C584-3DCE-B5EB5FFBE5A8}"/>
              </a:ext>
            </a:extLst>
          </p:cNvPr>
          <p:cNvSpPr txBox="1"/>
          <p:nvPr/>
        </p:nvSpPr>
        <p:spPr>
          <a:xfrm>
            <a:off x="8426102" y="2351596"/>
            <a:ext cx="2999227" cy="338554"/>
          </a:xfrm>
          <a:prstGeom prst="rect">
            <a:avLst/>
          </a:prstGeom>
          <a:solidFill>
            <a:srgbClr val="483698"/>
          </a:solidFill>
        </p:spPr>
        <p:txBody>
          <a:bodyPr wrap="square" rtlCol="0">
            <a:spAutoFit/>
          </a:bodyPr>
          <a:lstStyle/>
          <a:p>
            <a:pPr algn="ctr"/>
            <a:r>
              <a:rPr lang="en-US" sz="1600" b="1">
                <a:solidFill>
                  <a:schemeClr val="bg1">
                    <a:lumMod val="95000"/>
                  </a:schemeClr>
                </a:solidFill>
                <a:cs typeface="Arial" panose="020B0604020202020204" pitchFamily="34" charset="0"/>
              </a:rPr>
              <a:t>PILLAR 3: PROCEDURES</a:t>
            </a:r>
          </a:p>
        </p:txBody>
      </p:sp>
      <p:sp>
        <p:nvSpPr>
          <p:cNvPr id="467" name="TextBox 466">
            <a:extLst>
              <a:ext uri="{FF2B5EF4-FFF2-40B4-BE49-F238E27FC236}">
                <a16:creationId xmlns:a16="http://schemas.microsoft.com/office/drawing/2014/main" id="{8CE89B35-8CAA-A2F4-D2F2-D81962AEB002}"/>
              </a:ext>
            </a:extLst>
          </p:cNvPr>
          <p:cNvSpPr txBox="1"/>
          <p:nvPr/>
        </p:nvSpPr>
        <p:spPr>
          <a:xfrm>
            <a:off x="8432680" y="4792015"/>
            <a:ext cx="2981335" cy="338554"/>
          </a:xfrm>
          <a:prstGeom prst="rect">
            <a:avLst/>
          </a:prstGeom>
          <a:solidFill>
            <a:srgbClr val="00A3A1"/>
          </a:solidFill>
        </p:spPr>
        <p:txBody>
          <a:bodyPr wrap="square" rtlCol="0">
            <a:spAutoFit/>
          </a:bodyPr>
          <a:lstStyle/>
          <a:p>
            <a:pPr algn="ctr"/>
            <a:r>
              <a:rPr lang="en-US" sz="1600" b="1">
                <a:solidFill>
                  <a:schemeClr val="bg1">
                    <a:lumMod val="95000"/>
                  </a:schemeClr>
                </a:solidFill>
                <a:cs typeface="Arial" panose="020B0604020202020204" pitchFamily="34" charset="0"/>
              </a:rPr>
              <a:t>PILLAR 4: ASSESSMENT</a:t>
            </a:r>
          </a:p>
        </p:txBody>
      </p:sp>
      <p:cxnSp>
        <p:nvCxnSpPr>
          <p:cNvPr id="469" name="Straight Connector 468">
            <a:extLst>
              <a:ext uri="{FF2B5EF4-FFF2-40B4-BE49-F238E27FC236}">
                <a16:creationId xmlns:a16="http://schemas.microsoft.com/office/drawing/2014/main" id="{EBF29798-85B1-B380-EFD6-182160E20B71}"/>
              </a:ext>
            </a:extLst>
          </p:cNvPr>
          <p:cNvCxnSpPr>
            <a:cxnSpLocks/>
          </p:cNvCxnSpPr>
          <p:nvPr/>
        </p:nvCxnSpPr>
        <p:spPr>
          <a:xfrm>
            <a:off x="760484" y="2790361"/>
            <a:ext cx="2992649" cy="0"/>
          </a:xfrm>
          <a:prstGeom prst="line">
            <a:avLst/>
          </a:prstGeom>
          <a:ln w="12700">
            <a:solidFill>
              <a:srgbClr val="0A285C"/>
            </a:solidFill>
          </a:ln>
        </p:spPr>
        <p:style>
          <a:lnRef idx="1">
            <a:schemeClr val="accent1"/>
          </a:lnRef>
          <a:fillRef idx="0">
            <a:schemeClr val="accent1"/>
          </a:fillRef>
          <a:effectRef idx="0">
            <a:schemeClr val="accent1"/>
          </a:effectRef>
          <a:fontRef idx="minor">
            <a:schemeClr val="tx1"/>
          </a:fontRef>
        </p:style>
      </p:cxnSp>
      <p:cxnSp>
        <p:nvCxnSpPr>
          <p:cNvPr id="471" name="Straight Connector 470">
            <a:extLst>
              <a:ext uri="{FF2B5EF4-FFF2-40B4-BE49-F238E27FC236}">
                <a16:creationId xmlns:a16="http://schemas.microsoft.com/office/drawing/2014/main" id="{346E8206-1C1B-CAAF-74F2-D7219D604BCD}"/>
              </a:ext>
            </a:extLst>
          </p:cNvPr>
          <p:cNvCxnSpPr>
            <a:cxnSpLocks/>
          </p:cNvCxnSpPr>
          <p:nvPr/>
        </p:nvCxnSpPr>
        <p:spPr>
          <a:xfrm>
            <a:off x="760484" y="2817706"/>
            <a:ext cx="2992649" cy="0"/>
          </a:xfrm>
          <a:prstGeom prst="line">
            <a:avLst/>
          </a:prstGeom>
          <a:ln w="12700">
            <a:solidFill>
              <a:srgbClr val="0A285C"/>
            </a:solidFill>
          </a:ln>
        </p:spPr>
        <p:style>
          <a:lnRef idx="1">
            <a:schemeClr val="accent1"/>
          </a:lnRef>
          <a:fillRef idx="0">
            <a:schemeClr val="accent1"/>
          </a:fillRef>
          <a:effectRef idx="0">
            <a:schemeClr val="accent1"/>
          </a:effectRef>
          <a:fontRef idx="minor">
            <a:schemeClr val="tx1"/>
          </a:fontRef>
        </p:style>
      </p:cxnSp>
      <p:cxnSp>
        <p:nvCxnSpPr>
          <p:cNvPr id="474" name="Straight Connector 473">
            <a:extLst>
              <a:ext uri="{FF2B5EF4-FFF2-40B4-BE49-F238E27FC236}">
                <a16:creationId xmlns:a16="http://schemas.microsoft.com/office/drawing/2014/main" id="{270E451A-340C-5C73-D20E-6068C860D0DF}"/>
              </a:ext>
            </a:extLst>
          </p:cNvPr>
          <p:cNvCxnSpPr>
            <a:cxnSpLocks/>
          </p:cNvCxnSpPr>
          <p:nvPr/>
        </p:nvCxnSpPr>
        <p:spPr>
          <a:xfrm>
            <a:off x="8432680" y="2790361"/>
            <a:ext cx="2992649" cy="0"/>
          </a:xfrm>
          <a:prstGeom prst="line">
            <a:avLst/>
          </a:prstGeom>
          <a:ln w="12700">
            <a:solidFill>
              <a:srgbClr val="483698"/>
            </a:solidFill>
          </a:ln>
        </p:spPr>
        <p:style>
          <a:lnRef idx="1">
            <a:schemeClr val="accent1"/>
          </a:lnRef>
          <a:fillRef idx="0">
            <a:schemeClr val="accent1"/>
          </a:fillRef>
          <a:effectRef idx="0">
            <a:schemeClr val="accent1"/>
          </a:effectRef>
          <a:fontRef idx="minor">
            <a:schemeClr val="tx1"/>
          </a:fontRef>
        </p:style>
      </p:cxnSp>
      <p:cxnSp>
        <p:nvCxnSpPr>
          <p:cNvPr id="475" name="Straight Connector 474">
            <a:extLst>
              <a:ext uri="{FF2B5EF4-FFF2-40B4-BE49-F238E27FC236}">
                <a16:creationId xmlns:a16="http://schemas.microsoft.com/office/drawing/2014/main" id="{8FF703F7-0E2D-B235-97FF-45B35DABB61D}"/>
              </a:ext>
            </a:extLst>
          </p:cNvPr>
          <p:cNvCxnSpPr>
            <a:cxnSpLocks/>
          </p:cNvCxnSpPr>
          <p:nvPr/>
        </p:nvCxnSpPr>
        <p:spPr>
          <a:xfrm>
            <a:off x="8432680" y="2817706"/>
            <a:ext cx="2992649" cy="0"/>
          </a:xfrm>
          <a:prstGeom prst="line">
            <a:avLst/>
          </a:prstGeom>
          <a:ln w="12700">
            <a:solidFill>
              <a:srgbClr val="483698"/>
            </a:solidFill>
          </a:ln>
        </p:spPr>
        <p:style>
          <a:lnRef idx="1">
            <a:schemeClr val="accent1"/>
          </a:lnRef>
          <a:fillRef idx="0">
            <a:schemeClr val="accent1"/>
          </a:fillRef>
          <a:effectRef idx="0">
            <a:schemeClr val="accent1"/>
          </a:effectRef>
          <a:fontRef idx="minor">
            <a:schemeClr val="tx1"/>
          </a:fontRef>
        </p:style>
      </p:cxnSp>
      <p:cxnSp>
        <p:nvCxnSpPr>
          <p:cNvPr id="478" name="Straight Connector 477">
            <a:extLst>
              <a:ext uri="{FF2B5EF4-FFF2-40B4-BE49-F238E27FC236}">
                <a16:creationId xmlns:a16="http://schemas.microsoft.com/office/drawing/2014/main" id="{B9A1BC96-AD1E-182D-F7C5-2DC67D80B5D9}"/>
              </a:ext>
            </a:extLst>
          </p:cNvPr>
          <p:cNvCxnSpPr>
            <a:cxnSpLocks/>
          </p:cNvCxnSpPr>
          <p:nvPr/>
        </p:nvCxnSpPr>
        <p:spPr>
          <a:xfrm>
            <a:off x="760484" y="5238810"/>
            <a:ext cx="2992649" cy="0"/>
          </a:xfrm>
          <a:prstGeom prst="line">
            <a:avLst/>
          </a:prstGeom>
          <a:ln w="12700">
            <a:solidFill>
              <a:srgbClr val="C55A11"/>
            </a:solidFill>
          </a:ln>
        </p:spPr>
        <p:style>
          <a:lnRef idx="1">
            <a:schemeClr val="accent1"/>
          </a:lnRef>
          <a:fillRef idx="0">
            <a:schemeClr val="accent1"/>
          </a:fillRef>
          <a:effectRef idx="0">
            <a:schemeClr val="accent1"/>
          </a:effectRef>
          <a:fontRef idx="minor">
            <a:schemeClr val="tx1"/>
          </a:fontRef>
        </p:style>
      </p:cxnSp>
      <p:cxnSp>
        <p:nvCxnSpPr>
          <p:cNvPr id="479" name="Straight Connector 478">
            <a:extLst>
              <a:ext uri="{FF2B5EF4-FFF2-40B4-BE49-F238E27FC236}">
                <a16:creationId xmlns:a16="http://schemas.microsoft.com/office/drawing/2014/main" id="{D851FFE2-55FC-7318-0D1F-FA5112E922DD}"/>
              </a:ext>
            </a:extLst>
          </p:cNvPr>
          <p:cNvCxnSpPr>
            <a:cxnSpLocks/>
          </p:cNvCxnSpPr>
          <p:nvPr/>
        </p:nvCxnSpPr>
        <p:spPr>
          <a:xfrm>
            <a:off x="760484" y="5266155"/>
            <a:ext cx="2992649" cy="0"/>
          </a:xfrm>
          <a:prstGeom prst="line">
            <a:avLst/>
          </a:prstGeom>
          <a:ln w="12700">
            <a:solidFill>
              <a:srgbClr val="C55A11"/>
            </a:solidFill>
          </a:ln>
        </p:spPr>
        <p:style>
          <a:lnRef idx="1">
            <a:schemeClr val="accent1"/>
          </a:lnRef>
          <a:fillRef idx="0">
            <a:schemeClr val="accent1"/>
          </a:fillRef>
          <a:effectRef idx="0">
            <a:schemeClr val="accent1"/>
          </a:effectRef>
          <a:fontRef idx="minor">
            <a:schemeClr val="tx1"/>
          </a:fontRef>
        </p:style>
      </p:cxnSp>
      <p:cxnSp>
        <p:nvCxnSpPr>
          <p:cNvPr id="480" name="Straight Connector 479">
            <a:extLst>
              <a:ext uri="{FF2B5EF4-FFF2-40B4-BE49-F238E27FC236}">
                <a16:creationId xmlns:a16="http://schemas.microsoft.com/office/drawing/2014/main" id="{82273319-4497-7923-3898-C436DB315DA2}"/>
              </a:ext>
            </a:extLst>
          </p:cNvPr>
          <p:cNvCxnSpPr>
            <a:cxnSpLocks/>
          </p:cNvCxnSpPr>
          <p:nvPr/>
        </p:nvCxnSpPr>
        <p:spPr>
          <a:xfrm>
            <a:off x="8432680" y="5246328"/>
            <a:ext cx="2992649" cy="0"/>
          </a:xfrm>
          <a:prstGeom prst="line">
            <a:avLst/>
          </a:prstGeom>
          <a:ln w="12700">
            <a:solidFill>
              <a:srgbClr val="00A3A1"/>
            </a:solidFill>
          </a:ln>
        </p:spPr>
        <p:style>
          <a:lnRef idx="1">
            <a:schemeClr val="accent1"/>
          </a:lnRef>
          <a:fillRef idx="0">
            <a:schemeClr val="accent1"/>
          </a:fillRef>
          <a:effectRef idx="0">
            <a:schemeClr val="accent1"/>
          </a:effectRef>
          <a:fontRef idx="minor">
            <a:schemeClr val="tx1"/>
          </a:fontRef>
        </p:style>
      </p:cxnSp>
      <p:cxnSp>
        <p:nvCxnSpPr>
          <p:cNvPr id="481" name="Straight Connector 480">
            <a:extLst>
              <a:ext uri="{FF2B5EF4-FFF2-40B4-BE49-F238E27FC236}">
                <a16:creationId xmlns:a16="http://schemas.microsoft.com/office/drawing/2014/main" id="{9E026DDA-5375-67B4-F87A-10D4BB5B4857}"/>
              </a:ext>
            </a:extLst>
          </p:cNvPr>
          <p:cNvCxnSpPr>
            <a:cxnSpLocks/>
          </p:cNvCxnSpPr>
          <p:nvPr/>
        </p:nvCxnSpPr>
        <p:spPr>
          <a:xfrm>
            <a:off x="8432680" y="5273673"/>
            <a:ext cx="2992649" cy="0"/>
          </a:xfrm>
          <a:prstGeom prst="line">
            <a:avLst/>
          </a:prstGeom>
          <a:ln w="12700">
            <a:solidFill>
              <a:srgbClr val="00A3A1"/>
            </a:solidFill>
          </a:ln>
        </p:spPr>
        <p:style>
          <a:lnRef idx="1">
            <a:schemeClr val="accent1"/>
          </a:lnRef>
          <a:fillRef idx="0">
            <a:schemeClr val="accent1"/>
          </a:fillRef>
          <a:effectRef idx="0">
            <a:schemeClr val="accent1"/>
          </a:effectRef>
          <a:fontRef idx="minor">
            <a:schemeClr val="tx1"/>
          </a:fontRef>
        </p:style>
      </p:cxnSp>
      <p:sp>
        <p:nvSpPr>
          <p:cNvPr id="483" name="TextBox 482">
            <a:extLst>
              <a:ext uri="{FF2B5EF4-FFF2-40B4-BE49-F238E27FC236}">
                <a16:creationId xmlns:a16="http://schemas.microsoft.com/office/drawing/2014/main" id="{EB066524-E8AC-FA00-6C1D-25E82F163D6C}"/>
              </a:ext>
            </a:extLst>
          </p:cNvPr>
          <p:cNvSpPr txBox="1"/>
          <p:nvPr/>
        </p:nvSpPr>
        <p:spPr>
          <a:xfrm>
            <a:off x="842752" y="2917683"/>
            <a:ext cx="2805323" cy="830997"/>
          </a:xfrm>
          <a:prstGeom prst="rect">
            <a:avLst/>
          </a:prstGeom>
          <a:noFill/>
        </p:spPr>
        <p:txBody>
          <a:bodyPr wrap="square" rtlCol="0">
            <a:spAutoFit/>
          </a:bodyPr>
          <a:lstStyle/>
          <a:p>
            <a:pPr algn="ctr"/>
            <a:r>
              <a:rPr lang="en-US" sz="1200">
                <a:cs typeface="Arial" panose="020B0604020202020204" pitchFamily="34" charset="0"/>
              </a:rPr>
              <a:t>F-ROC standardizes and simplifies forms, making it easier to </a:t>
            </a:r>
            <a:r>
              <a:rPr lang="en-US" sz="1200" b="1">
                <a:cs typeface="Arial" panose="020B0604020202020204" pitchFamily="34" charset="0"/>
              </a:rPr>
              <a:t>submit accurate documentation</a:t>
            </a:r>
            <a:r>
              <a:rPr lang="en-US" sz="1200">
                <a:cs typeface="Arial" panose="020B0604020202020204" pitchFamily="34" charset="0"/>
              </a:rPr>
              <a:t> for Public Assistance and receive funding timely.</a:t>
            </a:r>
          </a:p>
        </p:txBody>
      </p:sp>
      <p:sp>
        <p:nvSpPr>
          <p:cNvPr id="484" name="TextBox 483">
            <a:extLst>
              <a:ext uri="{FF2B5EF4-FFF2-40B4-BE49-F238E27FC236}">
                <a16:creationId xmlns:a16="http://schemas.microsoft.com/office/drawing/2014/main" id="{BD2D6305-E35E-B08A-91FC-C1E619DF33D2}"/>
              </a:ext>
            </a:extLst>
          </p:cNvPr>
          <p:cNvSpPr txBox="1"/>
          <p:nvPr/>
        </p:nvSpPr>
        <p:spPr>
          <a:xfrm>
            <a:off x="842752" y="5374995"/>
            <a:ext cx="2805323" cy="830997"/>
          </a:xfrm>
          <a:prstGeom prst="rect">
            <a:avLst/>
          </a:prstGeom>
          <a:noFill/>
        </p:spPr>
        <p:txBody>
          <a:bodyPr wrap="square" rtlCol="0">
            <a:spAutoFit/>
          </a:bodyPr>
          <a:lstStyle/>
          <a:p>
            <a:pPr algn="ctr"/>
            <a:r>
              <a:rPr lang="en-US" sz="1200">
                <a:cs typeface="Arial" panose="020B0604020202020204" pitchFamily="34" charset="0"/>
              </a:rPr>
              <a:t>F-ROC helps you to ensure you have contractors and vendors in place and your </a:t>
            </a:r>
            <a:r>
              <a:rPr lang="en-US" sz="1200" b="1">
                <a:cs typeface="Arial" panose="020B0604020202020204" pitchFamily="34" charset="0"/>
              </a:rPr>
              <a:t>procurement plans meet federal regulations</a:t>
            </a:r>
            <a:r>
              <a:rPr lang="en-US" sz="1200">
                <a:cs typeface="Arial" panose="020B0604020202020204" pitchFamily="34" charset="0"/>
              </a:rPr>
              <a:t>.</a:t>
            </a:r>
          </a:p>
        </p:txBody>
      </p:sp>
      <p:sp>
        <p:nvSpPr>
          <p:cNvPr id="485" name="TextBox 484">
            <a:extLst>
              <a:ext uri="{FF2B5EF4-FFF2-40B4-BE49-F238E27FC236}">
                <a16:creationId xmlns:a16="http://schemas.microsoft.com/office/drawing/2014/main" id="{B179DA6D-D7E0-56D8-B096-A166263C48EE}"/>
              </a:ext>
            </a:extLst>
          </p:cNvPr>
          <p:cNvSpPr txBox="1"/>
          <p:nvPr/>
        </p:nvSpPr>
        <p:spPr>
          <a:xfrm>
            <a:off x="8528374" y="2917683"/>
            <a:ext cx="2805323" cy="830997"/>
          </a:xfrm>
          <a:prstGeom prst="rect">
            <a:avLst/>
          </a:prstGeom>
          <a:noFill/>
        </p:spPr>
        <p:txBody>
          <a:bodyPr wrap="square" rtlCol="0">
            <a:spAutoFit/>
          </a:bodyPr>
          <a:lstStyle/>
          <a:p>
            <a:pPr algn="ctr"/>
            <a:r>
              <a:rPr lang="en-US" sz="1200">
                <a:cs typeface="Arial" panose="020B0604020202020204" pitchFamily="34" charset="0"/>
              </a:rPr>
              <a:t>F-ROC helps you prepare for events by ensuring you have </a:t>
            </a:r>
            <a:r>
              <a:rPr lang="en-US" sz="1200" b="1">
                <a:cs typeface="Arial" panose="020B0604020202020204" pitchFamily="34" charset="0"/>
              </a:rPr>
              <a:t>policies and procedures </a:t>
            </a:r>
            <a:r>
              <a:rPr lang="en-US" sz="1200">
                <a:cs typeface="Arial" panose="020B0604020202020204" pitchFamily="34" charset="0"/>
              </a:rPr>
              <a:t>that are accurate, </a:t>
            </a:r>
            <a:r>
              <a:rPr lang="en-US" sz="1200" b="1">
                <a:cs typeface="Arial" panose="020B0604020202020204" pitchFamily="34" charset="0"/>
              </a:rPr>
              <a:t>up-to-date</a:t>
            </a:r>
            <a:r>
              <a:rPr lang="en-US" sz="1200">
                <a:cs typeface="Arial" panose="020B0604020202020204" pitchFamily="34" charset="0"/>
              </a:rPr>
              <a:t>, and follow </a:t>
            </a:r>
            <a:r>
              <a:rPr lang="en-US" sz="1200" b="1">
                <a:cs typeface="Arial" panose="020B0604020202020204" pitchFamily="34" charset="0"/>
              </a:rPr>
              <a:t>FEMA guidelines</a:t>
            </a:r>
            <a:r>
              <a:rPr lang="en-US" sz="1200">
                <a:cs typeface="Arial" panose="020B0604020202020204" pitchFamily="34" charset="0"/>
              </a:rPr>
              <a:t>.</a:t>
            </a:r>
          </a:p>
        </p:txBody>
      </p:sp>
      <p:sp>
        <p:nvSpPr>
          <p:cNvPr id="486" name="TextBox 485">
            <a:extLst>
              <a:ext uri="{FF2B5EF4-FFF2-40B4-BE49-F238E27FC236}">
                <a16:creationId xmlns:a16="http://schemas.microsoft.com/office/drawing/2014/main" id="{CB7CE217-0912-677E-08AE-72A5CB23C6ED}"/>
              </a:ext>
            </a:extLst>
          </p:cNvPr>
          <p:cNvSpPr txBox="1"/>
          <p:nvPr/>
        </p:nvSpPr>
        <p:spPr>
          <a:xfrm>
            <a:off x="8484829" y="5374995"/>
            <a:ext cx="2894350" cy="830997"/>
          </a:xfrm>
          <a:prstGeom prst="rect">
            <a:avLst/>
          </a:prstGeom>
          <a:noFill/>
        </p:spPr>
        <p:txBody>
          <a:bodyPr wrap="square" rtlCol="0">
            <a:spAutoFit/>
          </a:bodyPr>
          <a:lstStyle/>
          <a:p>
            <a:pPr algn="ctr"/>
            <a:r>
              <a:rPr lang="en-US" sz="1200">
                <a:cs typeface="Arial" panose="020B0604020202020204" pitchFamily="34" charset="0"/>
              </a:rPr>
              <a:t>The Disaster Readiness Assessment provides you with the insights needed to be successful. You can opt-in </a:t>
            </a:r>
            <a:r>
              <a:rPr lang="en-US" sz="1200" b="1">
                <a:cs typeface="Arial" panose="020B0604020202020204" pitchFamily="34" charset="0"/>
              </a:rPr>
              <a:t>for free</a:t>
            </a:r>
            <a:r>
              <a:rPr lang="en-US" sz="1200">
                <a:cs typeface="Arial" panose="020B0604020202020204" pitchFamily="34" charset="0"/>
              </a:rPr>
              <a:t> and receive </a:t>
            </a:r>
            <a:r>
              <a:rPr lang="en-US" sz="1200" b="1">
                <a:cs typeface="Arial" panose="020B0604020202020204" pitchFamily="34" charset="0"/>
              </a:rPr>
              <a:t>up to 80% of funding </a:t>
            </a:r>
            <a:r>
              <a:rPr lang="en-US" sz="1200">
                <a:cs typeface="Arial" panose="020B0604020202020204" pitchFamily="34" charset="0"/>
              </a:rPr>
              <a:t>upfront.</a:t>
            </a:r>
          </a:p>
        </p:txBody>
      </p:sp>
    </p:spTree>
    <p:custDataLst>
      <p:tags r:id="rId1"/>
    </p:custDataLst>
    <p:extLst>
      <p:ext uri="{BB962C8B-B14F-4D97-AF65-F5344CB8AC3E}">
        <p14:creationId xmlns:p14="http://schemas.microsoft.com/office/powerpoint/2010/main" val="4046753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F4B562A-D7B8-B09C-80B2-65718201DED4}"/>
              </a:ext>
            </a:extLst>
          </p:cNvPr>
          <p:cNvSpPr>
            <a:spLocks noGrp="1"/>
          </p:cNvSpPr>
          <p:nvPr>
            <p:ph type="title"/>
          </p:nvPr>
        </p:nvSpPr>
        <p:spPr/>
        <p:txBody>
          <a:bodyPr/>
          <a:lstStyle/>
          <a:p>
            <a:r>
              <a:rPr lang="en-US">
                <a:latin typeface="+mn-lt"/>
              </a:rPr>
              <a:t>F-ROC Scoring</a:t>
            </a:r>
          </a:p>
        </p:txBody>
      </p:sp>
      <p:sp>
        <p:nvSpPr>
          <p:cNvPr id="6" name="Rectangle 5">
            <a:extLst>
              <a:ext uri="{FF2B5EF4-FFF2-40B4-BE49-F238E27FC236}">
                <a16:creationId xmlns:a16="http://schemas.microsoft.com/office/drawing/2014/main" id="{779B5619-D824-8E46-79E3-8A0F9700EE74}"/>
              </a:ext>
            </a:extLst>
          </p:cNvPr>
          <p:cNvSpPr/>
          <p:nvPr/>
        </p:nvSpPr>
        <p:spPr>
          <a:xfrm>
            <a:off x="-7048" y="3429000"/>
            <a:ext cx="12198534" cy="3429000"/>
          </a:xfrm>
          <a:prstGeom prst="rect">
            <a:avLst/>
          </a:prstGeom>
          <a:solidFill>
            <a:srgbClr val="0066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err="1">
              <a:ln>
                <a:noFill/>
              </a:ln>
              <a:solidFill>
                <a:srgbClr val="FFFFFF"/>
              </a:solidFill>
              <a:effectLst/>
              <a:uLnTx/>
              <a:uFillTx/>
              <a:ea typeface="+mn-ea"/>
              <a:cs typeface="+mn-cs"/>
            </a:endParaRPr>
          </a:p>
        </p:txBody>
      </p:sp>
      <p:sp>
        <p:nvSpPr>
          <p:cNvPr id="7" name="TextBox 6">
            <a:extLst>
              <a:ext uri="{FF2B5EF4-FFF2-40B4-BE49-F238E27FC236}">
                <a16:creationId xmlns:a16="http://schemas.microsoft.com/office/drawing/2014/main" id="{5B10E41E-D1D2-DB6E-6A70-0A163F9721C0}"/>
              </a:ext>
            </a:extLst>
          </p:cNvPr>
          <p:cNvSpPr txBox="1"/>
          <p:nvPr/>
        </p:nvSpPr>
        <p:spPr>
          <a:xfrm>
            <a:off x="942581" y="2220724"/>
            <a:ext cx="3410633" cy="9233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2000" b="0" i="0" u="none" strike="noStrike" kern="1200" cap="none" spc="0" normalizeH="0" baseline="0" noProof="0">
                <a:ln>
                  <a:noFill/>
                </a:ln>
                <a:solidFill>
                  <a:srgbClr val="005EB8"/>
                </a:solidFill>
                <a:effectLst/>
                <a:uLnTx/>
                <a:uFillTx/>
                <a:cs typeface="Arial" panose="020B0604020202020204" pitchFamily="34" charset="0"/>
              </a:rPr>
              <a:t>The </a:t>
            </a:r>
            <a:r>
              <a:rPr kumimoji="0" lang="en-GB" sz="2000" b="1" i="0" u="none" strike="noStrike" kern="1200" cap="none" spc="0" normalizeH="0" baseline="0" noProof="0">
                <a:ln>
                  <a:noFill/>
                </a:ln>
                <a:solidFill>
                  <a:srgbClr val="005EB8"/>
                </a:solidFill>
                <a:effectLst/>
                <a:uLnTx/>
                <a:uFillTx/>
                <a:cs typeface="Arial" panose="020B0604020202020204" pitchFamily="34" charset="0"/>
              </a:rPr>
              <a:t>maximum F-ROC score is 80</a:t>
            </a:r>
            <a:r>
              <a:rPr kumimoji="0" lang="en-GB" sz="2000" b="0" i="0" u="none" strike="noStrike" kern="1200" cap="none" spc="0" normalizeH="0" baseline="0" noProof="0">
                <a:ln>
                  <a:noFill/>
                </a:ln>
                <a:solidFill>
                  <a:srgbClr val="005EB8"/>
                </a:solidFill>
                <a:effectLst/>
                <a:uLnTx/>
                <a:uFillTx/>
                <a:cs typeface="Arial" panose="020B0604020202020204" pitchFamily="34" charset="0"/>
              </a:rPr>
              <a:t>. This score is made up of three components:</a:t>
            </a:r>
          </a:p>
        </p:txBody>
      </p:sp>
      <p:sp>
        <p:nvSpPr>
          <p:cNvPr id="8" name="Text Placeholder 94">
            <a:extLst>
              <a:ext uri="{FF2B5EF4-FFF2-40B4-BE49-F238E27FC236}">
                <a16:creationId xmlns:a16="http://schemas.microsoft.com/office/drawing/2014/main" id="{074C6930-4455-DADB-C149-B955B78BF738}"/>
              </a:ext>
            </a:extLst>
          </p:cNvPr>
          <p:cNvSpPr txBox="1">
            <a:spLocks/>
          </p:cNvSpPr>
          <p:nvPr/>
        </p:nvSpPr>
        <p:spPr>
          <a:xfrm>
            <a:off x="8139918" y="2057400"/>
            <a:ext cx="4051498" cy="676119"/>
          </a:xfrm>
          <a:prstGeom prst="rect">
            <a:avLst/>
          </a:prstGeom>
        </p:spPr>
        <p:txBody>
          <a:bodyPr lIns="0" tIns="0" rIns="0" bIns="0"/>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5EB8"/>
                </a:solidFill>
                <a:effectLst/>
                <a:uLnTx/>
                <a:uFillTx/>
                <a:ea typeface="Roboto" panose="02000000000000000000" pitchFamily="2" charset="0"/>
                <a:cs typeface="Arial" panose="020B0604020202020204" pitchFamily="34" charset="0"/>
              </a:rPr>
              <a:t>Once </a:t>
            </a:r>
            <a:r>
              <a:rPr kumimoji="0" lang="en-US" sz="2000" b="1" i="0" u="none" strike="noStrike" kern="1200" cap="none" spc="0" normalizeH="0" baseline="0" noProof="0">
                <a:ln>
                  <a:noFill/>
                </a:ln>
                <a:solidFill>
                  <a:srgbClr val="005EB8"/>
                </a:solidFill>
                <a:effectLst/>
                <a:uLnTx/>
                <a:uFillTx/>
                <a:ea typeface="Roboto" panose="02000000000000000000" pitchFamily="2" charset="0"/>
                <a:cs typeface="Arial" panose="020B0604020202020204" pitchFamily="34" charset="0"/>
              </a:rPr>
              <a:t>validation</a:t>
            </a:r>
            <a:r>
              <a:rPr kumimoji="0" lang="en-US" sz="2000" b="0" i="0" u="none" strike="noStrike" kern="1200" cap="none" spc="0" normalizeH="0" baseline="0" noProof="0">
                <a:ln>
                  <a:noFill/>
                </a:ln>
                <a:solidFill>
                  <a:srgbClr val="005EB8"/>
                </a:solidFill>
                <a:effectLst/>
                <a:uLnTx/>
                <a:uFillTx/>
                <a:ea typeface="Roboto" panose="02000000000000000000" pitchFamily="2" charset="0"/>
                <a:cs typeface="Arial" panose="020B0604020202020204" pitchFamily="34" charset="0"/>
              </a:rPr>
              <a:t> of supporting documents is </a:t>
            </a:r>
            <a:r>
              <a:rPr kumimoji="0" lang="en-US" sz="2000" b="1" i="0" u="none" strike="noStrike" kern="1200" cap="none" spc="0" normalizeH="0" baseline="0" noProof="0">
                <a:ln>
                  <a:noFill/>
                </a:ln>
                <a:solidFill>
                  <a:srgbClr val="005EB8"/>
                </a:solidFill>
                <a:effectLst/>
                <a:uLnTx/>
                <a:uFillTx/>
                <a:ea typeface="Roboto" panose="02000000000000000000" pitchFamily="2" charset="0"/>
                <a:cs typeface="Arial" panose="020B0604020202020204" pitchFamily="34" charset="0"/>
              </a:rPr>
              <a:t>complete</a:t>
            </a:r>
            <a:r>
              <a:rPr kumimoji="0" lang="en-US" sz="2000" b="0" i="0" u="none" strike="noStrike" kern="1200" cap="none" spc="0" normalizeH="0" baseline="0" noProof="0">
                <a:ln>
                  <a:noFill/>
                </a:ln>
                <a:solidFill>
                  <a:srgbClr val="005EB8"/>
                </a:solidFill>
                <a:effectLst/>
                <a:uLnTx/>
                <a:uFillTx/>
                <a:ea typeface="Roboto" panose="02000000000000000000" pitchFamily="2" charset="0"/>
                <a:cs typeface="Arial" panose="020B0604020202020204" pitchFamily="34" charset="0"/>
              </a:rPr>
              <a:t>, you will receive the remainder of the validated, obligated amount</a:t>
            </a:r>
          </a:p>
        </p:txBody>
      </p:sp>
      <p:grpSp>
        <p:nvGrpSpPr>
          <p:cNvPr id="9" name="Group 8">
            <a:extLst>
              <a:ext uri="{FF2B5EF4-FFF2-40B4-BE49-F238E27FC236}">
                <a16:creationId xmlns:a16="http://schemas.microsoft.com/office/drawing/2014/main" id="{E7E99B9C-0645-621F-48D0-B6F1B3F85205}"/>
              </a:ext>
            </a:extLst>
          </p:cNvPr>
          <p:cNvGrpSpPr/>
          <p:nvPr/>
        </p:nvGrpSpPr>
        <p:grpSpPr>
          <a:xfrm>
            <a:off x="4324286" y="1991108"/>
            <a:ext cx="3323094" cy="4474066"/>
            <a:chOff x="13292628" y="1440055"/>
            <a:chExt cx="3739223" cy="5034331"/>
          </a:xfrm>
        </p:grpSpPr>
        <p:sp>
          <p:nvSpPr>
            <p:cNvPr id="10" name="Freeform: Shape 9">
              <a:extLst>
                <a:ext uri="{FF2B5EF4-FFF2-40B4-BE49-F238E27FC236}">
                  <a16:creationId xmlns:a16="http://schemas.microsoft.com/office/drawing/2014/main" id="{34148F0D-ACED-EBEF-53E7-555488D39D53}"/>
                </a:ext>
              </a:extLst>
            </p:cNvPr>
            <p:cNvSpPr/>
            <p:nvPr/>
          </p:nvSpPr>
          <p:spPr>
            <a:xfrm>
              <a:off x="15462066" y="4886095"/>
              <a:ext cx="19" cy="19"/>
            </a:xfrm>
            <a:custGeom>
              <a:avLst/>
              <a:gdLst>
                <a:gd name="connsiteX0" fmla="*/ 20 w 20"/>
                <a:gd name="connsiteY0" fmla="*/ 0 h 20"/>
                <a:gd name="connsiteX1" fmla="*/ 20 w 20"/>
                <a:gd name="connsiteY1" fmla="*/ 20 h 20"/>
                <a:gd name="connsiteX2" fmla="*/ 0 w 20"/>
                <a:gd name="connsiteY2" fmla="*/ 0 h 20"/>
                <a:gd name="connsiteX3" fmla="*/ 20 w 20"/>
                <a:gd name="connsiteY3" fmla="*/ 0 h 20"/>
              </a:gdLst>
              <a:ahLst/>
              <a:cxnLst>
                <a:cxn ang="0">
                  <a:pos x="connsiteX0" y="connsiteY0"/>
                </a:cxn>
                <a:cxn ang="0">
                  <a:pos x="connsiteX1" y="connsiteY1"/>
                </a:cxn>
                <a:cxn ang="0">
                  <a:pos x="connsiteX2" y="connsiteY2"/>
                </a:cxn>
                <a:cxn ang="0">
                  <a:pos x="connsiteX3" y="connsiteY3"/>
                </a:cxn>
              </a:cxnLst>
              <a:rect l="l" t="t" r="r" b="b"/>
              <a:pathLst>
                <a:path w="20" h="20">
                  <a:moveTo>
                    <a:pt x="20" y="0"/>
                  </a:moveTo>
                  <a:lnTo>
                    <a:pt x="20" y="20"/>
                  </a:lnTo>
                  <a:lnTo>
                    <a:pt x="0" y="0"/>
                  </a:lnTo>
                  <a:lnTo>
                    <a:pt x="20" y="0"/>
                  </a:lnTo>
                  <a:close/>
                </a:path>
              </a:pathLst>
            </a:custGeom>
            <a:solidFill>
              <a:srgbClr val="40FFFF"/>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11" name="Freeform: Shape 10">
              <a:extLst>
                <a:ext uri="{FF2B5EF4-FFF2-40B4-BE49-F238E27FC236}">
                  <a16:creationId xmlns:a16="http://schemas.microsoft.com/office/drawing/2014/main" id="{3BD77B41-ADE1-560D-1F54-7CCE80F126F1}"/>
                </a:ext>
              </a:extLst>
            </p:cNvPr>
            <p:cNvSpPr/>
            <p:nvPr/>
          </p:nvSpPr>
          <p:spPr>
            <a:xfrm>
              <a:off x="14840266" y="3062011"/>
              <a:ext cx="891653" cy="3017753"/>
            </a:xfrm>
            <a:custGeom>
              <a:avLst/>
              <a:gdLst>
                <a:gd name="connsiteX0" fmla="*/ 526436 w 922687"/>
                <a:gd name="connsiteY0" fmla="*/ 0 h 3122783"/>
                <a:gd name="connsiteX1" fmla="*/ 501566 w 922687"/>
                <a:gd name="connsiteY1" fmla="*/ 1399928 h 3122783"/>
                <a:gd name="connsiteX2" fmla="*/ 501607 w 922687"/>
                <a:gd name="connsiteY2" fmla="*/ 1400008 h 3122783"/>
                <a:gd name="connsiteX3" fmla="*/ 501546 w 922687"/>
                <a:gd name="connsiteY3" fmla="*/ 1399948 h 3122783"/>
                <a:gd name="connsiteX4" fmla="*/ 497280 w 922687"/>
                <a:gd name="connsiteY4" fmla="*/ 1878414 h 3122783"/>
                <a:gd name="connsiteX5" fmla="*/ 0 w 922687"/>
                <a:gd name="connsiteY5" fmla="*/ 2809473 h 3122783"/>
                <a:gd name="connsiteX6" fmla="*/ 231980 w 922687"/>
                <a:gd name="connsiteY6" fmla="*/ 3122783 h 3122783"/>
                <a:gd name="connsiteX7" fmla="*/ 537141 w 922687"/>
                <a:gd name="connsiteY7" fmla="*/ 2448012 h 3122783"/>
                <a:gd name="connsiteX8" fmla="*/ 760026 w 922687"/>
                <a:gd name="connsiteY8" fmla="*/ 1992322 h 3122783"/>
                <a:gd name="connsiteX9" fmla="*/ 760006 w 922687"/>
                <a:gd name="connsiteY9" fmla="*/ 1992302 h 3122783"/>
                <a:gd name="connsiteX10" fmla="*/ 760026 w 922687"/>
                <a:gd name="connsiteY10" fmla="*/ 1992322 h 3122783"/>
                <a:gd name="connsiteX11" fmla="*/ 922688 w 922687"/>
                <a:gd name="connsiteY11" fmla="*/ 545210 h 3122783"/>
                <a:gd name="connsiteX12" fmla="*/ 526436 w 922687"/>
                <a:gd name="connsiteY12" fmla="*/ 0 h 3122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2687" h="3122783">
                  <a:moveTo>
                    <a:pt x="526436" y="0"/>
                  </a:moveTo>
                  <a:lnTo>
                    <a:pt x="501566" y="1399928"/>
                  </a:lnTo>
                  <a:lnTo>
                    <a:pt x="501607" y="1400008"/>
                  </a:lnTo>
                  <a:lnTo>
                    <a:pt x="501546" y="1399948"/>
                  </a:lnTo>
                  <a:lnTo>
                    <a:pt x="497280" y="1878414"/>
                  </a:lnTo>
                  <a:lnTo>
                    <a:pt x="0" y="2809473"/>
                  </a:lnTo>
                  <a:lnTo>
                    <a:pt x="231980" y="3122783"/>
                  </a:lnTo>
                  <a:lnTo>
                    <a:pt x="537141" y="2448012"/>
                  </a:lnTo>
                  <a:lnTo>
                    <a:pt x="760026" y="1992322"/>
                  </a:lnTo>
                  <a:lnTo>
                    <a:pt x="760006" y="1992302"/>
                  </a:lnTo>
                  <a:lnTo>
                    <a:pt x="760026" y="1992322"/>
                  </a:lnTo>
                  <a:lnTo>
                    <a:pt x="922688" y="545210"/>
                  </a:lnTo>
                  <a:lnTo>
                    <a:pt x="526436" y="0"/>
                  </a:lnTo>
                  <a:close/>
                </a:path>
              </a:pathLst>
            </a:custGeom>
            <a:solidFill>
              <a:srgbClr val="1E49E2">
                <a:lumMod val="75000"/>
              </a:srgbClr>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12" name="Freeform: Shape 11">
              <a:extLst>
                <a:ext uri="{FF2B5EF4-FFF2-40B4-BE49-F238E27FC236}">
                  <a16:creationId xmlns:a16="http://schemas.microsoft.com/office/drawing/2014/main" id="{53E6C64D-1598-DD3E-DB51-C3C6094DC0D7}"/>
                </a:ext>
              </a:extLst>
            </p:cNvPr>
            <p:cNvSpPr/>
            <p:nvPr/>
          </p:nvSpPr>
          <p:spPr>
            <a:xfrm>
              <a:off x="15348996" y="3059756"/>
              <a:ext cx="382923" cy="529129"/>
            </a:xfrm>
            <a:custGeom>
              <a:avLst/>
              <a:gdLst>
                <a:gd name="connsiteX0" fmla="*/ 396251 w 396251"/>
                <a:gd name="connsiteY0" fmla="*/ 547544 h 547544"/>
                <a:gd name="connsiteX1" fmla="*/ 483 w 396251"/>
                <a:gd name="connsiteY1" fmla="*/ 2898 h 547544"/>
                <a:gd name="connsiteX2" fmla="*/ 0 w 396251"/>
                <a:gd name="connsiteY2" fmla="*/ 2334 h 547544"/>
                <a:gd name="connsiteX3" fmla="*/ 2757 w 396251"/>
                <a:gd name="connsiteY3" fmla="*/ 2334 h 547544"/>
                <a:gd name="connsiteX4" fmla="*/ 2334 w 396251"/>
                <a:gd name="connsiteY4" fmla="*/ 0 h 547544"/>
                <a:gd name="connsiteX5" fmla="*/ 345827 w 396251"/>
                <a:gd name="connsiteY5" fmla="*/ 0 h 547544"/>
                <a:gd name="connsiteX6" fmla="*/ 346169 w 396251"/>
                <a:gd name="connsiteY6" fmla="*/ 2334 h 547544"/>
                <a:gd name="connsiteX7" fmla="*/ 346249 w 396251"/>
                <a:gd name="connsiteY7" fmla="*/ 2334 h 547544"/>
                <a:gd name="connsiteX8" fmla="*/ 346370 w 396251"/>
                <a:gd name="connsiteY8" fmla="*/ 2898 h 547544"/>
                <a:gd name="connsiteX9" fmla="*/ 396251 w 396251"/>
                <a:gd name="connsiteY9" fmla="*/ 547544 h 547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6251" h="547544">
                  <a:moveTo>
                    <a:pt x="396251" y="547544"/>
                  </a:moveTo>
                  <a:lnTo>
                    <a:pt x="483" y="2898"/>
                  </a:lnTo>
                  <a:lnTo>
                    <a:pt x="0" y="2334"/>
                  </a:lnTo>
                  <a:lnTo>
                    <a:pt x="2757" y="2334"/>
                  </a:lnTo>
                  <a:lnTo>
                    <a:pt x="2334" y="0"/>
                  </a:lnTo>
                  <a:lnTo>
                    <a:pt x="345827" y="0"/>
                  </a:lnTo>
                  <a:lnTo>
                    <a:pt x="346169" y="2334"/>
                  </a:lnTo>
                  <a:lnTo>
                    <a:pt x="346249" y="2334"/>
                  </a:lnTo>
                  <a:lnTo>
                    <a:pt x="346370" y="2898"/>
                  </a:lnTo>
                  <a:lnTo>
                    <a:pt x="396251" y="547544"/>
                  </a:lnTo>
                  <a:close/>
                </a:path>
              </a:pathLst>
            </a:custGeom>
            <a:solidFill>
              <a:srgbClr val="1E49E2"/>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13" name="Freeform: Shape 12">
              <a:extLst>
                <a:ext uri="{FF2B5EF4-FFF2-40B4-BE49-F238E27FC236}">
                  <a16:creationId xmlns:a16="http://schemas.microsoft.com/office/drawing/2014/main" id="{C247BB3E-2C49-472C-0083-FAFB3B19491E}"/>
                </a:ext>
              </a:extLst>
            </p:cNvPr>
            <p:cNvSpPr/>
            <p:nvPr/>
          </p:nvSpPr>
          <p:spPr>
            <a:xfrm>
              <a:off x="14695637" y="3090926"/>
              <a:ext cx="217662" cy="424477"/>
            </a:xfrm>
            <a:custGeom>
              <a:avLst/>
              <a:gdLst>
                <a:gd name="connsiteX0" fmla="*/ 224817 w 225238"/>
                <a:gd name="connsiteY0" fmla="*/ 2334 h 439250"/>
                <a:gd name="connsiteX1" fmla="*/ 224535 w 225238"/>
                <a:gd name="connsiteY1" fmla="*/ 2877 h 439250"/>
                <a:gd name="connsiteX2" fmla="*/ 224515 w 225238"/>
                <a:gd name="connsiteY2" fmla="*/ 2877 h 439250"/>
                <a:gd name="connsiteX3" fmla="*/ 3119 w 225238"/>
                <a:gd name="connsiteY3" fmla="*/ 433214 h 439250"/>
                <a:gd name="connsiteX4" fmla="*/ 0 w 225238"/>
                <a:gd name="connsiteY4" fmla="*/ 439251 h 439250"/>
                <a:gd name="connsiteX5" fmla="*/ 0 w 225238"/>
                <a:gd name="connsiteY5" fmla="*/ 2334 h 439250"/>
                <a:gd name="connsiteX6" fmla="*/ 2576 w 225238"/>
                <a:gd name="connsiteY6" fmla="*/ 2334 h 439250"/>
                <a:gd name="connsiteX7" fmla="*/ 2797 w 225238"/>
                <a:gd name="connsiteY7" fmla="*/ 1107 h 439250"/>
                <a:gd name="connsiteX8" fmla="*/ 2998 w 225238"/>
                <a:gd name="connsiteY8" fmla="*/ 0 h 439250"/>
                <a:gd name="connsiteX9" fmla="*/ 225239 w 225238"/>
                <a:gd name="connsiteY9" fmla="*/ 0 h 439250"/>
                <a:gd name="connsiteX10" fmla="*/ 224112 w 225238"/>
                <a:gd name="connsiteY10" fmla="*/ 2334 h 439250"/>
                <a:gd name="connsiteX11" fmla="*/ 224817 w 225238"/>
                <a:gd name="connsiteY11" fmla="*/ 2334 h 43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5238" h="439250">
                  <a:moveTo>
                    <a:pt x="224817" y="2334"/>
                  </a:moveTo>
                  <a:lnTo>
                    <a:pt x="224535" y="2877"/>
                  </a:lnTo>
                  <a:lnTo>
                    <a:pt x="224515" y="2877"/>
                  </a:lnTo>
                  <a:lnTo>
                    <a:pt x="3119" y="433214"/>
                  </a:lnTo>
                  <a:lnTo>
                    <a:pt x="0" y="439251"/>
                  </a:lnTo>
                  <a:lnTo>
                    <a:pt x="0" y="2334"/>
                  </a:lnTo>
                  <a:lnTo>
                    <a:pt x="2576" y="2334"/>
                  </a:lnTo>
                  <a:lnTo>
                    <a:pt x="2797" y="1107"/>
                  </a:lnTo>
                  <a:lnTo>
                    <a:pt x="2998" y="0"/>
                  </a:lnTo>
                  <a:lnTo>
                    <a:pt x="225239" y="0"/>
                  </a:lnTo>
                  <a:lnTo>
                    <a:pt x="224112" y="2334"/>
                  </a:lnTo>
                  <a:lnTo>
                    <a:pt x="224817" y="2334"/>
                  </a:lnTo>
                  <a:close/>
                </a:path>
              </a:pathLst>
            </a:custGeom>
            <a:solidFill>
              <a:srgbClr val="05A6DA"/>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14" name="Freeform: Shape 13">
              <a:extLst>
                <a:ext uri="{FF2B5EF4-FFF2-40B4-BE49-F238E27FC236}">
                  <a16:creationId xmlns:a16="http://schemas.microsoft.com/office/drawing/2014/main" id="{DB85C14C-FBE2-E43B-56AF-B500C3E2BA06}"/>
                </a:ext>
              </a:extLst>
            </p:cNvPr>
            <p:cNvSpPr/>
            <p:nvPr/>
          </p:nvSpPr>
          <p:spPr>
            <a:xfrm>
              <a:off x="14242031" y="3090926"/>
              <a:ext cx="464435" cy="2550963"/>
            </a:xfrm>
            <a:custGeom>
              <a:avLst/>
              <a:gdLst>
                <a:gd name="connsiteX0" fmla="*/ 480600 w 480599"/>
                <a:gd name="connsiteY0" fmla="*/ 1554359 h 2639748"/>
                <a:gd name="connsiteX1" fmla="*/ 397740 w 480599"/>
                <a:gd name="connsiteY1" fmla="*/ 2639748 h 2639748"/>
                <a:gd name="connsiteX2" fmla="*/ 397619 w 480599"/>
                <a:gd name="connsiteY2" fmla="*/ 2639306 h 2639748"/>
                <a:gd name="connsiteX3" fmla="*/ 0 w 480599"/>
                <a:gd name="connsiteY3" fmla="*/ 1581664 h 2639748"/>
                <a:gd name="connsiteX4" fmla="*/ 148114 w 480599"/>
                <a:gd name="connsiteY4" fmla="*/ 2877 h 2639748"/>
                <a:gd name="connsiteX5" fmla="*/ 148154 w 480599"/>
                <a:gd name="connsiteY5" fmla="*/ 2334 h 2639748"/>
                <a:gd name="connsiteX6" fmla="*/ 155981 w 480599"/>
                <a:gd name="connsiteY6" fmla="*/ 2334 h 2639748"/>
                <a:gd name="connsiteX7" fmla="*/ 156484 w 480599"/>
                <a:gd name="connsiteY7" fmla="*/ 0 h 2639748"/>
                <a:gd name="connsiteX8" fmla="*/ 471908 w 480599"/>
                <a:gd name="connsiteY8" fmla="*/ 0 h 2639748"/>
                <a:gd name="connsiteX9" fmla="*/ 472189 w 480599"/>
                <a:gd name="connsiteY9" fmla="*/ 1107 h 2639748"/>
                <a:gd name="connsiteX10" fmla="*/ 472209 w 480599"/>
                <a:gd name="connsiteY10" fmla="*/ 1127 h 2639748"/>
                <a:gd name="connsiteX11" fmla="*/ 472632 w 480599"/>
                <a:gd name="connsiteY11" fmla="*/ 2877 h 2639748"/>
                <a:gd name="connsiteX12" fmla="*/ 469392 w 480599"/>
                <a:gd name="connsiteY12" fmla="*/ 2877 h 2639748"/>
                <a:gd name="connsiteX13" fmla="*/ 472511 w 480599"/>
                <a:gd name="connsiteY13" fmla="*/ 433214 h 2639748"/>
                <a:gd name="connsiteX14" fmla="*/ 480600 w 480599"/>
                <a:gd name="connsiteY14" fmla="*/ 1554359 h 2639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0599" h="2639748">
                  <a:moveTo>
                    <a:pt x="480600" y="1554359"/>
                  </a:moveTo>
                  <a:lnTo>
                    <a:pt x="397740" y="2639748"/>
                  </a:lnTo>
                  <a:lnTo>
                    <a:pt x="397619" y="2639306"/>
                  </a:lnTo>
                  <a:lnTo>
                    <a:pt x="0" y="1581664"/>
                  </a:lnTo>
                  <a:lnTo>
                    <a:pt x="148114" y="2877"/>
                  </a:lnTo>
                  <a:lnTo>
                    <a:pt x="148154" y="2334"/>
                  </a:lnTo>
                  <a:lnTo>
                    <a:pt x="155981" y="2334"/>
                  </a:lnTo>
                  <a:lnTo>
                    <a:pt x="156484" y="0"/>
                  </a:lnTo>
                  <a:lnTo>
                    <a:pt x="471908" y="0"/>
                  </a:lnTo>
                  <a:lnTo>
                    <a:pt x="472189" y="1107"/>
                  </a:lnTo>
                  <a:lnTo>
                    <a:pt x="472209" y="1127"/>
                  </a:lnTo>
                  <a:lnTo>
                    <a:pt x="472632" y="2877"/>
                  </a:lnTo>
                  <a:lnTo>
                    <a:pt x="469392" y="2877"/>
                  </a:lnTo>
                  <a:lnTo>
                    <a:pt x="472511" y="433214"/>
                  </a:lnTo>
                  <a:lnTo>
                    <a:pt x="480600" y="1554359"/>
                  </a:lnTo>
                  <a:close/>
                </a:path>
              </a:pathLst>
            </a:custGeom>
            <a:solidFill>
              <a:srgbClr val="00338D">
                <a:lumMod val="75000"/>
              </a:srgbClr>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15" name="Freeform: Shape 14">
              <a:extLst>
                <a:ext uri="{FF2B5EF4-FFF2-40B4-BE49-F238E27FC236}">
                  <a16:creationId xmlns:a16="http://schemas.microsoft.com/office/drawing/2014/main" id="{976DFE26-6E0C-ED1D-96C0-E09268AB0081}"/>
                </a:ext>
              </a:extLst>
            </p:cNvPr>
            <p:cNvSpPr/>
            <p:nvPr/>
          </p:nvSpPr>
          <p:spPr>
            <a:xfrm>
              <a:off x="15574729" y="3059756"/>
              <a:ext cx="522438" cy="2582153"/>
            </a:xfrm>
            <a:custGeom>
              <a:avLst/>
              <a:gdLst>
                <a:gd name="connsiteX0" fmla="*/ 461907 w 540621"/>
                <a:gd name="connsiteY0" fmla="*/ 35132 h 2672023"/>
                <a:gd name="connsiteX1" fmla="*/ 461766 w 540621"/>
                <a:gd name="connsiteY1" fmla="*/ 34589 h 2672023"/>
                <a:gd name="connsiteX2" fmla="*/ 461605 w 540621"/>
                <a:gd name="connsiteY2" fmla="*/ 34589 h 2672023"/>
                <a:gd name="connsiteX3" fmla="*/ 460841 w 540621"/>
                <a:gd name="connsiteY3" fmla="*/ 32255 h 2672023"/>
                <a:gd name="connsiteX4" fmla="*/ 330977 w 540621"/>
                <a:gd name="connsiteY4" fmla="*/ 32255 h 2672023"/>
                <a:gd name="connsiteX5" fmla="*/ 112237 w 540621"/>
                <a:gd name="connsiteY5" fmla="*/ 0 h 2672023"/>
                <a:gd name="connsiteX6" fmla="*/ 112579 w 540621"/>
                <a:gd name="connsiteY6" fmla="*/ 2334 h 2672023"/>
                <a:gd name="connsiteX7" fmla="*/ 112660 w 540621"/>
                <a:gd name="connsiteY7" fmla="*/ 2898 h 2672023"/>
                <a:gd name="connsiteX8" fmla="*/ 112781 w 540621"/>
                <a:gd name="connsiteY8" fmla="*/ 2898 h 2672023"/>
                <a:gd name="connsiteX9" fmla="*/ 162662 w 540621"/>
                <a:gd name="connsiteY9" fmla="*/ 547544 h 2672023"/>
                <a:gd name="connsiteX10" fmla="*/ 0 w 540621"/>
                <a:gd name="connsiteY10" fmla="*/ 1994636 h 2672023"/>
                <a:gd name="connsiteX11" fmla="*/ 0 w 540621"/>
                <a:gd name="connsiteY11" fmla="*/ 1994656 h 2672023"/>
                <a:gd name="connsiteX12" fmla="*/ 17043 w 540621"/>
                <a:gd name="connsiteY12" fmla="*/ 2327001 h 2672023"/>
                <a:gd name="connsiteX13" fmla="*/ 34709 w 540621"/>
                <a:gd name="connsiteY13" fmla="*/ 2672023 h 2672023"/>
                <a:gd name="connsiteX14" fmla="*/ 34730 w 540621"/>
                <a:gd name="connsiteY14" fmla="*/ 2672003 h 2672023"/>
                <a:gd name="connsiteX15" fmla="*/ 34730 w 540621"/>
                <a:gd name="connsiteY15" fmla="*/ 2671983 h 2672023"/>
                <a:gd name="connsiteX16" fmla="*/ 498427 w 540621"/>
                <a:gd name="connsiteY16" fmla="*/ 1060499 h 2672023"/>
                <a:gd name="connsiteX17" fmla="*/ 540622 w 540621"/>
                <a:gd name="connsiteY17" fmla="*/ 345847 h 2672023"/>
                <a:gd name="connsiteX18" fmla="*/ 461907 w 540621"/>
                <a:gd name="connsiteY18" fmla="*/ 35132 h 2672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0621" h="2672023">
                  <a:moveTo>
                    <a:pt x="461907" y="35132"/>
                  </a:moveTo>
                  <a:lnTo>
                    <a:pt x="461766" y="34589"/>
                  </a:lnTo>
                  <a:lnTo>
                    <a:pt x="461605" y="34589"/>
                  </a:lnTo>
                  <a:lnTo>
                    <a:pt x="460841" y="32255"/>
                  </a:lnTo>
                  <a:lnTo>
                    <a:pt x="330977" y="32255"/>
                  </a:lnTo>
                  <a:lnTo>
                    <a:pt x="112237" y="0"/>
                  </a:lnTo>
                  <a:lnTo>
                    <a:pt x="112579" y="2334"/>
                  </a:lnTo>
                  <a:lnTo>
                    <a:pt x="112660" y="2898"/>
                  </a:lnTo>
                  <a:lnTo>
                    <a:pt x="112781" y="2898"/>
                  </a:lnTo>
                  <a:lnTo>
                    <a:pt x="162662" y="547544"/>
                  </a:lnTo>
                  <a:lnTo>
                    <a:pt x="0" y="1994636"/>
                  </a:lnTo>
                  <a:lnTo>
                    <a:pt x="0" y="1994656"/>
                  </a:lnTo>
                  <a:lnTo>
                    <a:pt x="17043" y="2327001"/>
                  </a:lnTo>
                  <a:lnTo>
                    <a:pt x="34709" y="2672023"/>
                  </a:lnTo>
                  <a:lnTo>
                    <a:pt x="34730" y="2672003"/>
                  </a:lnTo>
                  <a:lnTo>
                    <a:pt x="34730" y="2671983"/>
                  </a:lnTo>
                  <a:lnTo>
                    <a:pt x="498427" y="1060499"/>
                  </a:lnTo>
                  <a:lnTo>
                    <a:pt x="540622" y="345847"/>
                  </a:lnTo>
                  <a:lnTo>
                    <a:pt x="461907" y="35132"/>
                  </a:lnTo>
                  <a:close/>
                </a:path>
              </a:pathLst>
            </a:custGeom>
            <a:solidFill>
              <a:srgbClr val="00338D">
                <a:lumMod val="75000"/>
              </a:srgbClr>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16" name="Freeform: Shape 15">
              <a:extLst>
                <a:ext uri="{FF2B5EF4-FFF2-40B4-BE49-F238E27FC236}">
                  <a16:creationId xmlns:a16="http://schemas.microsoft.com/office/drawing/2014/main" id="{750F1D5D-CC1F-55D8-C34A-FF6F27ED3598}"/>
                </a:ext>
              </a:extLst>
            </p:cNvPr>
            <p:cNvSpPr/>
            <p:nvPr/>
          </p:nvSpPr>
          <p:spPr>
            <a:xfrm>
              <a:off x="13292646" y="3081572"/>
              <a:ext cx="728435" cy="1289278"/>
            </a:xfrm>
            <a:custGeom>
              <a:avLst/>
              <a:gdLst>
                <a:gd name="connsiteX0" fmla="*/ 621631 w 753788"/>
                <a:gd name="connsiteY0" fmla="*/ 1334130 h 1334150"/>
                <a:gd name="connsiteX1" fmla="*/ 621631 w 753788"/>
                <a:gd name="connsiteY1" fmla="*/ 1334150 h 1334150"/>
                <a:gd name="connsiteX2" fmla="*/ 621611 w 753788"/>
                <a:gd name="connsiteY2" fmla="*/ 1334130 h 1334150"/>
                <a:gd name="connsiteX3" fmla="*/ 51350 w 753788"/>
                <a:gd name="connsiteY3" fmla="*/ 539777 h 1334150"/>
                <a:gd name="connsiteX4" fmla="*/ 0 w 753788"/>
                <a:gd name="connsiteY4" fmla="*/ 240189 h 1334150"/>
                <a:gd name="connsiteX5" fmla="*/ 291539 w 753788"/>
                <a:gd name="connsiteY5" fmla="*/ 2877 h 1334150"/>
                <a:gd name="connsiteX6" fmla="*/ 290010 w 753788"/>
                <a:gd name="connsiteY6" fmla="*/ 2877 h 1334150"/>
                <a:gd name="connsiteX7" fmla="*/ 291539 w 753788"/>
                <a:gd name="connsiteY7" fmla="*/ 0 h 1334150"/>
                <a:gd name="connsiteX8" fmla="*/ 753788 w 753788"/>
                <a:gd name="connsiteY8" fmla="*/ 9678 h 1334150"/>
                <a:gd name="connsiteX9" fmla="*/ 753426 w 753788"/>
                <a:gd name="connsiteY9" fmla="*/ 12012 h 1334150"/>
                <a:gd name="connsiteX10" fmla="*/ 753386 w 753788"/>
                <a:gd name="connsiteY10" fmla="*/ 12314 h 1334150"/>
                <a:gd name="connsiteX11" fmla="*/ 621631 w 753788"/>
                <a:gd name="connsiteY11" fmla="*/ 1334130 h 1334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3788" h="1334150">
                  <a:moveTo>
                    <a:pt x="621631" y="1334130"/>
                  </a:moveTo>
                  <a:lnTo>
                    <a:pt x="621631" y="1334150"/>
                  </a:lnTo>
                  <a:lnTo>
                    <a:pt x="621611" y="1334130"/>
                  </a:lnTo>
                  <a:lnTo>
                    <a:pt x="51350" y="539777"/>
                  </a:lnTo>
                  <a:lnTo>
                    <a:pt x="0" y="240189"/>
                  </a:lnTo>
                  <a:lnTo>
                    <a:pt x="291539" y="2877"/>
                  </a:lnTo>
                  <a:lnTo>
                    <a:pt x="290010" y="2877"/>
                  </a:lnTo>
                  <a:lnTo>
                    <a:pt x="291539" y="0"/>
                  </a:lnTo>
                  <a:lnTo>
                    <a:pt x="753788" y="9678"/>
                  </a:lnTo>
                  <a:lnTo>
                    <a:pt x="753426" y="12012"/>
                  </a:lnTo>
                  <a:lnTo>
                    <a:pt x="753386" y="12314"/>
                  </a:lnTo>
                  <a:lnTo>
                    <a:pt x="621631" y="1334130"/>
                  </a:lnTo>
                  <a:close/>
                </a:path>
              </a:pathLst>
            </a:custGeom>
            <a:solidFill>
              <a:srgbClr val="00338D"/>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17" name="Freeform: Shape 16">
              <a:extLst>
                <a:ext uri="{FF2B5EF4-FFF2-40B4-BE49-F238E27FC236}">
                  <a16:creationId xmlns:a16="http://schemas.microsoft.com/office/drawing/2014/main" id="{0894D9E9-78FF-484C-61DF-9784D6223E05}"/>
                </a:ext>
              </a:extLst>
            </p:cNvPr>
            <p:cNvSpPr/>
            <p:nvPr/>
          </p:nvSpPr>
          <p:spPr>
            <a:xfrm>
              <a:off x="13292628" y="3081572"/>
              <a:ext cx="558242" cy="232111"/>
            </a:xfrm>
            <a:custGeom>
              <a:avLst/>
              <a:gdLst>
                <a:gd name="connsiteX0" fmla="*/ 405 w 577671"/>
                <a:gd name="connsiteY0" fmla="*/ 240191 h 240189"/>
                <a:gd name="connsiteX1" fmla="*/ 291965 w 577671"/>
                <a:gd name="connsiteY1" fmla="*/ 2899 h 240189"/>
                <a:gd name="connsiteX2" fmla="*/ 290415 w 577671"/>
                <a:gd name="connsiteY2" fmla="*/ 2899 h 240189"/>
                <a:gd name="connsiteX3" fmla="*/ 291944 w 577671"/>
                <a:gd name="connsiteY3" fmla="*/ 1 h 240189"/>
                <a:gd name="connsiteX4" fmla="*/ 576039 w 577671"/>
                <a:gd name="connsiteY4" fmla="*/ 9680 h 240189"/>
                <a:gd name="connsiteX5" fmla="*/ 578077 w 577671"/>
                <a:gd name="connsiteY5" fmla="*/ 11672 h 240189"/>
                <a:gd name="connsiteX6" fmla="*/ 578051 w 577671"/>
                <a:gd name="connsiteY6" fmla="*/ 12014 h 240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7671" h="240189">
                  <a:moveTo>
                    <a:pt x="405" y="240191"/>
                  </a:moveTo>
                  <a:lnTo>
                    <a:pt x="291965" y="2899"/>
                  </a:lnTo>
                  <a:lnTo>
                    <a:pt x="290415" y="2899"/>
                  </a:lnTo>
                  <a:lnTo>
                    <a:pt x="291944" y="1"/>
                  </a:lnTo>
                  <a:lnTo>
                    <a:pt x="576039" y="9680"/>
                  </a:lnTo>
                  <a:cubicBezTo>
                    <a:pt x="577149" y="9660"/>
                    <a:pt x="578063" y="10545"/>
                    <a:pt x="578077" y="11672"/>
                  </a:cubicBezTo>
                  <a:cubicBezTo>
                    <a:pt x="578079" y="11772"/>
                    <a:pt x="578069" y="11893"/>
                    <a:pt x="578051" y="12014"/>
                  </a:cubicBezTo>
                  <a:close/>
                </a:path>
              </a:pathLst>
            </a:custGeom>
            <a:solidFill>
              <a:srgbClr val="00338D">
                <a:lumMod val="60000"/>
                <a:lumOff val="40000"/>
              </a:srgbClr>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18" name="Freeform: Shape 17">
              <a:extLst>
                <a:ext uri="{FF2B5EF4-FFF2-40B4-BE49-F238E27FC236}">
                  <a16:creationId xmlns:a16="http://schemas.microsoft.com/office/drawing/2014/main" id="{C578F859-C9FD-9806-DA18-D7923C1B89C4}"/>
                </a:ext>
              </a:extLst>
            </p:cNvPr>
            <p:cNvSpPr/>
            <p:nvPr/>
          </p:nvSpPr>
          <p:spPr>
            <a:xfrm>
              <a:off x="13893351" y="4370831"/>
              <a:ext cx="733044" cy="1840281"/>
            </a:xfrm>
            <a:custGeom>
              <a:avLst/>
              <a:gdLst>
                <a:gd name="connsiteX0" fmla="*/ 758557 w 758557"/>
                <a:gd name="connsiteY0" fmla="*/ 1315317 h 1904331"/>
                <a:gd name="connsiteX1" fmla="*/ 360797 w 758557"/>
                <a:gd name="connsiteY1" fmla="*/ 257192 h 1904331"/>
                <a:gd name="connsiteX2" fmla="*/ 0 w 758557"/>
                <a:gd name="connsiteY2" fmla="*/ 0 h 1904331"/>
                <a:gd name="connsiteX3" fmla="*/ 358362 w 758557"/>
                <a:gd name="connsiteY3" fmla="*/ 755559 h 1904331"/>
                <a:gd name="connsiteX4" fmla="*/ 757289 w 758557"/>
                <a:gd name="connsiteY4" fmla="*/ 1904331 h 1904331"/>
                <a:gd name="connsiteX5" fmla="*/ 758557 w 758557"/>
                <a:gd name="connsiteY5" fmla="*/ 1315317 h 1904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8557" h="1904331">
                  <a:moveTo>
                    <a:pt x="758557" y="1315317"/>
                  </a:moveTo>
                  <a:lnTo>
                    <a:pt x="360797" y="257192"/>
                  </a:lnTo>
                  <a:lnTo>
                    <a:pt x="0" y="0"/>
                  </a:lnTo>
                  <a:lnTo>
                    <a:pt x="358362" y="755559"/>
                  </a:lnTo>
                  <a:lnTo>
                    <a:pt x="757289" y="1904331"/>
                  </a:lnTo>
                  <a:lnTo>
                    <a:pt x="758557" y="1315317"/>
                  </a:lnTo>
                  <a:close/>
                </a:path>
              </a:pathLst>
            </a:custGeom>
            <a:solidFill>
              <a:srgbClr val="1E49E2">
                <a:lumMod val="75000"/>
              </a:srgbClr>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19" name="Freeform: Shape 18">
              <a:extLst>
                <a:ext uri="{FF2B5EF4-FFF2-40B4-BE49-F238E27FC236}">
                  <a16:creationId xmlns:a16="http://schemas.microsoft.com/office/drawing/2014/main" id="{3697556C-29EF-D235-7FBF-A500AA20D018}"/>
                </a:ext>
              </a:extLst>
            </p:cNvPr>
            <p:cNvSpPr/>
            <p:nvPr/>
          </p:nvSpPr>
          <p:spPr>
            <a:xfrm>
              <a:off x="14625170" y="3059756"/>
              <a:ext cx="726588" cy="3151357"/>
            </a:xfrm>
            <a:custGeom>
              <a:avLst/>
              <a:gdLst>
                <a:gd name="connsiteX0" fmla="*/ 724129 w 751876"/>
                <a:gd name="connsiteY0" fmla="*/ 1402282 h 3261037"/>
                <a:gd name="connsiteX1" fmla="*/ 749060 w 751876"/>
                <a:gd name="connsiteY1" fmla="*/ 2898 h 3261037"/>
                <a:gd name="connsiteX2" fmla="*/ 751877 w 751876"/>
                <a:gd name="connsiteY2" fmla="*/ 2898 h 3261037"/>
                <a:gd name="connsiteX3" fmla="*/ 751776 w 751876"/>
                <a:gd name="connsiteY3" fmla="*/ 2334 h 3261037"/>
                <a:gd name="connsiteX4" fmla="*/ 751374 w 751876"/>
                <a:gd name="connsiteY4" fmla="*/ 0 h 3261037"/>
                <a:gd name="connsiteX5" fmla="*/ 298179 w 751876"/>
                <a:gd name="connsiteY5" fmla="*/ 32255 h 3261037"/>
                <a:gd name="connsiteX6" fmla="*/ 297032 w 751876"/>
                <a:gd name="connsiteY6" fmla="*/ 34589 h 3261037"/>
                <a:gd name="connsiteX7" fmla="*/ 297032 w 751876"/>
                <a:gd name="connsiteY7" fmla="*/ 34589 h 3261037"/>
                <a:gd name="connsiteX8" fmla="*/ 296771 w 751876"/>
                <a:gd name="connsiteY8" fmla="*/ 35132 h 3261037"/>
                <a:gd name="connsiteX9" fmla="*/ 297455 w 751876"/>
                <a:gd name="connsiteY9" fmla="*/ 35132 h 3261037"/>
                <a:gd name="connsiteX10" fmla="*/ 76039 w 751876"/>
                <a:gd name="connsiteY10" fmla="*/ 465469 h 3261037"/>
                <a:gd name="connsiteX11" fmla="*/ 72920 w 751876"/>
                <a:gd name="connsiteY11" fmla="*/ 471505 h 3261037"/>
                <a:gd name="connsiteX12" fmla="*/ 84127 w 751876"/>
                <a:gd name="connsiteY12" fmla="*/ 1586614 h 3261037"/>
                <a:gd name="connsiteX13" fmla="*/ 84127 w 751876"/>
                <a:gd name="connsiteY13" fmla="*/ 1586614 h 3261037"/>
                <a:gd name="connsiteX14" fmla="*/ 1268 w 751876"/>
                <a:gd name="connsiteY14" fmla="*/ 2672023 h 3261037"/>
                <a:gd name="connsiteX15" fmla="*/ 0 w 751876"/>
                <a:gd name="connsiteY15" fmla="*/ 3261038 h 3261037"/>
                <a:gd name="connsiteX16" fmla="*/ 222583 w 751876"/>
                <a:gd name="connsiteY16" fmla="*/ 2811807 h 3261037"/>
                <a:gd name="connsiteX17" fmla="*/ 719863 w 751876"/>
                <a:gd name="connsiteY17" fmla="*/ 1880749 h 3261037"/>
                <a:gd name="connsiteX18" fmla="*/ 724129 w 751876"/>
                <a:gd name="connsiteY18" fmla="*/ 1402282 h 3261037"/>
                <a:gd name="connsiteX19" fmla="*/ 724129 w 751876"/>
                <a:gd name="connsiteY19" fmla="*/ 1402282 h 3261037"/>
                <a:gd name="connsiteX0" fmla="*/ 724129 w 751877"/>
                <a:gd name="connsiteY0" fmla="*/ 1402282 h 3261038"/>
                <a:gd name="connsiteX1" fmla="*/ 749060 w 751877"/>
                <a:gd name="connsiteY1" fmla="*/ 2898 h 3261038"/>
                <a:gd name="connsiteX2" fmla="*/ 751877 w 751877"/>
                <a:gd name="connsiteY2" fmla="*/ 2898 h 3261038"/>
                <a:gd name="connsiteX3" fmla="*/ 751776 w 751877"/>
                <a:gd name="connsiteY3" fmla="*/ 2334 h 3261038"/>
                <a:gd name="connsiteX4" fmla="*/ 751374 w 751877"/>
                <a:gd name="connsiteY4" fmla="*/ 0 h 3261038"/>
                <a:gd name="connsiteX5" fmla="*/ 298179 w 751877"/>
                <a:gd name="connsiteY5" fmla="*/ 32255 h 3261038"/>
                <a:gd name="connsiteX6" fmla="*/ 297032 w 751877"/>
                <a:gd name="connsiteY6" fmla="*/ 34589 h 3261038"/>
                <a:gd name="connsiteX7" fmla="*/ 297032 w 751877"/>
                <a:gd name="connsiteY7" fmla="*/ 34589 h 3261038"/>
                <a:gd name="connsiteX8" fmla="*/ 296771 w 751877"/>
                <a:gd name="connsiteY8" fmla="*/ 35132 h 3261038"/>
                <a:gd name="connsiteX9" fmla="*/ 297455 w 751877"/>
                <a:gd name="connsiteY9" fmla="*/ 35132 h 3261038"/>
                <a:gd name="connsiteX10" fmla="*/ 76039 w 751877"/>
                <a:gd name="connsiteY10" fmla="*/ 465469 h 3261038"/>
                <a:gd name="connsiteX11" fmla="*/ 72920 w 751877"/>
                <a:gd name="connsiteY11" fmla="*/ 471505 h 3261038"/>
                <a:gd name="connsiteX12" fmla="*/ 84127 w 751877"/>
                <a:gd name="connsiteY12" fmla="*/ 1586614 h 3261038"/>
                <a:gd name="connsiteX13" fmla="*/ 84127 w 751877"/>
                <a:gd name="connsiteY13" fmla="*/ 1586614 h 3261038"/>
                <a:gd name="connsiteX14" fmla="*/ 1268 w 751877"/>
                <a:gd name="connsiteY14" fmla="*/ 2672023 h 3261038"/>
                <a:gd name="connsiteX15" fmla="*/ 0 w 751877"/>
                <a:gd name="connsiteY15" fmla="*/ 3261038 h 3261038"/>
                <a:gd name="connsiteX16" fmla="*/ 222583 w 751877"/>
                <a:gd name="connsiteY16" fmla="*/ 2811807 h 3261038"/>
                <a:gd name="connsiteX17" fmla="*/ 588159 w 751877"/>
                <a:gd name="connsiteY17" fmla="*/ 2631460 h 3261038"/>
                <a:gd name="connsiteX18" fmla="*/ 724129 w 751877"/>
                <a:gd name="connsiteY18" fmla="*/ 1402282 h 3261038"/>
                <a:gd name="connsiteX19" fmla="*/ 724129 w 751877"/>
                <a:gd name="connsiteY19" fmla="*/ 1402282 h 3261038"/>
                <a:gd name="connsiteX0" fmla="*/ 724129 w 751877"/>
                <a:gd name="connsiteY0" fmla="*/ 1402282 h 3261038"/>
                <a:gd name="connsiteX1" fmla="*/ 749060 w 751877"/>
                <a:gd name="connsiteY1" fmla="*/ 2898 h 3261038"/>
                <a:gd name="connsiteX2" fmla="*/ 751877 w 751877"/>
                <a:gd name="connsiteY2" fmla="*/ 2898 h 3261038"/>
                <a:gd name="connsiteX3" fmla="*/ 751776 w 751877"/>
                <a:gd name="connsiteY3" fmla="*/ 2334 h 3261038"/>
                <a:gd name="connsiteX4" fmla="*/ 751374 w 751877"/>
                <a:gd name="connsiteY4" fmla="*/ 0 h 3261038"/>
                <a:gd name="connsiteX5" fmla="*/ 298179 w 751877"/>
                <a:gd name="connsiteY5" fmla="*/ 32255 h 3261038"/>
                <a:gd name="connsiteX6" fmla="*/ 297032 w 751877"/>
                <a:gd name="connsiteY6" fmla="*/ 34589 h 3261038"/>
                <a:gd name="connsiteX7" fmla="*/ 297032 w 751877"/>
                <a:gd name="connsiteY7" fmla="*/ 34589 h 3261038"/>
                <a:gd name="connsiteX8" fmla="*/ 296771 w 751877"/>
                <a:gd name="connsiteY8" fmla="*/ 35132 h 3261038"/>
                <a:gd name="connsiteX9" fmla="*/ 297455 w 751877"/>
                <a:gd name="connsiteY9" fmla="*/ 35132 h 3261038"/>
                <a:gd name="connsiteX10" fmla="*/ 76039 w 751877"/>
                <a:gd name="connsiteY10" fmla="*/ 465469 h 3261038"/>
                <a:gd name="connsiteX11" fmla="*/ 72920 w 751877"/>
                <a:gd name="connsiteY11" fmla="*/ 471505 h 3261038"/>
                <a:gd name="connsiteX12" fmla="*/ 84127 w 751877"/>
                <a:gd name="connsiteY12" fmla="*/ 1586614 h 3261038"/>
                <a:gd name="connsiteX13" fmla="*/ 84127 w 751877"/>
                <a:gd name="connsiteY13" fmla="*/ 1586614 h 3261038"/>
                <a:gd name="connsiteX14" fmla="*/ 1268 w 751877"/>
                <a:gd name="connsiteY14" fmla="*/ 2672023 h 3261038"/>
                <a:gd name="connsiteX15" fmla="*/ 0 w 751877"/>
                <a:gd name="connsiteY15" fmla="*/ 3261038 h 3261038"/>
                <a:gd name="connsiteX16" fmla="*/ 222583 w 751877"/>
                <a:gd name="connsiteY16" fmla="*/ 2811807 h 3261038"/>
                <a:gd name="connsiteX17" fmla="*/ 627670 w 751877"/>
                <a:gd name="connsiteY17" fmla="*/ 2726946 h 3261038"/>
                <a:gd name="connsiteX18" fmla="*/ 724129 w 751877"/>
                <a:gd name="connsiteY18" fmla="*/ 1402282 h 3261038"/>
                <a:gd name="connsiteX19" fmla="*/ 724129 w 751877"/>
                <a:gd name="connsiteY19" fmla="*/ 1402282 h 3261038"/>
                <a:gd name="connsiteX0" fmla="*/ 321116 w 751877"/>
                <a:gd name="connsiteY0" fmla="*/ 1757882 h 3261038"/>
                <a:gd name="connsiteX1" fmla="*/ 749060 w 751877"/>
                <a:gd name="connsiteY1" fmla="*/ 2898 h 3261038"/>
                <a:gd name="connsiteX2" fmla="*/ 751877 w 751877"/>
                <a:gd name="connsiteY2" fmla="*/ 2898 h 3261038"/>
                <a:gd name="connsiteX3" fmla="*/ 751776 w 751877"/>
                <a:gd name="connsiteY3" fmla="*/ 2334 h 3261038"/>
                <a:gd name="connsiteX4" fmla="*/ 751374 w 751877"/>
                <a:gd name="connsiteY4" fmla="*/ 0 h 3261038"/>
                <a:gd name="connsiteX5" fmla="*/ 298179 w 751877"/>
                <a:gd name="connsiteY5" fmla="*/ 32255 h 3261038"/>
                <a:gd name="connsiteX6" fmla="*/ 297032 w 751877"/>
                <a:gd name="connsiteY6" fmla="*/ 34589 h 3261038"/>
                <a:gd name="connsiteX7" fmla="*/ 297032 w 751877"/>
                <a:gd name="connsiteY7" fmla="*/ 34589 h 3261038"/>
                <a:gd name="connsiteX8" fmla="*/ 296771 w 751877"/>
                <a:gd name="connsiteY8" fmla="*/ 35132 h 3261038"/>
                <a:gd name="connsiteX9" fmla="*/ 297455 w 751877"/>
                <a:gd name="connsiteY9" fmla="*/ 35132 h 3261038"/>
                <a:gd name="connsiteX10" fmla="*/ 76039 w 751877"/>
                <a:gd name="connsiteY10" fmla="*/ 465469 h 3261038"/>
                <a:gd name="connsiteX11" fmla="*/ 72920 w 751877"/>
                <a:gd name="connsiteY11" fmla="*/ 471505 h 3261038"/>
                <a:gd name="connsiteX12" fmla="*/ 84127 w 751877"/>
                <a:gd name="connsiteY12" fmla="*/ 1586614 h 3261038"/>
                <a:gd name="connsiteX13" fmla="*/ 84127 w 751877"/>
                <a:gd name="connsiteY13" fmla="*/ 1586614 h 3261038"/>
                <a:gd name="connsiteX14" fmla="*/ 1268 w 751877"/>
                <a:gd name="connsiteY14" fmla="*/ 2672023 h 3261038"/>
                <a:gd name="connsiteX15" fmla="*/ 0 w 751877"/>
                <a:gd name="connsiteY15" fmla="*/ 3261038 h 3261038"/>
                <a:gd name="connsiteX16" fmla="*/ 222583 w 751877"/>
                <a:gd name="connsiteY16" fmla="*/ 2811807 h 3261038"/>
                <a:gd name="connsiteX17" fmla="*/ 627670 w 751877"/>
                <a:gd name="connsiteY17" fmla="*/ 2726946 h 3261038"/>
                <a:gd name="connsiteX18" fmla="*/ 724129 w 751877"/>
                <a:gd name="connsiteY18" fmla="*/ 1402282 h 3261038"/>
                <a:gd name="connsiteX19" fmla="*/ 321116 w 751877"/>
                <a:gd name="connsiteY19" fmla="*/ 1757882 h 3261038"/>
                <a:gd name="connsiteX0" fmla="*/ 321116 w 751877"/>
                <a:gd name="connsiteY0" fmla="*/ 1757882 h 3261038"/>
                <a:gd name="connsiteX1" fmla="*/ 749060 w 751877"/>
                <a:gd name="connsiteY1" fmla="*/ 2898 h 3261038"/>
                <a:gd name="connsiteX2" fmla="*/ 751877 w 751877"/>
                <a:gd name="connsiteY2" fmla="*/ 2898 h 3261038"/>
                <a:gd name="connsiteX3" fmla="*/ 751776 w 751877"/>
                <a:gd name="connsiteY3" fmla="*/ 2334 h 3261038"/>
                <a:gd name="connsiteX4" fmla="*/ 751374 w 751877"/>
                <a:gd name="connsiteY4" fmla="*/ 0 h 3261038"/>
                <a:gd name="connsiteX5" fmla="*/ 298179 w 751877"/>
                <a:gd name="connsiteY5" fmla="*/ 32255 h 3261038"/>
                <a:gd name="connsiteX6" fmla="*/ 297032 w 751877"/>
                <a:gd name="connsiteY6" fmla="*/ 34589 h 3261038"/>
                <a:gd name="connsiteX7" fmla="*/ 297032 w 751877"/>
                <a:gd name="connsiteY7" fmla="*/ 34589 h 3261038"/>
                <a:gd name="connsiteX8" fmla="*/ 296771 w 751877"/>
                <a:gd name="connsiteY8" fmla="*/ 35132 h 3261038"/>
                <a:gd name="connsiteX9" fmla="*/ 297455 w 751877"/>
                <a:gd name="connsiteY9" fmla="*/ 35132 h 3261038"/>
                <a:gd name="connsiteX10" fmla="*/ 76039 w 751877"/>
                <a:gd name="connsiteY10" fmla="*/ 465469 h 3261038"/>
                <a:gd name="connsiteX11" fmla="*/ 72920 w 751877"/>
                <a:gd name="connsiteY11" fmla="*/ 471505 h 3261038"/>
                <a:gd name="connsiteX12" fmla="*/ 84127 w 751877"/>
                <a:gd name="connsiteY12" fmla="*/ 1586614 h 3261038"/>
                <a:gd name="connsiteX13" fmla="*/ 84127 w 751877"/>
                <a:gd name="connsiteY13" fmla="*/ 1586614 h 3261038"/>
                <a:gd name="connsiteX14" fmla="*/ 1268 w 751877"/>
                <a:gd name="connsiteY14" fmla="*/ 2672023 h 3261038"/>
                <a:gd name="connsiteX15" fmla="*/ 0 w 751877"/>
                <a:gd name="connsiteY15" fmla="*/ 3261038 h 3261038"/>
                <a:gd name="connsiteX16" fmla="*/ 222583 w 751877"/>
                <a:gd name="connsiteY16" fmla="*/ 2811807 h 3261038"/>
                <a:gd name="connsiteX17" fmla="*/ 627670 w 751877"/>
                <a:gd name="connsiteY17" fmla="*/ 2726946 h 3261038"/>
                <a:gd name="connsiteX18" fmla="*/ 202583 w 751877"/>
                <a:gd name="connsiteY18" fmla="*/ 2500690 h 3261038"/>
                <a:gd name="connsiteX19" fmla="*/ 321116 w 751877"/>
                <a:gd name="connsiteY19" fmla="*/ 1757882 h 3261038"/>
                <a:gd name="connsiteX0" fmla="*/ 321116 w 751877"/>
                <a:gd name="connsiteY0" fmla="*/ 1757882 h 3261038"/>
                <a:gd name="connsiteX1" fmla="*/ 749060 w 751877"/>
                <a:gd name="connsiteY1" fmla="*/ 2898 h 3261038"/>
                <a:gd name="connsiteX2" fmla="*/ 751877 w 751877"/>
                <a:gd name="connsiteY2" fmla="*/ 2898 h 3261038"/>
                <a:gd name="connsiteX3" fmla="*/ 751776 w 751877"/>
                <a:gd name="connsiteY3" fmla="*/ 2334 h 3261038"/>
                <a:gd name="connsiteX4" fmla="*/ 751374 w 751877"/>
                <a:gd name="connsiteY4" fmla="*/ 0 h 3261038"/>
                <a:gd name="connsiteX5" fmla="*/ 298179 w 751877"/>
                <a:gd name="connsiteY5" fmla="*/ 32255 h 3261038"/>
                <a:gd name="connsiteX6" fmla="*/ 297032 w 751877"/>
                <a:gd name="connsiteY6" fmla="*/ 34589 h 3261038"/>
                <a:gd name="connsiteX7" fmla="*/ 297032 w 751877"/>
                <a:gd name="connsiteY7" fmla="*/ 34589 h 3261038"/>
                <a:gd name="connsiteX8" fmla="*/ 296771 w 751877"/>
                <a:gd name="connsiteY8" fmla="*/ 35132 h 3261038"/>
                <a:gd name="connsiteX9" fmla="*/ 297455 w 751877"/>
                <a:gd name="connsiteY9" fmla="*/ 35132 h 3261038"/>
                <a:gd name="connsiteX10" fmla="*/ 76039 w 751877"/>
                <a:gd name="connsiteY10" fmla="*/ 465469 h 3261038"/>
                <a:gd name="connsiteX11" fmla="*/ 72920 w 751877"/>
                <a:gd name="connsiteY11" fmla="*/ 471505 h 3261038"/>
                <a:gd name="connsiteX12" fmla="*/ 84127 w 751877"/>
                <a:gd name="connsiteY12" fmla="*/ 1586614 h 3261038"/>
                <a:gd name="connsiteX13" fmla="*/ 84127 w 751877"/>
                <a:gd name="connsiteY13" fmla="*/ 1586614 h 3261038"/>
                <a:gd name="connsiteX14" fmla="*/ 1268 w 751877"/>
                <a:gd name="connsiteY14" fmla="*/ 2672023 h 3261038"/>
                <a:gd name="connsiteX15" fmla="*/ 0 w 751877"/>
                <a:gd name="connsiteY15" fmla="*/ 3261038 h 3261038"/>
                <a:gd name="connsiteX16" fmla="*/ 222583 w 751877"/>
                <a:gd name="connsiteY16" fmla="*/ 2811807 h 3261038"/>
                <a:gd name="connsiteX17" fmla="*/ 208853 w 751877"/>
                <a:gd name="connsiteY17" fmla="*/ 2837577 h 3261038"/>
                <a:gd name="connsiteX18" fmla="*/ 202583 w 751877"/>
                <a:gd name="connsiteY18" fmla="*/ 2500690 h 3261038"/>
                <a:gd name="connsiteX19" fmla="*/ 321116 w 751877"/>
                <a:gd name="connsiteY19" fmla="*/ 1757882 h 3261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1877" h="3261038">
                  <a:moveTo>
                    <a:pt x="321116" y="1757882"/>
                  </a:moveTo>
                  <a:lnTo>
                    <a:pt x="749060" y="2898"/>
                  </a:lnTo>
                  <a:lnTo>
                    <a:pt x="751877" y="2898"/>
                  </a:lnTo>
                  <a:cubicBezTo>
                    <a:pt x="751843" y="2710"/>
                    <a:pt x="751810" y="2522"/>
                    <a:pt x="751776" y="2334"/>
                  </a:cubicBezTo>
                  <a:lnTo>
                    <a:pt x="751374" y="0"/>
                  </a:lnTo>
                  <a:lnTo>
                    <a:pt x="298179" y="32255"/>
                  </a:lnTo>
                  <a:lnTo>
                    <a:pt x="297032" y="34589"/>
                  </a:lnTo>
                  <a:lnTo>
                    <a:pt x="297032" y="34589"/>
                  </a:lnTo>
                  <a:lnTo>
                    <a:pt x="296771" y="35132"/>
                  </a:lnTo>
                  <a:lnTo>
                    <a:pt x="297455" y="35132"/>
                  </a:lnTo>
                  <a:lnTo>
                    <a:pt x="76039" y="465469"/>
                  </a:lnTo>
                  <a:lnTo>
                    <a:pt x="72920" y="471505"/>
                  </a:lnTo>
                  <a:lnTo>
                    <a:pt x="84127" y="1586614"/>
                  </a:lnTo>
                  <a:lnTo>
                    <a:pt x="84127" y="1586614"/>
                  </a:lnTo>
                  <a:lnTo>
                    <a:pt x="1268" y="2672023"/>
                  </a:lnTo>
                  <a:cubicBezTo>
                    <a:pt x="845" y="2868361"/>
                    <a:pt x="423" y="3064700"/>
                    <a:pt x="0" y="3261038"/>
                  </a:cubicBezTo>
                  <a:lnTo>
                    <a:pt x="222583" y="2811807"/>
                  </a:lnTo>
                  <a:lnTo>
                    <a:pt x="208853" y="2837577"/>
                  </a:lnTo>
                  <a:lnTo>
                    <a:pt x="202583" y="2500690"/>
                  </a:lnTo>
                  <a:lnTo>
                    <a:pt x="321116" y="1757882"/>
                  </a:lnTo>
                  <a:close/>
                </a:path>
              </a:pathLst>
            </a:custGeom>
            <a:solidFill>
              <a:srgbClr val="00338D">
                <a:lumMod val="60000"/>
                <a:lumOff val="40000"/>
              </a:srgbClr>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20" name="Freeform: Shape 19">
              <a:extLst>
                <a:ext uri="{FF2B5EF4-FFF2-40B4-BE49-F238E27FC236}">
                  <a16:creationId xmlns:a16="http://schemas.microsoft.com/office/drawing/2014/main" id="{315456C5-2C73-C482-1C7E-68EAD0B9B6A8}"/>
                </a:ext>
              </a:extLst>
            </p:cNvPr>
            <p:cNvSpPr/>
            <p:nvPr/>
          </p:nvSpPr>
          <p:spPr>
            <a:xfrm>
              <a:off x="15064445" y="5427686"/>
              <a:ext cx="308255" cy="1023840"/>
            </a:xfrm>
            <a:custGeom>
              <a:avLst/>
              <a:gdLst>
                <a:gd name="connsiteX0" fmla="*/ 0 w 318984"/>
                <a:gd name="connsiteY0" fmla="*/ 674772 h 1059473"/>
                <a:gd name="connsiteX1" fmla="*/ 305161 w 318984"/>
                <a:gd name="connsiteY1" fmla="*/ 0 h 1059473"/>
                <a:gd name="connsiteX2" fmla="*/ 318985 w 318984"/>
                <a:gd name="connsiteY2" fmla="*/ 1059473 h 1059473"/>
                <a:gd name="connsiteX3" fmla="*/ 0 w 318984"/>
                <a:gd name="connsiteY3" fmla="*/ 674772 h 1059473"/>
              </a:gdLst>
              <a:ahLst/>
              <a:cxnLst>
                <a:cxn ang="0">
                  <a:pos x="connsiteX0" y="connsiteY0"/>
                </a:cxn>
                <a:cxn ang="0">
                  <a:pos x="connsiteX1" y="connsiteY1"/>
                </a:cxn>
                <a:cxn ang="0">
                  <a:pos x="connsiteX2" y="connsiteY2"/>
                </a:cxn>
                <a:cxn ang="0">
                  <a:pos x="connsiteX3" y="connsiteY3"/>
                </a:cxn>
              </a:cxnLst>
              <a:rect l="l" t="t" r="r" b="b"/>
              <a:pathLst>
                <a:path w="318984" h="1059473">
                  <a:moveTo>
                    <a:pt x="0" y="674772"/>
                  </a:moveTo>
                  <a:lnTo>
                    <a:pt x="305161" y="0"/>
                  </a:lnTo>
                  <a:lnTo>
                    <a:pt x="318985" y="1059473"/>
                  </a:lnTo>
                  <a:lnTo>
                    <a:pt x="0" y="674772"/>
                  </a:lnTo>
                  <a:close/>
                </a:path>
              </a:pathLst>
            </a:custGeom>
            <a:solidFill>
              <a:srgbClr val="002440"/>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21" name="Freeform: Shape 20">
              <a:extLst>
                <a:ext uri="{FF2B5EF4-FFF2-40B4-BE49-F238E27FC236}">
                  <a16:creationId xmlns:a16="http://schemas.microsoft.com/office/drawing/2014/main" id="{BA89789E-B737-08D7-DA49-90061D3150A1}"/>
                </a:ext>
              </a:extLst>
            </p:cNvPr>
            <p:cNvSpPr/>
            <p:nvPr/>
          </p:nvSpPr>
          <p:spPr>
            <a:xfrm>
              <a:off x="15359342" y="4987325"/>
              <a:ext cx="248949" cy="1464202"/>
            </a:xfrm>
            <a:custGeom>
              <a:avLst/>
              <a:gdLst>
                <a:gd name="connsiteX0" fmla="*/ 222885 w 257614"/>
                <a:gd name="connsiteY0" fmla="*/ 0 h 1515162"/>
                <a:gd name="connsiteX1" fmla="*/ 0 w 257614"/>
                <a:gd name="connsiteY1" fmla="*/ 455690 h 1515162"/>
                <a:gd name="connsiteX2" fmla="*/ 13824 w 257614"/>
                <a:gd name="connsiteY2" fmla="*/ 1515163 h 1515162"/>
                <a:gd name="connsiteX3" fmla="*/ 257615 w 257614"/>
                <a:gd name="connsiteY3" fmla="*/ 677367 h 1515162"/>
                <a:gd name="connsiteX4" fmla="*/ 222885 w 257614"/>
                <a:gd name="connsiteY4" fmla="*/ 0 h 1515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614" h="1515162">
                  <a:moveTo>
                    <a:pt x="222885" y="0"/>
                  </a:moveTo>
                  <a:lnTo>
                    <a:pt x="0" y="455690"/>
                  </a:lnTo>
                  <a:lnTo>
                    <a:pt x="13824" y="1515163"/>
                  </a:lnTo>
                  <a:lnTo>
                    <a:pt x="257615" y="677367"/>
                  </a:lnTo>
                  <a:lnTo>
                    <a:pt x="222885" y="0"/>
                  </a:lnTo>
                  <a:close/>
                </a:path>
              </a:pathLst>
            </a:custGeom>
            <a:solidFill>
              <a:srgbClr val="001F35"/>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22" name="Freeform: Shape 21">
              <a:extLst>
                <a:ext uri="{FF2B5EF4-FFF2-40B4-BE49-F238E27FC236}">
                  <a16:creationId xmlns:a16="http://schemas.microsoft.com/office/drawing/2014/main" id="{78E39183-D089-5DBA-D70C-7AC29A0302C6}"/>
                </a:ext>
              </a:extLst>
            </p:cNvPr>
            <p:cNvSpPr/>
            <p:nvPr/>
          </p:nvSpPr>
          <p:spPr>
            <a:xfrm>
              <a:off x="13776061" y="3090926"/>
              <a:ext cx="609492" cy="1528466"/>
            </a:xfrm>
            <a:custGeom>
              <a:avLst/>
              <a:gdLst>
                <a:gd name="connsiteX0" fmla="*/ 630706 w 630705"/>
                <a:gd name="connsiteY0" fmla="*/ 0 h 1581663"/>
                <a:gd name="connsiteX1" fmla="*/ 630404 w 630705"/>
                <a:gd name="connsiteY1" fmla="*/ 2334 h 1581663"/>
                <a:gd name="connsiteX2" fmla="*/ 630344 w 630705"/>
                <a:gd name="connsiteY2" fmla="*/ 2877 h 1581663"/>
                <a:gd name="connsiteX3" fmla="*/ 630303 w 630705"/>
                <a:gd name="connsiteY3" fmla="*/ 2877 h 1581663"/>
                <a:gd name="connsiteX4" fmla="*/ 482190 w 630705"/>
                <a:gd name="connsiteY4" fmla="*/ 1581664 h 1581663"/>
                <a:gd name="connsiteX5" fmla="*/ 121393 w 630705"/>
                <a:gd name="connsiteY5" fmla="*/ 1324472 h 1581663"/>
                <a:gd name="connsiteX6" fmla="*/ 121393 w 630705"/>
                <a:gd name="connsiteY6" fmla="*/ 1324452 h 1581663"/>
                <a:gd name="connsiteX7" fmla="*/ 121372 w 630705"/>
                <a:gd name="connsiteY7" fmla="*/ 1324452 h 1581663"/>
                <a:gd name="connsiteX8" fmla="*/ 0 w 630705"/>
                <a:gd name="connsiteY8" fmla="*/ 506557 h 1581663"/>
                <a:gd name="connsiteX9" fmla="*/ 253087 w 630705"/>
                <a:gd name="connsiteY9" fmla="*/ 2334 h 1581663"/>
                <a:gd name="connsiteX10" fmla="*/ 253188 w 630705"/>
                <a:gd name="connsiteY10" fmla="*/ 2334 h 1581663"/>
                <a:gd name="connsiteX11" fmla="*/ 253550 w 630705"/>
                <a:gd name="connsiteY11" fmla="*/ 0 h 1581663"/>
                <a:gd name="connsiteX12" fmla="*/ 630706 w 630705"/>
                <a:gd name="connsiteY12" fmla="*/ 0 h 1581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0705" h="1581663">
                  <a:moveTo>
                    <a:pt x="630706" y="0"/>
                  </a:moveTo>
                  <a:lnTo>
                    <a:pt x="630404" y="2334"/>
                  </a:lnTo>
                  <a:lnTo>
                    <a:pt x="630344" y="2877"/>
                  </a:lnTo>
                  <a:lnTo>
                    <a:pt x="630303" y="2877"/>
                  </a:lnTo>
                  <a:lnTo>
                    <a:pt x="482190" y="1581664"/>
                  </a:lnTo>
                  <a:lnTo>
                    <a:pt x="121393" y="1324472"/>
                  </a:lnTo>
                  <a:lnTo>
                    <a:pt x="121393" y="1324452"/>
                  </a:lnTo>
                  <a:lnTo>
                    <a:pt x="121372" y="1324452"/>
                  </a:lnTo>
                  <a:lnTo>
                    <a:pt x="0" y="506557"/>
                  </a:lnTo>
                  <a:lnTo>
                    <a:pt x="253087" y="2334"/>
                  </a:lnTo>
                  <a:lnTo>
                    <a:pt x="253188" y="2334"/>
                  </a:lnTo>
                  <a:lnTo>
                    <a:pt x="253550" y="0"/>
                  </a:lnTo>
                  <a:lnTo>
                    <a:pt x="630706" y="0"/>
                  </a:lnTo>
                  <a:close/>
                </a:path>
              </a:pathLst>
            </a:custGeom>
            <a:solidFill>
              <a:srgbClr val="1E49E2"/>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23" name="Freeform: Shape 22">
              <a:extLst>
                <a:ext uri="{FF2B5EF4-FFF2-40B4-BE49-F238E27FC236}">
                  <a16:creationId xmlns:a16="http://schemas.microsoft.com/office/drawing/2014/main" id="{83488C4A-A4C4-033F-B800-4A2FDBC9243A}"/>
                </a:ext>
              </a:extLst>
            </p:cNvPr>
            <p:cNvSpPr/>
            <p:nvPr/>
          </p:nvSpPr>
          <p:spPr>
            <a:xfrm>
              <a:off x="14698748" y="3083906"/>
              <a:ext cx="466" cy="1069"/>
            </a:xfrm>
            <a:custGeom>
              <a:avLst/>
              <a:gdLst>
                <a:gd name="connsiteX0" fmla="*/ 483 w 482"/>
                <a:gd name="connsiteY0" fmla="*/ 0 h 1106"/>
                <a:gd name="connsiteX1" fmla="*/ 282 w 482"/>
                <a:gd name="connsiteY1" fmla="*/ 1107 h 1106"/>
                <a:gd name="connsiteX2" fmla="*/ 282 w 482"/>
                <a:gd name="connsiteY2" fmla="*/ 1066 h 1106"/>
                <a:gd name="connsiteX3" fmla="*/ 0 w 482"/>
                <a:gd name="connsiteY3" fmla="*/ 0 h 1106"/>
                <a:gd name="connsiteX4" fmla="*/ 483 w 482"/>
                <a:gd name="connsiteY4" fmla="*/ 0 h 1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 h="1106">
                  <a:moveTo>
                    <a:pt x="483" y="0"/>
                  </a:moveTo>
                  <a:lnTo>
                    <a:pt x="282" y="1107"/>
                  </a:lnTo>
                  <a:lnTo>
                    <a:pt x="282" y="1066"/>
                  </a:lnTo>
                  <a:lnTo>
                    <a:pt x="0" y="0"/>
                  </a:lnTo>
                  <a:lnTo>
                    <a:pt x="483" y="0"/>
                  </a:lnTo>
                  <a:close/>
                </a:path>
              </a:pathLst>
            </a:custGeom>
            <a:solidFill>
              <a:srgbClr val="83E8F5"/>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24" name="Freeform: Shape 23">
              <a:extLst>
                <a:ext uri="{FF2B5EF4-FFF2-40B4-BE49-F238E27FC236}">
                  <a16:creationId xmlns:a16="http://schemas.microsoft.com/office/drawing/2014/main" id="{2868D5D8-7AAD-649F-3131-319893F0E530}"/>
                </a:ext>
              </a:extLst>
            </p:cNvPr>
            <p:cNvSpPr/>
            <p:nvPr/>
          </p:nvSpPr>
          <p:spPr>
            <a:xfrm>
              <a:off x="14698729" y="3084976"/>
              <a:ext cx="700" cy="1633"/>
            </a:xfrm>
            <a:custGeom>
              <a:avLst/>
              <a:gdLst>
                <a:gd name="connsiteX0" fmla="*/ 81 w 724"/>
                <a:gd name="connsiteY0" fmla="*/ 1147 h 1690"/>
                <a:gd name="connsiteX1" fmla="*/ 302 w 724"/>
                <a:gd name="connsiteY1" fmla="*/ 0 h 1690"/>
                <a:gd name="connsiteX2" fmla="*/ 724 w 724"/>
                <a:gd name="connsiteY2" fmla="*/ 1690 h 1690"/>
                <a:gd name="connsiteX3" fmla="*/ 0 w 724"/>
                <a:gd name="connsiteY3" fmla="*/ 1690 h 1690"/>
                <a:gd name="connsiteX4" fmla="*/ 81 w 724"/>
                <a:gd name="connsiteY4" fmla="*/ 1147 h 1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4" h="1690">
                  <a:moveTo>
                    <a:pt x="81" y="1147"/>
                  </a:moveTo>
                  <a:lnTo>
                    <a:pt x="302" y="0"/>
                  </a:lnTo>
                  <a:lnTo>
                    <a:pt x="724" y="1690"/>
                  </a:lnTo>
                  <a:lnTo>
                    <a:pt x="0" y="1690"/>
                  </a:lnTo>
                  <a:lnTo>
                    <a:pt x="81" y="1147"/>
                  </a:lnTo>
                  <a:close/>
                </a:path>
              </a:pathLst>
            </a:custGeom>
            <a:solidFill>
              <a:srgbClr val="83E8F5"/>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25" name="Freeform: Shape 24">
              <a:extLst>
                <a:ext uri="{FF2B5EF4-FFF2-40B4-BE49-F238E27FC236}">
                  <a16:creationId xmlns:a16="http://schemas.microsoft.com/office/drawing/2014/main" id="{345F2E67-107E-3F30-5608-7822B1BA6F92}"/>
                </a:ext>
              </a:extLst>
            </p:cNvPr>
            <p:cNvSpPr/>
            <p:nvPr/>
          </p:nvSpPr>
          <p:spPr>
            <a:xfrm>
              <a:off x="14396132" y="3115056"/>
              <a:ext cx="7797" cy="2722"/>
            </a:xfrm>
            <a:custGeom>
              <a:avLst/>
              <a:gdLst>
                <a:gd name="connsiteX0" fmla="*/ 8069 w 8068"/>
                <a:gd name="connsiteY0" fmla="*/ 0 h 2817"/>
                <a:gd name="connsiteX1" fmla="*/ 7566 w 8068"/>
                <a:gd name="connsiteY1" fmla="*/ 2274 h 2817"/>
                <a:gd name="connsiteX2" fmla="*/ 7445 w 8068"/>
                <a:gd name="connsiteY2" fmla="*/ 2817 h 2817"/>
                <a:gd name="connsiteX3" fmla="*/ 0 w 8068"/>
                <a:gd name="connsiteY3" fmla="*/ 2817 h 2817"/>
                <a:gd name="connsiteX4" fmla="*/ 60 w 8068"/>
                <a:gd name="connsiteY4" fmla="*/ 2274 h 2817"/>
                <a:gd name="connsiteX5" fmla="*/ 342 w 8068"/>
                <a:gd name="connsiteY5" fmla="*/ 0 h 2817"/>
                <a:gd name="connsiteX6" fmla="*/ 8069 w 8068"/>
                <a:gd name="connsiteY6" fmla="*/ 0 h 2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68" h="2817">
                  <a:moveTo>
                    <a:pt x="8069" y="0"/>
                  </a:moveTo>
                  <a:lnTo>
                    <a:pt x="7566" y="2274"/>
                  </a:lnTo>
                  <a:lnTo>
                    <a:pt x="7445" y="2817"/>
                  </a:lnTo>
                  <a:lnTo>
                    <a:pt x="0" y="2817"/>
                  </a:lnTo>
                  <a:lnTo>
                    <a:pt x="60" y="2274"/>
                  </a:lnTo>
                  <a:lnTo>
                    <a:pt x="342" y="0"/>
                  </a:lnTo>
                  <a:lnTo>
                    <a:pt x="8069" y="0"/>
                  </a:lnTo>
                  <a:close/>
                </a:path>
              </a:pathLst>
            </a:custGeom>
            <a:solidFill>
              <a:srgbClr val="007DA5"/>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26" name="Freeform: Shape 25">
              <a:extLst>
                <a:ext uri="{FF2B5EF4-FFF2-40B4-BE49-F238E27FC236}">
                  <a16:creationId xmlns:a16="http://schemas.microsoft.com/office/drawing/2014/main" id="{69FD2393-281A-6CF1-9426-19D49E9D6707}"/>
                </a:ext>
              </a:extLst>
            </p:cNvPr>
            <p:cNvSpPr/>
            <p:nvPr/>
          </p:nvSpPr>
          <p:spPr>
            <a:xfrm>
              <a:off x="14885650" y="2481880"/>
              <a:ext cx="403282" cy="602027"/>
            </a:xfrm>
            <a:custGeom>
              <a:avLst/>
              <a:gdLst>
                <a:gd name="connsiteX0" fmla="*/ 417318 w 417318"/>
                <a:gd name="connsiteY0" fmla="*/ 606862 h 622979"/>
                <a:gd name="connsiteX1" fmla="*/ 0 w 417318"/>
                <a:gd name="connsiteY1" fmla="*/ 622979 h 622979"/>
                <a:gd name="connsiteX2" fmla="*/ 241 w 417318"/>
                <a:gd name="connsiteY2" fmla="*/ 622476 h 622979"/>
                <a:gd name="connsiteX3" fmla="*/ 241 w 417318"/>
                <a:gd name="connsiteY3" fmla="*/ 622476 h 622979"/>
                <a:gd name="connsiteX4" fmla="*/ 305986 w 417318"/>
                <a:gd name="connsiteY4" fmla="*/ 0 h 622979"/>
                <a:gd name="connsiteX5" fmla="*/ 417217 w 417318"/>
                <a:gd name="connsiteY5" fmla="*/ 606339 h 622979"/>
                <a:gd name="connsiteX6" fmla="*/ 417318 w 417318"/>
                <a:gd name="connsiteY6" fmla="*/ 606862 h 622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7318" h="622979">
                  <a:moveTo>
                    <a:pt x="417318" y="606862"/>
                  </a:moveTo>
                  <a:lnTo>
                    <a:pt x="0" y="622979"/>
                  </a:lnTo>
                  <a:lnTo>
                    <a:pt x="241" y="622476"/>
                  </a:lnTo>
                  <a:lnTo>
                    <a:pt x="241" y="622476"/>
                  </a:lnTo>
                  <a:lnTo>
                    <a:pt x="305986" y="0"/>
                  </a:lnTo>
                  <a:lnTo>
                    <a:pt x="417217" y="606339"/>
                  </a:lnTo>
                  <a:lnTo>
                    <a:pt x="417318" y="606862"/>
                  </a:lnTo>
                  <a:close/>
                </a:path>
              </a:pathLst>
            </a:custGeom>
            <a:solidFill>
              <a:srgbClr val="00B8F5">
                <a:lumMod val="60000"/>
                <a:lumOff val="40000"/>
              </a:srgbClr>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27" name="Freeform: Shape 26">
              <a:extLst>
                <a:ext uri="{FF2B5EF4-FFF2-40B4-BE49-F238E27FC236}">
                  <a16:creationId xmlns:a16="http://schemas.microsoft.com/office/drawing/2014/main" id="{FF118A93-E48F-CF4B-F936-9FCA9A2528F6}"/>
                </a:ext>
              </a:extLst>
            </p:cNvPr>
            <p:cNvSpPr/>
            <p:nvPr/>
          </p:nvSpPr>
          <p:spPr>
            <a:xfrm>
              <a:off x="15286268" y="3067825"/>
              <a:ext cx="544" cy="505"/>
            </a:xfrm>
            <a:custGeom>
              <a:avLst/>
              <a:gdLst>
                <a:gd name="connsiteX0" fmla="*/ 563 w 563"/>
                <a:gd name="connsiteY0" fmla="*/ 523 h 523"/>
                <a:gd name="connsiteX1" fmla="*/ 0 w 563"/>
                <a:gd name="connsiteY1" fmla="*/ 523 h 523"/>
                <a:gd name="connsiteX2" fmla="*/ 141 w 563"/>
                <a:gd name="connsiteY2" fmla="*/ 0 h 523"/>
                <a:gd name="connsiteX3" fmla="*/ 563 w 563"/>
                <a:gd name="connsiteY3" fmla="*/ 523 h 523"/>
              </a:gdLst>
              <a:ahLst/>
              <a:cxnLst>
                <a:cxn ang="0">
                  <a:pos x="connsiteX0" y="connsiteY0"/>
                </a:cxn>
                <a:cxn ang="0">
                  <a:pos x="connsiteX1" y="connsiteY1"/>
                </a:cxn>
                <a:cxn ang="0">
                  <a:pos x="connsiteX2" y="connsiteY2"/>
                </a:cxn>
                <a:cxn ang="0">
                  <a:pos x="connsiteX3" y="connsiteY3"/>
                </a:cxn>
              </a:cxnLst>
              <a:rect l="l" t="t" r="r" b="b"/>
              <a:pathLst>
                <a:path w="563" h="523">
                  <a:moveTo>
                    <a:pt x="563" y="523"/>
                  </a:moveTo>
                  <a:lnTo>
                    <a:pt x="0" y="523"/>
                  </a:lnTo>
                  <a:lnTo>
                    <a:pt x="141" y="0"/>
                  </a:lnTo>
                  <a:lnTo>
                    <a:pt x="563" y="523"/>
                  </a:lnTo>
                  <a:close/>
                </a:path>
              </a:pathLst>
            </a:custGeom>
            <a:solidFill>
              <a:srgbClr val="2B84AE"/>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28" name="Freeform: Shape 27">
              <a:extLst>
                <a:ext uri="{FF2B5EF4-FFF2-40B4-BE49-F238E27FC236}">
                  <a16:creationId xmlns:a16="http://schemas.microsoft.com/office/drawing/2014/main" id="{12FA42BB-DB57-970D-EC2D-E43FE5C0CC2E}"/>
                </a:ext>
              </a:extLst>
            </p:cNvPr>
            <p:cNvSpPr/>
            <p:nvPr/>
          </p:nvSpPr>
          <p:spPr>
            <a:xfrm>
              <a:off x="15181345" y="2312945"/>
              <a:ext cx="411954" cy="755386"/>
            </a:xfrm>
            <a:custGeom>
              <a:avLst/>
              <a:gdLst>
                <a:gd name="connsiteX0" fmla="*/ 426292 w 426292"/>
                <a:gd name="connsiteY0" fmla="*/ 781677 h 781676"/>
                <a:gd name="connsiteX1" fmla="*/ 282263 w 426292"/>
                <a:gd name="connsiteY1" fmla="*/ 765559 h 781676"/>
                <a:gd name="connsiteX2" fmla="*/ 109139 w 426292"/>
                <a:gd name="connsiteY2" fmla="*/ 781677 h 781676"/>
                <a:gd name="connsiteX3" fmla="*/ 108716 w 426292"/>
                <a:gd name="connsiteY3" fmla="*/ 781153 h 781676"/>
                <a:gd name="connsiteX4" fmla="*/ 111231 w 426292"/>
                <a:gd name="connsiteY4" fmla="*/ 781153 h 781676"/>
                <a:gd name="connsiteX5" fmla="*/ 0 w 426292"/>
                <a:gd name="connsiteY5" fmla="*/ 174815 h 781676"/>
                <a:gd name="connsiteX6" fmla="*/ 241316 w 426292"/>
                <a:gd name="connsiteY6" fmla="*/ 0 h 781676"/>
                <a:gd name="connsiteX7" fmla="*/ 241316 w 426292"/>
                <a:gd name="connsiteY7" fmla="*/ 20 h 781676"/>
                <a:gd name="connsiteX8" fmla="*/ 241337 w 426292"/>
                <a:gd name="connsiteY8" fmla="*/ 20 h 781676"/>
                <a:gd name="connsiteX9" fmla="*/ 331340 w 426292"/>
                <a:gd name="connsiteY9" fmla="*/ 165016 h 781676"/>
                <a:gd name="connsiteX10" fmla="*/ 426131 w 426292"/>
                <a:gd name="connsiteY10" fmla="*/ 781153 h 781676"/>
                <a:gd name="connsiteX11" fmla="*/ 426212 w 426292"/>
                <a:gd name="connsiteY11" fmla="*/ 781153 h 781676"/>
                <a:gd name="connsiteX12" fmla="*/ 426292 w 426292"/>
                <a:gd name="connsiteY12" fmla="*/ 781677 h 781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6292" h="781676">
                  <a:moveTo>
                    <a:pt x="426292" y="781677"/>
                  </a:moveTo>
                  <a:lnTo>
                    <a:pt x="282263" y="765559"/>
                  </a:lnTo>
                  <a:lnTo>
                    <a:pt x="109139" y="781677"/>
                  </a:lnTo>
                  <a:lnTo>
                    <a:pt x="108716" y="781153"/>
                  </a:lnTo>
                  <a:lnTo>
                    <a:pt x="111231" y="781153"/>
                  </a:lnTo>
                  <a:lnTo>
                    <a:pt x="0" y="174815"/>
                  </a:lnTo>
                  <a:lnTo>
                    <a:pt x="241316" y="0"/>
                  </a:lnTo>
                  <a:lnTo>
                    <a:pt x="241316" y="20"/>
                  </a:lnTo>
                  <a:lnTo>
                    <a:pt x="241337" y="20"/>
                  </a:lnTo>
                  <a:lnTo>
                    <a:pt x="331340" y="165016"/>
                  </a:lnTo>
                  <a:lnTo>
                    <a:pt x="426131" y="781153"/>
                  </a:lnTo>
                  <a:lnTo>
                    <a:pt x="426212" y="781153"/>
                  </a:lnTo>
                  <a:lnTo>
                    <a:pt x="426292" y="781677"/>
                  </a:lnTo>
                  <a:close/>
                </a:path>
              </a:pathLst>
            </a:custGeom>
            <a:solidFill>
              <a:srgbClr val="00B8F5">
                <a:lumMod val="60000"/>
                <a:lumOff val="40000"/>
              </a:srgbClr>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29" name="Freeform: Shape 28">
              <a:extLst>
                <a:ext uri="{FF2B5EF4-FFF2-40B4-BE49-F238E27FC236}">
                  <a16:creationId xmlns:a16="http://schemas.microsoft.com/office/drawing/2014/main" id="{74814678-FF16-FBB6-9E4C-47D7E55D343E}"/>
                </a:ext>
              </a:extLst>
            </p:cNvPr>
            <p:cNvSpPr/>
            <p:nvPr/>
          </p:nvSpPr>
          <p:spPr>
            <a:xfrm>
              <a:off x="14687296" y="2454716"/>
              <a:ext cx="494049" cy="629189"/>
            </a:xfrm>
            <a:custGeom>
              <a:avLst/>
              <a:gdLst>
                <a:gd name="connsiteX0" fmla="*/ 206144 w 511244"/>
                <a:gd name="connsiteY0" fmla="*/ 650586 h 651088"/>
                <a:gd name="connsiteX1" fmla="*/ 205882 w 511244"/>
                <a:gd name="connsiteY1" fmla="*/ 651089 h 651088"/>
                <a:gd name="connsiteX2" fmla="*/ 0 w 511244"/>
                <a:gd name="connsiteY2" fmla="*/ 651089 h 651088"/>
                <a:gd name="connsiteX3" fmla="*/ 0 w 511244"/>
                <a:gd name="connsiteY3" fmla="*/ 650586 h 651088"/>
                <a:gd name="connsiteX4" fmla="*/ 2374 w 511244"/>
                <a:gd name="connsiteY4" fmla="*/ 650586 h 651088"/>
                <a:gd name="connsiteX5" fmla="*/ 2576 w 511244"/>
                <a:gd name="connsiteY5" fmla="*/ 649459 h 651088"/>
                <a:gd name="connsiteX6" fmla="*/ 120829 w 511244"/>
                <a:gd name="connsiteY6" fmla="*/ 0 h 651088"/>
                <a:gd name="connsiteX7" fmla="*/ 511245 w 511244"/>
                <a:gd name="connsiteY7" fmla="*/ 28110 h 651088"/>
                <a:gd name="connsiteX8" fmla="*/ 205500 w 511244"/>
                <a:gd name="connsiteY8" fmla="*/ 650586 h 651088"/>
                <a:gd name="connsiteX9" fmla="*/ 206144 w 511244"/>
                <a:gd name="connsiteY9" fmla="*/ 650586 h 651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1244" h="651088">
                  <a:moveTo>
                    <a:pt x="206144" y="650586"/>
                  </a:moveTo>
                  <a:lnTo>
                    <a:pt x="205882" y="651089"/>
                  </a:lnTo>
                  <a:lnTo>
                    <a:pt x="0" y="651089"/>
                  </a:lnTo>
                  <a:lnTo>
                    <a:pt x="0" y="650586"/>
                  </a:lnTo>
                  <a:lnTo>
                    <a:pt x="2374" y="650586"/>
                  </a:lnTo>
                  <a:lnTo>
                    <a:pt x="2576" y="649459"/>
                  </a:lnTo>
                  <a:lnTo>
                    <a:pt x="120829" y="0"/>
                  </a:lnTo>
                  <a:lnTo>
                    <a:pt x="511245" y="28110"/>
                  </a:lnTo>
                  <a:lnTo>
                    <a:pt x="205500" y="650586"/>
                  </a:lnTo>
                  <a:lnTo>
                    <a:pt x="206144" y="650586"/>
                  </a:lnTo>
                  <a:close/>
                </a:path>
              </a:pathLst>
            </a:custGeom>
            <a:solidFill>
              <a:srgbClr val="84F0FF"/>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30" name="Freeform: Shape 29">
              <a:extLst>
                <a:ext uri="{FF2B5EF4-FFF2-40B4-BE49-F238E27FC236}">
                  <a16:creationId xmlns:a16="http://schemas.microsoft.com/office/drawing/2014/main" id="{06EB6EB0-E6C2-4A2C-1B0D-D8DA2EC4ED1E}"/>
                </a:ext>
              </a:extLst>
            </p:cNvPr>
            <p:cNvSpPr/>
            <p:nvPr/>
          </p:nvSpPr>
          <p:spPr>
            <a:xfrm>
              <a:off x="14975291" y="1906648"/>
              <a:ext cx="439254" cy="575230"/>
            </a:xfrm>
            <a:custGeom>
              <a:avLst/>
              <a:gdLst>
                <a:gd name="connsiteX0" fmla="*/ 213227 w 454542"/>
                <a:gd name="connsiteY0" fmla="*/ 595252 h 595251"/>
                <a:gd name="connsiteX1" fmla="*/ 48312 w 454542"/>
                <a:gd name="connsiteY1" fmla="*/ 457118 h 595251"/>
                <a:gd name="connsiteX2" fmla="*/ 0 w 454542"/>
                <a:gd name="connsiteY2" fmla="*/ 82498 h 595251"/>
                <a:gd name="connsiteX3" fmla="*/ 161072 w 454542"/>
                <a:gd name="connsiteY3" fmla="*/ 0 h 595251"/>
                <a:gd name="connsiteX4" fmla="*/ 449010 w 454542"/>
                <a:gd name="connsiteY4" fmla="*/ 360898 h 595251"/>
                <a:gd name="connsiteX5" fmla="*/ 454543 w 454542"/>
                <a:gd name="connsiteY5" fmla="*/ 420457 h 595251"/>
                <a:gd name="connsiteX6" fmla="*/ 213227 w 454542"/>
                <a:gd name="connsiteY6" fmla="*/ 595252 h 595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4542" h="595251">
                  <a:moveTo>
                    <a:pt x="213227" y="595252"/>
                  </a:moveTo>
                  <a:lnTo>
                    <a:pt x="48312" y="457118"/>
                  </a:lnTo>
                  <a:lnTo>
                    <a:pt x="0" y="82498"/>
                  </a:lnTo>
                  <a:lnTo>
                    <a:pt x="161072" y="0"/>
                  </a:lnTo>
                  <a:lnTo>
                    <a:pt x="449010" y="360898"/>
                  </a:lnTo>
                  <a:lnTo>
                    <a:pt x="454543" y="420457"/>
                  </a:lnTo>
                  <a:lnTo>
                    <a:pt x="213227" y="595252"/>
                  </a:lnTo>
                  <a:close/>
                </a:path>
              </a:pathLst>
            </a:custGeom>
            <a:solidFill>
              <a:srgbClr val="98E5EF"/>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31" name="Freeform: Shape 30">
              <a:extLst>
                <a:ext uri="{FF2B5EF4-FFF2-40B4-BE49-F238E27FC236}">
                  <a16:creationId xmlns:a16="http://schemas.microsoft.com/office/drawing/2014/main" id="{BFE0AA9D-7E85-B27A-81CE-C3122EA624DF}"/>
                </a:ext>
              </a:extLst>
            </p:cNvPr>
            <p:cNvSpPr/>
            <p:nvPr/>
          </p:nvSpPr>
          <p:spPr>
            <a:xfrm>
              <a:off x="14402626" y="2488259"/>
              <a:ext cx="287547" cy="626797"/>
            </a:xfrm>
            <a:custGeom>
              <a:avLst/>
              <a:gdLst>
                <a:gd name="connsiteX0" fmla="*/ 297555 w 297555"/>
                <a:gd name="connsiteY0" fmla="*/ 616379 h 648613"/>
                <a:gd name="connsiteX1" fmla="*/ 0 w 297555"/>
                <a:gd name="connsiteY1" fmla="*/ 648614 h 648613"/>
                <a:gd name="connsiteX2" fmla="*/ 20 w 297555"/>
                <a:gd name="connsiteY2" fmla="*/ 648111 h 648613"/>
                <a:gd name="connsiteX3" fmla="*/ 7183 w 297555"/>
                <a:gd name="connsiteY3" fmla="*/ 648111 h 648613"/>
                <a:gd name="connsiteX4" fmla="*/ 143184 w 297555"/>
                <a:gd name="connsiteY4" fmla="*/ 0 h 648613"/>
                <a:gd name="connsiteX5" fmla="*/ 297153 w 297555"/>
                <a:gd name="connsiteY5" fmla="*/ 614750 h 648613"/>
                <a:gd name="connsiteX6" fmla="*/ 297153 w 297555"/>
                <a:gd name="connsiteY6" fmla="*/ 614770 h 648613"/>
                <a:gd name="connsiteX7" fmla="*/ 297555 w 297555"/>
                <a:gd name="connsiteY7" fmla="*/ 616379 h 64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555" h="648613">
                  <a:moveTo>
                    <a:pt x="297555" y="616379"/>
                  </a:moveTo>
                  <a:lnTo>
                    <a:pt x="0" y="648614"/>
                  </a:lnTo>
                  <a:lnTo>
                    <a:pt x="20" y="648111"/>
                  </a:lnTo>
                  <a:lnTo>
                    <a:pt x="7183" y="648111"/>
                  </a:lnTo>
                  <a:lnTo>
                    <a:pt x="143184" y="0"/>
                  </a:lnTo>
                  <a:lnTo>
                    <a:pt x="297153" y="614750"/>
                  </a:lnTo>
                  <a:lnTo>
                    <a:pt x="297153" y="614770"/>
                  </a:lnTo>
                  <a:lnTo>
                    <a:pt x="297555" y="616379"/>
                  </a:lnTo>
                  <a:close/>
                </a:path>
              </a:pathLst>
            </a:custGeom>
            <a:solidFill>
              <a:srgbClr val="00B8F5"/>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32" name="Freeform: Shape 31">
              <a:extLst>
                <a:ext uri="{FF2B5EF4-FFF2-40B4-BE49-F238E27FC236}">
                  <a16:creationId xmlns:a16="http://schemas.microsoft.com/office/drawing/2014/main" id="{DCE8686B-4197-C963-1860-E90B2AFBEBDC}"/>
                </a:ext>
              </a:extLst>
            </p:cNvPr>
            <p:cNvSpPr/>
            <p:nvPr/>
          </p:nvSpPr>
          <p:spPr>
            <a:xfrm>
              <a:off x="14689512" y="3082350"/>
              <a:ext cx="661" cy="1555"/>
            </a:xfrm>
            <a:custGeom>
              <a:avLst/>
              <a:gdLst>
                <a:gd name="connsiteX0" fmla="*/ 684 w 684"/>
                <a:gd name="connsiteY0" fmla="*/ 1610 h 1609"/>
                <a:gd name="connsiteX1" fmla="*/ 0 w 684"/>
                <a:gd name="connsiteY1" fmla="*/ 1610 h 1609"/>
                <a:gd name="connsiteX2" fmla="*/ 81 w 684"/>
                <a:gd name="connsiteY2" fmla="*/ 1107 h 1609"/>
                <a:gd name="connsiteX3" fmla="*/ 282 w 684"/>
                <a:gd name="connsiteY3" fmla="*/ 0 h 1609"/>
                <a:gd name="connsiteX4" fmla="*/ 684 w 684"/>
                <a:gd name="connsiteY4" fmla="*/ 1610 h 1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 h="1609">
                  <a:moveTo>
                    <a:pt x="684" y="1610"/>
                  </a:moveTo>
                  <a:lnTo>
                    <a:pt x="0" y="1610"/>
                  </a:lnTo>
                  <a:lnTo>
                    <a:pt x="81" y="1107"/>
                  </a:lnTo>
                  <a:lnTo>
                    <a:pt x="282" y="0"/>
                  </a:lnTo>
                  <a:lnTo>
                    <a:pt x="684" y="1610"/>
                  </a:lnTo>
                  <a:close/>
                </a:path>
              </a:pathLst>
            </a:custGeom>
            <a:solidFill>
              <a:srgbClr val="83E8F5"/>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33" name="Freeform: Shape 32">
              <a:extLst>
                <a:ext uri="{FF2B5EF4-FFF2-40B4-BE49-F238E27FC236}">
                  <a16:creationId xmlns:a16="http://schemas.microsoft.com/office/drawing/2014/main" id="{59850B2C-5E3D-AA39-F22D-F9D0E40C43C6}"/>
                </a:ext>
              </a:extLst>
            </p:cNvPr>
            <p:cNvSpPr/>
            <p:nvPr/>
          </p:nvSpPr>
          <p:spPr>
            <a:xfrm>
              <a:off x="14540993" y="2040739"/>
              <a:ext cx="263066" cy="1041612"/>
            </a:xfrm>
            <a:custGeom>
              <a:avLst/>
              <a:gdLst>
                <a:gd name="connsiteX0" fmla="*/ 272223 w 272222"/>
                <a:gd name="connsiteY0" fmla="*/ 0 h 1077864"/>
                <a:gd name="connsiteX1" fmla="*/ 272223 w 272222"/>
                <a:gd name="connsiteY1" fmla="*/ 428385 h 1077864"/>
                <a:gd name="connsiteX2" fmla="*/ 153969 w 272222"/>
                <a:gd name="connsiteY2" fmla="*/ 1077864 h 1077864"/>
                <a:gd name="connsiteX3" fmla="*/ 153969 w 272222"/>
                <a:gd name="connsiteY3" fmla="*/ 1077844 h 1077864"/>
                <a:gd name="connsiteX4" fmla="*/ 0 w 272222"/>
                <a:gd name="connsiteY4" fmla="*/ 463094 h 1077864"/>
                <a:gd name="connsiteX5" fmla="*/ 70868 w 272222"/>
                <a:gd name="connsiteY5" fmla="*/ 410034 h 1077864"/>
                <a:gd name="connsiteX6" fmla="*/ 272223 w 272222"/>
                <a:gd name="connsiteY6" fmla="*/ 0 h 1077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222" h="1077864">
                  <a:moveTo>
                    <a:pt x="272223" y="0"/>
                  </a:moveTo>
                  <a:lnTo>
                    <a:pt x="272223" y="428385"/>
                  </a:lnTo>
                  <a:lnTo>
                    <a:pt x="153969" y="1077864"/>
                  </a:lnTo>
                  <a:lnTo>
                    <a:pt x="153969" y="1077844"/>
                  </a:lnTo>
                  <a:lnTo>
                    <a:pt x="0" y="463094"/>
                  </a:lnTo>
                  <a:lnTo>
                    <a:pt x="70868" y="410034"/>
                  </a:lnTo>
                  <a:lnTo>
                    <a:pt x="272223" y="0"/>
                  </a:lnTo>
                  <a:close/>
                </a:path>
              </a:pathLst>
            </a:custGeom>
            <a:solidFill>
              <a:srgbClr val="83E8F5"/>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34" name="Freeform: Shape 33">
              <a:extLst>
                <a:ext uri="{FF2B5EF4-FFF2-40B4-BE49-F238E27FC236}">
                  <a16:creationId xmlns:a16="http://schemas.microsoft.com/office/drawing/2014/main" id="{163FF81A-5342-7FDE-8A89-BF82D819E6CB}"/>
                </a:ext>
              </a:extLst>
            </p:cNvPr>
            <p:cNvSpPr/>
            <p:nvPr/>
          </p:nvSpPr>
          <p:spPr>
            <a:xfrm>
              <a:off x="14402645" y="2040739"/>
              <a:ext cx="401415" cy="1074317"/>
            </a:xfrm>
            <a:custGeom>
              <a:avLst/>
              <a:gdLst>
                <a:gd name="connsiteX0" fmla="*/ 415387 w 415386"/>
                <a:gd name="connsiteY0" fmla="*/ 0 h 1111708"/>
                <a:gd name="connsiteX1" fmla="*/ 214031 w 415386"/>
                <a:gd name="connsiteY1" fmla="*/ 410034 h 1111708"/>
                <a:gd name="connsiteX2" fmla="*/ 143164 w 415386"/>
                <a:gd name="connsiteY2" fmla="*/ 463094 h 1111708"/>
                <a:gd name="connsiteX3" fmla="*/ 7163 w 415386"/>
                <a:gd name="connsiteY3" fmla="*/ 1111205 h 1111708"/>
                <a:gd name="connsiteX4" fmla="*/ 7063 w 415386"/>
                <a:gd name="connsiteY4" fmla="*/ 1111708 h 1111708"/>
                <a:gd name="connsiteX5" fmla="*/ 0 w 415386"/>
                <a:gd name="connsiteY5" fmla="*/ 1111708 h 1111708"/>
                <a:gd name="connsiteX6" fmla="*/ 60 w 415386"/>
                <a:gd name="connsiteY6" fmla="*/ 1111205 h 1111708"/>
                <a:gd name="connsiteX7" fmla="*/ 80486 w 415386"/>
                <a:gd name="connsiteY7" fmla="*/ 426433 h 1111708"/>
                <a:gd name="connsiteX8" fmla="*/ 80506 w 415386"/>
                <a:gd name="connsiteY8" fmla="*/ 426433 h 1111708"/>
                <a:gd name="connsiteX9" fmla="*/ 415387 w 415386"/>
                <a:gd name="connsiteY9" fmla="*/ 0 h 1111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5386" h="1111708">
                  <a:moveTo>
                    <a:pt x="415387" y="0"/>
                  </a:moveTo>
                  <a:lnTo>
                    <a:pt x="214031" y="410034"/>
                  </a:lnTo>
                  <a:lnTo>
                    <a:pt x="143164" y="463094"/>
                  </a:lnTo>
                  <a:lnTo>
                    <a:pt x="7163" y="1111205"/>
                  </a:lnTo>
                  <a:lnTo>
                    <a:pt x="7063" y="1111708"/>
                  </a:lnTo>
                  <a:lnTo>
                    <a:pt x="0" y="1111708"/>
                  </a:lnTo>
                  <a:lnTo>
                    <a:pt x="60" y="1111205"/>
                  </a:lnTo>
                  <a:lnTo>
                    <a:pt x="80486" y="426433"/>
                  </a:lnTo>
                  <a:lnTo>
                    <a:pt x="80506" y="426433"/>
                  </a:lnTo>
                  <a:lnTo>
                    <a:pt x="415387" y="0"/>
                  </a:lnTo>
                  <a:close/>
                </a:path>
              </a:pathLst>
            </a:custGeom>
            <a:solidFill>
              <a:srgbClr val="007DA5"/>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35" name="Freeform: Shape 34">
              <a:extLst>
                <a:ext uri="{FF2B5EF4-FFF2-40B4-BE49-F238E27FC236}">
                  <a16:creationId xmlns:a16="http://schemas.microsoft.com/office/drawing/2014/main" id="{16FD216C-149C-9A50-ABAD-15D21DCA776C}"/>
                </a:ext>
              </a:extLst>
            </p:cNvPr>
            <p:cNvSpPr/>
            <p:nvPr/>
          </p:nvSpPr>
          <p:spPr>
            <a:xfrm>
              <a:off x="15414545" y="2274464"/>
              <a:ext cx="372773" cy="793868"/>
            </a:xfrm>
            <a:custGeom>
              <a:avLst/>
              <a:gdLst>
                <a:gd name="connsiteX0" fmla="*/ 385748 w 385747"/>
                <a:gd name="connsiteY0" fmla="*/ 821497 h 821497"/>
                <a:gd name="connsiteX1" fmla="*/ 184895 w 385747"/>
                <a:gd name="connsiteY1" fmla="*/ 821497 h 821497"/>
                <a:gd name="connsiteX2" fmla="*/ 184815 w 385747"/>
                <a:gd name="connsiteY2" fmla="*/ 820974 h 821497"/>
                <a:gd name="connsiteX3" fmla="*/ 90023 w 385747"/>
                <a:gd name="connsiteY3" fmla="*/ 204836 h 821497"/>
                <a:gd name="connsiteX4" fmla="*/ 20 w 385747"/>
                <a:gd name="connsiteY4" fmla="*/ 39840 h 821497"/>
                <a:gd name="connsiteX5" fmla="*/ 0 w 385747"/>
                <a:gd name="connsiteY5" fmla="*/ 39840 h 821497"/>
                <a:gd name="connsiteX6" fmla="*/ 0 w 385747"/>
                <a:gd name="connsiteY6" fmla="*/ 39820 h 821497"/>
                <a:gd name="connsiteX7" fmla="*/ 241135 w 385747"/>
                <a:gd name="connsiteY7" fmla="*/ 0 h 821497"/>
                <a:gd name="connsiteX8" fmla="*/ 271035 w 385747"/>
                <a:gd name="connsiteY8" fmla="*/ 314860 h 821497"/>
                <a:gd name="connsiteX9" fmla="*/ 385546 w 385747"/>
                <a:gd name="connsiteY9" fmla="*/ 820974 h 821497"/>
                <a:gd name="connsiteX10" fmla="*/ 385647 w 385747"/>
                <a:gd name="connsiteY10" fmla="*/ 820974 h 821497"/>
                <a:gd name="connsiteX11" fmla="*/ 385748 w 385747"/>
                <a:gd name="connsiteY11" fmla="*/ 821497 h 821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5747" h="821497">
                  <a:moveTo>
                    <a:pt x="385748" y="821497"/>
                  </a:moveTo>
                  <a:lnTo>
                    <a:pt x="184895" y="821497"/>
                  </a:lnTo>
                  <a:lnTo>
                    <a:pt x="184815" y="820974"/>
                  </a:lnTo>
                  <a:lnTo>
                    <a:pt x="90023" y="204836"/>
                  </a:lnTo>
                  <a:lnTo>
                    <a:pt x="20" y="39840"/>
                  </a:lnTo>
                  <a:lnTo>
                    <a:pt x="0" y="39840"/>
                  </a:lnTo>
                  <a:lnTo>
                    <a:pt x="0" y="39820"/>
                  </a:lnTo>
                  <a:lnTo>
                    <a:pt x="241135" y="0"/>
                  </a:lnTo>
                  <a:lnTo>
                    <a:pt x="271035" y="314860"/>
                  </a:lnTo>
                  <a:lnTo>
                    <a:pt x="385546" y="820974"/>
                  </a:lnTo>
                  <a:lnTo>
                    <a:pt x="385647" y="820974"/>
                  </a:lnTo>
                  <a:lnTo>
                    <a:pt x="385748" y="821497"/>
                  </a:lnTo>
                  <a:close/>
                </a:path>
              </a:pathLst>
            </a:custGeom>
            <a:solidFill>
              <a:srgbClr val="00B0F0"/>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36" name="Freeform: Shape 35">
              <a:extLst>
                <a:ext uri="{FF2B5EF4-FFF2-40B4-BE49-F238E27FC236}">
                  <a16:creationId xmlns:a16="http://schemas.microsoft.com/office/drawing/2014/main" id="{288DD5C8-1060-1E11-11EA-2F6F21E2EA25}"/>
                </a:ext>
              </a:extLst>
            </p:cNvPr>
            <p:cNvSpPr/>
            <p:nvPr/>
          </p:nvSpPr>
          <p:spPr>
            <a:xfrm>
              <a:off x="15676464" y="2578735"/>
              <a:ext cx="226219" cy="489597"/>
            </a:xfrm>
            <a:custGeom>
              <a:avLst/>
              <a:gdLst>
                <a:gd name="connsiteX0" fmla="*/ 234092 w 234092"/>
                <a:gd name="connsiteY0" fmla="*/ 506637 h 506636"/>
                <a:gd name="connsiteX1" fmla="*/ 114611 w 234092"/>
                <a:gd name="connsiteY1" fmla="*/ 506637 h 506636"/>
                <a:gd name="connsiteX2" fmla="*/ 114511 w 234092"/>
                <a:gd name="connsiteY2" fmla="*/ 506114 h 506636"/>
                <a:gd name="connsiteX3" fmla="*/ 0 w 234092"/>
                <a:gd name="connsiteY3" fmla="*/ 0 h 506636"/>
                <a:gd name="connsiteX4" fmla="*/ 152641 w 234092"/>
                <a:gd name="connsiteY4" fmla="*/ 269587 h 506636"/>
                <a:gd name="connsiteX5" fmla="*/ 233811 w 234092"/>
                <a:gd name="connsiteY5" fmla="*/ 506114 h 506636"/>
                <a:gd name="connsiteX6" fmla="*/ 233952 w 234092"/>
                <a:gd name="connsiteY6" fmla="*/ 506114 h 506636"/>
                <a:gd name="connsiteX7" fmla="*/ 234092 w 234092"/>
                <a:gd name="connsiteY7" fmla="*/ 506637 h 506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4092" h="506636">
                  <a:moveTo>
                    <a:pt x="234092" y="506637"/>
                  </a:moveTo>
                  <a:lnTo>
                    <a:pt x="114611" y="506637"/>
                  </a:lnTo>
                  <a:lnTo>
                    <a:pt x="114511" y="506114"/>
                  </a:lnTo>
                  <a:lnTo>
                    <a:pt x="0" y="0"/>
                  </a:lnTo>
                  <a:lnTo>
                    <a:pt x="152641" y="269587"/>
                  </a:lnTo>
                  <a:lnTo>
                    <a:pt x="233811" y="506114"/>
                  </a:lnTo>
                  <a:lnTo>
                    <a:pt x="233952" y="506114"/>
                  </a:lnTo>
                  <a:lnTo>
                    <a:pt x="234092" y="506637"/>
                  </a:lnTo>
                  <a:close/>
                </a:path>
              </a:pathLst>
            </a:custGeom>
            <a:solidFill>
              <a:srgbClr val="007DA5"/>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37" name="Freeform: Shape 36">
              <a:extLst>
                <a:ext uri="{FF2B5EF4-FFF2-40B4-BE49-F238E27FC236}">
                  <a16:creationId xmlns:a16="http://schemas.microsoft.com/office/drawing/2014/main" id="{C5A95474-C623-DF2F-17C4-A313C9A6C5A0}"/>
                </a:ext>
              </a:extLst>
            </p:cNvPr>
            <p:cNvSpPr/>
            <p:nvPr/>
          </p:nvSpPr>
          <p:spPr>
            <a:xfrm>
              <a:off x="14193869" y="1440055"/>
              <a:ext cx="718946" cy="1012775"/>
            </a:xfrm>
            <a:custGeom>
              <a:avLst/>
              <a:gdLst>
                <a:gd name="connsiteX0" fmla="*/ 631430 w 743969"/>
                <a:gd name="connsiteY0" fmla="*/ 621591 h 1048023"/>
                <a:gd name="connsiteX1" fmla="*/ 296529 w 743969"/>
                <a:gd name="connsiteY1" fmla="*/ 1048024 h 1048023"/>
                <a:gd name="connsiteX2" fmla="*/ 0 w 743969"/>
                <a:gd name="connsiteY2" fmla="*/ 869145 h 1048023"/>
                <a:gd name="connsiteX3" fmla="*/ 281217 w 743969"/>
                <a:gd name="connsiteY3" fmla="*/ 786224 h 1048023"/>
                <a:gd name="connsiteX4" fmla="*/ 743969 w 743969"/>
                <a:gd name="connsiteY4" fmla="*/ 0 h 1048023"/>
                <a:gd name="connsiteX5" fmla="*/ 631430 w 743969"/>
                <a:gd name="connsiteY5" fmla="*/ 621591 h 1048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3969" h="1048023">
                  <a:moveTo>
                    <a:pt x="631430" y="621591"/>
                  </a:moveTo>
                  <a:lnTo>
                    <a:pt x="296529" y="1048024"/>
                  </a:lnTo>
                  <a:lnTo>
                    <a:pt x="0" y="869145"/>
                  </a:lnTo>
                  <a:lnTo>
                    <a:pt x="281217" y="786224"/>
                  </a:lnTo>
                  <a:lnTo>
                    <a:pt x="743969" y="0"/>
                  </a:lnTo>
                  <a:lnTo>
                    <a:pt x="631430" y="621591"/>
                  </a:lnTo>
                  <a:close/>
                </a:path>
              </a:pathLst>
            </a:custGeom>
            <a:solidFill>
              <a:srgbClr val="00B8F5">
                <a:lumMod val="20000"/>
                <a:lumOff val="80000"/>
              </a:srgbClr>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38" name="Freeform: Shape 37">
              <a:extLst>
                <a:ext uri="{FF2B5EF4-FFF2-40B4-BE49-F238E27FC236}">
                  <a16:creationId xmlns:a16="http://schemas.microsoft.com/office/drawing/2014/main" id="{7B4289A1-FE70-8D39-B0DE-9A0BB1C72975}"/>
                </a:ext>
              </a:extLst>
            </p:cNvPr>
            <p:cNvSpPr/>
            <p:nvPr/>
          </p:nvSpPr>
          <p:spPr>
            <a:xfrm>
              <a:off x="14804061" y="1440055"/>
              <a:ext cx="377284" cy="1041825"/>
            </a:xfrm>
            <a:custGeom>
              <a:avLst/>
              <a:gdLst>
                <a:gd name="connsiteX0" fmla="*/ 0 w 390415"/>
                <a:gd name="connsiteY0" fmla="*/ 1049956 h 1078085"/>
                <a:gd name="connsiteX1" fmla="*/ 0 w 390415"/>
                <a:gd name="connsiteY1" fmla="*/ 621591 h 1078085"/>
                <a:gd name="connsiteX2" fmla="*/ 112539 w 390415"/>
                <a:gd name="connsiteY2" fmla="*/ 0 h 1078085"/>
                <a:gd name="connsiteX3" fmla="*/ 177189 w 390415"/>
                <a:gd name="connsiteY3" fmla="*/ 565331 h 1078085"/>
                <a:gd name="connsiteX4" fmla="*/ 225501 w 390415"/>
                <a:gd name="connsiteY4" fmla="*/ 939952 h 1078085"/>
                <a:gd name="connsiteX5" fmla="*/ 390416 w 390415"/>
                <a:gd name="connsiteY5" fmla="*/ 1078085 h 1078085"/>
                <a:gd name="connsiteX6" fmla="*/ 0 w 390415"/>
                <a:gd name="connsiteY6" fmla="*/ 1049956 h 1078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415" h="1078085">
                  <a:moveTo>
                    <a:pt x="0" y="1049956"/>
                  </a:moveTo>
                  <a:lnTo>
                    <a:pt x="0" y="621591"/>
                  </a:lnTo>
                  <a:lnTo>
                    <a:pt x="112539" y="0"/>
                  </a:lnTo>
                  <a:lnTo>
                    <a:pt x="177189" y="565331"/>
                  </a:lnTo>
                  <a:lnTo>
                    <a:pt x="225501" y="939952"/>
                  </a:lnTo>
                  <a:lnTo>
                    <a:pt x="390416" y="1078085"/>
                  </a:lnTo>
                  <a:lnTo>
                    <a:pt x="0" y="1049956"/>
                  </a:lnTo>
                  <a:close/>
                </a:path>
              </a:pathLst>
            </a:custGeom>
            <a:solidFill>
              <a:srgbClr val="00B8F5">
                <a:lumMod val="20000"/>
                <a:lumOff val="80000"/>
              </a:srgbClr>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39" name="Freeform: Shape 38">
              <a:extLst>
                <a:ext uri="{FF2B5EF4-FFF2-40B4-BE49-F238E27FC236}">
                  <a16:creationId xmlns:a16="http://schemas.microsoft.com/office/drawing/2014/main" id="{B2A62272-9839-CBE5-B9D0-440327730629}"/>
                </a:ext>
              </a:extLst>
            </p:cNvPr>
            <p:cNvSpPr/>
            <p:nvPr/>
          </p:nvSpPr>
          <p:spPr>
            <a:xfrm>
              <a:off x="14912815" y="1440055"/>
              <a:ext cx="218130" cy="546318"/>
            </a:xfrm>
            <a:custGeom>
              <a:avLst/>
              <a:gdLst>
                <a:gd name="connsiteX0" fmla="*/ 64650 w 225722"/>
                <a:gd name="connsiteY0" fmla="*/ 565331 h 565331"/>
                <a:gd name="connsiteX1" fmla="*/ 225722 w 225722"/>
                <a:gd name="connsiteY1" fmla="*/ 482834 h 565331"/>
                <a:gd name="connsiteX2" fmla="*/ 0 w 225722"/>
                <a:gd name="connsiteY2" fmla="*/ 0 h 565331"/>
                <a:gd name="connsiteX3" fmla="*/ 64650 w 225722"/>
                <a:gd name="connsiteY3" fmla="*/ 565331 h 565331"/>
              </a:gdLst>
              <a:ahLst/>
              <a:cxnLst>
                <a:cxn ang="0">
                  <a:pos x="connsiteX0" y="connsiteY0"/>
                </a:cxn>
                <a:cxn ang="0">
                  <a:pos x="connsiteX1" y="connsiteY1"/>
                </a:cxn>
                <a:cxn ang="0">
                  <a:pos x="connsiteX2" y="connsiteY2"/>
                </a:cxn>
                <a:cxn ang="0">
                  <a:pos x="connsiteX3" y="connsiteY3"/>
                </a:cxn>
              </a:cxnLst>
              <a:rect l="l" t="t" r="r" b="b"/>
              <a:pathLst>
                <a:path w="225722" h="565331">
                  <a:moveTo>
                    <a:pt x="64650" y="565331"/>
                  </a:moveTo>
                  <a:lnTo>
                    <a:pt x="225722" y="482834"/>
                  </a:lnTo>
                  <a:lnTo>
                    <a:pt x="0" y="0"/>
                  </a:lnTo>
                  <a:lnTo>
                    <a:pt x="64650" y="565331"/>
                  </a:lnTo>
                  <a:close/>
                </a:path>
              </a:pathLst>
            </a:custGeom>
            <a:solidFill>
              <a:srgbClr val="98E5EF"/>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40" name="Freeform: Shape 39">
              <a:extLst>
                <a:ext uri="{FF2B5EF4-FFF2-40B4-BE49-F238E27FC236}">
                  <a16:creationId xmlns:a16="http://schemas.microsoft.com/office/drawing/2014/main" id="{D9C4A6CD-B448-B433-46B6-F2A3C0A4437E}"/>
                </a:ext>
              </a:extLst>
            </p:cNvPr>
            <p:cNvSpPr/>
            <p:nvPr/>
          </p:nvSpPr>
          <p:spPr>
            <a:xfrm>
              <a:off x="15130945" y="1769655"/>
              <a:ext cx="516378" cy="523854"/>
            </a:xfrm>
            <a:custGeom>
              <a:avLst/>
              <a:gdLst>
                <a:gd name="connsiteX0" fmla="*/ 0 w 317998"/>
                <a:gd name="connsiteY0" fmla="*/ 65374 h 426272"/>
                <a:gd name="connsiteX1" fmla="*/ 287938 w 317998"/>
                <a:gd name="connsiteY1" fmla="*/ 426272 h 426272"/>
                <a:gd name="connsiteX2" fmla="*/ 317999 w 317998"/>
                <a:gd name="connsiteY2" fmla="*/ 0 h 426272"/>
                <a:gd name="connsiteX3" fmla="*/ 0 w 317998"/>
                <a:gd name="connsiteY3" fmla="*/ 65374 h 426272"/>
                <a:gd name="connsiteX0" fmla="*/ 0 w 399315"/>
                <a:gd name="connsiteY0" fmla="*/ 141762 h 502660"/>
                <a:gd name="connsiteX1" fmla="*/ 287938 w 399315"/>
                <a:gd name="connsiteY1" fmla="*/ 502660 h 502660"/>
                <a:gd name="connsiteX2" fmla="*/ 399315 w 399315"/>
                <a:gd name="connsiteY2" fmla="*/ 0 h 502660"/>
                <a:gd name="connsiteX3" fmla="*/ 0 w 399315"/>
                <a:gd name="connsiteY3" fmla="*/ 141762 h 502660"/>
                <a:gd name="connsiteX0" fmla="*/ 0 w 534351"/>
                <a:gd name="connsiteY0" fmla="*/ 141762 h 542086"/>
                <a:gd name="connsiteX1" fmla="*/ 534351 w 534351"/>
                <a:gd name="connsiteY1" fmla="*/ 542086 h 542086"/>
                <a:gd name="connsiteX2" fmla="*/ 399315 w 534351"/>
                <a:gd name="connsiteY2" fmla="*/ 0 h 542086"/>
                <a:gd name="connsiteX3" fmla="*/ 0 w 534351"/>
                <a:gd name="connsiteY3" fmla="*/ 141762 h 542086"/>
              </a:gdLst>
              <a:ahLst/>
              <a:cxnLst>
                <a:cxn ang="0">
                  <a:pos x="connsiteX0" y="connsiteY0"/>
                </a:cxn>
                <a:cxn ang="0">
                  <a:pos x="connsiteX1" y="connsiteY1"/>
                </a:cxn>
                <a:cxn ang="0">
                  <a:pos x="connsiteX2" y="connsiteY2"/>
                </a:cxn>
                <a:cxn ang="0">
                  <a:pos x="connsiteX3" y="connsiteY3"/>
                </a:cxn>
              </a:cxnLst>
              <a:rect l="l" t="t" r="r" b="b"/>
              <a:pathLst>
                <a:path w="534351" h="542086">
                  <a:moveTo>
                    <a:pt x="0" y="141762"/>
                  </a:moveTo>
                  <a:lnTo>
                    <a:pt x="534351" y="542086"/>
                  </a:lnTo>
                  <a:lnTo>
                    <a:pt x="399315" y="0"/>
                  </a:lnTo>
                  <a:lnTo>
                    <a:pt x="0" y="141762"/>
                  </a:lnTo>
                  <a:close/>
                </a:path>
              </a:pathLst>
            </a:custGeom>
            <a:solidFill>
              <a:srgbClr val="00B8F5">
                <a:lumMod val="20000"/>
                <a:lumOff val="80000"/>
              </a:srgbClr>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41" name="Freeform: Shape 40">
              <a:extLst>
                <a:ext uri="{FF2B5EF4-FFF2-40B4-BE49-F238E27FC236}">
                  <a16:creationId xmlns:a16="http://schemas.microsoft.com/office/drawing/2014/main" id="{318D6B4B-0B50-78AE-6C6E-BC98BD5605C4}"/>
                </a:ext>
              </a:extLst>
            </p:cNvPr>
            <p:cNvSpPr/>
            <p:nvPr/>
          </p:nvSpPr>
          <p:spPr>
            <a:xfrm>
              <a:off x="15138210" y="1907768"/>
              <a:ext cx="509360" cy="405196"/>
            </a:xfrm>
            <a:custGeom>
              <a:avLst/>
              <a:gdLst>
                <a:gd name="connsiteX0" fmla="*/ 5533 w 246668"/>
                <a:gd name="connsiteY0" fmla="*/ 485831 h 485831"/>
                <a:gd name="connsiteX1" fmla="*/ 0 w 246668"/>
                <a:gd name="connsiteY1" fmla="*/ 426272 h 485831"/>
                <a:gd name="connsiteX2" fmla="*/ 30061 w 246668"/>
                <a:gd name="connsiteY2" fmla="*/ 0 h 485831"/>
                <a:gd name="connsiteX3" fmla="*/ 246668 w 246668"/>
                <a:gd name="connsiteY3" fmla="*/ 445991 h 485831"/>
                <a:gd name="connsiteX4" fmla="*/ 5533 w 246668"/>
                <a:gd name="connsiteY4" fmla="*/ 485831 h 485831"/>
                <a:gd name="connsiteX0" fmla="*/ 285952 w 527087"/>
                <a:gd name="connsiteY0" fmla="*/ 419299 h 419299"/>
                <a:gd name="connsiteX1" fmla="*/ 280419 w 527087"/>
                <a:gd name="connsiteY1" fmla="*/ 359740 h 419299"/>
                <a:gd name="connsiteX2" fmla="*/ 0 w 527087"/>
                <a:gd name="connsiteY2" fmla="*/ 0 h 419299"/>
                <a:gd name="connsiteX3" fmla="*/ 527087 w 527087"/>
                <a:gd name="connsiteY3" fmla="*/ 379459 h 419299"/>
                <a:gd name="connsiteX4" fmla="*/ 285952 w 527087"/>
                <a:gd name="connsiteY4" fmla="*/ 419299 h 419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087" h="419299">
                  <a:moveTo>
                    <a:pt x="285952" y="419299"/>
                  </a:moveTo>
                  <a:lnTo>
                    <a:pt x="280419" y="359740"/>
                  </a:lnTo>
                  <a:lnTo>
                    <a:pt x="0" y="0"/>
                  </a:lnTo>
                  <a:lnTo>
                    <a:pt x="527087" y="379459"/>
                  </a:lnTo>
                  <a:lnTo>
                    <a:pt x="285952" y="419299"/>
                  </a:lnTo>
                  <a:close/>
                </a:path>
              </a:pathLst>
            </a:custGeom>
            <a:solidFill>
              <a:srgbClr val="27D9FF"/>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42" name="Freeform: Shape 41">
              <a:extLst>
                <a:ext uri="{FF2B5EF4-FFF2-40B4-BE49-F238E27FC236}">
                  <a16:creationId xmlns:a16="http://schemas.microsoft.com/office/drawing/2014/main" id="{62AA0573-6E37-8A1A-8653-AF5C44E6D83A}"/>
                </a:ext>
              </a:extLst>
            </p:cNvPr>
            <p:cNvSpPr/>
            <p:nvPr/>
          </p:nvSpPr>
          <p:spPr>
            <a:xfrm>
              <a:off x="13649225" y="2848918"/>
              <a:ext cx="455821" cy="234988"/>
            </a:xfrm>
            <a:custGeom>
              <a:avLst/>
              <a:gdLst>
                <a:gd name="connsiteX0" fmla="*/ 433818 w 471686"/>
                <a:gd name="connsiteY0" fmla="*/ 242664 h 243167"/>
                <a:gd name="connsiteX1" fmla="*/ 433778 w 471686"/>
                <a:gd name="connsiteY1" fmla="*/ 242946 h 243167"/>
                <a:gd name="connsiteX2" fmla="*/ 433797 w 471686"/>
                <a:gd name="connsiteY2" fmla="*/ 243167 h 243167"/>
                <a:gd name="connsiteX3" fmla="*/ 0 w 471686"/>
                <a:gd name="connsiteY3" fmla="*/ 227050 h 243167"/>
                <a:gd name="connsiteX4" fmla="*/ 70526 w 471686"/>
                <a:gd name="connsiteY4" fmla="*/ 109299 h 243167"/>
                <a:gd name="connsiteX5" fmla="*/ 471686 w 471686"/>
                <a:gd name="connsiteY5" fmla="*/ 0 h 243167"/>
                <a:gd name="connsiteX6" fmla="*/ 433818 w 471686"/>
                <a:gd name="connsiteY6" fmla="*/ 242664 h 243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1686" h="243167">
                  <a:moveTo>
                    <a:pt x="433818" y="242664"/>
                  </a:moveTo>
                  <a:lnTo>
                    <a:pt x="433778" y="242946"/>
                  </a:lnTo>
                  <a:lnTo>
                    <a:pt x="433797" y="243167"/>
                  </a:lnTo>
                  <a:lnTo>
                    <a:pt x="0" y="227050"/>
                  </a:lnTo>
                  <a:lnTo>
                    <a:pt x="70526" y="109299"/>
                  </a:lnTo>
                  <a:lnTo>
                    <a:pt x="471686" y="0"/>
                  </a:lnTo>
                  <a:lnTo>
                    <a:pt x="433818" y="242664"/>
                  </a:lnTo>
                  <a:close/>
                </a:path>
              </a:pathLst>
            </a:custGeom>
            <a:solidFill>
              <a:srgbClr val="00B8F5">
                <a:lumMod val="20000"/>
                <a:lumOff val="80000"/>
              </a:srgbClr>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43" name="Freeform: Shape 42">
              <a:extLst>
                <a:ext uri="{FF2B5EF4-FFF2-40B4-BE49-F238E27FC236}">
                  <a16:creationId xmlns:a16="http://schemas.microsoft.com/office/drawing/2014/main" id="{DCC32C58-CC72-0ECF-980F-3E56CEE0119A}"/>
                </a:ext>
              </a:extLst>
            </p:cNvPr>
            <p:cNvSpPr/>
            <p:nvPr/>
          </p:nvSpPr>
          <p:spPr>
            <a:xfrm>
              <a:off x="16180179" y="3083420"/>
              <a:ext cx="272" cy="486"/>
            </a:xfrm>
            <a:custGeom>
              <a:avLst/>
              <a:gdLst>
                <a:gd name="connsiteX0" fmla="*/ 281 w 281"/>
                <a:gd name="connsiteY0" fmla="*/ 503 h 503"/>
                <a:gd name="connsiteX1" fmla="*/ 0 w 281"/>
                <a:gd name="connsiteY1" fmla="*/ 503 h 503"/>
                <a:gd name="connsiteX2" fmla="*/ 120 w 281"/>
                <a:gd name="connsiteY2" fmla="*/ 0 h 503"/>
                <a:gd name="connsiteX3" fmla="*/ 281 w 281"/>
                <a:gd name="connsiteY3" fmla="*/ 503 h 503"/>
              </a:gdLst>
              <a:ahLst/>
              <a:cxnLst>
                <a:cxn ang="0">
                  <a:pos x="connsiteX0" y="connsiteY0"/>
                </a:cxn>
                <a:cxn ang="0">
                  <a:pos x="connsiteX1" y="connsiteY1"/>
                </a:cxn>
                <a:cxn ang="0">
                  <a:pos x="connsiteX2" y="connsiteY2"/>
                </a:cxn>
                <a:cxn ang="0">
                  <a:pos x="connsiteX3" y="connsiteY3"/>
                </a:cxn>
              </a:cxnLst>
              <a:rect l="l" t="t" r="r" b="b"/>
              <a:pathLst>
                <a:path w="281" h="503">
                  <a:moveTo>
                    <a:pt x="281" y="503"/>
                  </a:moveTo>
                  <a:lnTo>
                    <a:pt x="0" y="503"/>
                  </a:lnTo>
                  <a:lnTo>
                    <a:pt x="120" y="0"/>
                  </a:lnTo>
                  <a:lnTo>
                    <a:pt x="281" y="503"/>
                  </a:lnTo>
                  <a:close/>
                </a:path>
              </a:pathLst>
            </a:custGeom>
            <a:solidFill>
              <a:srgbClr val="189DCC"/>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44" name="Freeform: Shape 43">
              <a:extLst>
                <a:ext uri="{FF2B5EF4-FFF2-40B4-BE49-F238E27FC236}">
                  <a16:creationId xmlns:a16="http://schemas.microsoft.com/office/drawing/2014/main" id="{89A34E30-7B58-57E1-62A1-C43F1BACFC2E}"/>
                </a:ext>
              </a:extLst>
            </p:cNvPr>
            <p:cNvSpPr/>
            <p:nvPr/>
          </p:nvSpPr>
          <p:spPr>
            <a:xfrm>
              <a:off x="15990710" y="2808628"/>
              <a:ext cx="193" cy="816"/>
            </a:xfrm>
            <a:custGeom>
              <a:avLst/>
              <a:gdLst>
                <a:gd name="connsiteX0" fmla="*/ 606 w 200"/>
                <a:gd name="connsiteY0" fmla="*/ 846 h 844"/>
                <a:gd name="connsiteX1" fmla="*/ 405 w 200"/>
                <a:gd name="connsiteY1" fmla="*/ 444 h 844"/>
                <a:gd name="connsiteX2" fmla="*/ 526 w 200"/>
                <a:gd name="connsiteY2" fmla="*/ 1 h 844"/>
                <a:gd name="connsiteX3" fmla="*/ 606 w 200"/>
                <a:gd name="connsiteY3" fmla="*/ 846 h 844"/>
              </a:gdLst>
              <a:ahLst/>
              <a:cxnLst>
                <a:cxn ang="0">
                  <a:pos x="connsiteX0" y="connsiteY0"/>
                </a:cxn>
                <a:cxn ang="0">
                  <a:pos x="connsiteX1" y="connsiteY1"/>
                </a:cxn>
                <a:cxn ang="0">
                  <a:pos x="connsiteX2" y="connsiteY2"/>
                </a:cxn>
                <a:cxn ang="0">
                  <a:pos x="connsiteX3" y="connsiteY3"/>
                </a:cxn>
              </a:cxnLst>
              <a:rect l="l" t="t" r="r" b="b"/>
              <a:pathLst>
                <a:path w="200" h="844">
                  <a:moveTo>
                    <a:pt x="606" y="846"/>
                  </a:moveTo>
                  <a:lnTo>
                    <a:pt x="405" y="444"/>
                  </a:lnTo>
                  <a:lnTo>
                    <a:pt x="526" y="1"/>
                  </a:lnTo>
                  <a:cubicBezTo>
                    <a:pt x="445" y="283"/>
                    <a:pt x="485" y="585"/>
                    <a:pt x="606" y="846"/>
                  </a:cubicBezTo>
                  <a:close/>
                </a:path>
              </a:pathLst>
            </a:custGeom>
            <a:solidFill>
              <a:srgbClr val="00B8F5">
                <a:lumMod val="60000"/>
                <a:lumOff val="40000"/>
              </a:srgbClr>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45" name="Freeform: Shape 44">
              <a:extLst>
                <a:ext uri="{FF2B5EF4-FFF2-40B4-BE49-F238E27FC236}">
                  <a16:creationId xmlns:a16="http://schemas.microsoft.com/office/drawing/2014/main" id="{D0CB771B-653F-06DD-3AFF-57381850BC14}"/>
                </a:ext>
              </a:extLst>
            </p:cNvPr>
            <p:cNvSpPr/>
            <p:nvPr/>
          </p:nvSpPr>
          <p:spPr>
            <a:xfrm>
              <a:off x="13973269" y="2279967"/>
              <a:ext cx="507155" cy="835089"/>
            </a:xfrm>
            <a:custGeom>
              <a:avLst/>
              <a:gdLst>
                <a:gd name="connsiteX0" fmla="*/ 524807 w 524806"/>
                <a:gd name="connsiteY0" fmla="*/ 178879 h 864154"/>
                <a:gd name="connsiteX1" fmla="*/ 444381 w 524806"/>
                <a:gd name="connsiteY1" fmla="*/ 863651 h 864154"/>
                <a:gd name="connsiteX2" fmla="*/ 444321 w 524806"/>
                <a:gd name="connsiteY2" fmla="*/ 864154 h 864154"/>
                <a:gd name="connsiteX3" fmla="*/ 114430 w 524806"/>
                <a:gd name="connsiteY3" fmla="*/ 848037 h 864154"/>
                <a:gd name="connsiteX4" fmla="*/ 98394 w 524806"/>
                <a:gd name="connsiteY4" fmla="*/ 847534 h 864154"/>
                <a:gd name="connsiteX5" fmla="*/ 0 w 524806"/>
                <a:gd name="connsiteY5" fmla="*/ 831417 h 864154"/>
                <a:gd name="connsiteX6" fmla="*/ 136363 w 524806"/>
                <a:gd name="connsiteY6" fmla="*/ 588753 h 864154"/>
                <a:gd name="connsiteX7" fmla="*/ 228277 w 524806"/>
                <a:gd name="connsiteY7" fmla="*/ 0 h 864154"/>
                <a:gd name="connsiteX8" fmla="*/ 524807 w 524806"/>
                <a:gd name="connsiteY8" fmla="*/ 178879 h 864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4806" h="864154">
                  <a:moveTo>
                    <a:pt x="524807" y="178879"/>
                  </a:moveTo>
                  <a:lnTo>
                    <a:pt x="444381" y="863651"/>
                  </a:lnTo>
                  <a:lnTo>
                    <a:pt x="444321" y="864154"/>
                  </a:lnTo>
                  <a:lnTo>
                    <a:pt x="114430" y="848037"/>
                  </a:lnTo>
                  <a:lnTo>
                    <a:pt x="98394" y="847534"/>
                  </a:lnTo>
                  <a:lnTo>
                    <a:pt x="0" y="831417"/>
                  </a:lnTo>
                  <a:lnTo>
                    <a:pt x="136363" y="588753"/>
                  </a:lnTo>
                  <a:lnTo>
                    <a:pt x="228277" y="0"/>
                  </a:lnTo>
                  <a:lnTo>
                    <a:pt x="524807" y="178879"/>
                  </a:lnTo>
                  <a:close/>
                </a:path>
              </a:pathLst>
            </a:custGeom>
            <a:solidFill>
              <a:srgbClr val="00B8F5"/>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46" name="Freeform: Shape 45">
              <a:extLst>
                <a:ext uri="{FF2B5EF4-FFF2-40B4-BE49-F238E27FC236}">
                  <a16:creationId xmlns:a16="http://schemas.microsoft.com/office/drawing/2014/main" id="{A5A14686-2C79-33F9-BD77-F3C9FAE06CB1}"/>
                </a:ext>
              </a:extLst>
            </p:cNvPr>
            <p:cNvSpPr/>
            <p:nvPr/>
          </p:nvSpPr>
          <p:spPr>
            <a:xfrm flipH="1">
              <a:off x="15691456" y="3016090"/>
              <a:ext cx="217662" cy="424477"/>
            </a:xfrm>
            <a:custGeom>
              <a:avLst/>
              <a:gdLst>
                <a:gd name="connsiteX0" fmla="*/ 224817 w 225238"/>
                <a:gd name="connsiteY0" fmla="*/ 2334 h 439250"/>
                <a:gd name="connsiteX1" fmla="*/ 224535 w 225238"/>
                <a:gd name="connsiteY1" fmla="*/ 2877 h 439250"/>
                <a:gd name="connsiteX2" fmla="*/ 224515 w 225238"/>
                <a:gd name="connsiteY2" fmla="*/ 2877 h 439250"/>
                <a:gd name="connsiteX3" fmla="*/ 3119 w 225238"/>
                <a:gd name="connsiteY3" fmla="*/ 433214 h 439250"/>
                <a:gd name="connsiteX4" fmla="*/ 0 w 225238"/>
                <a:gd name="connsiteY4" fmla="*/ 439251 h 439250"/>
                <a:gd name="connsiteX5" fmla="*/ 0 w 225238"/>
                <a:gd name="connsiteY5" fmla="*/ 2334 h 439250"/>
                <a:gd name="connsiteX6" fmla="*/ 2576 w 225238"/>
                <a:gd name="connsiteY6" fmla="*/ 2334 h 439250"/>
                <a:gd name="connsiteX7" fmla="*/ 2797 w 225238"/>
                <a:gd name="connsiteY7" fmla="*/ 1107 h 439250"/>
                <a:gd name="connsiteX8" fmla="*/ 2998 w 225238"/>
                <a:gd name="connsiteY8" fmla="*/ 0 h 439250"/>
                <a:gd name="connsiteX9" fmla="*/ 225239 w 225238"/>
                <a:gd name="connsiteY9" fmla="*/ 0 h 439250"/>
                <a:gd name="connsiteX10" fmla="*/ 224112 w 225238"/>
                <a:gd name="connsiteY10" fmla="*/ 2334 h 439250"/>
                <a:gd name="connsiteX11" fmla="*/ 224817 w 225238"/>
                <a:gd name="connsiteY11" fmla="*/ 2334 h 43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5238" h="439250">
                  <a:moveTo>
                    <a:pt x="224817" y="2334"/>
                  </a:moveTo>
                  <a:lnTo>
                    <a:pt x="224535" y="2877"/>
                  </a:lnTo>
                  <a:lnTo>
                    <a:pt x="224515" y="2877"/>
                  </a:lnTo>
                  <a:lnTo>
                    <a:pt x="3119" y="433214"/>
                  </a:lnTo>
                  <a:lnTo>
                    <a:pt x="0" y="439251"/>
                  </a:lnTo>
                  <a:lnTo>
                    <a:pt x="0" y="2334"/>
                  </a:lnTo>
                  <a:lnTo>
                    <a:pt x="2576" y="2334"/>
                  </a:lnTo>
                  <a:lnTo>
                    <a:pt x="2797" y="1107"/>
                  </a:lnTo>
                  <a:lnTo>
                    <a:pt x="2998" y="0"/>
                  </a:lnTo>
                  <a:lnTo>
                    <a:pt x="225239" y="0"/>
                  </a:lnTo>
                  <a:lnTo>
                    <a:pt x="224112" y="2334"/>
                  </a:lnTo>
                  <a:lnTo>
                    <a:pt x="224817" y="2334"/>
                  </a:lnTo>
                  <a:close/>
                </a:path>
              </a:pathLst>
            </a:custGeom>
            <a:solidFill>
              <a:srgbClr val="05A6DA"/>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47" name="Freeform: Shape 46">
              <a:extLst>
                <a:ext uri="{FF2B5EF4-FFF2-40B4-BE49-F238E27FC236}">
                  <a16:creationId xmlns:a16="http://schemas.microsoft.com/office/drawing/2014/main" id="{50B9416B-4E17-3A71-77DA-8F59B5F1DACE}"/>
                </a:ext>
              </a:extLst>
            </p:cNvPr>
            <p:cNvSpPr/>
            <p:nvPr/>
          </p:nvSpPr>
          <p:spPr>
            <a:xfrm flipH="1">
              <a:off x="15612600" y="3016090"/>
              <a:ext cx="750123" cy="2664836"/>
            </a:xfrm>
            <a:custGeom>
              <a:avLst/>
              <a:gdLst>
                <a:gd name="connsiteX0" fmla="*/ 480600 w 480599"/>
                <a:gd name="connsiteY0" fmla="*/ 1554359 h 2639748"/>
                <a:gd name="connsiteX1" fmla="*/ 397740 w 480599"/>
                <a:gd name="connsiteY1" fmla="*/ 2639748 h 2639748"/>
                <a:gd name="connsiteX2" fmla="*/ 397619 w 480599"/>
                <a:gd name="connsiteY2" fmla="*/ 2639306 h 2639748"/>
                <a:gd name="connsiteX3" fmla="*/ 0 w 480599"/>
                <a:gd name="connsiteY3" fmla="*/ 1581664 h 2639748"/>
                <a:gd name="connsiteX4" fmla="*/ 148114 w 480599"/>
                <a:gd name="connsiteY4" fmla="*/ 2877 h 2639748"/>
                <a:gd name="connsiteX5" fmla="*/ 148154 w 480599"/>
                <a:gd name="connsiteY5" fmla="*/ 2334 h 2639748"/>
                <a:gd name="connsiteX6" fmla="*/ 155981 w 480599"/>
                <a:gd name="connsiteY6" fmla="*/ 2334 h 2639748"/>
                <a:gd name="connsiteX7" fmla="*/ 156484 w 480599"/>
                <a:gd name="connsiteY7" fmla="*/ 0 h 2639748"/>
                <a:gd name="connsiteX8" fmla="*/ 471908 w 480599"/>
                <a:gd name="connsiteY8" fmla="*/ 0 h 2639748"/>
                <a:gd name="connsiteX9" fmla="*/ 472189 w 480599"/>
                <a:gd name="connsiteY9" fmla="*/ 1107 h 2639748"/>
                <a:gd name="connsiteX10" fmla="*/ 472209 w 480599"/>
                <a:gd name="connsiteY10" fmla="*/ 1127 h 2639748"/>
                <a:gd name="connsiteX11" fmla="*/ 472632 w 480599"/>
                <a:gd name="connsiteY11" fmla="*/ 2877 h 2639748"/>
                <a:gd name="connsiteX12" fmla="*/ 469392 w 480599"/>
                <a:gd name="connsiteY12" fmla="*/ 2877 h 2639748"/>
                <a:gd name="connsiteX13" fmla="*/ 472511 w 480599"/>
                <a:gd name="connsiteY13" fmla="*/ 433214 h 2639748"/>
                <a:gd name="connsiteX14" fmla="*/ 480600 w 480599"/>
                <a:gd name="connsiteY14" fmla="*/ 1554359 h 2639748"/>
                <a:gd name="connsiteX0" fmla="*/ 480600 w 768224"/>
                <a:gd name="connsiteY0" fmla="*/ 1554359 h 2757584"/>
                <a:gd name="connsiteX1" fmla="*/ 397740 w 768224"/>
                <a:gd name="connsiteY1" fmla="*/ 2639748 h 2757584"/>
                <a:gd name="connsiteX2" fmla="*/ 768224 w 768224"/>
                <a:gd name="connsiteY2" fmla="*/ 2757584 h 2757584"/>
                <a:gd name="connsiteX3" fmla="*/ 0 w 768224"/>
                <a:gd name="connsiteY3" fmla="*/ 1581664 h 2757584"/>
                <a:gd name="connsiteX4" fmla="*/ 148114 w 768224"/>
                <a:gd name="connsiteY4" fmla="*/ 2877 h 2757584"/>
                <a:gd name="connsiteX5" fmla="*/ 148154 w 768224"/>
                <a:gd name="connsiteY5" fmla="*/ 2334 h 2757584"/>
                <a:gd name="connsiteX6" fmla="*/ 155981 w 768224"/>
                <a:gd name="connsiteY6" fmla="*/ 2334 h 2757584"/>
                <a:gd name="connsiteX7" fmla="*/ 156484 w 768224"/>
                <a:gd name="connsiteY7" fmla="*/ 0 h 2757584"/>
                <a:gd name="connsiteX8" fmla="*/ 471908 w 768224"/>
                <a:gd name="connsiteY8" fmla="*/ 0 h 2757584"/>
                <a:gd name="connsiteX9" fmla="*/ 472189 w 768224"/>
                <a:gd name="connsiteY9" fmla="*/ 1107 h 2757584"/>
                <a:gd name="connsiteX10" fmla="*/ 472209 w 768224"/>
                <a:gd name="connsiteY10" fmla="*/ 1127 h 2757584"/>
                <a:gd name="connsiteX11" fmla="*/ 472632 w 768224"/>
                <a:gd name="connsiteY11" fmla="*/ 2877 h 2757584"/>
                <a:gd name="connsiteX12" fmla="*/ 469392 w 768224"/>
                <a:gd name="connsiteY12" fmla="*/ 2877 h 2757584"/>
                <a:gd name="connsiteX13" fmla="*/ 472511 w 768224"/>
                <a:gd name="connsiteY13" fmla="*/ 433214 h 2757584"/>
                <a:gd name="connsiteX14" fmla="*/ 480600 w 768224"/>
                <a:gd name="connsiteY14" fmla="*/ 1554359 h 2757584"/>
                <a:gd name="connsiteX0" fmla="*/ 685616 w 768224"/>
                <a:gd name="connsiteY0" fmla="*/ 2287684 h 2757584"/>
                <a:gd name="connsiteX1" fmla="*/ 397740 w 768224"/>
                <a:gd name="connsiteY1" fmla="*/ 2639748 h 2757584"/>
                <a:gd name="connsiteX2" fmla="*/ 768224 w 768224"/>
                <a:gd name="connsiteY2" fmla="*/ 2757584 h 2757584"/>
                <a:gd name="connsiteX3" fmla="*/ 0 w 768224"/>
                <a:gd name="connsiteY3" fmla="*/ 1581664 h 2757584"/>
                <a:gd name="connsiteX4" fmla="*/ 148114 w 768224"/>
                <a:gd name="connsiteY4" fmla="*/ 2877 h 2757584"/>
                <a:gd name="connsiteX5" fmla="*/ 148154 w 768224"/>
                <a:gd name="connsiteY5" fmla="*/ 2334 h 2757584"/>
                <a:gd name="connsiteX6" fmla="*/ 155981 w 768224"/>
                <a:gd name="connsiteY6" fmla="*/ 2334 h 2757584"/>
                <a:gd name="connsiteX7" fmla="*/ 156484 w 768224"/>
                <a:gd name="connsiteY7" fmla="*/ 0 h 2757584"/>
                <a:gd name="connsiteX8" fmla="*/ 471908 w 768224"/>
                <a:gd name="connsiteY8" fmla="*/ 0 h 2757584"/>
                <a:gd name="connsiteX9" fmla="*/ 472189 w 768224"/>
                <a:gd name="connsiteY9" fmla="*/ 1107 h 2757584"/>
                <a:gd name="connsiteX10" fmla="*/ 472209 w 768224"/>
                <a:gd name="connsiteY10" fmla="*/ 1127 h 2757584"/>
                <a:gd name="connsiteX11" fmla="*/ 472632 w 768224"/>
                <a:gd name="connsiteY11" fmla="*/ 2877 h 2757584"/>
                <a:gd name="connsiteX12" fmla="*/ 469392 w 768224"/>
                <a:gd name="connsiteY12" fmla="*/ 2877 h 2757584"/>
                <a:gd name="connsiteX13" fmla="*/ 472511 w 768224"/>
                <a:gd name="connsiteY13" fmla="*/ 433214 h 2757584"/>
                <a:gd name="connsiteX14" fmla="*/ 685616 w 768224"/>
                <a:gd name="connsiteY14" fmla="*/ 2287684 h 2757584"/>
                <a:gd name="connsiteX0" fmla="*/ 685616 w 776230"/>
                <a:gd name="connsiteY0" fmla="*/ 2287684 h 2757584"/>
                <a:gd name="connsiteX1" fmla="*/ 776230 w 776230"/>
                <a:gd name="connsiteY1" fmla="*/ 2545125 h 2757584"/>
                <a:gd name="connsiteX2" fmla="*/ 768224 w 776230"/>
                <a:gd name="connsiteY2" fmla="*/ 2757584 h 2757584"/>
                <a:gd name="connsiteX3" fmla="*/ 0 w 776230"/>
                <a:gd name="connsiteY3" fmla="*/ 1581664 h 2757584"/>
                <a:gd name="connsiteX4" fmla="*/ 148114 w 776230"/>
                <a:gd name="connsiteY4" fmla="*/ 2877 h 2757584"/>
                <a:gd name="connsiteX5" fmla="*/ 148154 w 776230"/>
                <a:gd name="connsiteY5" fmla="*/ 2334 h 2757584"/>
                <a:gd name="connsiteX6" fmla="*/ 155981 w 776230"/>
                <a:gd name="connsiteY6" fmla="*/ 2334 h 2757584"/>
                <a:gd name="connsiteX7" fmla="*/ 156484 w 776230"/>
                <a:gd name="connsiteY7" fmla="*/ 0 h 2757584"/>
                <a:gd name="connsiteX8" fmla="*/ 471908 w 776230"/>
                <a:gd name="connsiteY8" fmla="*/ 0 h 2757584"/>
                <a:gd name="connsiteX9" fmla="*/ 472189 w 776230"/>
                <a:gd name="connsiteY9" fmla="*/ 1107 h 2757584"/>
                <a:gd name="connsiteX10" fmla="*/ 472209 w 776230"/>
                <a:gd name="connsiteY10" fmla="*/ 1127 h 2757584"/>
                <a:gd name="connsiteX11" fmla="*/ 472632 w 776230"/>
                <a:gd name="connsiteY11" fmla="*/ 2877 h 2757584"/>
                <a:gd name="connsiteX12" fmla="*/ 469392 w 776230"/>
                <a:gd name="connsiteY12" fmla="*/ 2877 h 2757584"/>
                <a:gd name="connsiteX13" fmla="*/ 472511 w 776230"/>
                <a:gd name="connsiteY13" fmla="*/ 433214 h 2757584"/>
                <a:gd name="connsiteX14" fmla="*/ 685616 w 776230"/>
                <a:gd name="connsiteY14" fmla="*/ 2287684 h 2757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76230" h="2757584">
                  <a:moveTo>
                    <a:pt x="685616" y="2287684"/>
                  </a:moveTo>
                  <a:lnTo>
                    <a:pt x="776230" y="2545125"/>
                  </a:lnTo>
                  <a:lnTo>
                    <a:pt x="768224" y="2757584"/>
                  </a:lnTo>
                  <a:lnTo>
                    <a:pt x="0" y="1581664"/>
                  </a:lnTo>
                  <a:lnTo>
                    <a:pt x="148114" y="2877"/>
                  </a:lnTo>
                  <a:cubicBezTo>
                    <a:pt x="148127" y="2696"/>
                    <a:pt x="148141" y="2515"/>
                    <a:pt x="148154" y="2334"/>
                  </a:cubicBezTo>
                  <a:lnTo>
                    <a:pt x="155981" y="2334"/>
                  </a:lnTo>
                  <a:lnTo>
                    <a:pt x="156484" y="0"/>
                  </a:lnTo>
                  <a:lnTo>
                    <a:pt x="471908" y="0"/>
                  </a:lnTo>
                  <a:cubicBezTo>
                    <a:pt x="472002" y="369"/>
                    <a:pt x="472095" y="738"/>
                    <a:pt x="472189" y="1107"/>
                  </a:cubicBezTo>
                  <a:lnTo>
                    <a:pt x="472209" y="1127"/>
                  </a:lnTo>
                  <a:lnTo>
                    <a:pt x="472632" y="2877"/>
                  </a:lnTo>
                  <a:lnTo>
                    <a:pt x="469392" y="2877"/>
                  </a:lnTo>
                  <a:cubicBezTo>
                    <a:pt x="470432" y="146323"/>
                    <a:pt x="471471" y="289768"/>
                    <a:pt x="472511" y="433214"/>
                  </a:cubicBezTo>
                  <a:cubicBezTo>
                    <a:pt x="475207" y="806929"/>
                    <a:pt x="682920" y="1913969"/>
                    <a:pt x="685616" y="2287684"/>
                  </a:cubicBezTo>
                  <a:close/>
                </a:path>
              </a:pathLst>
            </a:custGeom>
            <a:solidFill>
              <a:srgbClr val="00338D">
                <a:lumMod val="75000"/>
              </a:srgbClr>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48" name="Freeform: Shape 47">
              <a:extLst>
                <a:ext uri="{FF2B5EF4-FFF2-40B4-BE49-F238E27FC236}">
                  <a16:creationId xmlns:a16="http://schemas.microsoft.com/office/drawing/2014/main" id="{2C4D35B4-87BB-3578-8A69-352C06EE1DD6}"/>
                </a:ext>
              </a:extLst>
            </p:cNvPr>
            <p:cNvSpPr/>
            <p:nvPr/>
          </p:nvSpPr>
          <p:spPr>
            <a:xfrm flipH="1">
              <a:off x="16583672" y="3006736"/>
              <a:ext cx="448179" cy="1289278"/>
            </a:xfrm>
            <a:custGeom>
              <a:avLst/>
              <a:gdLst>
                <a:gd name="connsiteX0" fmla="*/ 621631 w 753788"/>
                <a:gd name="connsiteY0" fmla="*/ 1334130 h 1334150"/>
                <a:gd name="connsiteX1" fmla="*/ 621631 w 753788"/>
                <a:gd name="connsiteY1" fmla="*/ 1334150 h 1334150"/>
                <a:gd name="connsiteX2" fmla="*/ 621611 w 753788"/>
                <a:gd name="connsiteY2" fmla="*/ 1334130 h 1334150"/>
                <a:gd name="connsiteX3" fmla="*/ 51350 w 753788"/>
                <a:gd name="connsiteY3" fmla="*/ 539777 h 1334150"/>
                <a:gd name="connsiteX4" fmla="*/ 0 w 753788"/>
                <a:gd name="connsiteY4" fmla="*/ 240189 h 1334150"/>
                <a:gd name="connsiteX5" fmla="*/ 291539 w 753788"/>
                <a:gd name="connsiteY5" fmla="*/ 2877 h 1334150"/>
                <a:gd name="connsiteX6" fmla="*/ 290010 w 753788"/>
                <a:gd name="connsiteY6" fmla="*/ 2877 h 1334150"/>
                <a:gd name="connsiteX7" fmla="*/ 291539 w 753788"/>
                <a:gd name="connsiteY7" fmla="*/ 0 h 1334150"/>
                <a:gd name="connsiteX8" fmla="*/ 753788 w 753788"/>
                <a:gd name="connsiteY8" fmla="*/ 9678 h 1334150"/>
                <a:gd name="connsiteX9" fmla="*/ 753426 w 753788"/>
                <a:gd name="connsiteY9" fmla="*/ 12012 h 1334150"/>
                <a:gd name="connsiteX10" fmla="*/ 753386 w 753788"/>
                <a:gd name="connsiteY10" fmla="*/ 12314 h 1334150"/>
                <a:gd name="connsiteX11" fmla="*/ 621631 w 753788"/>
                <a:gd name="connsiteY11" fmla="*/ 1334130 h 1334150"/>
                <a:gd name="connsiteX0" fmla="*/ 570281 w 702438"/>
                <a:gd name="connsiteY0" fmla="*/ 1334130 h 1334150"/>
                <a:gd name="connsiteX1" fmla="*/ 570281 w 702438"/>
                <a:gd name="connsiteY1" fmla="*/ 1334150 h 1334150"/>
                <a:gd name="connsiteX2" fmla="*/ 570261 w 702438"/>
                <a:gd name="connsiteY2" fmla="*/ 1334130 h 1334150"/>
                <a:gd name="connsiteX3" fmla="*/ 0 w 702438"/>
                <a:gd name="connsiteY3" fmla="*/ 539777 h 1334150"/>
                <a:gd name="connsiteX4" fmla="*/ 271451 w 702438"/>
                <a:gd name="connsiteY4" fmla="*/ 301792 h 1334150"/>
                <a:gd name="connsiteX5" fmla="*/ 240189 w 702438"/>
                <a:gd name="connsiteY5" fmla="*/ 2877 h 1334150"/>
                <a:gd name="connsiteX6" fmla="*/ 238660 w 702438"/>
                <a:gd name="connsiteY6" fmla="*/ 2877 h 1334150"/>
                <a:gd name="connsiteX7" fmla="*/ 240189 w 702438"/>
                <a:gd name="connsiteY7" fmla="*/ 0 h 1334150"/>
                <a:gd name="connsiteX8" fmla="*/ 702438 w 702438"/>
                <a:gd name="connsiteY8" fmla="*/ 9678 h 1334150"/>
                <a:gd name="connsiteX9" fmla="*/ 702076 w 702438"/>
                <a:gd name="connsiteY9" fmla="*/ 12012 h 1334150"/>
                <a:gd name="connsiteX10" fmla="*/ 702036 w 702438"/>
                <a:gd name="connsiteY10" fmla="*/ 12314 h 1334150"/>
                <a:gd name="connsiteX11" fmla="*/ 570281 w 702438"/>
                <a:gd name="connsiteY11" fmla="*/ 1334130 h 1334150"/>
                <a:gd name="connsiteX0" fmla="*/ 331621 w 463778"/>
                <a:gd name="connsiteY0" fmla="*/ 1334130 h 1334150"/>
                <a:gd name="connsiteX1" fmla="*/ 331621 w 463778"/>
                <a:gd name="connsiteY1" fmla="*/ 1334150 h 1334150"/>
                <a:gd name="connsiteX2" fmla="*/ 331601 w 463778"/>
                <a:gd name="connsiteY2" fmla="*/ 1334130 h 1334150"/>
                <a:gd name="connsiteX3" fmla="*/ 158065 w 463778"/>
                <a:gd name="connsiteY3" fmla="*/ 778797 h 1334150"/>
                <a:gd name="connsiteX4" fmla="*/ 32791 w 463778"/>
                <a:gd name="connsiteY4" fmla="*/ 301792 h 1334150"/>
                <a:gd name="connsiteX5" fmla="*/ 1529 w 463778"/>
                <a:gd name="connsiteY5" fmla="*/ 2877 h 1334150"/>
                <a:gd name="connsiteX6" fmla="*/ 0 w 463778"/>
                <a:gd name="connsiteY6" fmla="*/ 2877 h 1334150"/>
                <a:gd name="connsiteX7" fmla="*/ 1529 w 463778"/>
                <a:gd name="connsiteY7" fmla="*/ 0 h 1334150"/>
                <a:gd name="connsiteX8" fmla="*/ 463778 w 463778"/>
                <a:gd name="connsiteY8" fmla="*/ 9678 h 1334150"/>
                <a:gd name="connsiteX9" fmla="*/ 463416 w 463778"/>
                <a:gd name="connsiteY9" fmla="*/ 12012 h 1334150"/>
                <a:gd name="connsiteX10" fmla="*/ 463376 w 463778"/>
                <a:gd name="connsiteY10" fmla="*/ 12314 h 1334150"/>
                <a:gd name="connsiteX11" fmla="*/ 331621 w 463778"/>
                <a:gd name="connsiteY11" fmla="*/ 1334130 h 1334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778" h="1334150">
                  <a:moveTo>
                    <a:pt x="331621" y="1334130"/>
                  </a:moveTo>
                  <a:lnTo>
                    <a:pt x="331621" y="1334150"/>
                  </a:lnTo>
                  <a:lnTo>
                    <a:pt x="331601" y="1334130"/>
                  </a:lnTo>
                  <a:lnTo>
                    <a:pt x="158065" y="778797"/>
                  </a:lnTo>
                  <a:lnTo>
                    <a:pt x="32791" y="301792"/>
                  </a:lnTo>
                  <a:lnTo>
                    <a:pt x="1529" y="2877"/>
                  </a:lnTo>
                  <a:lnTo>
                    <a:pt x="0" y="2877"/>
                  </a:lnTo>
                  <a:lnTo>
                    <a:pt x="1529" y="0"/>
                  </a:lnTo>
                  <a:lnTo>
                    <a:pt x="463778" y="9678"/>
                  </a:lnTo>
                  <a:cubicBezTo>
                    <a:pt x="463657" y="10456"/>
                    <a:pt x="463537" y="11234"/>
                    <a:pt x="463416" y="12012"/>
                  </a:cubicBezTo>
                  <a:cubicBezTo>
                    <a:pt x="463403" y="12113"/>
                    <a:pt x="463389" y="12213"/>
                    <a:pt x="463376" y="12314"/>
                  </a:cubicBezTo>
                  <a:lnTo>
                    <a:pt x="331621" y="1334130"/>
                  </a:lnTo>
                  <a:close/>
                </a:path>
              </a:pathLst>
            </a:custGeom>
            <a:solidFill>
              <a:srgbClr val="00338D"/>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49" name="Freeform: Shape 48">
              <a:extLst>
                <a:ext uri="{FF2B5EF4-FFF2-40B4-BE49-F238E27FC236}">
                  <a16:creationId xmlns:a16="http://schemas.microsoft.com/office/drawing/2014/main" id="{1B71BE43-551E-EE76-78DF-EF88D0C527DF}"/>
                </a:ext>
              </a:extLst>
            </p:cNvPr>
            <p:cNvSpPr/>
            <p:nvPr/>
          </p:nvSpPr>
          <p:spPr>
            <a:xfrm flipH="1">
              <a:off x="16753495" y="3006739"/>
              <a:ext cx="277987" cy="317956"/>
            </a:xfrm>
            <a:custGeom>
              <a:avLst/>
              <a:gdLst>
                <a:gd name="connsiteX0" fmla="*/ 405 w 577671"/>
                <a:gd name="connsiteY0" fmla="*/ 240191 h 240189"/>
                <a:gd name="connsiteX1" fmla="*/ 291965 w 577671"/>
                <a:gd name="connsiteY1" fmla="*/ 2899 h 240189"/>
                <a:gd name="connsiteX2" fmla="*/ 290415 w 577671"/>
                <a:gd name="connsiteY2" fmla="*/ 2899 h 240189"/>
                <a:gd name="connsiteX3" fmla="*/ 291944 w 577671"/>
                <a:gd name="connsiteY3" fmla="*/ 1 h 240189"/>
                <a:gd name="connsiteX4" fmla="*/ 576039 w 577671"/>
                <a:gd name="connsiteY4" fmla="*/ 9680 h 240189"/>
                <a:gd name="connsiteX5" fmla="*/ 578077 w 577671"/>
                <a:gd name="connsiteY5" fmla="*/ 11672 h 240189"/>
                <a:gd name="connsiteX6" fmla="*/ 578051 w 577671"/>
                <a:gd name="connsiteY6" fmla="*/ 12014 h 240189"/>
                <a:gd name="connsiteX0" fmla="*/ 30327 w 287662"/>
                <a:gd name="connsiteY0" fmla="*/ 328899 h 328899"/>
                <a:gd name="connsiteX1" fmla="*/ 1550 w 287662"/>
                <a:gd name="connsiteY1" fmla="*/ 2898 h 328899"/>
                <a:gd name="connsiteX2" fmla="*/ 0 w 287662"/>
                <a:gd name="connsiteY2" fmla="*/ 2898 h 328899"/>
                <a:gd name="connsiteX3" fmla="*/ 1529 w 287662"/>
                <a:gd name="connsiteY3" fmla="*/ 0 h 328899"/>
                <a:gd name="connsiteX4" fmla="*/ 285624 w 287662"/>
                <a:gd name="connsiteY4" fmla="*/ 9679 h 328899"/>
                <a:gd name="connsiteX5" fmla="*/ 287662 w 287662"/>
                <a:gd name="connsiteY5" fmla="*/ 11671 h 328899"/>
                <a:gd name="connsiteX6" fmla="*/ 287636 w 287662"/>
                <a:gd name="connsiteY6" fmla="*/ 12013 h 328899"/>
                <a:gd name="connsiteX7" fmla="*/ 30327 w 287662"/>
                <a:gd name="connsiteY7" fmla="*/ 328899 h 328899"/>
                <a:gd name="connsiteX0" fmla="*/ 30327 w 287662"/>
                <a:gd name="connsiteY0" fmla="*/ 328899 h 328981"/>
                <a:gd name="connsiteX1" fmla="*/ 1550 w 287662"/>
                <a:gd name="connsiteY1" fmla="*/ 2898 h 328981"/>
                <a:gd name="connsiteX2" fmla="*/ 0 w 287662"/>
                <a:gd name="connsiteY2" fmla="*/ 2898 h 328981"/>
                <a:gd name="connsiteX3" fmla="*/ 1529 w 287662"/>
                <a:gd name="connsiteY3" fmla="*/ 0 h 328981"/>
                <a:gd name="connsiteX4" fmla="*/ 285624 w 287662"/>
                <a:gd name="connsiteY4" fmla="*/ 9679 h 328981"/>
                <a:gd name="connsiteX5" fmla="*/ 287662 w 287662"/>
                <a:gd name="connsiteY5" fmla="*/ 11671 h 328981"/>
                <a:gd name="connsiteX6" fmla="*/ 287636 w 287662"/>
                <a:gd name="connsiteY6" fmla="*/ 12013 h 328981"/>
                <a:gd name="connsiteX7" fmla="*/ 30327 w 287662"/>
                <a:gd name="connsiteY7" fmla="*/ 328899 h 328981"/>
                <a:gd name="connsiteX0" fmla="*/ 30327 w 287662"/>
                <a:gd name="connsiteY0" fmla="*/ 328899 h 329023"/>
                <a:gd name="connsiteX1" fmla="*/ 1550 w 287662"/>
                <a:gd name="connsiteY1" fmla="*/ 2898 h 329023"/>
                <a:gd name="connsiteX2" fmla="*/ 0 w 287662"/>
                <a:gd name="connsiteY2" fmla="*/ 2898 h 329023"/>
                <a:gd name="connsiteX3" fmla="*/ 1529 w 287662"/>
                <a:gd name="connsiteY3" fmla="*/ 0 h 329023"/>
                <a:gd name="connsiteX4" fmla="*/ 285624 w 287662"/>
                <a:gd name="connsiteY4" fmla="*/ 9679 h 329023"/>
                <a:gd name="connsiteX5" fmla="*/ 287662 w 287662"/>
                <a:gd name="connsiteY5" fmla="*/ 11671 h 329023"/>
                <a:gd name="connsiteX6" fmla="*/ 287636 w 287662"/>
                <a:gd name="connsiteY6" fmla="*/ 12013 h 329023"/>
                <a:gd name="connsiteX7" fmla="*/ 30327 w 287662"/>
                <a:gd name="connsiteY7" fmla="*/ 328899 h 329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7662" h="329023">
                  <a:moveTo>
                    <a:pt x="30327" y="328899"/>
                  </a:moveTo>
                  <a:lnTo>
                    <a:pt x="1550" y="2898"/>
                  </a:lnTo>
                  <a:lnTo>
                    <a:pt x="0" y="2898"/>
                  </a:lnTo>
                  <a:lnTo>
                    <a:pt x="1529" y="0"/>
                  </a:lnTo>
                  <a:lnTo>
                    <a:pt x="285624" y="9679"/>
                  </a:lnTo>
                  <a:cubicBezTo>
                    <a:pt x="286734" y="9659"/>
                    <a:pt x="287648" y="10544"/>
                    <a:pt x="287662" y="11671"/>
                  </a:cubicBezTo>
                  <a:cubicBezTo>
                    <a:pt x="287664" y="11771"/>
                    <a:pt x="287654" y="11892"/>
                    <a:pt x="287636" y="12013"/>
                  </a:cubicBezTo>
                  <a:cubicBezTo>
                    <a:pt x="151762" y="171854"/>
                    <a:pt x="40531" y="334156"/>
                    <a:pt x="30327" y="328899"/>
                  </a:cubicBezTo>
                  <a:close/>
                </a:path>
              </a:pathLst>
            </a:custGeom>
            <a:solidFill>
              <a:srgbClr val="00338D">
                <a:lumMod val="60000"/>
                <a:lumOff val="40000"/>
              </a:srgbClr>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50" name="Freeform: Shape 49">
              <a:extLst>
                <a:ext uri="{FF2B5EF4-FFF2-40B4-BE49-F238E27FC236}">
                  <a16:creationId xmlns:a16="http://schemas.microsoft.com/office/drawing/2014/main" id="{C546203E-3747-BD7E-4F26-F9673B74BD04}"/>
                </a:ext>
              </a:extLst>
            </p:cNvPr>
            <p:cNvSpPr/>
            <p:nvPr/>
          </p:nvSpPr>
          <p:spPr>
            <a:xfrm flipH="1">
              <a:off x="15358037" y="4295995"/>
              <a:ext cx="1353371" cy="2178391"/>
            </a:xfrm>
            <a:custGeom>
              <a:avLst/>
              <a:gdLst>
                <a:gd name="connsiteX0" fmla="*/ 758557 w 758557"/>
                <a:gd name="connsiteY0" fmla="*/ 1315317 h 1904331"/>
                <a:gd name="connsiteX1" fmla="*/ 360797 w 758557"/>
                <a:gd name="connsiteY1" fmla="*/ 257192 h 1904331"/>
                <a:gd name="connsiteX2" fmla="*/ 0 w 758557"/>
                <a:gd name="connsiteY2" fmla="*/ 0 h 1904331"/>
                <a:gd name="connsiteX3" fmla="*/ 358362 w 758557"/>
                <a:gd name="connsiteY3" fmla="*/ 755559 h 1904331"/>
                <a:gd name="connsiteX4" fmla="*/ 757289 w 758557"/>
                <a:gd name="connsiteY4" fmla="*/ 1904331 h 1904331"/>
                <a:gd name="connsiteX5" fmla="*/ 758557 w 758557"/>
                <a:gd name="connsiteY5" fmla="*/ 1315317 h 1904331"/>
                <a:gd name="connsiteX0" fmla="*/ 758557 w 788360"/>
                <a:gd name="connsiteY0" fmla="*/ 1315317 h 1924527"/>
                <a:gd name="connsiteX1" fmla="*/ 360797 w 788360"/>
                <a:gd name="connsiteY1" fmla="*/ 257192 h 1924527"/>
                <a:gd name="connsiteX2" fmla="*/ 0 w 788360"/>
                <a:gd name="connsiteY2" fmla="*/ 0 h 1924527"/>
                <a:gd name="connsiteX3" fmla="*/ 358362 w 788360"/>
                <a:gd name="connsiteY3" fmla="*/ 755559 h 1924527"/>
                <a:gd name="connsiteX4" fmla="*/ 788360 w 788360"/>
                <a:gd name="connsiteY4" fmla="*/ 1924527 h 1924527"/>
                <a:gd name="connsiteX5" fmla="*/ 758557 w 788360"/>
                <a:gd name="connsiteY5" fmla="*/ 1315317 h 192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8360" h="1924527">
                  <a:moveTo>
                    <a:pt x="758557" y="1315317"/>
                  </a:moveTo>
                  <a:lnTo>
                    <a:pt x="360797" y="257192"/>
                  </a:lnTo>
                  <a:lnTo>
                    <a:pt x="0" y="0"/>
                  </a:lnTo>
                  <a:lnTo>
                    <a:pt x="358362" y="755559"/>
                  </a:lnTo>
                  <a:lnTo>
                    <a:pt x="788360" y="1924527"/>
                  </a:lnTo>
                  <a:lnTo>
                    <a:pt x="758557" y="1315317"/>
                  </a:lnTo>
                  <a:close/>
                </a:path>
              </a:pathLst>
            </a:custGeom>
            <a:solidFill>
              <a:srgbClr val="1E49E2">
                <a:lumMod val="75000"/>
              </a:srgbClr>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51" name="Freeform: Shape 50">
              <a:extLst>
                <a:ext uri="{FF2B5EF4-FFF2-40B4-BE49-F238E27FC236}">
                  <a16:creationId xmlns:a16="http://schemas.microsoft.com/office/drawing/2014/main" id="{09A6D2BF-76A1-07DC-3826-64E3D57BD84B}"/>
                </a:ext>
              </a:extLst>
            </p:cNvPr>
            <p:cNvSpPr/>
            <p:nvPr/>
          </p:nvSpPr>
          <p:spPr>
            <a:xfrm flipH="1">
              <a:off x="16219205" y="3016090"/>
              <a:ext cx="609492" cy="1528466"/>
            </a:xfrm>
            <a:custGeom>
              <a:avLst/>
              <a:gdLst>
                <a:gd name="connsiteX0" fmla="*/ 630706 w 630705"/>
                <a:gd name="connsiteY0" fmla="*/ 0 h 1581663"/>
                <a:gd name="connsiteX1" fmla="*/ 630404 w 630705"/>
                <a:gd name="connsiteY1" fmla="*/ 2334 h 1581663"/>
                <a:gd name="connsiteX2" fmla="*/ 630344 w 630705"/>
                <a:gd name="connsiteY2" fmla="*/ 2877 h 1581663"/>
                <a:gd name="connsiteX3" fmla="*/ 630303 w 630705"/>
                <a:gd name="connsiteY3" fmla="*/ 2877 h 1581663"/>
                <a:gd name="connsiteX4" fmla="*/ 482190 w 630705"/>
                <a:gd name="connsiteY4" fmla="*/ 1581664 h 1581663"/>
                <a:gd name="connsiteX5" fmla="*/ 121393 w 630705"/>
                <a:gd name="connsiteY5" fmla="*/ 1324472 h 1581663"/>
                <a:gd name="connsiteX6" fmla="*/ 121393 w 630705"/>
                <a:gd name="connsiteY6" fmla="*/ 1324452 h 1581663"/>
                <a:gd name="connsiteX7" fmla="*/ 121372 w 630705"/>
                <a:gd name="connsiteY7" fmla="*/ 1324452 h 1581663"/>
                <a:gd name="connsiteX8" fmla="*/ 0 w 630705"/>
                <a:gd name="connsiteY8" fmla="*/ 506557 h 1581663"/>
                <a:gd name="connsiteX9" fmla="*/ 253087 w 630705"/>
                <a:gd name="connsiteY9" fmla="*/ 2334 h 1581663"/>
                <a:gd name="connsiteX10" fmla="*/ 253188 w 630705"/>
                <a:gd name="connsiteY10" fmla="*/ 2334 h 1581663"/>
                <a:gd name="connsiteX11" fmla="*/ 253550 w 630705"/>
                <a:gd name="connsiteY11" fmla="*/ 0 h 1581663"/>
                <a:gd name="connsiteX12" fmla="*/ 630706 w 630705"/>
                <a:gd name="connsiteY12" fmla="*/ 0 h 1581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0705" h="1581663">
                  <a:moveTo>
                    <a:pt x="630706" y="0"/>
                  </a:moveTo>
                  <a:lnTo>
                    <a:pt x="630404" y="2334"/>
                  </a:lnTo>
                  <a:lnTo>
                    <a:pt x="630344" y="2877"/>
                  </a:lnTo>
                  <a:lnTo>
                    <a:pt x="630303" y="2877"/>
                  </a:lnTo>
                  <a:lnTo>
                    <a:pt x="482190" y="1581664"/>
                  </a:lnTo>
                  <a:lnTo>
                    <a:pt x="121393" y="1324472"/>
                  </a:lnTo>
                  <a:lnTo>
                    <a:pt x="121393" y="1324452"/>
                  </a:lnTo>
                  <a:lnTo>
                    <a:pt x="121372" y="1324452"/>
                  </a:lnTo>
                  <a:lnTo>
                    <a:pt x="0" y="506557"/>
                  </a:lnTo>
                  <a:lnTo>
                    <a:pt x="253087" y="2334"/>
                  </a:lnTo>
                  <a:lnTo>
                    <a:pt x="253188" y="2334"/>
                  </a:lnTo>
                  <a:lnTo>
                    <a:pt x="253550" y="0"/>
                  </a:lnTo>
                  <a:lnTo>
                    <a:pt x="630706" y="0"/>
                  </a:lnTo>
                  <a:close/>
                </a:path>
              </a:pathLst>
            </a:custGeom>
            <a:solidFill>
              <a:srgbClr val="1E49E2"/>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52" name="Freeform: Shape 51">
              <a:extLst>
                <a:ext uri="{FF2B5EF4-FFF2-40B4-BE49-F238E27FC236}">
                  <a16:creationId xmlns:a16="http://schemas.microsoft.com/office/drawing/2014/main" id="{FA5A0836-CE9F-AC6C-9BF8-799186D7AB51}"/>
                </a:ext>
              </a:extLst>
            </p:cNvPr>
            <p:cNvSpPr/>
            <p:nvPr/>
          </p:nvSpPr>
          <p:spPr>
            <a:xfrm flipH="1">
              <a:off x="15905544" y="3009070"/>
              <a:ext cx="466" cy="1069"/>
            </a:xfrm>
            <a:custGeom>
              <a:avLst/>
              <a:gdLst>
                <a:gd name="connsiteX0" fmla="*/ 483 w 482"/>
                <a:gd name="connsiteY0" fmla="*/ 0 h 1106"/>
                <a:gd name="connsiteX1" fmla="*/ 282 w 482"/>
                <a:gd name="connsiteY1" fmla="*/ 1107 h 1106"/>
                <a:gd name="connsiteX2" fmla="*/ 282 w 482"/>
                <a:gd name="connsiteY2" fmla="*/ 1066 h 1106"/>
                <a:gd name="connsiteX3" fmla="*/ 0 w 482"/>
                <a:gd name="connsiteY3" fmla="*/ 0 h 1106"/>
                <a:gd name="connsiteX4" fmla="*/ 483 w 482"/>
                <a:gd name="connsiteY4" fmla="*/ 0 h 1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2" h="1106">
                  <a:moveTo>
                    <a:pt x="483" y="0"/>
                  </a:moveTo>
                  <a:lnTo>
                    <a:pt x="282" y="1107"/>
                  </a:lnTo>
                  <a:lnTo>
                    <a:pt x="282" y="1066"/>
                  </a:lnTo>
                  <a:lnTo>
                    <a:pt x="0" y="0"/>
                  </a:lnTo>
                  <a:lnTo>
                    <a:pt x="483" y="0"/>
                  </a:lnTo>
                  <a:close/>
                </a:path>
              </a:pathLst>
            </a:custGeom>
            <a:solidFill>
              <a:srgbClr val="83E8F5"/>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53" name="Freeform: Shape 52">
              <a:extLst>
                <a:ext uri="{FF2B5EF4-FFF2-40B4-BE49-F238E27FC236}">
                  <a16:creationId xmlns:a16="http://schemas.microsoft.com/office/drawing/2014/main" id="{896788F4-18A4-3E79-6A7F-3CF5936E7BC2}"/>
                </a:ext>
              </a:extLst>
            </p:cNvPr>
            <p:cNvSpPr/>
            <p:nvPr/>
          </p:nvSpPr>
          <p:spPr>
            <a:xfrm flipH="1">
              <a:off x="15905329" y="3010140"/>
              <a:ext cx="700" cy="1633"/>
            </a:xfrm>
            <a:custGeom>
              <a:avLst/>
              <a:gdLst>
                <a:gd name="connsiteX0" fmla="*/ 81 w 724"/>
                <a:gd name="connsiteY0" fmla="*/ 1147 h 1690"/>
                <a:gd name="connsiteX1" fmla="*/ 302 w 724"/>
                <a:gd name="connsiteY1" fmla="*/ 0 h 1690"/>
                <a:gd name="connsiteX2" fmla="*/ 724 w 724"/>
                <a:gd name="connsiteY2" fmla="*/ 1690 h 1690"/>
                <a:gd name="connsiteX3" fmla="*/ 0 w 724"/>
                <a:gd name="connsiteY3" fmla="*/ 1690 h 1690"/>
                <a:gd name="connsiteX4" fmla="*/ 81 w 724"/>
                <a:gd name="connsiteY4" fmla="*/ 1147 h 1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4" h="1690">
                  <a:moveTo>
                    <a:pt x="81" y="1147"/>
                  </a:moveTo>
                  <a:lnTo>
                    <a:pt x="302" y="0"/>
                  </a:lnTo>
                  <a:lnTo>
                    <a:pt x="724" y="1690"/>
                  </a:lnTo>
                  <a:lnTo>
                    <a:pt x="0" y="1690"/>
                  </a:lnTo>
                  <a:lnTo>
                    <a:pt x="81" y="1147"/>
                  </a:lnTo>
                  <a:close/>
                </a:path>
              </a:pathLst>
            </a:custGeom>
            <a:solidFill>
              <a:srgbClr val="83E8F5"/>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54" name="Freeform: Shape 53">
              <a:extLst>
                <a:ext uri="{FF2B5EF4-FFF2-40B4-BE49-F238E27FC236}">
                  <a16:creationId xmlns:a16="http://schemas.microsoft.com/office/drawing/2014/main" id="{4B94D952-C932-DDC9-CDD1-CE19F436EE94}"/>
                </a:ext>
              </a:extLst>
            </p:cNvPr>
            <p:cNvSpPr/>
            <p:nvPr/>
          </p:nvSpPr>
          <p:spPr>
            <a:xfrm flipH="1">
              <a:off x="16200829" y="3040220"/>
              <a:ext cx="7797" cy="2722"/>
            </a:xfrm>
            <a:custGeom>
              <a:avLst/>
              <a:gdLst>
                <a:gd name="connsiteX0" fmla="*/ 8069 w 8068"/>
                <a:gd name="connsiteY0" fmla="*/ 0 h 2817"/>
                <a:gd name="connsiteX1" fmla="*/ 7566 w 8068"/>
                <a:gd name="connsiteY1" fmla="*/ 2274 h 2817"/>
                <a:gd name="connsiteX2" fmla="*/ 7445 w 8068"/>
                <a:gd name="connsiteY2" fmla="*/ 2817 h 2817"/>
                <a:gd name="connsiteX3" fmla="*/ 0 w 8068"/>
                <a:gd name="connsiteY3" fmla="*/ 2817 h 2817"/>
                <a:gd name="connsiteX4" fmla="*/ 60 w 8068"/>
                <a:gd name="connsiteY4" fmla="*/ 2274 h 2817"/>
                <a:gd name="connsiteX5" fmla="*/ 342 w 8068"/>
                <a:gd name="connsiteY5" fmla="*/ 0 h 2817"/>
                <a:gd name="connsiteX6" fmla="*/ 8069 w 8068"/>
                <a:gd name="connsiteY6" fmla="*/ 0 h 2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68" h="2817">
                  <a:moveTo>
                    <a:pt x="8069" y="0"/>
                  </a:moveTo>
                  <a:lnTo>
                    <a:pt x="7566" y="2274"/>
                  </a:lnTo>
                  <a:lnTo>
                    <a:pt x="7445" y="2817"/>
                  </a:lnTo>
                  <a:lnTo>
                    <a:pt x="0" y="2817"/>
                  </a:lnTo>
                  <a:lnTo>
                    <a:pt x="60" y="2274"/>
                  </a:lnTo>
                  <a:lnTo>
                    <a:pt x="342" y="0"/>
                  </a:lnTo>
                  <a:lnTo>
                    <a:pt x="8069" y="0"/>
                  </a:lnTo>
                  <a:close/>
                </a:path>
              </a:pathLst>
            </a:custGeom>
            <a:solidFill>
              <a:srgbClr val="007DA5"/>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55" name="Freeform: Shape 54">
              <a:extLst>
                <a:ext uri="{FF2B5EF4-FFF2-40B4-BE49-F238E27FC236}">
                  <a16:creationId xmlns:a16="http://schemas.microsoft.com/office/drawing/2014/main" id="{498C248D-AADB-F86C-986B-D445D78EE945}"/>
                </a:ext>
              </a:extLst>
            </p:cNvPr>
            <p:cNvSpPr/>
            <p:nvPr/>
          </p:nvSpPr>
          <p:spPr>
            <a:xfrm flipH="1">
              <a:off x="15914586" y="2413423"/>
              <a:ext cx="287547" cy="626797"/>
            </a:xfrm>
            <a:custGeom>
              <a:avLst/>
              <a:gdLst>
                <a:gd name="connsiteX0" fmla="*/ 297555 w 297555"/>
                <a:gd name="connsiteY0" fmla="*/ 616379 h 648613"/>
                <a:gd name="connsiteX1" fmla="*/ 0 w 297555"/>
                <a:gd name="connsiteY1" fmla="*/ 648614 h 648613"/>
                <a:gd name="connsiteX2" fmla="*/ 20 w 297555"/>
                <a:gd name="connsiteY2" fmla="*/ 648111 h 648613"/>
                <a:gd name="connsiteX3" fmla="*/ 7183 w 297555"/>
                <a:gd name="connsiteY3" fmla="*/ 648111 h 648613"/>
                <a:gd name="connsiteX4" fmla="*/ 143184 w 297555"/>
                <a:gd name="connsiteY4" fmla="*/ 0 h 648613"/>
                <a:gd name="connsiteX5" fmla="*/ 297153 w 297555"/>
                <a:gd name="connsiteY5" fmla="*/ 614750 h 648613"/>
                <a:gd name="connsiteX6" fmla="*/ 297153 w 297555"/>
                <a:gd name="connsiteY6" fmla="*/ 614770 h 648613"/>
                <a:gd name="connsiteX7" fmla="*/ 297555 w 297555"/>
                <a:gd name="connsiteY7" fmla="*/ 616379 h 64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555" h="648613">
                  <a:moveTo>
                    <a:pt x="297555" y="616379"/>
                  </a:moveTo>
                  <a:lnTo>
                    <a:pt x="0" y="648614"/>
                  </a:lnTo>
                  <a:lnTo>
                    <a:pt x="20" y="648111"/>
                  </a:lnTo>
                  <a:lnTo>
                    <a:pt x="7183" y="648111"/>
                  </a:lnTo>
                  <a:lnTo>
                    <a:pt x="143184" y="0"/>
                  </a:lnTo>
                  <a:lnTo>
                    <a:pt x="297153" y="614750"/>
                  </a:lnTo>
                  <a:lnTo>
                    <a:pt x="297153" y="614770"/>
                  </a:lnTo>
                  <a:lnTo>
                    <a:pt x="297555" y="616379"/>
                  </a:lnTo>
                  <a:close/>
                </a:path>
              </a:pathLst>
            </a:custGeom>
            <a:solidFill>
              <a:srgbClr val="00B8F5">
                <a:lumMod val="60000"/>
                <a:lumOff val="40000"/>
              </a:srgbClr>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56" name="Freeform: Shape 55">
              <a:extLst>
                <a:ext uri="{FF2B5EF4-FFF2-40B4-BE49-F238E27FC236}">
                  <a16:creationId xmlns:a16="http://schemas.microsoft.com/office/drawing/2014/main" id="{30F194EF-775E-BA25-79F8-E20552E5A22E}"/>
                </a:ext>
              </a:extLst>
            </p:cNvPr>
            <p:cNvSpPr/>
            <p:nvPr/>
          </p:nvSpPr>
          <p:spPr>
            <a:xfrm flipH="1">
              <a:off x="15914586" y="3007514"/>
              <a:ext cx="661" cy="1555"/>
            </a:xfrm>
            <a:custGeom>
              <a:avLst/>
              <a:gdLst>
                <a:gd name="connsiteX0" fmla="*/ 684 w 684"/>
                <a:gd name="connsiteY0" fmla="*/ 1610 h 1609"/>
                <a:gd name="connsiteX1" fmla="*/ 0 w 684"/>
                <a:gd name="connsiteY1" fmla="*/ 1610 h 1609"/>
                <a:gd name="connsiteX2" fmla="*/ 81 w 684"/>
                <a:gd name="connsiteY2" fmla="*/ 1107 h 1609"/>
                <a:gd name="connsiteX3" fmla="*/ 282 w 684"/>
                <a:gd name="connsiteY3" fmla="*/ 0 h 1609"/>
                <a:gd name="connsiteX4" fmla="*/ 684 w 684"/>
                <a:gd name="connsiteY4" fmla="*/ 1610 h 1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4" h="1609">
                  <a:moveTo>
                    <a:pt x="684" y="1610"/>
                  </a:moveTo>
                  <a:lnTo>
                    <a:pt x="0" y="1610"/>
                  </a:lnTo>
                  <a:lnTo>
                    <a:pt x="81" y="1107"/>
                  </a:lnTo>
                  <a:lnTo>
                    <a:pt x="282" y="0"/>
                  </a:lnTo>
                  <a:lnTo>
                    <a:pt x="684" y="1610"/>
                  </a:lnTo>
                  <a:close/>
                </a:path>
              </a:pathLst>
            </a:custGeom>
            <a:solidFill>
              <a:srgbClr val="83E8F5"/>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57" name="Freeform: Shape 56">
              <a:extLst>
                <a:ext uri="{FF2B5EF4-FFF2-40B4-BE49-F238E27FC236}">
                  <a16:creationId xmlns:a16="http://schemas.microsoft.com/office/drawing/2014/main" id="{CEEB4657-82C4-5D82-3AC3-8D748291215B}"/>
                </a:ext>
              </a:extLst>
            </p:cNvPr>
            <p:cNvSpPr/>
            <p:nvPr/>
          </p:nvSpPr>
          <p:spPr>
            <a:xfrm flipH="1">
              <a:off x="15652922" y="2280228"/>
              <a:ext cx="410842" cy="739174"/>
            </a:xfrm>
            <a:custGeom>
              <a:avLst/>
              <a:gdLst>
                <a:gd name="connsiteX0" fmla="*/ 272223 w 272222"/>
                <a:gd name="connsiteY0" fmla="*/ 0 h 1077864"/>
                <a:gd name="connsiteX1" fmla="*/ 272223 w 272222"/>
                <a:gd name="connsiteY1" fmla="*/ 428385 h 1077864"/>
                <a:gd name="connsiteX2" fmla="*/ 153969 w 272222"/>
                <a:gd name="connsiteY2" fmla="*/ 1077864 h 1077864"/>
                <a:gd name="connsiteX3" fmla="*/ 153969 w 272222"/>
                <a:gd name="connsiteY3" fmla="*/ 1077844 h 1077864"/>
                <a:gd name="connsiteX4" fmla="*/ 0 w 272222"/>
                <a:gd name="connsiteY4" fmla="*/ 463094 h 1077864"/>
                <a:gd name="connsiteX5" fmla="*/ 70868 w 272222"/>
                <a:gd name="connsiteY5" fmla="*/ 410034 h 1077864"/>
                <a:gd name="connsiteX6" fmla="*/ 272223 w 272222"/>
                <a:gd name="connsiteY6" fmla="*/ 0 h 1077864"/>
                <a:gd name="connsiteX0" fmla="*/ 272223 w 429927"/>
                <a:gd name="connsiteY0" fmla="*/ 0 h 1077864"/>
                <a:gd name="connsiteX1" fmla="*/ 429927 w 429927"/>
                <a:gd name="connsiteY1" fmla="*/ 641286 h 1077864"/>
                <a:gd name="connsiteX2" fmla="*/ 153969 w 429927"/>
                <a:gd name="connsiteY2" fmla="*/ 1077864 h 1077864"/>
                <a:gd name="connsiteX3" fmla="*/ 153969 w 429927"/>
                <a:gd name="connsiteY3" fmla="*/ 1077844 h 1077864"/>
                <a:gd name="connsiteX4" fmla="*/ 0 w 429927"/>
                <a:gd name="connsiteY4" fmla="*/ 463094 h 1077864"/>
                <a:gd name="connsiteX5" fmla="*/ 70868 w 429927"/>
                <a:gd name="connsiteY5" fmla="*/ 410034 h 1077864"/>
                <a:gd name="connsiteX6" fmla="*/ 272223 w 429927"/>
                <a:gd name="connsiteY6" fmla="*/ 0 h 1077864"/>
                <a:gd name="connsiteX0" fmla="*/ 272223 w 429927"/>
                <a:gd name="connsiteY0" fmla="*/ 0 h 1077864"/>
                <a:gd name="connsiteX1" fmla="*/ 429927 w 429927"/>
                <a:gd name="connsiteY1" fmla="*/ 641286 h 1077864"/>
                <a:gd name="connsiteX2" fmla="*/ 153969 w 429927"/>
                <a:gd name="connsiteY2" fmla="*/ 1077864 h 1077864"/>
                <a:gd name="connsiteX3" fmla="*/ 201280 w 429927"/>
                <a:gd name="connsiteY3" fmla="*/ 1077844 h 1077864"/>
                <a:gd name="connsiteX4" fmla="*/ 0 w 429927"/>
                <a:gd name="connsiteY4" fmla="*/ 463094 h 1077864"/>
                <a:gd name="connsiteX5" fmla="*/ 70868 w 429927"/>
                <a:gd name="connsiteY5" fmla="*/ 410034 h 1077864"/>
                <a:gd name="connsiteX6" fmla="*/ 272223 w 429927"/>
                <a:gd name="connsiteY6" fmla="*/ 0 h 1077864"/>
                <a:gd name="connsiteX0" fmla="*/ 272223 w 429927"/>
                <a:gd name="connsiteY0" fmla="*/ 0 h 1085236"/>
                <a:gd name="connsiteX1" fmla="*/ 429927 w 429927"/>
                <a:gd name="connsiteY1" fmla="*/ 641286 h 1085236"/>
                <a:gd name="connsiteX2" fmla="*/ 153969 w 429927"/>
                <a:gd name="connsiteY2" fmla="*/ 1077864 h 1085236"/>
                <a:gd name="connsiteX3" fmla="*/ 154461 w 429927"/>
                <a:gd name="connsiteY3" fmla="*/ 1085236 h 1085236"/>
                <a:gd name="connsiteX4" fmla="*/ 0 w 429927"/>
                <a:gd name="connsiteY4" fmla="*/ 463094 h 1085236"/>
                <a:gd name="connsiteX5" fmla="*/ 70868 w 429927"/>
                <a:gd name="connsiteY5" fmla="*/ 410034 h 1085236"/>
                <a:gd name="connsiteX6" fmla="*/ 272223 w 429927"/>
                <a:gd name="connsiteY6" fmla="*/ 0 h 1085236"/>
                <a:gd name="connsiteX0" fmla="*/ 424999 w 429927"/>
                <a:gd name="connsiteY0" fmla="*/ 0 h 759971"/>
                <a:gd name="connsiteX1" fmla="*/ 429927 w 429927"/>
                <a:gd name="connsiteY1" fmla="*/ 316021 h 759971"/>
                <a:gd name="connsiteX2" fmla="*/ 153969 w 429927"/>
                <a:gd name="connsiteY2" fmla="*/ 752599 h 759971"/>
                <a:gd name="connsiteX3" fmla="*/ 154461 w 429927"/>
                <a:gd name="connsiteY3" fmla="*/ 759971 h 759971"/>
                <a:gd name="connsiteX4" fmla="*/ 0 w 429927"/>
                <a:gd name="connsiteY4" fmla="*/ 137829 h 759971"/>
                <a:gd name="connsiteX5" fmla="*/ 70868 w 429927"/>
                <a:gd name="connsiteY5" fmla="*/ 84769 h 759971"/>
                <a:gd name="connsiteX6" fmla="*/ 424999 w 429927"/>
                <a:gd name="connsiteY6" fmla="*/ 0 h 759971"/>
                <a:gd name="connsiteX0" fmla="*/ 424999 w 425141"/>
                <a:gd name="connsiteY0" fmla="*/ 0 h 759971"/>
                <a:gd name="connsiteX1" fmla="*/ 415143 w 425141"/>
                <a:gd name="connsiteY1" fmla="*/ 296308 h 759971"/>
                <a:gd name="connsiteX2" fmla="*/ 153969 w 425141"/>
                <a:gd name="connsiteY2" fmla="*/ 752599 h 759971"/>
                <a:gd name="connsiteX3" fmla="*/ 154461 w 425141"/>
                <a:gd name="connsiteY3" fmla="*/ 759971 h 759971"/>
                <a:gd name="connsiteX4" fmla="*/ 0 w 425141"/>
                <a:gd name="connsiteY4" fmla="*/ 137829 h 759971"/>
                <a:gd name="connsiteX5" fmla="*/ 70868 w 425141"/>
                <a:gd name="connsiteY5" fmla="*/ 84769 h 759971"/>
                <a:gd name="connsiteX6" fmla="*/ 424999 w 425141"/>
                <a:gd name="connsiteY6" fmla="*/ 0 h 759971"/>
                <a:gd name="connsiteX0" fmla="*/ 424999 w 425141"/>
                <a:gd name="connsiteY0" fmla="*/ 0 h 755043"/>
                <a:gd name="connsiteX1" fmla="*/ 415143 w 425141"/>
                <a:gd name="connsiteY1" fmla="*/ 296308 h 755043"/>
                <a:gd name="connsiteX2" fmla="*/ 153969 w 425141"/>
                <a:gd name="connsiteY2" fmla="*/ 752599 h 755043"/>
                <a:gd name="connsiteX3" fmla="*/ 48503 w 425141"/>
                <a:gd name="connsiteY3" fmla="*/ 755043 h 755043"/>
                <a:gd name="connsiteX4" fmla="*/ 0 w 425141"/>
                <a:gd name="connsiteY4" fmla="*/ 137829 h 755043"/>
                <a:gd name="connsiteX5" fmla="*/ 70868 w 425141"/>
                <a:gd name="connsiteY5" fmla="*/ 84769 h 755043"/>
                <a:gd name="connsiteX6" fmla="*/ 424999 w 425141"/>
                <a:gd name="connsiteY6" fmla="*/ 0 h 755043"/>
                <a:gd name="connsiteX0" fmla="*/ 424999 w 425141"/>
                <a:gd name="connsiteY0" fmla="*/ 0 h 759990"/>
                <a:gd name="connsiteX1" fmla="*/ 415143 w 425141"/>
                <a:gd name="connsiteY1" fmla="*/ 296308 h 759990"/>
                <a:gd name="connsiteX2" fmla="*/ 186002 w 425141"/>
                <a:gd name="connsiteY2" fmla="*/ 759990 h 759990"/>
                <a:gd name="connsiteX3" fmla="*/ 48503 w 425141"/>
                <a:gd name="connsiteY3" fmla="*/ 755043 h 759990"/>
                <a:gd name="connsiteX4" fmla="*/ 0 w 425141"/>
                <a:gd name="connsiteY4" fmla="*/ 137829 h 759990"/>
                <a:gd name="connsiteX5" fmla="*/ 70868 w 425141"/>
                <a:gd name="connsiteY5" fmla="*/ 84769 h 759990"/>
                <a:gd name="connsiteX6" fmla="*/ 424999 w 425141"/>
                <a:gd name="connsiteY6" fmla="*/ 0 h 759990"/>
                <a:gd name="connsiteX0" fmla="*/ 424999 w 425141"/>
                <a:gd name="connsiteY0" fmla="*/ 0 h 764899"/>
                <a:gd name="connsiteX1" fmla="*/ 415143 w 425141"/>
                <a:gd name="connsiteY1" fmla="*/ 296308 h 764899"/>
                <a:gd name="connsiteX2" fmla="*/ 186002 w 425141"/>
                <a:gd name="connsiteY2" fmla="*/ 759990 h 764899"/>
                <a:gd name="connsiteX3" fmla="*/ 144605 w 425141"/>
                <a:gd name="connsiteY3" fmla="*/ 764899 h 764899"/>
                <a:gd name="connsiteX4" fmla="*/ 0 w 425141"/>
                <a:gd name="connsiteY4" fmla="*/ 137829 h 764899"/>
                <a:gd name="connsiteX5" fmla="*/ 70868 w 425141"/>
                <a:gd name="connsiteY5" fmla="*/ 84769 h 764899"/>
                <a:gd name="connsiteX6" fmla="*/ 424999 w 425141"/>
                <a:gd name="connsiteY6" fmla="*/ 0 h 764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141" h="764899">
                  <a:moveTo>
                    <a:pt x="424999" y="0"/>
                  </a:moveTo>
                  <a:cubicBezTo>
                    <a:pt x="426642" y="105340"/>
                    <a:pt x="413500" y="190968"/>
                    <a:pt x="415143" y="296308"/>
                  </a:cubicBezTo>
                  <a:lnTo>
                    <a:pt x="186002" y="759990"/>
                  </a:lnTo>
                  <a:lnTo>
                    <a:pt x="144605" y="764899"/>
                  </a:lnTo>
                  <a:lnTo>
                    <a:pt x="0" y="137829"/>
                  </a:lnTo>
                  <a:lnTo>
                    <a:pt x="70868" y="84769"/>
                  </a:lnTo>
                  <a:lnTo>
                    <a:pt x="424999" y="0"/>
                  </a:lnTo>
                  <a:close/>
                </a:path>
              </a:pathLst>
            </a:custGeom>
            <a:solidFill>
              <a:srgbClr val="83E8F5"/>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58" name="Freeform: Shape 57">
              <a:extLst>
                <a:ext uri="{FF2B5EF4-FFF2-40B4-BE49-F238E27FC236}">
                  <a16:creationId xmlns:a16="http://schemas.microsoft.com/office/drawing/2014/main" id="{0C094F24-C18A-3782-6C29-99F45D5E6C42}"/>
                </a:ext>
              </a:extLst>
            </p:cNvPr>
            <p:cNvSpPr/>
            <p:nvPr/>
          </p:nvSpPr>
          <p:spPr>
            <a:xfrm flipH="1">
              <a:off x="15514947" y="1773022"/>
              <a:ext cx="895118" cy="1267198"/>
            </a:xfrm>
            <a:custGeom>
              <a:avLst/>
              <a:gdLst>
                <a:gd name="connsiteX0" fmla="*/ 415387 w 415386"/>
                <a:gd name="connsiteY0" fmla="*/ 0 h 1111708"/>
                <a:gd name="connsiteX1" fmla="*/ 214031 w 415386"/>
                <a:gd name="connsiteY1" fmla="*/ 410034 h 1111708"/>
                <a:gd name="connsiteX2" fmla="*/ 143164 w 415386"/>
                <a:gd name="connsiteY2" fmla="*/ 463094 h 1111708"/>
                <a:gd name="connsiteX3" fmla="*/ 7163 w 415386"/>
                <a:gd name="connsiteY3" fmla="*/ 1111205 h 1111708"/>
                <a:gd name="connsiteX4" fmla="*/ 7063 w 415386"/>
                <a:gd name="connsiteY4" fmla="*/ 1111708 h 1111708"/>
                <a:gd name="connsiteX5" fmla="*/ 0 w 415386"/>
                <a:gd name="connsiteY5" fmla="*/ 1111708 h 1111708"/>
                <a:gd name="connsiteX6" fmla="*/ 60 w 415386"/>
                <a:gd name="connsiteY6" fmla="*/ 1111205 h 1111708"/>
                <a:gd name="connsiteX7" fmla="*/ 80486 w 415386"/>
                <a:gd name="connsiteY7" fmla="*/ 426433 h 1111708"/>
                <a:gd name="connsiteX8" fmla="*/ 80506 w 415386"/>
                <a:gd name="connsiteY8" fmla="*/ 426433 h 1111708"/>
                <a:gd name="connsiteX9" fmla="*/ 415387 w 415386"/>
                <a:gd name="connsiteY9" fmla="*/ 0 h 1111708"/>
                <a:gd name="connsiteX0" fmla="*/ 415387 w 586114"/>
                <a:gd name="connsiteY0" fmla="*/ 0 h 1111708"/>
                <a:gd name="connsiteX1" fmla="*/ 586114 w 586114"/>
                <a:gd name="connsiteY1" fmla="*/ 328717 h 1111708"/>
                <a:gd name="connsiteX2" fmla="*/ 143164 w 586114"/>
                <a:gd name="connsiteY2" fmla="*/ 463094 h 1111708"/>
                <a:gd name="connsiteX3" fmla="*/ 7163 w 586114"/>
                <a:gd name="connsiteY3" fmla="*/ 1111205 h 1111708"/>
                <a:gd name="connsiteX4" fmla="*/ 7063 w 586114"/>
                <a:gd name="connsiteY4" fmla="*/ 1111708 h 1111708"/>
                <a:gd name="connsiteX5" fmla="*/ 0 w 586114"/>
                <a:gd name="connsiteY5" fmla="*/ 1111708 h 1111708"/>
                <a:gd name="connsiteX6" fmla="*/ 60 w 586114"/>
                <a:gd name="connsiteY6" fmla="*/ 1111205 h 1111708"/>
                <a:gd name="connsiteX7" fmla="*/ 80486 w 586114"/>
                <a:gd name="connsiteY7" fmla="*/ 426433 h 1111708"/>
                <a:gd name="connsiteX8" fmla="*/ 80506 w 586114"/>
                <a:gd name="connsiteY8" fmla="*/ 426433 h 1111708"/>
                <a:gd name="connsiteX9" fmla="*/ 415387 w 586114"/>
                <a:gd name="connsiteY9" fmla="*/ 0 h 1111708"/>
                <a:gd name="connsiteX0" fmla="*/ 415387 w 586114"/>
                <a:gd name="connsiteY0" fmla="*/ 0 h 1111708"/>
                <a:gd name="connsiteX1" fmla="*/ 586114 w 586114"/>
                <a:gd name="connsiteY1" fmla="*/ 328717 h 1111708"/>
                <a:gd name="connsiteX2" fmla="*/ 145628 w 586114"/>
                <a:gd name="connsiteY2" fmla="*/ 458165 h 1111708"/>
                <a:gd name="connsiteX3" fmla="*/ 7163 w 586114"/>
                <a:gd name="connsiteY3" fmla="*/ 1111205 h 1111708"/>
                <a:gd name="connsiteX4" fmla="*/ 7063 w 586114"/>
                <a:gd name="connsiteY4" fmla="*/ 1111708 h 1111708"/>
                <a:gd name="connsiteX5" fmla="*/ 0 w 586114"/>
                <a:gd name="connsiteY5" fmla="*/ 1111708 h 1111708"/>
                <a:gd name="connsiteX6" fmla="*/ 60 w 586114"/>
                <a:gd name="connsiteY6" fmla="*/ 1111205 h 1111708"/>
                <a:gd name="connsiteX7" fmla="*/ 80486 w 586114"/>
                <a:gd name="connsiteY7" fmla="*/ 426433 h 1111708"/>
                <a:gd name="connsiteX8" fmla="*/ 80506 w 586114"/>
                <a:gd name="connsiteY8" fmla="*/ 426433 h 1111708"/>
                <a:gd name="connsiteX9" fmla="*/ 415387 w 586114"/>
                <a:gd name="connsiteY9" fmla="*/ 0 h 1111708"/>
                <a:gd name="connsiteX0" fmla="*/ 789934 w 789934"/>
                <a:gd name="connsiteY0" fmla="*/ 0 h 1234915"/>
                <a:gd name="connsiteX1" fmla="*/ 586114 w 789934"/>
                <a:gd name="connsiteY1" fmla="*/ 451924 h 1234915"/>
                <a:gd name="connsiteX2" fmla="*/ 145628 w 789934"/>
                <a:gd name="connsiteY2" fmla="*/ 581372 h 1234915"/>
                <a:gd name="connsiteX3" fmla="*/ 7163 w 789934"/>
                <a:gd name="connsiteY3" fmla="*/ 1234412 h 1234915"/>
                <a:gd name="connsiteX4" fmla="*/ 7063 w 789934"/>
                <a:gd name="connsiteY4" fmla="*/ 1234915 h 1234915"/>
                <a:gd name="connsiteX5" fmla="*/ 0 w 789934"/>
                <a:gd name="connsiteY5" fmla="*/ 1234915 h 1234915"/>
                <a:gd name="connsiteX6" fmla="*/ 60 w 789934"/>
                <a:gd name="connsiteY6" fmla="*/ 1234412 h 1234915"/>
                <a:gd name="connsiteX7" fmla="*/ 80486 w 789934"/>
                <a:gd name="connsiteY7" fmla="*/ 549640 h 1234915"/>
                <a:gd name="connsiteX8" fmla="*/ 80506 w 789934"/>
                <a:gd name="connsiteY8" fmla="*/ 549640 h 1234915"/>
                <a:gd name="connsiteX9" fmla="*/ 789934 w 789934"/>
                <a:gd name="connsiteY9" fmla="*/ 0 h 1234915"/>
                <a:gd name="connsiteX0" fmla="*/ 1080701 w 1080701"/>
                <a:gd name="connsiteY0" fmla="*/ 0 h 1165919"/>
                <a:gd name="connsiteX1" fmla="*/ 586114 w 1080701"/>
                <a:gd name="connsiteY1" fmla="*/ 382928 h 1165919"/>
                <a:gd name="connsiteX2" fmla="*/ 145628 w 1080701"/>
                <a:gd name="connsiteY2" fmla="*/ 512376 h 1165919"/>
                <a:gd name="connsiteX3" fmla="*/ 7163 w 1080701"/>
                <a:gd name="connsiteY3" fmla="*/ 1165416 h 1165919"/>
                <a:gd name="connsiteX4" fmla="*/ 7063 w 1080701"/>
                <a:gd name="connsiteY4" fmla="*/ 1165919 h 1165919"/>
                <a:gd name="connsiteX5" fmla="*/ 0 w 1080701"/>
                <a:gd name="connsiteY5" fmla="*/ 1165919 h 1165919"/>
                <a:gd name="connsiteX6" fmla="*/ 60 w 1080701"/>
                <a:gd name="connsiteY6" fmla="*/ 1165416 h 1165919"/>
                <a:gd name="connsiteX7" fmla="*/ 80486 w 1080701"/>
                <a:gd name="connsiteY7" fmla="*/ 480644 h 1165919"/>
                <a:gd name="connsiteX8" fmla="*/ 80506 w 1080701"/>
                <a:gd name="connsiteY8" fmla="*/ 480644 h 1165919"/>
                <a:gd name="connsiteX9" fmla="*/ 1080701 w 1080701"/>
                <a:gd name="connsiteY9" fmla="*/ 0 h 1165919"/>
                <a:gd name="connsiteX0" fmla="*/ 772686 w 772686"/>
                <a:gd name="connsiteY0" fmla="*/ 0 h 1358120"/>
                <a:gd name="connsiteX1" fmla="*/ 586114 w 772686"/>
                <a:gd name="connsiteY1" fmla="*/ 575129 h 1358120"/>
                <a:gd name="connsiteX2" fmla="*/ 145628 w 772686"/>
                <a:gd name="connsiteY2" fmla="*/ 704577 h 1358120"/>
                <a:gd name="connsiteX3" fmla="*/ 7163 w 772686"/>
                <a:gd name="connsiteY3" fmla="*/ 1357617 h 1358120"/>
                <a:gd name="connsiteX4" fmla="*/ 7063 w 772686"/>
                <a:gd name="connsiteY4" fmla="*/ 1358120 h 1358120"/>
                <a:gd name="connsiteX5" fmla="*/ 0 w 772686"/>
                <a:gd name="connsiteY5" fmla="*/ 1358120 h 1358120"/>
                <a:gd name="connsiteX6" fmla="*/ 60 w 772686"/>
                <a:gd name="connsiteY6" fmla="*/ 1357617 h 1358120"/>
                <a:gd name="connsiteX7" fmla="*/ 80486 w 772686"/>
                <a:gd name="connsiteY7" fmla="*/ 672845 h 1358120"/>
                <a:gd name="connsiteX8" fmla="*/ 80506 w 772686"/>
                <a:gd name="connsiteY8" fmla="*/ 672845 h 1358120"/>
                <a:gd name="connsiteX9" fmla="*/ 772686 w 772686"/>
                <a:gd name="connsiteY9" fmla="*/ 0 h 1358120"/>
                <a:gd name="connsiteX0" fmla="*/ 963234 w 963234"/>
                <a:gd name="connsiteY0" fmla="*/ 0 h 1358120"/>
                <a:gd name="connsiteX1" fmla="*/ 776662 w 963234"/>
                <a:gd name="connsiteY1" fmla="*/ 575129 h 1358120"/>
                <a:gd name="connsiteX2" fmla="*/ 336176 w 963234"/>
                <a:gd name="connsiteY2" fmla="*/ 704577 h 1358120"/>
                <a:gd name="connsiteX3" fmla="*/ 197711 w 963234"/>
                <a:gd name="connsiteY3" fmla="*/ 1357617 h 1358120"/>
                <a:gd name="connsiteX4" fmla="*/ 197611 w 963234"/>
                <a:gd name="connsiteY4" fmla="*/ 1358120 h 1358120"/>
                <a:gd name="connsiteX5" fmla="*/ 190548 w 963234"/>
                <a:gd name="connsiteY5" fmla="*/ 1358120 h 1358120"/>
                <a:gd name="connsiteX6" fmla="*/ 190608 w 963234"/>
                <a:gd name="connsiteY6" fmla="*/ 1357617 h 1358120"/>
                <a:gd name="connsiteX7" fmla="*/ 271034 w 963234"/>
                <a:gd name="connsiteY7" fmla="*/ 672845 h 1358120"/>
                <a:gd name="connsiteX8" fmla="*/ 0 w 963234"/>
                <a:gd name="connsiteY8" fmla="*/ 497892 h 1358120"/>
                <a:gd name="connsiteX9" fmla="*/ 963234 w 963234"/>
                <a:gd name="connsiteY9" fmla="*/ 0 h 1358120"/>
                <a:gd name="connsiteX0" fmla="*/ 936128 w 936128"/>
                <a:gd name="connsiteY0" fmla="*/ 0 h 1294052"/>
                <a:gd name="connsiteX1" fmla="*/ 776662 w 936128"/>
                <a:gd name="connsiteY1" fmla="*/ 511061 h 1294052"/>
                <a:gd name="connsiteX2" fmla="*/ 336176 w 936128"/>
                <a:gd name="connsiteY2" fmla="*/ 640509 h 1294052"/>
                <a:gd name="connsiteX3" fmla="*/ 197711 w 936128"/>
                <a:gd name="connsiteY3" fmla="*/ 1293549 h 1294052"/>
                <a:gd name="connsiteX4" fmla="*/ 197611 w 936128"/>
                <a:gd name="connsiteY4" fmla="*/ 1294052 h 1294052"/>
                <a:gd name="connsiteX5" fmla="*/ 190548 w 936128"/>
                <a:gd name="connsiteY5" fmla="*/ 1294052 h 1294052"/>
                <a:gd name="connsiteX6" fmla="*/ 190608 w 936128"/>
                <a:gd name="connsiteY6" fmla="*/ 1293549 h 1294052"/>
                <a:gd name="connsiteX7" fmla="*/ 271034 w 936128"/>
                <a:gd name="connsiteY7" fmla="*/ 608777 h 1294052"/>
                <a:gd name="connsiteX8" fmla="*/ 0 w 936128"/>
                <a:gd name="connsiteY8" fmla="*/ 433824 h 1294052"/>
                <a:gd name="connsiteX9" fmla="*/ 936128 w 936128"/>
                <a:gd name="connsiteY9" fmla="*/ 0 h 1294052"/>
                <a:gd name="connsiteX0" fmla="*/ 901631 w 901631"/>
                <a:gd name="connsiteY0" fmla="*/ 0 h 1311301"/>
                <a:gd name="connsiteX1" fmla="*/ 776662 w 901631"/>
                <a:gd name="connsiteY1" fmla="*/ 528310 h 1311301"/>
                <a:gd name="connsiteX2" fmla="*/ 336176 w 901631"/>
                <a:gd name="connsiteY2" fmla="*/ 657758 h 1311301"/>
                <a:gd name="connsiteX3" fmla="*/ 197711 w 901631"/>
                <a:gd name="connsiteY3" fmla="*/ 1310798 h 1311301"/>
                <a:gd name="connsiteX4" fmla="*/ 197611 w 901631"/>
                <a:gd name="connsiteY4" fmla="*/ 1311301 h 1311301"/>
                <a:gd name="connsiteX5" fmla="*/ 190548 w 901631"/>
                <a:gd name="connsiteY5" fmla="*/ 1311301 h 1311301"/>
                <a:gd name="connsiteX6" fmla="*/ 190608 w 901631"/>
                <a:gd name="connsiteY6" fmla="*/ 1310798 h 1311301"/>
                <a:gd name="connsiteX7" fmla="*/ 271034 w 901631"/>
                <a:gd name="connsiteY7" fmla="*/ 626026 h 1311301"/>
                <a:gd name="connsiteX8" fmla="*/ 0 w 901631"/>
                <a:gd name="connsiteY8" fmla="*/ 451073 h 1311301"/>
                <a:gd name="connsiteX9" fmla="*/ 901631 w 901631"/>
                <a:gd name="connsiteY9" fmla="*/ 0 h 1311301"/>
                <a:gd name="connsiteX0" fmla="*/ 926272 w 926272"/>
                <a:gd name="connsiteY0" fmla="*/ 0 h 1311301"/>
                <a:gd name="connsiteX1" fmla="*/ 801303 w 926272"/>
                <a:gd name="connsiteY1" fmla="*/ 528310 h 1311301"/>
                <a:gd name="connsiteX2" fmla="*/ 360817 w 926272"/>
                <a:gd name="connsiteY2" fmla="*/ 657758 h 1311301"/>
                <a:gd name="connsiteX3" fmla="*/ 222352 w 926272"/>
                <a:gd name="connsiteY3" fmla="*/ 1310798 h 1311301"/>
                <a:gd name="connsiteX4" fmla="*/ 222252 w 926272"/>
                <a:gd name="connsiteY4" fmla="*/ 1311301 h 1311301"/>
                <a:gd name="connsiteX5" fmla="*/ 215189 w 926272"/>
                <a:gd name="connsiteY5" fmla="*/ 1311301 h 1311301"/>
                <a:gd name="connsiteX6" fmla="*/ 215249 w 926272"/>
                <a:gd name="connsiteY6" fmla="*/ 1310798 h 1311301"/>
                <a:gd name="connsiteX7" fmla="*/ 295675 w 926272"/>
                <a:gd name="connsiteY7" fmla="*/ 626026 h 1311301"/>
                <a:gd name="connsiteX8" fmla="*/ 0 w 926272"/>
                <a:gd name="connsiteY8" fmla="*/ 453537 h 1311301"/>
                <a:gd name="connsiteX9" fmla="*/ 926272 w 926272"/>
                <a:gd name="connsiteY9" fmla="*/ 0 h 1311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6272" h="1311301">
                  <a:moveTo>
                    <a:pt x="926272" y="0"/>
                  </a:moveTo>
                  <a:lnTo>
                    <a:pt x="801303" y="528310"/>
                  </a:lnTo>
                  <a:lnTo>
                    <a:pt x="360817" y="657758"/>
                  </a:lnTo>
                  <a:lnTo>
                    <a:pt x="222352" y="1310798"/>
                  </a:lnTo>
                  <a:cubicBezTo>
                    <a:pt x="222319" y="1310966"/>
                    <a:pt x="222285" y="1311133"/>
                    <a:pt x="222252" y="1311301"/>
                  </a:cubicBezTo>
                  <a:lnTo>
                    <a:pt x="215189" y="1311301"/>
                  </a:lnTo>
                  <a:cubicBezTo>
                    <a:pt x="215209" y="1311133"/>
                    <a:pt x="215229" y="1310966"/>
                    <a:pt x="215249" y="1310798"/>
                  </a:cubicBezTo>
                  <a:lnTo>
                    <a:pt x="295675" y="626026"/>
                  </a:lnTo>
                  <a:lnTo>
                    <a:pt x="0" y="453537"/>
                  </a:lnTo>
                  <a:lnTo>
                    <a:pt x="926272" y="0"/>
                  </a:lnTo>
                  <a:close/>
                </a:path>
              </a:pathLst>
            </a:custGeom>
            <a:solidFill>
              <a:srgbClr val="00B8F5"/>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59" name="Freeform: Shape 58">
              <a:extLst>
                <a:ext uri="{FF2B5EF4-FFF2-40B4-BE49-F238E27FC236}">
                  <a16:creationId xmlns:a16="http://schemas.microsoft.com/office/drawing/2014/main" id="{993E8240-2077-F1BF-E433-FB42BE22E8A6}"/>
                </a:ext>
              </a:extLst>
            </p:cNvPr>
            <p:cNvSpPr/>
            <p:nvPr/>
          </p:nvSpPr>
          <p:spPr>
            <a:xfrm flipH="1">
              <a:off x="14925177" y="1455705"/>
              <a:ext cx="596697" cy="457811"/>
            </a:xfrm>
            <a:custGeom>
              <a:avLst/>
              <a:gdLst>
                <a:gd name="connsiteX0" fmla="*/ 631430 w 743969"/>
                <a:gd name="connsiteY0" fmla="*/ 621591 h 1048023"/>
                <a:gd name="connsiteX1" fmla="*/ 296529 w 743969"/>
                <a:gd name="connsiteY1" fmla="*/ 1048024 h 1048023"/>
                <a:gd name="connsiteX2" fmla="*/ 0 w 743969"/>
                <a:gd name="connsiteY2" fmla="*/ 869145 h 1048023"/>
                <a:gd name="connsiteX3" fmla="*/ 281217 w 743969"/>
                <a:gd name="connsiteY3" fmla="*/ 786224 h 1048023"/>
                <a:gd name="connsiteX4" fmla="*/ 743969 w 743969"/>
                <a:gd name="connsiteY4" fmla="*/ 0 h 1048023"/>
                <a:gd name="connsiteX5" fmla="*/ 631430 w 743969"/>
                <a:gd name="connsiteY5" fmla="*/ 621591 h 1048023"/>
                <a:gd name="connsiteX0" fmla="*/ 1013370 w 1013370"/>
                <a:gd name="connsiteY0" fmla="*/ 503313 h 1048024"/>
                <a:gd name="connsiteX1" fmla="*/ 296529 w 1013370"/>
                <a:gd name="connsiteY1" fmla="*/ 1048024 h 1048024"/>
                <a:gd name="connsiteX2" fmla="*/ 0 w 1013370"/>
                <a:gd name="connsiteY2" fmla="*/ 869145 h 1048024"/>
                <a:gd name="connsiteX3" fmla="*/ 281217 w 1013370"/>
                <a:gd name="connsiteY3" fmla="*/ 786224 h 1048024"/>
                <a:gd name="connsiteX4" fmla="*/ 743969 w 1013370"/>
                <a:gd name="connsiteY4" fmla="*/ 0 h 1048024"/>
                <a:gd name="connsiteX5" fmla="*/ 1013370 w 1013370"/>
                <a:gd name="connsiteY5" fmla="*/ 503313 h 1048024"/>
                <a:gd name="connsiteX0" fmla="*/ 1013370 w 1537418"/>
                <a:gd name="connsiteY0" fmla="*/ 409677 h 954388"/>
                <a:gd name="connsiteX1" fmla="*/ 296529 w 1537418"/>
                <a:gd name="connsiteY1" fmla="*/ 954388 h 954388"/>
                <a:gd name="connsiteX2" fmla="*/ 0 w 1537418"/>
                <a:gd name="connsiteY2" fmla="*/ 775509 h 954388"/>
                <a:gd name="connsiteX3" fmla="*/ 281217 w 1537418"/>
                <a:gd name="connsiteY3" fmla="*/ 692588 h 954388"/>
                <a:gd name="connsiteX4" fmla="*/ 1537418 w 1537418"/>
                <a:gd name="connsiteY4" fmla="*/ 0 h 954388"/>
                <a:gd name="connsiteX5" fmla="*/ 1013370 w 1537418"/>
                <a:gd name="connsiteY5" fmla="*/ 409677 h 954388"/>
                <a:gd name="connsiteX0" fmla="*/ 1318922 w 1537418"/>
                <a:gd name="connsiteY0" fmla="*/ 473745 h 954388"/>
                <a:gd name="connsiteX1" fmla="*/ 296529 w 1537418"/>
                <a:gd name="connsiteY1" fmla="*/ 954388 h 954388"/>
                <a:gd name="connsiteX2" fmla="*/ 0 w 1537418"/>
                <a:gd name="connsiteY2" fmla="*/ 775509 h 954388"/>
                <a:gd name="connsiteX3" fmla="*/ 281217 w 1537418"/>
                <a:gd name="connsiteY3" fmla="*/ 692588 h 954388"/>
                <a:gd name="connsiteX4" fmla="*/ 1537418 w 1537418"/>
                <a:gd name="connsiteY4" fmla="*/ 0 h 954388"/>
                <a:gd name="connsiteX5" fmla="*/ 1318922 w 1537418"/>
                <a:gd name="connsiteY5" fmla="*/ 473745 h 954388"/>
                <a:gd name="connsiteX0" fmla="*/ 1318922 w 1537418"/>
                <a:gd name="connsiteY0" fmla="*/ 473745 h 775509"/>
                <a:gd name="connsiteX1" fmla="*/ 1060409 w 1537418"/>
                <a:gd name="connsiteY1" fmla="*/ 387638 h 775509"/>
                <a:gd name="connsiteX2" fmla="*/ 0 w 1537418"/>
                <a:gd name="connsiteY2" fmla="*/ 775509 h 775509"/>
                <a:gd name="connsiteX3" fmla="*/ 281217 w 1537418"/>
                <a:gd name="connsiteY3" fmla="*/ 692588 h 775509"/>
                <a:gd name="connsiteX4" fmla="*/ 1537418 w 1537418"/>
                <a:gd name="connsiteY4" fmla="*/ 0 h 775509"/>
                <a:gd name="connsiteX5" fmla="*/ 1318922 w 1537418"/>
                <a:gd name="connsiteY5" fmla="*/ 473745 h 775509"/>
                <a:gd name="connsiteX0" fmla="*/ 1318922 w 1537418"/>
                <a:gd name="connsiteY0" fmla="*/ 473745 h 775509"/>
                <a:gd name="connsiteX1" fmla="*/ 1016054 w 1537418"/>
                <a:gd name="connsiteY1" fmla="*/ 402422 h 775509"/>
                <a:gd name="connsiteX2" fmla="*/ 0 w 1537418"/>
                <a:gd name="connsiteY2" fmla="*/ 775509 h 775509"/>
                <a:gd name="connsiteX3" fmla="*/ 281217 w 1537418"/>
                <a:gd name="connsiteY3" fmla="*/ 692588 h 775509"/>
                <a:gd name="connsiteX4" fmla="*/ 1537418 w 1537418"/>
                <a:gd name="connsiteY4" fmla="*/ 0 h 775509"/>
                <a:gd name="connsiteX5" fmla="*/ 1318922 w 1537418"/>
                <a:gd name="connsiteY5" fmla="*/ 473745 h 775509"/>
                <a:gd name="connsiteX0" fmla="*/ 1318922 w 1537418"/>
                <a:gd name="connsiteY0" fmla="*/ 473745 h 775509"/>
                <a:gd name="connsiteX1" fmla="*/ 1016054 w 1537418"/>
                <a:gd name="connsiteY1" fmla="*/ 402422 h 775509"/>
                <a:gd name="connsiteX2" fmla="*/ 0 w 1537418"/>
                <a:gd name="connsiteY2" fmla="*/ 775509 h 775509"/>
                <a:gd name="connsiteX3" fmla="*/ 271360 w 1537418"/>
                <a:gd name="connsiteY3" fmla="*/ 727085 h 775509"/>
                <a:gd name="connsiteX4" fmla="*/ 1537418 w 1537418"/>
                <a:gd name="connsiteY4" fmla="*/ 0 h 775509"/>
                <a:gd name="connsiteX5" fmla="*/ 1318922 w 1537418"/>
                <a:gd name="connsiteY5" fmla="*/ 473745 h 775509"/>
                <a:gd name="connsiteX0" fmla="*/ 1047562 w 1266058"/>
                <a:gd name="connsiteY0" fmla="*/ 473745 h 982496"/>
                <a:gd name="connsiteX1" fmla="*/ 744694 w 1266058"/>
                <a:gd name="connsiteY1" fmla="*/ 402422 h 982496"/>
                <a:gd name="connsiteX2" fmla="*/ 4622 w 1266058"/>
                <a:gd name="connsiteY2" fmla="*/ 982496 h 982496"/>
                <a:gd name="connsiteX3" fmla="*/ 0 w 1266058"/>
                <a:gd name="connsiteY3" fmla="*/ 727085 h 982496"/>
                <a:gd name="connsiteX4" fmla="*/ 1266058 w 1266058"/>
                <a:gd name="connsiteY4" fmla="*/ 0 h 982496"/>
                <a:gd name="connsiteX5" fmla="*/ 1047562 w 1266058"/>
                <a:gd name="connsiteY5" fmla="*/ 473745 h 982496"/>
                <a:gd name="connsiteX0" fmla="*/ 1293975 w 1512471"/>
                <a:gd name="connsiteY0" fmla="*/ 473745 h 982496"/>
                <a:gd name="connsiteX1" fmla="*/ 991107 w 1512471"/>
                <a:gd name="connsiteY1" fmla="*/ 402422 h 982496"/>
                <a:gd name="connsiteX2" fmla="*/ 251035 w 1512471"/>
                <a:gd name="connsiteY2" fmla="*/ 982496 h 982496"/>
                <a:gd name="connsiteX3" fmla="*/ 0 w 1512471"/>
                <a:gd name="connsiteY3" fmla="*/ 776368 h 982496"/>
                <a:gd name="connsiteX4" fmla="*/ 1512471 w 1512471"/>
                <a:gd name="connsiteY4" fmla="*/ 0 h 982496"/>
                <a:gd name="connsiteX5" fmla="*/ 1293975 w 1512471"/>
                <a:gd name="connsiteY5" fmla="*/ 473745 h 982496"/>
                <a:gd name="connsiteX0" fmla="*/ 1293975 w 1512471"/>
                <a:gd name="connsiteY0" fmla="*/ 473745 h 787947"/>
                <a:gd name="connsiteX1" fmla="*/ 991107 w 1512471"/>
                <a:gd name="connsiteY1" fmla="*/ 402422 h 787947"/>
                <a:gd name="connsiteX2" fmla="*/ 950848 w 1512471"/>
                <a:gd name="connsiteY2" fmla="*/ 531560 h 787947"/>
                <a:gd name="connsiteX3" fmla="*/ 0 w 1512471"/>
                <a:gd name="connsiteY3" fmla="*/ 776368 h 787947"/>
                <a:gd name="connsiteX4" fmla="*/ 1512471 w 1512471"/>
                <a:gd name="connsiteY4" fmla="*/ 0 h 787947"/>
                <a:gd name="connsiteX5" fmla="*/ 1293975 w 1512471"/>
                <a:gd name="connsiteY5" fmla="*/ 473745 h 787947"/>
                <a:gd name="connsiteX0" fmla="*/ 1293975 w 1512471"/>
                <a:gd name="connsiteY0" fmla="*/ 473745 h 776368"/>
                <a:gd name="connsiteX1" fmla="*/ 991107 w 1512471"/>
                <a:gd name="connsiteY1" fmla="*/ 402422 h 776368"/>
                <a:gd name="connsiteX2" fmla="*/ 0 w 1512471"/>
                <a:gd name="connsiteY2" fmla="*/ 776368 h 776368"/>
                <a:gd name="connsiteX3" fmla="*/ 1512471 w 1512471"/>
                <a:gd name="connsiteY3" fmla="*/ 0 h 776368"/>
                <a:gd name="connsiteX4" fmla="*/ 1293975 w 1512471"/>
                <a:gd name="connsiteY4" fmla="*/ 473745 h 776368"/>
                <a:gd name="connsiteX0" fmla="*/ 302868 w 521364"/>
                <a:gd name="connsiteY0" fmla="*/ 473745 h 473745"/>
                <a:gd name="connsiteX1" fmla="*/ 0 w 521364"/>
                <a:gd name="connsiteY1" fmla="*/ 402422 h 473745"/>
                <a:gd name="connsiteX2" fmla="*/ 521364 w 521364"/>
                <a:gd name="connsiteY2" fmla="*/ 0 h 473745"/>
                <a:gd name="connsiteX3" fmla="*/ 302868 w 521364"/>
                <a:gd name="connsiteY3" fmla="*/ 473745 h 473745"/>
                <a:gd name="connsiteX0" fmla="*/ 398969 w 617465"/>
                <a:gd name="connsiteY0" fmla="*/ 473745 h 473745"/>
                <a:gd name="connsiteX1" fmla="*/ 0 w 617465"/>
                <a:gd name="connsiteY1" fmla="*/ 323570 h 473745"/>
                <a:gd name="connsiteX2" fmla="*/ 617465 w 617465"/>
                <a:gd name="connsiteY2" fmla="*/ 0 h 473745"/>
                <a:gd name="connsiteX3" fmla="*/ 398969 w 617465"/>
                <a:gd name="connsiteY3" fmla="*/ 473745 h 473745"/>
              </a:gdLst>
              <a:ahLst/>
              <a:cxnLst>
                <a:cxn ang="0">
                  <a:pos x="connsiteX0" y="connsiteY0"/>
                </a:cxn>
                <a:cxn ang="0">
                  <a:pos x="connsiteX1" y="connsiteY1"/>
                </a:cxn>
                <a:cxn ang="0">
                  <a:pos x="connsiteX2" y="connsiteY2"/>
                </a:cxn>
                <a:cxn ang="0">
                  <a:pos x="connsiteX3" y="connsiteY3"/>
                </a:cxn>
              </a:cxnLst>
              <a:rect l="l" t="t" r="r" b="b"/>
              <a:pathLst>
                <a:path w="617465" h="473745">
                  <a:moveTo>
                    <a:pt x="398969" y="473745"/>
                  </a:moveTo>
                  <a:lnTo>
                    <a:pt x="0" y="323570"/>
                  </a:lnTo>
                  <a:lnTo>
                    <a:pt x="617465" y="0"/>
                  </a:lnTo>
                  <a:lnTo>
                    <a:pt x="398969" y="473745"/>
                  </a:lnTo>
                  <a:close/>
                </a:path>
              </a:pathLst>
            </a:custGeom>
            <a:solidFill>
              <a:srgbClr val="00B8F5">
                <a:lumMod val="20000"/>
                <a:lumOff val="80000"/>
              </a:srgbClr>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60" name="Freeform: Shape 59">
              <a:extLst>
                <a:ext uri="{FF2B5EF4-FFF2-40B4-BE49-F238E27FC236}">
                  <a16:creationId xmlns:a16="http://schemas.microsoft.com/office/drawing/2014/main" id="{7AFB3142-C867-4331-0C09-3065D4A6943B}"/>
                </a:ext>
              </a:extLst>
            </p:cNvPr>
            <p:cNvSpPr/>
            <p:nvPr/>
          </p:nvSpPr>
          <p:spPr>
            <a:xfrm flipH="1">
              <a:off x="16499712" y="2774081"/>
              <a:ext cx="455821" cy="234988"/>
            </a:xfrm>
            <a:custGeom>
              <a:avLst/>
              <a:gdLst>
                <a:gd name="connsiteX0" fmla="*/ 433818 w 471686"/>
                <a:gd name="connsiteY0" fmla="*/ 242664 h 243167"/>
                <a:gd name="connsiteX1" fmla="*/ 433778 w 471686"/>
                <a:gd name="connsiteY1" fmla="*/ 242946 h 243167"/>
                <a:gd name="connsiteX2" fmla="*/ 433797 w 471686"/>
                <a:gd name="connsiteY2" fmla="*/ 243167 h 243167"/>
                <a:gd name="connsiteX3" fmla="*/ 0 w 471686"/>
                <a:gd name="connsiteY3" fmla="*/ 227050 h 243167"/>
                <a:gd name="connsiteX4" fmla="*/ 70526 w 471686"/>
                <a:gd name="connsiteY4" fmla="*/ 109299 h 243167"/>
                <a:gd name="connsiteX5" fmla="*/ 471686 w 471686"/>
                <a:gd name="connsiteY5" fmla="*/ 0 h 243167"/>
                <a:gd name="connsiteX6" fmla="*/ 433818 w 471686"/>
                <a:gd name="connsiteY6" fmla="*/ 242664 h 243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1686" h="243167">
                  <a:moveTo>
                    <a:pt x="433818" y="242664"/>
                  </a:moveTo>
                  <a:lnTo>
                    <a:pt x="433778" y="242946"/>
                  </a:lnTo>
                  <a:lnTo>
                    <a:pt x="433797" y="243167"/>
                  </a:lnTo>
                  <a:lnTo>
                    <a:pt x="0" y="227050"/>
                  </a:lnTo>
                  <a:lnTo>
                    <a:pt x="70526" y="109299"/>
                  </a:lnTo>
                  <a:lnTo>
                    <a:pt x="471686" y="0"/>
                  </a:lnTo>
                  <a:lnTo>
                    <a:pt x="433818" y="242664"/>
                  </a:lnTo>
                  <a:close/>
                </a:path>
              </a:pathLst>
            </a:custGeom>
            <a:solidFill>
              <a:srgbClr val="00B8F5">
                <a:lumMod val="20000"/>
                <a:lumOff val="80000"/>
              </a:srgbClr>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61" name="Freeform: Shape 60">
              <a:extLst>
                <a:ext uri="{FF2B5EF4-FFF2-40B4-BE49-F238E27FC236}">
                  <a16:creationId xmlns:a16="http://schemas.microsoft.com/office/drawing/2014/main" id="{B7209CBB-6419-3FFD-B0A0-F156CFAF0538}"/>
                </a:ext>
              </a:extLst>
            </p:cNvPr>
            <p:cNvSpPr/>
            <p:nvPr/>
          </p:nvSpPr>
          <p:spPr>
            <a:xfrm flipH="1">
              <a:off x="16124333" y="2205129"/>
              <a:ext cx="507155" cy="835089"/>
            </a:xfrm>
            <a:custGeom>
              <a:avLst/>
              <a:gdLst>
                <a:gd name="connsiteX0" fmla="*/ 524807 w 524806"/>
                <a:gd name="connsiteY0" fmla="*/ 178879 h 864154"/>
                <a:gd name="connsiteX1" fmla="*/ 444381 w 524806"/>
                <a:gd name="connsiteY1" fmla="*/ 863651 h 864154"/>
                <a:gd name="connsiteX2" fmla="*/ 444321 w 524806"/>
                <a:gd name="connsiteY2" fmla="*/ 864154 h 864154"/>
                <a:gd name="connsiteX3" fmla="*/ 114430 w 524806"/>
                <a:gd name="connsiteY3" fmla="*/ 848037 h 864154"/>
                <a:gd name="connsiteX4" fmla="*/ 98394 w 524806"/>
                <a:gd name="connsiteY4" fmla="*/ 847534 h 864154"/>
                <a:gd name="connsiteX5" fmla="*/ 0 w 524806"/>
                <a:gd name="connsiteY5" fmla="*/ 831417 h 864154"/>
                <a:gd name="connsiteX6" fmla="*/ 136363 w 524806"/>
                <a:gd name="connsiteY6" fmla="*/ 588753 h 864154"/>
                <a:gd name="connsiteX7" fmla="*/ 228277 w 524806"/>
                <a:gd name="connsiteY7" fmla="*/ 0 h 864154"/>
                <a:gd name="connsiteX8" fmla="*/ 524807 w 524806"/>
                <a:gd name="connsiteY8" fmla="*/ 178879 h 864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4806" h="864154">
                  <a:moveTo>
                    <a:pt x="524807" y="178879"/>
                  </a:moveTo>
                  <a:lnTo>
                    <a:pt x="444381" y="863651"/>
                  </a:lnTo>
                  <a:lnTo>
                    <a:pt x="444321" y="864154"/>
                  </a:lnTo>
                  <a:lnTo>
                    <a:pt x="114430" y="848037"/>
                  </a:lnTo>
                  <a:lnTo>
                    <a:pt x="98394" y="847534"/>
                  </a:lnTo>
                  <a:lnTo>
                    <a:pt x="0" y="831417"/>
                  </a:lnTo>
                  <a:lnTo>
                    <a:pt x="136363" y="588753"/>
                  </a:lnTo>
                  <a:lnTo>
                    <a:pt x="228277" y="0"/>
                  </a:lnTo>
                  <a:lnTo>
                    <a:pt x="524807" y="178879"/>
                  </a:lnTo>
                  <a:close/>
                </a:path>
              </a:pathLst>
            </a:custGeom>
            <a:solidFill>
              <a:srgbClr val="9FE6FF"/>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grpSp>
      <p:sp>
        <p:nvSpPr>
          <p:cNvPr id="62" name="Freeform: Shape 61">
            <a:extLst>
              <a:ext uri="{FF2B5EF4-FFF2-40B4-BE49-F238E27FC236}">
                <a16:creationId xmlns:a16="http://schemas.microsoft.com/office/drawing/2014/main" id="{BFDEAD50-B258-3747-A113-C54E7C300533}"/>
              </a:ext>
            </a:extLst>
          </p:cNvPr>
          <p:cNvSpPr/>
          <p:nvPr/>
        </p:nvSpPr>
        <p:spPr>
          <a:xfrm>
            <a:off x="-7048" y="3363094"/>
            <a:ext cx="12199051" cy="165125"/>
          </a:xfrm>
          <a:custGeom>
            <a:avLst/>
            <a:gdLst>
              <a:gd name="connsiteX0" fmla="*/ 5587012 w 7822460"/>
              <a:gd name="connsiteY0" fmla="*/ 109722 h 109721"/>
              <a:gd name="connsiteX1" fmla="*/ 4469831 w 7822460"/>
              <a:gd name="connsiteY1" fmla="*/ 32335 h 109721"/>
              <a:gd name="connsiteX2" fmla="*/ 3352650 w 7822460"/>
              <a:gd name="connsiteY2" fmla="*/ 109722 h 109721"/>
              <a:gd name="connsiteX3" fmla="*/ 2235469 w 7822460"/>
              <a:gd name="connsiteY3" fmla="*/ 32335 h 109721"/>
              <a:gd name="connsiteX4" fmla="*/ 1118288 w 7822460"/>
              <a:gd name="connsiteY4" fmla="*/ 109722 h 109721"/>
              <a:gd name="connsiteX5" fmla="*/ 0 w 7822460"/>
              <a:gd name="connsiteY5" fmla="*/ 32254 h 109721"/>
              <a:gd name="connsiteX6" fmla="*/ 2233 w 7822460"/>
              <a:gd name="connsiteY6" fmla="*/ 80 h 109721"/>
              <a:gd name="connsiteX7" fmla="*/ 1118288 w 7822460"/>
              <a:gd name="connsiteY7" fmla="*/ 77407 h 109721"/>
              <a:gd name="connsiteX8" fmla="*/ 2235469 w 7822460"/>
              <a:gd name="connsiteY8" fmla="*/ 0 h 109721"/>
              <a:gd name="connsiteX9" fmla="*/ 3352650 w 7822460"/>
              <a:gd name="connsiteY9" fmla="*/ 77407 h 109721"/>
              <a:gd name="connsiteX10" fmla="*/ 4469831 w 7822460"/>
              <a:gd name="connsiteY10" fmla="*/ 0 h 109721"/>
              <a:gd name="connsiteX11" fmla="*/ 5587012 w 7822460"/>
              <a:gd name="connsiteY11" fmla="*/ 77407 h 109721"/>
              <a:gd name="connsiteX12" fmla="*/ 6704193 w 7822460"/>
              <a:gd name="connsiteY12" fmla="*/ 0 h 109721"/>
              <a:gd name="connsiteX13" fmla="*/ 7822461 w 7822460"/>
              <a:gd name="connsiteY13" fmla="*/ 77467 h 109721"/>
              <a:gd name="connsiteX14" fmla="*/ 7820247 w 7822460"/>
              <a:gd name="connsiteY14" fmla="*/ 109642 h 109721"/>
              <a:gd name="connsiteX15" fmla="*/ 6704193 w 7822460"/>
              <a:gd name="connsiteY15" fmla="*/ 32335 h 109721"/>
              <a:gd name="connsiteX16" fmla="*/ 5587012 w 7822460"/>
              <a:gd name="connsiteY16" fmla="*/ 109722 h 109721"/>
              <a:gd name="connsiteX0" fmla="*/ 5587012 w 7822461"/>
              <a:gd name="connsiteY0" fmla="*/ 109722 h 109722"/>
              <a:gd name="connsiteX1" fmla="*/ 4674669 w 7822461"/>
              <a:gd name="connsiteY1" fmla="*/ 55903 h 109722"/>
              <a:gd name="connsiteX2" fmla="*/ 3352650 w 7822461"/>
              <a:gd name="connsiteY2" fmla="*/ 109722 h 109722"/>
              <a:gd name="connsiteX3" fmla="*/ 2235469 w 7822461"/>
              <a:gd name="connsiteY3" fmla="*/ 32335 h 109722"/>
              <a:gd name="connsiteX4" fmla="*/ 1118288 w 7822461"/>
              <a:gd name="connsiteY4" fmla="*/ 109722 h 109722"/>
              <a:gd name="connsiteX5" fmla="*/ 0 w 7822461"/>
              <a:gd name="connsiteY5" fmla="*/ 32254 h 109722"/>
              <a:gd name="connsiteX6" fmla="*/ 2233 w 7822461"/>
              <a:gd name="connsiteY6" fmla="*/ 80 h 109722"/>
              <a:gd name="connsiteX7" fmla="*/ 1118288 w 7822461"/>
              <a:gd name="connsiteY7" fmla="*/ 77407 h 109722"/>
              <a:gd name="connsiteX8" fmla="*/ 2235469 w 7822461"/>
              <a:gd name="connsiteY8" fmla="*/ 0 h 109722"/>
              <a:gd name="connsiteX9" fmla="*/ 3352650 w 7822461"/>
              <a:gd name="connsiteY9" fmla="*/ 77407 h 109722"/>
              <a:gd name="connsiteX10" fmla="*/ 4469831 w 7822461"/>
              <a:gd name="connsiteY10" fmla="*/ 0 h 109722"/>
              <a:gd name="connsiteX11" fmla="*/ 5587012 w 7822461"/>
              <a:gd name="connsiteY11" fmla="*/ 77407 h 109722"/>
              <a:gd name="connsiteX12" fmla="*/ 6704193 w 7822461"/>
              <a:gd name="connsiteY12" fmla="*/ 0 h 109722"/>
              <a:gd name="connsiteX13" fmla="*/ 7822461 w 7822461"/>
              <a:gd name="connsiteY13" fmla="*/ 77467 h 109722"/>
              <a:gd name="connsiteX14" fmla="*/ 7820247 w 7822461"/>
              <a:gd name="connsiteY14" fmla="*/ 109642 h 109722"/>
              <a:gd name="connsiteX15" fmla="*/ 6704193 w 7822461"/>
              <a:gd name="connsiteY15" fmla="*/ 32335 h 109722"/>
              <a:gd name="connsiteX16" fmla="*/ 5587012 w 7822461"/>
              <a:gd name="connsiteY16" fmla="*/ 109722 h 109722"/>
              <a:gd name="connsiteX0" fmla="*/ 5587012 w 7822461"/>
              <a:gd name="connsiteY0" fmla="*/ 109722 h 109722"/>
              <a:gd name="connsiteX1" fmla="*/ 4674669 w 7822461"/>
              <a:gd name="connsiteY1" fmla="*/ 55903 h 109722"/>
              <a:gd name="connsiteX2" fmla="*/ 3352650 w 7822461"/>
              <a:gd name="connsiteY2" fmla="*/ 109722 h 109722"/>
              <a:gd name="connsiteX3" fmla="*/ 2235469 w 7822461"/>
              <a:gd name="connsiteY3" fmla="*/ 32335 h 109722"/>
              <a:gd name="connsiteX4" fmla="*/ 1118288 w 7822461"/>
              <a:gd name="connsiteY4" fmla="*/ 109722 h 109722"/>
              <a:gd name="connsiteX5" fmla="*/ 0 w 7822461"/>
              <a:gd name="connsiteY5" fmla="*/ 32254 h 109722"/>
              <a:gd name="connsiteX6" fmla="*/ 2233 w 7822461"/>
              <a:gd name="connsiteY6" fmla="*/ 80 h 109722"/>
              <a:gd name="connsiteX7" fmla="*/ 1118288 w 7822461"/>
              <a:gd name="connsiteY7" fmla="*/ 77407 h 109722"/>
              <a:gd name="connsiteX8" fmla="*/ 2235469 w 7822461"/>
              <a:gd name="connsiteY8" fmla="*/ 0 h 109722"/>
              <a:gd name="connsiteX9" fmla="*/ 3352650 w 7822461"/>
              <a:gd name="connsiteY9" fmla="*/ 77407 h 109722"/>
              <a:gd name="connsiteX10" fmla="*/ 4683841 w 7822461"/>
              <a:gd name="connsiteY10" fmla="*/ 28281 h 109722"/>
              <a:gd name="connsiteX11" fmla="*/ 5587012 w 7822461"/>
              <a:gd name="connsiteY11" fmla="*/ 77407 h 109722"/>
              <a:gd name="connsiteX12" fmla="*/ 6704193 w 7822461"/>
              <a:gd name="connsiteY12" fmla="*/ 0 h 109722"/>
              <a:gd name="connsiteX13" fmla="*/ 7822461 w 7822461"/>
              <a:gd name="connsiteY13" fmla="*/ 77467 h 109722"/>
              <a:gd name="connsiteX14" fmla="*/ 7820247 w 7822461"/>
              <a:gd name="connsiteY14" fmla="*/ 109642 h 109722"/>
              <a:gd name="connsiteX15" fmla="*/ 6704193 w 7822461"/>
              <a:gd name="connsiteY15" fmla="*/ 32335 h 109722"/>
              <a:gd name="connsiteX16" fmla="*/ 5587012 w 7822461"/>
              <a:gd name="connsiteY16" fmla="*/ 109722 h 109722"/>
              <a:gd name="connsiteX0" fmla="*/ 5587012 w 7822461"/>
              <a:gd name="connsiteY0" fmla="*/ 109722 h 109722"/>
              <a:gd name="connsiteX1" fmla="*/ 4674669 w 7822461"/>
              <a:gd name="connsiteY1" fmla="*/ 55903 h 109722"/>
              <a:gd name="connsiteX2" fmla="*/ 3352650 w 7822461"/>
              <a:gd name="connsiteY2" fmla="*/ 109722 h 109722"/>
              <a:gd name="connsiteX3" fmla="*/ 2235469 w 7822461"/>
              <a:gd name="connsiteY3" fmla="*/ 32335 h 109722"/>
              <a:gd name="connsiteX4" fmla="*/ 1118288 w 7822461"/>
              <a:gd name="connsiteY4" fmla="*/ 109722 h 109722"/>
              <a:gd name="connsiteX5" fmla="*/ 0 w 7822461"/>
              <a:gd name="connsiteY5" fmla="*/ 32254 h 109722"/>
              <a:gd name="connsiteX6" fmla="*/ 2233 w 7822461"/>
              <a:gd name="connsiteY6" fmla="*/ 80 h 109722"/>
              <a:gd name="connsiteX7" fmla="*/ 1118288 w 7822461"/>
              <a:gd name="connsiteY7" fmla="*/ 77407 h 109722"/>
              <a:gd name="connsiteX8" fmla="*/ 2235469 w 7822461"/>
              <a:gd name="connsiteY8" fmla="*/ 0 h 109722"/>
              <a:gd name="connsiteX9" fmla="*/ 3352650 w 7822461"/>
              <a:gd name="connsiteY9" fmla="*/ 77407 h 109722"/>
              <a:gd name="connsiteX10" fmla="*/ 4683841 w 7822461"/>
              <a:gd name="connsiteY10" fmla="*/ 28281 h 109722"/>
              <a:gd name="connsiteX11" fmla="*/ 5686374 w 7822461"/>
              <a:gd name="connsiteY11" fmla="*/ 34986 h 109722"/>
              <a:gd name="connsiteX12" fmla="*/ 6704193 w 7822461"/>
              <a:gd name="connsiteY12" fmla="*/ 0 h 109722"/>
              <a:gd name="connsiteX13" fmla="*/ 7822461 w 7822461"/>
              <a:gd name="connsiteY13" fmla="*/ 77467 h 109722"/>
              <a:gd name="connsiteX14" fmla="*/ 7820247 w 7822461"/>
              <a:gd name="connsiteY14" fmla="*/ 109642 h 109722"/>
              <a:gd name="connsiteX15" fmla="*/ 6704193 w 7822461"/>
              <a:gd name="connsiteY15" fmla="*/ 32335 h 109722"/>
              <a:gd name="connsiteX16" fmla="*/ 5587012 w 7822461"/>
              <a:gd name="connsiteY16" fmla="*/ 109722 h 109722"/>
              <a:gd name="connsiteX0" fmla="*/ 5692488 w 7822461"/>
              <a:gd name="connsiteY0" fmla="*/ 69657 h 109722"/>
              <a:gd name="connsiteX1" fmla="*/ 4674669 w 7822461"/>
              <a:gd name="connsiteY1" fmla="*/ 55903 h 109722"/>
              <a:gd name="connsiteX2" fmla="*/ 3352650 w 7822461"/>
              <a:gd name="connsiteY2" fmla="*/ 109722 h 109722"/>
              <a:gd name="connsiteX3" fmla="*/ 2235469 w 7822461"/>
              <a:gd name="connsiteY3" fmla="*/ 32335 h 109722"/>
              <a:gd name="connsiteX4" fmla="*/ 1118288 w 7822461"/>
              <a:gd name="connsiteY4" fmla="*/ 109722 h 109722"/>
              <a:gd name="connsiteX5" fmla="*/ 0 w 7822461"/>
              <a:gd name="connsiteY5" fmla="*/ 32254 h 109722"/>
              <a:gd name="connsiteX6" fmla="*/ 2233 w 7822461"/>
              <a:gd name="connsiteY6" fmla="*/ 80 h 109722"/>
              <a:gd name="connsiteX7" fmla="*/ 1118288 w 7822461"/>
              <a:gd name="connsiteY7" fmla="*/ 77407 h 109722"/>
              <a:gd name="connsiteX8" fmla="*/ 2235469 w 7822461"/>
              <a:gd name="connsiteY8" fmla="*/ 0 h 109722"/>
              <a:gd name="connsiteX9" fmla="*/ 3352650 w 7822461"/>
              <a:gd name="connsiteY9" fmla="*/ 77407 h 109722"/>
              <a:gd name="connsiteX10" fmla="*/ 4683841 w 7822461"/>
              <a:gd name="connsiteY10" fmla="*/ 28281 h 109722"/>
              <a:gd name="connsiteX11" fmla="*/ 5686374 w 7822461"/>
              <a:gd name="connsiteY11" fmla="*/ 34986 h 109722"/>
              <a:gd name="connsiteX12" fmla="*/ 6704193 w 7822461"/>
              <a:gd name="connsiteY12" fmla="*/ 0 h 109722"/>
              <a:gd name="connsiteX13" fmla="*/ 7822461 w 7822461"/>
              <a:gd name="connsiteY13" fmla="*/ 77467 h 109722"/>
              <a:gd name="connsiteX14" fmla="*/ 7820247 w 7822461"/>
              <a:gd name="connsiteY14" fmla="*/ 109642 h 109722"/>
              <a:gd name="connsiteX15" fmla="*/ 6704193 w 7822461"/>
              <a:gd name="connsiteY15" fmla="*/ 32335 h 109722"/>
              <a:gd name="connsiteX16" fmla="*/ 5692488 w 7822461"/>
              <a:gd name="connsiteY16" fmla="*/ 69657 h 109722"/>
              <a:gd name="connsiteX0" fmla="*/ 5067273 w 7822461"/>
              <a:gd name="connsiteY0" fmla="*/ 95582 h 109722"/>
              <a:gd name="connsiteX1" fmla="*/ 4674669 w 7822461"/>
              <a:gd name="connsiteY1" fmla="*/ 55903 h 109722"/>
              <a:gd name="connsiteX2" fmla="*/ 3352650 w 7822461"/>
              <a:gd name="connsiteY2" fmla="*/ 109722 h 109722"/>
              <a:gd name="connsiteX3" fmla="*/ 2235469 w 7822461"/>
              <a:gd name="connsiteY3" fmla="*/ 32335 h 109722"/>
              <a:gd name="connsiteX4" fmla="*/ 1118288 w 7822461"/>
              <a:gd name="connsiteY4" fmla="*/ 109722 h 109722"/>
              <a:gd name="connsiteX5" fmla="*/ 0 w 7822461"/>
              <a:gd name="connsiteY5" fmla="*/ 32254 h 109722"/>
              <a:gd name="connsiteX6" fmla="*/ 2233 w 7822461"/>
              <a:gd name="connsiteY6" fmla="*/ 80 h 109722"/>
              <a:gd name="connsiteX7" fmla="*/ 1118288 w 7822461"/>
              <a:gd name="connsiteY7" fmla="*/ 77407 h 109722"/>
              <a:gd name="connsiteX8" fmla="*/ 2235469 w 7822461"/>
              <a:gd name="connsiteY8" fmla="*/ 0 h 109722"/>
              <a:gd name="connsiteX9" fmla="*/ 3352650 w 7822461"/>
              <a:gd name="connsiteY9" fmla="*/ 77407 h 109722"/>
              <a:gd name="connsiteX10" fmla="*/ 4683841 w 7822461"/>
              <a:gd name="connsiteY10" fmla="*/ 28281 h 109722"/>
              <a:gd name="connsiteX11" fmla="*/ 5686374 w 7822461"/>
              <a:gd name="connsiteY11" fmla="*/ 34986 h 109722"/>
              <a:gd name="connsiteX12" fmla="*/ 6704193 w 7822461"/>
              <a:gd name="connsiteY12" fmla="*/ 0 h 109722"/>
              <a:gd name="connsiteX13" fmla="*/ 7822461 w 7822461"/>
              <a:gd name="connsiteY13" fmla="*/ 77467 h 109722"/>
              <a:gd name="connsiteX14" fmla="*/ 7820247 w 7822461"/>
              <a:gd name="connsiteY14" fmla="*/ 109642 h 109722"/>
              <a:gd name="connsiteX15" fmla="*/ 6704193 w 7822461"/>
              <a:gd name="connsiteY15" fmla="*/ 32335 h 109722"/>
              <a:gd name="connsiteX16" fmla="*/ 5067273 w 7822461"/>
              <a:gd name="connsiteY16" fmla="*/ 95582 h 109722"/>
              <a:gd name="connsiteX0" fmla="*/ 5067273 w 7822461"/>
              <a:gd name="connsiteY0" fmla="*/ 95582 h 109722"/>
              <a:gd name="connsiteX1" fmla="*/ 4674669 w 7822461"/>
              <a:gd name="connsiteY1" fmla="*/ 55903 h 109722"/>
              <a:gd name="connsiteX2" fmla="*/ 3352650 w 7822461"/>
              <a:gd name="connsiteY2" fmla="*/ 109722 h 109722"/>
              <a:gd name="connsiteX3" fmla="*/ 2235469 w 7822461"/>
              <a:gd name="connsiteY3" fmla="*/ 32335 h 109722"/>
              <a:gd name="connsiteX4" fmla="*/ 1118288 w 7822461"/>
              <a:gd name="connsiteY4" fmla="*/ 109722 h 109722"/>
              <a:gd name="connsiteX5" fmla="*/ 0 w 7822461"/>
              <a:gd name="connsiteY5" fmla="*/ 32254 h 109722"/>
              <a:gd name="connsiteX6" fmla="*/ 2233 w 7822461"/>
              <a:gd name="connsiteY6" fmla="*/ 80 h 109722"/>
              <a:gd name="connsiteX7" fmla="*/ 1118288 w 7822461"/>
              <a:gd name="connsiteY7" fmla="*/ 77407 h 109722"/>
              <a:gd name="connsiteX8" fmla="*/ 2235469 w 7822461"/>
              <a:gd name="connsiteY8" fmla="*/ 0 h 109722"/>
              <a:gd name="connsiteX9" fmla="*/ 3352650 w 7822461"/>
              <a:gd name="connsiteY9" fmla="*/ 77407 h 109722"/>
              <a:gd name="connsiteX10" fmla="*/ 4683841 w 7822461"/>
              <a:gd name="connsiteY10" fmla="*/ 28281 h 109722"/>
              <a:gd name="connsiteX11" fmla="*/ 5071859 w 7822461"/>
              <a:gd name="connsiteY11" fmla="*/ 65624 h 109722"/>
              <a:gd name="connsiteX12" fmla="*/ 6704193 w 7822461"/>
              <a:gd name="connsiteY12" fmla="*/ 0 h 109722"/>
              <a:gd name="connsiteX13" fmla="*/ 7822461 w 7822461"/>
              <a:gd name="connsiteY13" fmla="*/ 77467 h 109722"/>
              <a:gd name="connsiteX14" fmla="*/ 7820247 w 7822461"/>
              <a:gd name="connsiteY14" fmla="*/ 109642 h 109722"/>
              <a:gd name="connsiteX15" fmla="*/ 6704193 w 7822461"/>
              <a:gd name="connsiteY15" fmla="*/ 32335 h 109722"/>
              <a:gd name="connsiteX16" fmla="*/ 5067273 w 7822461"/>
              <a:gd name="connsiteY16" fmla="*/ 95582 h 109722"/>
              <a:gd name="connsiteX0" fmla="*/ 5067273 w 7822461"/>
              <a:gd name="connsiteY0" fmla="*/ 95582 h 109722"/>
              <a:gd name="connsiteX1" fmla="*/ 4674669 w 7822461"/>
              <a:gd name="connsiteY1" fmla="*/ 55903 h 109722"/>
              <a:gd name="connsiteX2" fmla="*/ 3352650 w 7822461"/>
              <a:gd name="connsiteY2" fmla="*/ 109722 h 109722"/>
              <a:gd name="connsiteX3" fmla="*/ 2235469 w 7822461"/>
              <a:gd name="connsiteY3" fmla="*/ 32335 h 109722"/>
              <a:gd name="connsiteX4" fmla="*/ 1118288 w 7822461"/>
              <a:gd name="connsiteY4" fmla="*/ 109722 h 109722"/>
              <a:gd name="connsiteX5" fmla="*/ 0 w 7822461"/>
              <a:gd name="connsiteY5" fmla="*/ 32254 h 109722"/>
              <a:gd name="connsiteX6" fmla="*/ 2233 w 7822461"/>
              <a:gd name="connsiteY6" fmla="*/ 80 h 109722"/>
              <a:gd name="connsiteX7" fmla="*/ 1118288 w 7822461"/>
              <a:gd name="connsiteY7" fmla="*/ 77407 h 109722"/>
              <a:gd name="connsiteX8" fmla="*/ 2235469 w 7822461"/>
              <a:gd name="connsiteY8" fmla="*/ 0 h 109722"/>
              <a:gd name="connsiteX9" fmla="*/ 3352650 w 7822461"/>
              <a:gd name="connsiteY9" fmla="*/ 77407 h 109722"/>
              <a:gd name="connsiteX10" fmla="*/ 4683841 w 7822461"/>
              <a:gd name="connsiteY10" fmla="*/ 28281 h 109722"/>
              <a:gd name="connsiteX11" fmla="*/ 5071859 w 7822461"/>
              <a:gd name="connsiteY11" fmla="*/ 65624 h 109722"/>
              <a:gd name="connsiteX12" fmla="*/ 5713632 w 7822461"/>
              <a:gd name="connsiteY12" fmla="*/ 23568 h 109722"/>
              <a:gd name="connsiteX13" fmla="*/ 7822461 w 7822461"/>
              <a:gd name="connsiteY13" fmla="*/ 77467 h 109722"/>
              <a:gd name="connsiteX14" fmla="*/ 7820247 w 7822461"/>
              <a:gd name="connsiteY14" fmla="*/ 109642 h 109722"/>
              <a:gd name="connsiteX15" fmla="*/ 6704193 w 7822461"/>
              <a:gd name="connsiteY15" fmla="*/ 32335 h 109722"/>
              <a:gd name="connsiteX16" fmla="*/ 5067273 w 7822461"/>
              <a:gd name="connsiteY16" fmla="*/ 95582 h 109722"/>
              <a:gd name="connsiteX0" fmla="*/ 5067273 w 7822461"/>
              <a:gd name="connsiteY0" fmla="*/ 95582 h 109722"/>
              <a:gd name="connsiteX1" fmla="*/ 4674669 w 7822461"/>
              <a:gd name="connsiteY1" fmla="*/ 55903 h 109722"/>
              <a:gd name="connsiteX2" fmla="*/ 3352650 w 7822461"/>
              <a:gd name="connsiteY2" fmla="*/ 109722 h 109722"/>
              <a:gd name="connsiteX3" fmla="*/ 2235469 w 7822461"/>
              <a:gd name="connsiteY3" fmla="*/ 32335 h 109722"/>
              <a:gd name="connsiteX4" fmla="*/ 1118288 w 7822461"/>
              <a:gd name="connsiteY4" fmla="*/ 109722 h 109722"/>
              <a:gd name="connsiteX5" fmla="*/ 0 w 7822461"/>
              <a:gd name="connsiteY5" fmla="*/ 32254 h 109722"/>
              <a:gd name="connsiteX6" fmla="*/ 2233 w 7822461"/>
              <a:gd name="connsiteY6" fmla="*/ 80 h 109722"/>
              <a:gd name="connsiteX7" fmla="*/ 1118288 w 7822461"/>
              <a:gd name="connsiteY7" fmla="*/ 77407 h 109722"/>
              <a:gd name="connsiteX8" fmla="*/ 2235469 w 7822461"/>
              <a:gd name="connsiteY8" fmla="*/ 0 h 109722"/>
              <a:gd name="connsiteX9" fmla="*/ 3352650 w 7822461"/>
              <a:gd name="connsiteY9" fmla="*/ 77407 h 109722"/>
              <a:gd name="connsiteX10" fmla="*/ 4683841 w 7822461"/>
              <a:gd name="connsiteY10" fmla="*/ 28281 h 109722"/>
              <a:gd name="connsiteX11" fmla="*/ 5071859 w 7822461"/>
              <a:gd name="connsiteY11" fmla="*/ 65624 h 109722"/>
              <a:gd name="connsiteX12" fmla="*/ 5713632 w 7822461"/>
              <a:gd name="connsiteY12" fmla="*/ 23568 h 109722"/>
              <a:gd name="connsiteX13" fmla="*/ 7822461 w 7822461"/>
              <a:gd name="connsiteY13" fmla="*/ 77467 h 109722"/>
              <a:gd name="connsiteX14" fmla="*/ 7820247 w 7822461"/>
              <a:gd name="connsiteY14" fmla="*/ 109642 h 109722"/>
              <a:gd name="connsiteX15" fmla="*/ 5710575 w 7822461"/>
              <a:gd name="connsiteY15" fmla="*/ 44120 h 109722"/>
              <a:gd name="connsiteX16" fmla="*/ 5067273 w 7822461"/>
              <a:gd name="connsiteY16" fmla="*/ 95582 h 109722"/>
              <a:gd name="connsiteX0" fmla="*/ 5067273 w 7822461"/>
              <a:gd name="connsiteY0" fmla="*/ 95582 h 109722"/>
              <a:gd name="connsiteX1" fmla="*/ 4674669 w 7822461"/>
              <a:gd name="connsiteY1" fmla="*/ 55903 h 109722"/>
              <a:gd name="connsiteX2" fmla="*/ 3352650 w 7822461"/>
              <a:gd name="connsiteY2" fmla="*/ 109722 h 109722"/>
              <a:gd name="connsiteX3" fmla="*/ 2235469 w 7822461"/>
              <a:gd name="connsiteY3" fmla="*/ 32335 h 109722"/>
              <a:gd name="connsiteX4" fmla="*/ 1118288 w 7822461"/>
              <a:gd name="connsiteY4" fmla="*/ 109722 h 109722"/>
              <a:gd name="connsiteX5" fmla="*/ 0 w 7822461"/>
              <a:gd name="connsiteY5" fmla="*/ 32254 h 109722"/>
              <a:gd name="connsiteX6" fmla="*/ 2233 w 7822461"/>
              <a:gd name="connsiteY6" fmla="*/ 80 h 109722"/>
              <a:gd name="connsiteX7" fmla="*/ 1118288 w 7822461"/>
              <a:gd name="connsiteY7" fmla="*/ 77407 h 109722"/>
              <a:gd name="connsiteX8" fmla="*/ 2235469 w 7822461"/>
              <a:gd name="connsiteY8" fmla="*/ 0 h 109722"/>
              <a:gd name="connsiteX9" fmla="*/ 3361821 w 7822461"/>
              <a:gd name="connsiteY9" fmla="*/ 34985 h 109722"/>
              <a:gd name="connsiteX10" fmla="*/ 4683841 w 7822461"/>
              <a:gd name="connsiteY10" fmla="*/ 28281 h 109722"/>
              <a:gd name="connsiteX11" fmla="*/ 5071859 w 7822461"/>
              <a:gd name="connsiteY11" fmla="*/ 65624 h 109722"/>
              <a:gd name="connsiteX12" fmla="*/ 5713632 w 7822461"/>
              <a:gd name="connsiteY12" fmla="*/ 23568 h 109722"/>
              <a:gd name="connsiteX13" fmla="*/ 7822461 w 7822461"/>
              <a:gd name="connsiteY13" fmla="*/ 77467 h 109722"/>
              <a:gd name="connsiteX14" fmla="*/ 7820247 w 7822461"/>
              <a:gd name="connsiteY14" fmla="*/ 109642 h 109722"/>
              <a:gd name="connsiteX15" fmla="*/ 5710575 w 7822461"/>
              <a:gd name="connsiteY15" fmla="*/ 44120 h 109722"/>
              <a:gd name="connsiteX16" fmla="*/ 5067273 w 7822461"/>
              <a:gd name="connsiteY16" fmla="*/ 95582 h 109722"/>
              <a:gd name="connsiteX0" fmla="*/ 5067273 w 7822461"/>
              <a:gd name="connsiteY0" fmla="*/ 95582 h 109722"/>
              <a:gd name="connsiteX1" fmla="*/ 4674669 w 7822461"/>
              <a:gd name="connsiteY1" fmla="*/ 55903 h 109722"/>
              <a:gd name="connsiteX2" fmla="*/ 3358764 w 7822461"/>
              <a:gd name="connsiteY2" fmla="*/ 76727 h 109722"/>
              <a:gd name="connsiteX3" fmla="*/ 2235469 w 7822461"/>
              <a:gd name="connsiteY3" fmla="*/ 32335 h 109722"/>
              <a:gd name="connsiteX4" fmla="*/ 1118288 w 7822461"/>
              <a:gd name="connsiteY4" fmla="*/ 109722 h 109722"/>
              <a:gd name="connsiteX5" fmla="*/ 0 w 7822461"/>
              <a:gd name="connsiteY5" fmla="*/ 32254 h 109722"/>
              <a:gd name="connsiteX6" fmla="*/ 2233 w 7822461"/>
              <a:gd name="connsiteY6" fmla="*/ 80 h 109722"/>
              <a:gd name="connsiteX7" fmla="*/ 1118288 w 7822461"/>
              <a:gd name="connsiteY7" fmla="*/ 77407 h 109722"/>
              <a:gd name="connsiteX8" fmla="*/ 2235469 w 7822461"/>
              <a:gd name="connsiteY8" fmla="*/ 0 h 109722"/>
              <a:gd name="connsiteX9" fmla="*/ 3361821 w 7822461"/>
              <a:gd name="connsiteY9" fmla="*/ 34985 h 109722"/>
              <a:gd name="connsiteX10" fmla="*/ 4683841 w 7822461"/>
              <a:gd name="connsiteY10" fmla="*/ 28281 h 109722"/>
              <a:gd name="connsiteX11" fmla="*/ 5071859 w 7822461"/>
              <a:gd name="connsiteY11" fmla="*/ 65624 h 109722"/>
              <a:gd name="connsiteX12" fmla="*/ 5713632 w 7822461"/>
              <a:gd name="connsiteY12" fmla="*/ 23568 h 109722"/>
              <a:gd name="connsiteX13" fmla="*/ 7822461 w 7822461"/>
              <a:gd name="connsiteY13" fmla="*/ 77467 h 109722"/>
              <a:gd name="connsiteX14" fmla="*/ 7820247 w 7822461"/>
              <a:gd name="connsiteY14" fmla="*/ 109642 h 109722"/>
              <a:gd name="connsiteX15" fmla="*/ 5710575 w 7822461"/>
              <a:gd name="connsiteY15" fmla="*/ 44120 h 109722"/>
              <a:gd name="connsiteX16" fmla="*/ 5067273 w 7822461"/>
              <a:gd name="connsiteY16" fmla="*/ 95582 h 109722"/>
              <a:gd name="connsiteX0" fmla="*/ 5067273 w 7822461"/>
              <a:gd name="connsiteY0" fmla="*/ 95582 h 109722"/>
              <a:gd name="connsiteX1" fmla="*/ 4674669 w 7822461"/>
              <a:gd name="connsiteY1" fmla="*/ 55903 h 109722"/>
              <a:gd name="connsiteX2" fmla="*/ 3358764 w 7822461"/>
              <a:gd name="connsiteY2" fmla="*/ 76727 h 109722"/>
              <a:gd name="connsiteX3" fmla="*/ 2235469 w 7822461"/>
              <a:gd name="connsiteY3" fmla="*/ 32335 h 109722"/>
              <a:gd name="connsiteX4" fmla="*/ 1118288 w 7822461"/>
              <a:gd name="connsiteY4" fmla="*/ 109722 h 109722"/>
              <a:gd name="connsiteX5" fmla="*/ 0 w 7822461"/>
              <a:gd name="connsiteY5" fmla="*/ 32254 h 109722"/>
              <a:gd name="connsiteX6" fmla="*/ 2233 w 7822461"/>
              <a:gd name="connsiteY6" fmla="*/ 80 h 109722"/>
              <a:gd name="connsiteX7" fmla="*/ 1121345 w 7822461"/>
              <a:gd name="connsiteY7" fmla="*/ 39699 h 109722"/>
              <a:gd name="connsiteX8" fmla="*/ 2235469 w 7822461"/>
              <a:gd name="connsiteY8" fmla="*/ 0 h 109722"/>
              <a:gd name="connsiteX9" fmla="*/ 3361821 w 7822461"/>
              <a:gd name="connsiteY9" fmla="*/ 34985 h 109722"/>
              <a:gd name="connsiteX10" fmla="*/ 4683841 w 7822461"/>
              <a:gd name="connsiteY10" fmla="*/ 28281 h 109722"/>
              <a:gd name="connsiteX11" fmla="*/ 5071859 w 7822461"/>
              <a:gd name="connsiteY11" fmla="*/ 65624 h 109722"/>
              <a:gd name="connsiteX12" fmla="*/ 5713632 w 7822461"/>
              <a:gd name="connsiteY12" fmla="*/ 23568 h 109722"/>
              <a:gd name="connsiteX13" fmla="*/ 7822461 w 7822461"/>
              <a:gd name="connsiteY13" fmla="*/ 77467 h 109722"/>
              <a:gd name="connsiteX14" fmla="*/ 7820247 w 7822461"/>
              <a:gd name="connsiteY14" fmla="*/ 109642 h 109722"/>
              <a:gd name="connsiteX15" fmla="*/ 5710575 w 7822461"/>
              <a:gd name="connsiteY15" fmla="*/ 44120 h 109722"/>
              <a:gd name="connsiteX16" fmla="*/ 5067273 w 7822461"/>
              <a:gd name="connsiteY16" fmla="*/ 95582 h 109722"/>
              <a:gd name="connsiteX0" fmla="*/ 5067273 w 7822461"/>
              <a:gd name="connsiteY0" fmla="*/ 95582 h 109642"/>
              <a:gd name="connsiteX1" fmla="*/ 4674669 w 7822461"/>
              <a:gd name="connsiteY1" fmla="*/ 55903 h 109642"/>
              <a:gd name="connsiteX2" fmla="*/ 3358764 w 7822461"/>
              <a:gd name="connsiteY2" fmla="*/ 76727 h 109642"/>
              <a:gd name="connsiteX3" fmla="*/ 2235469 w 7822461"/>
              <a:gd name="connsiteY3" fmla="*/ 32335 h 109642"/>
              <a:gd name="connsiteX4" fmla="*/ 1118288 w 7822461"/>
              <a:gd name="connsiteY4" fmla="*/ 86154 h 109642"/>
              <a:gd name="connsiteX5" fmla="*/ 0 w 7822461"/>
              <a:gd name="connsiteY5" fmla="*/ 32254 h 109642"/>
              <a:gd name="connsiteX6" fmla="*/ 2233 w 7822461"/>
              <a:gd name="connsiteY6" fmla="*/ 80 h 109642"/>
              <a:gd name="connsiteX7" fmla="*/ 1121345 w 7822461"/>
              <a:gd name="connsiteY7" fmla="*/ 39699 h 109642"/>
              <a:gd name="connsiteX8" fmla="*/ 2235469 w 7822461"/>
              <a:gd name="connsiteY8" fmla="*/ 0 h 109642"/>
              <a:gd name="connsiteX9" fmla="*/ 3361821 w 7822461"/>
              <a:gd name="connsiteY9" fmla="*/ 34985 h 109642"/>
              <a:gd name="connsiteX10" fmla="*/ 4683841 w 7822461"/>
              <a:gd name="connsiteY10" fmla="*/ 28281 h 109642"/>
              <a:gd name="connsiteX11" fmla="*/ 5071859 w 7822461"/>
              <a:gd name="connsiteY11" fmla="*/ 65624 h 109642"/>
              <a:gd name="connsiteX12" fmla="*/ 5713632 w 7822461"/>
              <a:gd name="connsiteY12" fmla="*/ 23568 h 109642"/>
              <a:gd name="connsiteX13" fmla="*/ 7822461 w 7822461"/>
              <a:gd name="connsiteY13" fmla="*/ 77467 h 109642"/>
              <a:gd name="connsiteX14" fmla="*/ 7820247 w 7822461"/>
              <a:gd name="connsiteY14" fmla="*/ 109642 h 109642"/>
              <a:gd name="connsiteX15" fmla="*/ 5710575 w 7822461"/>
              <a:gd name="connsiteY15" fmla="*/ 44120 h 109642"/>
              <a:gd name="connsiteX16" fmla="*/ 5067273 w 7822461"/>
              <a:gd name="connsiteY16" fmla="*/ 95582 h 109642"/>
              <a:gd name="connsiteX0" fmla="*/ 5067273 w 7822461"/>
              <a:gd name="connsiteY0" fmla="*/ 95582 h 109642"/>
              <a:gd name="connsiteX1" fmla="*/ 4674669 w 7822461"/>
              <a:gd name="connsiteY1" fmla="*/ 55903 h 109642"/>
              <a:gd name="connsiteX2" fmla="*/ 3358764 w 7822461"/>
              <a:gd name="connsiteY2" fmla="*/ 76727 h 109642"/>
              <a:gd name="connsiteX3" fmla="*/ 2236997 w 7822461"/>
              <a:gd name="connsiteY3" fmla="*/ 62973 h 109642"/>
              <a:gd name="connsiteX4" fmla="*/ 1118288 w 7822461"/>
              <a:gd name="connsiteY4" fmla="*/ 86154 h 109642"/>
              <a:gd name="connsiteX5" fmla="*/ 0 w 7822461"/>
              <a:gd name="connsiteY5" fmla="*/ 32254 h 109642"/>
              <a:gd name="connsiteX6" fmla="*/ 2233 w 7822461"/>
              <a:gd name="connsiteY6" fmla="*/ 80 h 109642"/>
              <a:gd name="connsiteX7" fmla="*/ 1121345 w 7822461"/>
              <a:gd name="connsiteY7" fmla="*/ 39699 h 109642"/>
              <a:gd name="connsiteX8" fmla="*/ 2235469 w 7822461"/>
              <a:gd name="connsiteY8" fmla="*/ 0 h 109642"/>
              <a:gd name="connsiteX9" fmla="*/ 3361821 w 7822461"/>
              <a:gd name="connsiteY9" fmla="*/ 34985 h 109642"/>
              <a:gd name="connsiteX10" fmla="*/ 4683841 w 7822461"/>
              <a:gd name="connsiteY10" fmla="*/ 28281 h 109642"/>
              <a:gd name="connsiteX11" fmla="*/ 5071859 w 7822461"/>
              <a:gd name="connsiteY11" fmla="*/ 65624 h 109642"/>
              <a:gd name="connsiteX12" fmla="*/ 5713632 w 7822461"/>
              <a:gd name="connsiteY12" fmla="*/ 23568 h 109642"/>
              <a:gd name="connsiteX13" fmla="*/ 7822461 w 7822461"/>
              <a:gd name="connsiteY13" fmla="*/ 77467 h 109642"/>
              <a:gd name="connsiteX14" fmla="*/ 7820247 w 7822461"/>
              <a:gd name="connsiteY14" fmla="*/ 109642 h 109642"/>
              <a:gd name="connsiteX15" fmla="*/ 5710575 w 7822461"/>
              <a:gd name="connsiteY15" fmla="*/ 44120 h 109642"/>
              <a:gd name="connsiteX16" fmla="*/ 5067273 w 7822461"/>
              <a:gd name="connsiteY16" fmla="*/ 95582 h 109642"/>
              <a:gd name="connsiteX0" fmla="*/ 5067273 w 7822461"/>
              <a:gd name="connsiteY0" fmla="*/ 95502 h 109562"/>
              <a:gd name="connsiteX1" fmla="*/ 4674669 w 7822461"/>
              <a:gd name="connsiteY1" fmla="*/ 55823 h 109562"/>
              <a:gd name="connsiteX2" fmla="*/ 3358764 w 7822461"/>
              <a:gd name="connsiteY2" fmla="*/ 76647 h 109562"/>
              <a:gd name="connsiteX3" fmla="*/ 2236997 w 7822461"/>
              <a:gd name="connsiteY3" fmla="*/ 62893 h 109562"/>
              <a:gd name="connsiteX4" fmla="*/ 1118288 w 7822461"/>
              <a:gd name="connsiteY4" fmla="*/ 86074 h 109562"/>
              <a:gd name="connsiteX5" fmla="*/ 0 w 7822461"/>
              <a:gd name="connsiteY5" fmla="*/ 32174 h 109562"/>
              <a:gd name="connsiteX6" fmla="*/ 2233 w 7822461"/>
              <a:gd name="connsiteY6" fmla="*/ 0 h 109562"/>
              <a:gd name="connsiteX7" fmla="*/ 1121345 w 7822461"/>
              <a:gd name="connsiteY7" fmla="*/ 39619 h 109562"/>
              <a:gd name="connsiteX8" fmla="*/ 2235469 w 7822461"/>
              <a:gd name="connsiteY8" fmla="*/ 23487 h 109562"/>
              <a:gd name="connsiteX9" fmla="*/ 3361821 w 7822461"/>
              <a:gd name="connsiteY9" fmla="*/ 34905 h 109562"/>
              <a:gd name="connsiteX10" fmla="*/ 4683841 w 7822461"/>
              <a:gd name="connsiteY10" fmla="*/ 28201 h 109562"/>
              <a:gd name="connsiteX11" fmla="*/ 5071859 w 7822461"/>
              <a:gd name="connsiteY11" fmla="*/ 65544 h 109562"/>
              <a:gd name="connsiteX12" fmla="*/ 5713632 w 7822461"/>
              <a:gd name="connsiteY12" fmla="*/ 23488 h 109562"/>
              <a:gd name="connsiteX13" fmla="*/ 7822461 w 7822461"/>
              <a:gd name="connsiteY13" fmla="*/ 77387 h 109562"/>
              <a:gd name="connsiteX14" fmla="*/ 7820247 w 7822461"/>
              <a:gd name="connsiteY14" fmla="*/ 109562 h 109562"/>
              <a:gd name="connsiteX15" fmla="*/ 5710575 w 7822461"/>
              <a:gd name="connsiteY15" fmla="*/ 44040 h 109562"/>
              <a:gd name="connsiteX16" fmla="*/ 5067273 w 7822461"/>
              <a:gd name="connsiteY16" fmla="*/ 95502 h 109562"/>
              <a:gd name="connsiteX0" fmla="*/ 5067273 w 7822461"/>
              <a:gd name="connsiteY0" fmla="*/ 95582 h 109642"/>
              <a:gd name="connsiteX1" fmla="*/ 4674669 w 7822461"/>
              <a:gd name="connsiteY1" fmla="*/ 55903 h 109642"/>
              <a:gd name="connsiteX2" fmla="*/ 3358764 w 7822461"/>
              <a:gd name="connsiteY2" fmla="*/ 76727 h 109642"/>
              <a:gd name="connsiteX3" fmla="*/ 2236997 w 7822461"/>
              <a:gd name="connsiteY3" fmla="*/ 62973 h 109642"/>
              <a:gd name="connsiteX4" fmla="*/ 1118288 w 7822461"/>
              <a:gd name="connsiteY4" fmla="*/ 86154 h 109642"/>
              <a:gd name="connsiteX5" fmla="*/ 0 w 7822461"/>
              <a:gd name="connsiteY5" fmla="*/ 32254 h 109642"/>
              <a:gd name="connsiteX6" fmla="*/ 2233 w 7822461"/>
              <a:gd name="connsiteY6" fmla="*/ 80 h 109642"/>
              <a:gd name="connsiteX7" fmla="*/ 1121345 w 7822461"/>
              <a:gd name="connsiteY7" fmla="*/ 39699 h 109642"/>
              <a:gd name="connsiteX8" fmla="*/ 2235469 w 7822461"/>
              <a:gd name="connsiteY8" fmla="*/ 23567 h 109642"/>
              <a:gd name="connsiteX9" fmla="*/ 3361821 w 7822461"/>
              <a:gd name="connsiteY9" fmla="*/ 34985 h 109642"/>
              <a:gd name="connsiteX10" fmla="*/ 4226777 w 7822461"/>
              <a:gd name="connsiteY10" fmla="*/ 0 h 109642"/>
              <a:gd name="connsiteX11" fmla="*/ 5071859 w 7822461"/>
              <a:gd name="connsiteY11" fmla="*/ 65624 h 109642"/>
              <a:gd name="connsiteX12" fmla="*/ 5713632 w 7822461"/>
              <a:gd name="connsiteY12" fmla="*/ 23568 h 109642"/>
              <a:gd name="connsiteX13" fmla="*/ 7822461 w 7822461"/>
              <a:gd name="connsiteY13" fmla="*/ 77467 h 109642"/>
              <a:gd name="connsiteX14" fmla="*/ 7820247 w 7822461"/>
              <a:gd name="connsiteY14" fmla="*/ 109642 h 109642"/>
              <a:gd name="connsiteX15" fmla="*/ 5710575 w 7822461"/>
              <a:gd name="connsiteY15" fmla="*/ 44120 h 109642"/>
              <a:gd name="connsiteX16" fmla="*/ 5067273 w 7822461"/>
              <a:gd name="connsiteY16" fmla="*/ 95582 h 109642"/>
              <a:gd name="connsiteX0" fmla="*/ 5067273 w 7822461"/>
              <a:gd name="connsiteY0" fmla="*/ 95582 h 109642"/>
              <a:gd name="connsiteX1" fmla="*/ 4234420 w 7822461"/>
              <a:gd name="connsiteY1" fmla="*/ 32334 h 109642"/>
              <a:gd name="connsiteX2" fmla="*/ 3358764 w 7822461"/>
              <a:gd name="connsiteY2" fmla="*/ 76727 h 109642"/>
              <a:gd name="connsiteX3" fmla="*/ 2236997 w 7822461"/>
              <a:gd name="connsiteY3" fmla="*/ 62973 h 109642"/>
              <a:gd name="connsiteX4" fmla="*/ 1118288 w 7822461"/>
              <a:gd name="connsiteY4" fmla="*/ 86154 h 109642"/>
              <a:gd name="connsiteX5" fmla="*/ 0 w 7822461"/>
              <a:gd name="connsiteY5" fmla="*/ 32254 h 109642"/>
              <a:gd name="connsiteX6" fmla="*/ 2233 w 7822461"/>
              <a:gd name="connsiteY6" fmla="*/ 80 h 109642"/>
              <a:gd name="connsiteX7" fmla="*/ 1121345 w 7822461"/>
              <a:gd name="connsiteY7" fmla="*/ 39699 h 109642"/>
              <a:gd name="connsiteX8" fmla="*/ 2235469 w 7822461"/>
              <a:gd name="connsiteY8" fmla="*/ 23567 h 109642"/>
              <a:gd name="connsiteX9" fmla="*/ 3361821 w 7822461"/>
              <a:gd name="connsiteY9" fmla="*/ 34985 h 109642"/>
              <a:gd name="connsiteX10" fmla="*/ 4226777 w 7822461"/>
              <a:gd name="connsiteY10" fmla="*/ 0 h 109642"/>
              <a:gd name="connsiteX11" fmla="*/ 5071859 w 7822461"/>
              <a:gd name="connsiteY11" fmla="*/ 65624 h 109642"/>
              <a:gd name="connsiteX12" fmla="*/ 5713632 w 7822461"/>
              <a:gd name="connsiteY12" fmla="*/ 23568 h 109642"/>
              <a:gd name="connsiteX13" fmla="*/ 7822461 w 7822461"/>
              <a:gd name="connsiteY13" fmla="*/ 77467 h 109642"/>
              <a:gd name="connsiteX14" fmla="*/ 7820247 w 7822461"/>
              <a:gd name="connsiteY14" fmla="*/ 109642 h 109642"/>
              <a:gd name="connsiteX15" fmla="*/ 5710575 w 7822461"/>
              <a:gd name="connsiteY15" fmla="*/ 44120 h 109642"/>
              <a:gd name="connsiteX16" fmla="*/ 5067273 w 7822461"/>
              <a:gd name="connsiteY16" fmla="*/ 95582 h 109642"/>
              <a:gd name="connsiteX0" fmla="*/ 5067273 w 7822461"/>
              <a:gd name="connsiteY0" fmla="*/ 111660 h 125720"/>
              <a:gd name="connsiteX1" fmla="*/ 4234420 w 7822461"/>
              <a:gd name="connsiteY1" fmla="*/ 48412 h 125720"/>
              <a:gd name="connsiteX2" fmla="*/ 3358764 w 7822461"/>
              <a:gd name="connsiteY2" fmla="*/ 92805 h 125720"/>
              <a:gd name="connsiteX3" fmla="*/ 2236997 w 7822461"/>
              <a:gd name="connsiteY3" fmla="*/ 79051 h 125720"/>
              <a:gd name="connsiteX4" fmla="*/ 1118288 w 7822461"/>
              <a:gd name="connsiteY4" fmla="*/ 102232 h 125720"/>
              <a:gd name="connsiteX5" fmla="*/ 0 w 7822461"/>
              <a:gd name="connsiteY5" fmla="*/ 48332 h 125720"/>
              <a:gd name="connsiteX6" fmla="*/ 2233 w 7822461"/>
              <a:gd name="connsiteY6" fmla="*/ 16158 h 125720"/>
              <a:gd name="connsiteX7" fmla="*/ 1121345 w 7822461"/>
              <a:gd name="connsiteY7" fmla="*/ 55777 h 125720"/>
              <a:gd name="connsiteX8" fmla="*/ 2235469 w 7822461"/>
              <a:gd name="connsiteY8" fmla="*/ 39645 h 125720"/>
              <a:gd name="connsiteX9" fmla="*/ 3361821 w 7822461"/>
              <a:gd name="connsiteY9" fmla="*/ 51063 h 125720"/>
              <a:gd name="connsiteX10" fmla="*/ 4226777 w 7822461"/>
              <a:gd name="connsiteY10" fmla="*/ 16078 h 125720"/>
              <a:gd name="connsiteX11" fmla="*/ 4729443 w 7822461"/>
              <a:gd name="connsiteY11" fmla="*/ 0 h 125720"/>
              <a:gd name="connsiteX12" fmla="*/ 5713632 w 7822461"/>
              <a:gd name="connsiteY12" fmla="*/ 39646 h 125720"/>
              <a:gd name="connsiteX13" fmla="*/ 7822461 w 7822461"/>
              <a:gd name="connsiteY13" fmla="*/ 93545 h 125720"/>
              <a:gd name="connsiteX14" fmla="*/ 7820247 w 7822461"/>
              <a:gd name="connsiteY14" fmla="*/ 125720 h 125720"/>
              <a:gd name="connsiteX15" fmla="*/ 5710575 w 7822461"/>
              <a:gd name="connsiteY15" fmla="*/ 60198 h 125720"/>
              <a:gd name="connsiteX16" fmla="*/ 5067273 w 7822461"/>
              <a:gd name="connsiteY16" fmla="*/ 111660 h 125720"/>
              <a:gd name="connsiteX0" fmla="*/ 4737086 w 7822461"/>
              <a:gd name="connsiteY0" fmla="*/ 39385 h 125720"/>
              <a:gd name="connsiteX1" fmla="*/ 4234420 w 7822461"/>
              <a:gd name="connsiteY1" fmla="*/ 48412 h 125720"/>
              <a:gd name="connsiteX2" fmla="*/ 3358764 w 7822461"/>
              <a:gd name="connsiteY2" fmla="*/ 92805 h 125720"/>
              <a:gd name="connsiteX3" fmla="*/ 2236997 w 7822461"/>
              <a:gd name="connsiteY3" fmla="*/ 79051 h 125720"/>
              <a:gd name="connsiteX4" fmla="*/ 1118288 w 7822461"/>
              <a:gd name="connsiteY4" fmla="*/ 102232 h 125720"/>
              <a:gd name="connsiteX5" fmla="*/ 0 w 7822461"/>
              <a:gd name="connsiteY5" fmla="*/ 48332 h 125720"/>
              <a:gd name="connsiteX6" fmla="*/ 2233 w 7822461"/>
              <a:gd name="connsiteY6" fmla="*/ 16158 h 125720"/>
              <a:gd name="connsiteX7" fmla="*/ 1121345 w 7822461"/>
              <a:gd name="connsiteY7" fmla="*/ 55777 h 125720"/>
              <a:gd name="connsiteX8" fmla="*/ 2235469 w 7822461"/>
              <a:gd name="connsiteY8" fmla="*/ 39645 h 125720"/>
              <a:gd name="connsiteX9" fmla="*/ 3361821 w 7822461"/>
              <a:gd name="connsiteY9" fmla="*/ 51063 h 125720"/>
              <a:gd name="connsiteX10" fmla="*/ 4226777 w 7822461"/>
              <a:gd name="connsiteY10" fmla="*/ 16078 h 125720"/>
              <a:gd name="connsiteX11" fmla="*/ 4729443 w 7822461"/>
              <a:gd name="connsiteY11" fmla="*/ 0 h 125720"/>
              <a:gd name="connsiteX12" fmla="*/ 5713632 w 7822461"/>
              <a:gd name="connsiteY12" fmla="*/ 39646 h 125720"/>
              <a:gd name="connsiteX13" fmla="*/ 7822461 w 7822461"/>
              <a:gd name="connsiteY13" fmla="*/ 93545 h 125720"/>
              <a:gd name="connsiteX14" fmla="*/ 7820247 w 7822461"/>
              <a:gd name="connsiteY14" fmla="*/ 125720 h 125720"/>
              <a:gd name="connsiteX15" fmla="*/ 5710575 w 7822461"/>
              <a:gd name="connsiteY15" fmla="*/ 60198 h 125720"/>
              <a:gd name="connsiteX16" fmla="*/ 4737086 w 7822461"/>
              <a:gd name="connsiteY16" fmla="*/ 39385 h 125720"/>
              <a:gd name="connsiteX0" fmla="*/ 4737086 w 7822461"/>
              <a:gd name="connsiteY0" fmla="*/ 59318 h 145653"/>
              <a:gd name="connsiteX1" fmla="*/ 4234420 w 7822461"/>
              <a:gd name="connsiteY1" fmla="*/ 68345 h 145653"/>
              <a:gd name="connsiteX2" fmla="*/ 3358764 w 7822461"/>
              <a:gd name="connsiteY2" fmla="*/ 112738 h 145653"/>
              <a:gd name="connsiteX3" fmla="*/ 2236997 w 7822461"/>
              <a:gd name="connsiteY3" fmla="*/ 98984 h 145653"/>
              <a:gd name="connsiteX4" fmla="*/ 1118288 w 7822461"/>
              <a:gd name="connsiteY4" fmla="*/ 122165 h 145653"/>
              <a:gd name="connsiteX5" fmla="*/ 0 w 7822461"/>
              <a:gd name="connsiteY5" fmla="*/ 68265 h 145653"/>
              <a:gd name="connsiteX6" fmla="*/ 2233 w 7822461"/>
              <a:gd name="connsiteY6" fmla="*/ 36091 h 145653"/>
              <a:gd name="connsiteX7" fmla="*/ 1121345 w 7822461"/>
              <a:gd name="connsiteY7" fmla="*/ 75710 h 145653"/>
              <a:gd name="connsiteX8" fmla="*/ 2235469 w 7822461"/>
              <a:gd name="connsiteY8" fmla="*/ 59578 h 145653"/>
              <a:gd name="connsiteX9" fmla="*/ 3361821 w 7822461"/>
              <a:gd name="connsiteY9" fmla="*/ 70996 h 145653"/>
              <a:gd name="connsiteX10" fmla="*/ 4226777 w 7822461"/>
              <a:gd name="connsiteY10" fmla="*/ 36011 h 145653"/>
              <a:gd name="connsiteX11" fmla="*/ 4729443 w 7822461"/>
              <a:gd name="connsiteY11" fmla="*/ 19933 h 145653"/>
              <a:gd name="connsiteX12" fmla="*/ 5713632 w 7822461"/>
              <a:gd name="connsiteY12" fmla="*/ 59579 h 145653"/>
              <a:gd name="connsiteX13" fmla="*/ 7822461 w 7822461"/>
              <a:gd name="connsiteY13" fmla="*/ 113478 h 145653"/>
              <a:gd name="connsiteX14" fmla="*/ 7820247 w 7822461"/>
              <a:gd name="connsiteY14" fmla="*/ 145653 h 145653"/>
              <a:gd name="connsiteX15" fmla="*/ 5239753 w 7822461"/>
              <a:gd name="connsiteY15" fmla="*/ 0 h 145653"/>
              <a:gd name="connsiteX16" fmla="*/ 4737086 w 7822461"/>
              <a:gd name="connsiteY16" fmla="*/ 59318 h 145653"/>
              <a:gd name="connsiteX0" fmla="*/ 4737086 w 7822461"/>
              <a:gd name="connsiteY0" fmla="*/ 59318 h 145653"/>
              <a:gd name="connsiteX1" fmla="*/ 4234420 w 7822461"/>
              <a:gd name="connsiteY1" fmla="*/ 68345 h 145653"/>
              <a:gd name="connsiteX2" fmla="*/ 3358764 w 7822461"/>
              <a:gd name="connsiteY2" fmla="*/ 112738 h 145653"/>
              <a:gd name="connsiteX3" fmla="*/ 2236997 w 7822461"/>
              <a:gd name="connsiteY3" fmla="*/ 98984 h 145653"/>
              <a:gd name="connsiteX4" fmla="*/ 1118288 w 7822461"/>
              <a:gd name="connsiteY4" fmla="*/ 122165 h 145653"/>
              <a:gd name="connsiteX5" fmla="*/ 0 w 7822461"/>
              <a:gd name="connsiteY5" fmla="*/ 68265 h 145653"/>
              <a:gd name="connsiteX6" fmla="*/ 2233 w 7822461"/>
              <a:gd name="connsiteY6" fmla="*/ 36091 h 145653"/>
              <a:gd name="connsiteX7" fmla="*/ 1121345 w 7822461"/>
              <a:gd name="connsiteY7" fmla="*/ 75710 h 145653"/>
              <a:gd name="connsiteX8" fmla="*/ 2235469 w 7822461"/>
              <a:gd name="connsiteY8" fmla="*/ 59578 h 145653"/>
              <a:gd name="connsiteX9" fmla="*/ 3361821 w 7822461"/>
              <a:gd name="connsiteY9" fmla="*/ 70996 h 145653"/>
              <a:gd name="connsiteX10" fmla="*/ 4226777 w 7822461"/>
              <a:gd name="connsiteY10" fmla="*/ 36011 h 145653"/>
              <a:gd name="connsiteX11" fmla="*/ 4729443 w 7822461"/>
              <a:gd name="connsiteY11" fmla="*/ 19933 h 145653"/>
              <a:gd name="connsiteX12" fmla="*/ 5221409 w 7822461"/>
              <a:gd name="connsiteY12" fmla="*/ 73719 h 145653"/>
              <a:gd name="connsiteX13" fmla="*/ 7822461 w 7822461"/>
              <a:gd name="connsiteY13" fmla="*/ 113478 h 145653"/>
              <a:gd name="connsiteX14" fmla="*/ 7820247 w 7822461"/>
              <a:gd name="connsiteY14" fmla="*/ 145653 h 145653"/>
              <a:gd name="connsiteX15" fmla="*/ 5239753 w 7822461"/>
              <a:gd name="connsiteY15" fmla="*/ 0 h 145653"/>
              <a:gd name="connsiteX16" fmla="*/ 4737086 w 7822461"/>
              <a:gd name="connsiteY16" fmla="*/ 59318 h 145653"/>
              <a:gd name="connsiteX0" fmla="*/ 4737086 w 7822461"/>
              <a:gd name="connsiteY0" fmla="*/ 39385 h 125720"/>
              <a:gd name="connsiteX1" fmla="*/ 4234420 w 7822461"/>
              <a:gd name="connsiteY1" fmla="*/ 48412 h 125720"/>
              <a:gd name="connsiteX2" fmla="*/ 3358764 w 7822461"/>
              <a:gd name="connsiteY2" fmla="*/ 92805 h 125720"/>
              <a:gd name="connsiteX3" fmla="*/ 2236997 w 7822461"/>
              <a:gd name="connsiteY3" fmla="*/ 79051 h 125720"/>
              <a:gd name="connsiteX4" fmla="*/ 1118288 w 7822461"/>
              <a:gd name="connsiteY4" fmla="*/ 102232 h 125720"/>
              <a:gd name="connsiteX5" fmla="*/ 0 w 7822461"/>
              <a:gd name="connsiteY5" fmla="*/ 48332 h 125720"/>
              <a:gd name="connsiteX6" fmla="*/ 2233 w 7822461"/>
              <a:gd name="connsiteY6" fmla="*/ 16158 h 125720"/>
              <a:gd name="connsiteX7" fmla="*/ 1121345 w 7822461"/>
              <a:gd name="connsiteY7" fmla="*/ 55777 h 125720"/>
              <a:gd name="connsiteX8" fmla="*/ 2235469 w 7822461"/>
              <a:gd name="connsiteY8" fmla="*/ 39645 h 125720"/>
              <a:gd name="connsiteX9" fmla="*/ 3361821 w 7822461"/>
              <a:gd name="connsiteY9" fmla="*/ 51063 h 125720"/>
              <a:gd name="connsiteX10" fmla="*/ 4226777 w 7822461"/>
              <a:gd name="connsiteY10" fmla="*/ 16078 h 125720"/>
              <a:gd name="connsiteX11" fmla="*/ 4729443 w 7822461"/>
              <a:gd name="connsiteY11" fmla="*/ 0 h 125720"/>
              <a:gd name="connsiteX12" fmla="*/ 5221409 w 7822461"/>
              <a:gd name="connsiteY12" fmla="*/ 53786 h 125720"/>
              <a:gd name="connsiteX13" fmla="*/ 7822461 w 7822461"/>
              <a:gd name="connsiteY13" fmla="*/ 93545 h 125720"/>
              <a:gd name="connsiteX14" fmla="*/ 7820247 w 7822461"/>
              <a:gd name="connsiteY14" fmla="*/ 125720 h 125720"/>
              <a:gd name="connsiteX15" fmla="*/ 5229052 w 7822461"/>
              <a:gd name="connsiteY15" fmla="*/ 81409 h 125720"/>
              <a:gd name="connsiteX16" fmla="*/ 4737086 w 7822461"/>
              <a:gd name="connsiteY16" fmla="*/ 39385 h 125720"/>
              <a:gd name="connsiteX0" fmla="*/ 4737086 w 7822461"/>
              <a:gd name="connsiteY0" fmla="*/ 77514 h 163849"/>
              <a:gd name="connsiteX1" fmla="*/ 4234420 w 7822461"/>
              <a:gd name="connsiteY1" fmla="*/ 86541 h 163849"/>
              <a:gd name="connsiteX2" fmla="*/ 3358764 w 7822461"/>
              <a:gd name="connsiteY2" fmla="*/ 130934 h 163849"/>
              <a:gd name="connsiteX3" fmla="*/ 2236997 w 7822461"/>
              <a:gd name="connsiteY3" fmla="*/ 117180 h 163849"/>
              <a:gd name="connsiteX4" fmla="*/ 1118288 w 7822461"/>
              <a:gd name="connsiteY4" fmla="*/ 140361 h 163849"/>
              <a:gd name="connsiteX5" fmla="*/ 0 w 7822461"/>
              <a:gd name="connsiteY5" fmla="*/ 86461 h 163849"/>
              <a:gd name="connsiteX6" fmla="*/ 2233 w 7822461"/>
              <a:gd name="connsiteY6" fmla="*/ 54287 h 163849"/>
              <a:gd name="connsiteX7" fmla="*/ 1121345 w 7822461"/>
              <a:gd name="connsiteY7" fmla="*/ 93906 h 163849"/>
              <a:gd name="connsiteX8" fmla="*/ 2235469 w 7822461"/>
              <a:gd name="connsiteY8" fmla="*/ 77774 h 163849"/>
              <a:gd name="connsiteX9" fmla="*/ 3361821 w 7822461"/>
              <a:gd name="connsiteY9" fmla="*/ 89192 h 163849"/>
              <a:gd name="connsiteX10" fmla="*/ 4226777 w 7822461"/>
              <a:gd name="connsiteY10" fmla="*/ 54207 h 163849"/>
              <a:gd name="connsiteX11" fmla="*/ 4729443 w 7822461"/>
              <a:gd name="connsiteY11" fmla="*/ 38129 h 163849"/>
              <a:gd name="connsiteX12" fmla="*/ 5224466 w 7822461"/>
              <a:gd name="connsiteY12" fmla="*/ 0 h 163849"/>
              <a:gd name="connsiteX13" fmla="*/ 7822461 w 7822461"/>
              <a:gd name="connsiteY13" fmla="*/ 131674 h 163849"/>
              <a:gd name="connsiteX14" fmla="*/ 7820247 w 7822461"/>
              <a:gd name="connsiteY14" fmla="*/ 163849 h 163849"/>
              <a:gd name="connsiteX15" fmla="*/ 5229052 w 7822461"/>
              <a:gd name="connsiteY15" fmla="*/ 119538 h 163849"/>
              <a:gd name="connsiteX16" fmla="*/ 4737086 w 7822461"/>
              <a:gd name="connsiteY16" fmla="*/ 77514 h 163849"/>
              <a:gd name="connsiteX0" fmla="*/ 4737086 w 7822461"/>
              <a:gd name="connsiteY0" fmla="*/ 77514 h 163849"/>
              <a:gd name="connsiteX1" fmla="*/ 4234420 w 7822461"/>
              <a:gd name="connsiteY1" fmla="*/ 86541 h 163849"/>
              <a:gd name="connsiteX2" fmla="*/ 3358764 w 7822461"/>
              <a:gd name="connsiteY2" fmla="*/ 130934 h 163849"/>
              <a:gd name="connsiteX3" fmla="*/ 2236997 w 7822461"/>
              <a:gd name="connsiteY3" fmla="*/ 117180 h 163849"/>
              <a:gd name="connsiteX4" fmla="*/ 1118288 w 7822461"/>
              <a:gd name="connsiteY4" fmla="*/ 140361 h 163849"/>
              <a:gd name="connsiteX5" fmla="*/ 0 w 7822461"/>
              <a:gd name="connsiteY5" fmla="*/ 86461 h 163849"/>
              <a:gd name="connsiteX6" fmla="*/ 2233 w 7822461"/>
              <a:gd name="connsiteY6" fmla="*/ 54287 h 163849"/>
              <a:gd name="connsiteX7" fmla="*/ 1121345 w 7822461"/>
              <a:gd name="connsiteY7" fmla="*/ 93906 h 163849"/>
              <a:gd name="connsiteX8" fmla="*/ 2235469 w 7822461"/>
              <a:gd name="connsiteY8" fmla="*/ 77774 h 163849"/>
              <a:gd name="connsiteX9" fmla="*/ 3361821 w 7822461"/>
              <a:gd name="connsiteY9" fmla="*/ 89192 h 163849"/>
              <a:gd name="connsiteX10" fmla="*/ 4226777 w 7822461"/>
              <a:gd name="connsiteY10" fmla="*/ 54207 h 163849"/>
              <a:gd name="connsiteX11" fmla="*/ 4729443 w 7822461"/>
              <a:gd name="connsiteY11" fmla="*/ 38129 h 163849"/>
              <a:gd name="connsiteX12" fmla="*/ 5224466 w 7822461"/>
              <a:gd name="connsiteY12" fmla="*/ 0 h 163849"/>
              <a:gd name="connsiteX13" fmla="*/ 7822461 w 7822461"/>
              <a:gd name="connsiteY13" fmla="*/ 131674 h 163849"/>
              <a:gd name="connsiteX14" fmla="*/ 7820247 w 7822461"/>
              <a:gd name="connsiteY14" fmla="*/ 163849 h 163849"/>
              <a:gd name="connsiteX15" fmla="*/ 5230581 w 7822461"/>
              <a:gd name="connsiteY15" fmla="*/ 46478 h 163849"/>
              <a:gd name="connsiteX16" fmla="*/ 4737086 w 7822461"/>
              <a:gd name="connsiteY16" fmla="*/ 77514 h 163849"/>
              <a:gd name="connsiteX0" fmla="*/ 4737086 w 7822461"/>
              <a:gd name="connsiteY0" fmla="*/ 77514 h 163849"/>
              <a:gd name="connsiteX1" fmla="*/ 4234420 w 7822461"/>
              <a:gd name="connsiteY1" fmla="*/ 86541 h 163849"/>
              <a:gd name="connsiteX2" fmla="*/ 3358764 w 7822461"/>
              <a:gd name="connsiteY2" fmla="*/ 130934 h 163849"/>
              <a:gd name="connsiteX3" fmla="*/ 2236997 w 7822461"/>
              <a:gd name="connsiteY3" fmla="*/ 117180 h 163849"/>
              <a:gd name="connsiteX4" fmla="*/ 1118288 w 7822461"/>
              <a:gd name="connsiteY4" fmla="*/ 140361 h 163849"/>
              <a:gd name="connsiteX5" fmla="*/ 0 w 7822461"/>
              <a:gd name="connsiteY5" fmla="*/ 86461 h 163849"/>
              <a:gd name="connsiteX6" fmla="*/ 2233 w 7822461"/>
              <a:gd name="connsiteY6" fmla="*/ 54287 h 163849"/>
              <a:gd name="connsiteX7" fmla="*/ 1121345 w 7822461"/>
              <a:gd name="connsiteY7" fmla="*/ 93906 h 163849"/>
              <a:gd name="connsiteX8" fmla="*/ 2235469 w 7822461"/>
              <a:gd name="connsiteY8" fmla="*/ 77774 h 163849"/>
              <a:gd name="connsiteX9" fmla="*/ 3361821 w 7822461"/>
              <a:gd name="connsiteY9" fmla="*/ 89192 h 163849"/>
              <a:gd name="connsiteX10" fmla="*/ 4226777 w 7822461"/>
              <a:gd name="connsiteY10" fmla="*/ 54207 h 163849"/>
              <a:gd name="connsiteX11" fmla="*/ 4729443 w 7822461"/>
              <a:gd name="connsiteY11" fmla="*/ 38129 h 163849"/>
              <a:gd name="connsiteX12" fmla="*/ 5224466 w 7822461"/>
              <a:gd name="connsiteY12" fmla="*/ 0 h 163849"/>
              <a:gd name="connsiteX13" fmla="*/ 7822461 w 7822461"/>
              <a:gd name="connsiteY13" fmla="*/ 131674 h 163849"/>
              <a:gd name="connsiteX14" fmla="*/ 7820247 w 7822461"/>
              <a:gd name="connsiteY14" fmla="*/ 163849 h 163849"/>
              <a:gd name="connsiteX15" fmla="*/ 5230581 w 7822461"/>
              <a:gd name="connsiteY15" fmla="*/ 91258 h 163849"/>
              <a:gd name="connsiteX16" fmla="*/ 4737086 w 7822461"/>
              <a:gd name="connsiteY16" fmla="*/ 77514 h 163849"/>
              <a:gd name="connsiteX0" fmla="*/ 4737086 w 7822461"/>
              <a:gd name="connsiteY0" fmla="*/ 46875 h 133210"/>
              <a:gd name="connsiteX1" fmla="*/ 4234420 w 7822461"/>
              <a:gd name="connsiteY1" fmla="*/ 55902 h 133210"/>
              <a:gd name="connsiteX2" fmla="*/ 3358764 w 7822461"/>
              <a:gd name="connsiteY2" fmla="*/ 100295 h 133210"/>
              <a:gd name="connsiteX3" fmla="*/ 2236997 w 7822461"/>
              <a:gd name="connsiteY3" fmla="*/ 86541 h 133210"/>
              <a:gd name="connsiteX4" fmla="*/ 1118288 w 7822461"/>
              <a:gd name="connsiteY4" fmla="*/ 109722 h 133210"/>
              <a:gd name="connsiteX5" fmla="*/ 0 w 7822461"/>
              <a:gd name="connsiteY5" fmla="*/ 55822 h 133210"/>
              <a:gd name="connsiteX6" fmla="*/ 2233 w 7822461"/>
              <a:gd name="connsiteY6" fmla="*/ 23648 h 133210"/>
              <a:gd name="connsiteX7" fmla="*/ 1121345 w 7822461"/>
              <a:gd name="connsiteY7" fmla="*/ 63267 h 133210"/>
              <a:gd name="connsiteX8" fmla="*/ 2235469 w 7822461"/>
              <a:gd name="connsiteY8" fmla="*/ 47135 h 133210"/>
              <a:gd name="connsiteX9" fmla="*/ 3361821 w 7822461"/>
              <a:gd name="connsiteY9" fmla="*/ 58553 h 133210"/>
              <a:gd name="connsiteX10" fmla="*/ 4226777 w 7822461"/>
              <a:gd name="connsiteY10" fmla="*/ 23568 h 133210"/>
              <a:gd name="connsiteX11" fmla="*/ 4729443 w 7822461"/>
              <a:gd name="connsiteY11" fmla="*/ 7490 h 133210"/>
              <a:gd name="connsiteX12" fmla="*/ 5225995 w 7822461"/>
              <a:gd name="connsiteY12" fmla="*/ 0 h 133210"/>
              <a:gd name="connsiteX13" fmla="*/ 7822461 w 7822461"/>
              <a:gd name="connsiteY13" fmla="*/ 101035 h 133210"/>
              <a:gd name="connsiteX14" fmla="*/ 7820247 w 7822461"/>
              <a:gd name="connsiteY14" fmla="*/ 133210 h 133210"/>
              <a:gd name="connsiteX15" fmla="*/ 5230581 w 7822461"/>
              <a:gd name="connsiteY15" fmla="*/ 60619 h 133210"/>
              <a:gd name="connsiteX16" fmla="*/ 4737086 w 7822461"/>
              <a:gd name="connsiteY16" fmla="*/ 46875 h 133210"/>
              <a:gd name="connsiteX0" fmla="*/ 4737086 w 7822461"/>
              <a:gd name="connsiteY0" fmla="*/ 77093 h 163428"/>
              <a:gd name="connsiteX1" fmla="*/ 4234420 w 7822461"/>
              <a:gd name="connsiteY1" fmla="*/ 86120 h 163428"/>
              <a:gd name="connsiteX2" fmla="*/ 3358764 w 7822461"/>
              <a:gd name="connsiteY2" fmla="*/ 130513 h 163428"/>
              <a:gd name="connsiteX3" fmla="*/ 2236997 w 7822461"/>
              <a:gd name="connsiteY3" fmla="*/ 116759 h 163428"/>
              <a:gd name="connsiteX4" fmla="*/ 1118288 w 7822461"/>
              <a:gd name="connsiteY4" fmla="*/ 139940 h 163428"/>
              <a:gd name="connsiteX5" fmla="*/ 0 w 7822461"/>
              <a:gd name="connsiteY5" fmla="*/ 86040 h 163428"/>
              <a:gd name="connsiteX6" fmla="*/ 2233 w 7822461"/>
              <a:gd name="connsiteY6" fmla="*/ 53866 h 163428"/>
              <a:gd name="connsiteX7" fmla="*/ 1121345 w 7822461"/>
              <a:gd name="connsiteY7" fmla="*/ 93485 h 163428"/>
              <a:gd name="connsiteX8" fmla="*/ 2235469 w 7822461"/>
              <a:gd name="connsiteY8" fmla="*/ 77353 h 163428"/>
              <a:gd name="connsiteX9" fmla="*/ 3361821 w 7822461"/>
              <a:gd name="connsiteY9" fmla="*/ 88771 h 163428"/>
              <a:gd name="connsiteX10" fmla="*/ 4226777 w 7822461"/>
              <a:gd name="connsiteY10" fmla="*/ 53786 h 163428"/>
              <a:gd name="connsiteX11" fmla="*/ 5013771 w 7822461"/>
              <a:gd name="connsiteY11" fmla="*/ 0 h 163428"/>
              <a:gd name="connsiteX12" fmla="*/ 5225995 w 7822461"/>
              <a:gd name="connsiteY12" fmla="*/ 30218 h 163428"/>
              <a:gd name="connsiteX13" fmla="*/ 7822461 w 7822461"/>
              <a:gd name="connsiteY13" fmla="*/ 131253 h 163428"/>
              <a:gd name="connsiteX14" fmla="*/ 7820247 w 7822461"/>
              <a:gd name="connsiteY14" fmla="*/ 163428 h 163428"/>
              <a:gd name="connsiteX15" fmla="*/ 5230581 w 7822461"/>
              <a:gd name="connsiteY15" fmla="*/ 90837 h 163428"/>
              <a:gd name="connsiteX16" fmla="*/ 4737086 w 7822461"/>
              <a:gd name="connsiteY16" fmla="*/ 77093 h 163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22461" h="163428">
                <a:moveTo>
                  <a:pt x="4737086" y="77093"/>
                </a:moveTo>
                <a:lnTo>
                  <a:pt x="4234420" y="86120"/>
                </a:lnTo>
                <a:lnTo>
                  <a:pt x="3358764" y="130513"/>
                </a:lnTo>
                <a:lnTo>
                  <a:pt x="2236997" y="116759"/>
                </a:lnTo>
                <a:lnTo>
                  <a:pt x="1118288" y="139940"/>
                </a:lnTo>
                <a:lnTo>
                  <a:pt x="0" y="86040"/>
                </a:lnTo>
                <a:lnTo>
                  <a:pt x="2233" y="53866"/>
                </a:lnTo>
                <a:lnTo>
                  <a:pt x="1121345" y="93485"/>
                </a:lnTo>
                <a:lnTo>
                  <a:pt x="2235469" y="77353"/>
                </a:lnTo>
                <a:lnTo>
                  <a:pt x="3361821" y="88771"/>
                </a:lnTo>
                <a:lnTo>
                  <a:pt x="4226777" y="53786"/>
                </a:lnTo>
                <a:lnTo>
                  <a:pt x="5013771" y="0"/>
                </a:lnTo>
                <a:lnTo>
                  <a:pt x="5225995" y="30218"/>
                </a:lnTo>
                <a:lnTo>
                  <a:pt x="7822461" y="131253"/>
                </a:lnTo>
                <a:lnTo>
                  <a:pt x="7820247" y="163428"/>
                </a:lnTo>
                <a:lnTo>
                  <a:pt x="5230581" y="90837"/>
                </a:lnTo>
                <a:lnTo>
                  <a:pt x="4737086" y="77093"/>
                </a:lnTo>
                <a:close/>
              </a:path>
            </a:pathLst>
          </a:custGeom>
          <a:solidFill>
            <a:srgbClr val="00338D"/>
          </a:solidFill>
          <a:ln w="201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ea typeface="+mn-ea"/>
              <a:cs typeface="+mn-cs"/>
            </a:endParaRPr>
          </a:p>
        </p:txBody>
      </p:sp>
      <p:sp>
        <p:nvSpPr>
          <p:cNvPr id="63" name="Text Placeholder 94">
            <a:extLst>
              <a:ext uri="{FF2B5EF4-FFF2-40B4-BE49-F238E27FC236}">
                <a16:creationId xmlns:a16="http://schemas.microsoft.com/office/drawing/2014/main" id="{D16494D0-DECB-5C2E-05DF-6F507100B04A}"/>
              </a:ext>
            </a:extLst>
          </p:cNvPr>
          <p:cNvSpPr txBox="1">
            <a:spLocks/>
          </p:cNvSpPr>
          <p:nvPr/>
        </p:nvSpPr>
        <p:spPr>
          <a:xfrm>
            <a:off x="1654840" y="3774632"/>
            <a:ext cx="2576726" cy="553998"/>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800" b="0" i="0" u="none" strike="noStrike" kern="1200" cap="none" spc="0" normalizeH="0" baseline="0" noProof="0">
                <a:ln>
                  <a:noFill/>
                </a:ln>
                <a:solidFill>
                  <a:srgbClr val="FFFFFF"/>
                </a:solidFill>
                <a:effectLst/>
                <a:uLnTx/>
                <a:uFillTx/>
                <a:cs typeface="Arial" panose="020B0604020202020204" pitchFamily="34" charset="0"/>
              </a:rPr>
              <a:t>Post Disaster Questionnaire (F-ROC Forms and Training)</a:t>
            </a:r>
          </a:p>
        </p:txBody>
      </p:sp>
      <p:sp>
        <p:nvSpPr>
          <p:cNvPr id="64" name="Text Placeholder 94">
            <a:extLst>
              <a:ext uri="{FF2B5EF4-FFF2-40B4-BE49-F238E27FC236}">
                <a16:creationId xmlns:a16="http://schemas.microsoft.com/office/drawing/2014/main" id="{3F957534-437B-E150-7239-6557569EF872}"/>
              </a:ext>
            </a:extLst>
          </p:cNvPr>
          <p:cNvSpPr txBox="1">
            <a:spLocks/>
          </p:cNvSpPr>
          <p:nvPr/>
        </p:nvSpPr>
        <p:spPr>
          <a:xfrm>
            <a:off x="1654840" y="4897007"/>
            <a:ext cx="2531813" cy="553998"/>
          </a:xfrm>
          <a:prstGeom prst="rect">
            <a:avLst/>
          </a:prstGeom>
        </p:spPr>
        <p:txBody>
          <a:bodyPr wrap="squar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FFFFFF"/>
                </a:solidFill>
                <a:effectLst/>
                <a:uLnTx/>
                <a:uFillTx/>
                <a:ea typeface="Roboto" panose="02000000000000000000" pitchFamily="2" charset="0"/>
                <a:cs typeface="Arial" panose="020B0604020202020204" pitchFamily="34" charset="0"/>
              </a:rPr>
              <a:t>Disaster Readiness Assessment</a:t>
            </a:r>
          </a:p>
        </p:txBody>
      </p:sp>
      <p:sp>
        <p:nvSpPr>
          <p:cNvPr id="65" name="Text Placeholder 94">
            <a:extLst>
              <a:ext uri="{FF2B5EF4-FFF2-40B4-BE49-F238E27FC236}">
                <a16:creationId xmlns:a16="http://schemas.microsoft.com/office/drawing/2014/main" id="{D769A11E-2FA0-5901-45B4-51E9CB5F9362}"/>
              </a:ext>
            </a:extLst>
          </p:cNvPr>
          <p:cNvSpPr txBox="1">
            <a:spLocks/>
          </p:cNvSpPr>
          <p:nvPr/>
        </p:nvSpPr>
        <p:spPr>
          <a:xfrm>
            <a:off x="1654840" y="5742383"/>
            <a:ext cx="783869" cy="276999"/>
          </a:xfrm>
          <a:prstGeom prst="rect">
            <a:avLst/>
          </a:prstGeom>
        </p:spPr>
        <p:txBody>
          <a:bodyPr wrap="non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800" b="0" i="0" u="none" strike="noStrike" kern="1200" cap="none" spc="0" normalizeH="0" baseline="0" noProof="0">
                <a:ln>
                  <a:noFill/>
                </a:ln>
                <a:solidFill>
                  <a:srgbClr val="FFFFFF"/>
                </a:solidFill>
                <a:effectLst/>
                <a:uLnTx/>
                <a:uFillTx/>
                <a:cs typeface="Arial" panose="020B0604020202020204" pitchFamily="34" charset="0"/>
              </a:rPr>
              <a:t>Baseline</a:t>
            </a:r>
            <a:endParaRPr kumimoji="0" lang="en-GB" sz="1300" b="0" i="0" u="none" strike="noStrike" kern="1200" cap="none" spc="0" normalizeH="0" baseline="0" noProof="0">
              <a:ln>
                <a:noFill/>
              </a:ln>
              <a:solidFill>
                <a:srgbClr val="FFFFFF"/>
              </a:solidFill>
              <a:effectLst/>
              <a:uLnTx/>
              <a:uFillTx/>
              <a:cs typeface="Arial" panose="020B0604020202020204" pitchFamily="34" charset="0"/>
            </a:endParaRPr>
          </a:p>
        </p:txBody>
      </p:sp>
      <p:sp>
        <p:nvSpPr>
          <p:cNvPr id="66" name="Text Placeholder 94">
            <a:extLst>
              <a:ext uri="{FF2B5EF4-FFF2-40B4-BE49-F238E27FC236}">
                <a16:creationId xmlns:a16="http://schemas.microsoft.com/office/drawing/2014/main" id="{1461489C-8003-E2AC-A3EF-1F76C80F31C2}"/>
              </a:ext>
            </a:extLst>
          </p:cNvPr>
          <p:cNvSpPr txBox="1">
            <a:spLocks/>
          </p:cNvSpPr>
          <p:nvPr/>
        </p:nvSpPr>
        <p:spPr>
          <a:xfrm>
            <a:off x="973559" y="3755460"/>
            <a:ext cx="416781" cy="492443"/>
          </a:xfrm>
          <a:prstGeom prst="rect">
            <a:avLst/>
          </a:prstGeom>
        </p:spPr>
        <p:txBody>
          <a:bodyPr wrap="non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3200" b="1" i="0" u="none" strike="noStrike" kern="1200" cap="none" spc="0" normalizeH="0" baseline="0" noProof="0">
                <a:ln>
                  <a:noFill/>
                </a:ln>
                <a:solidFill>
                  <a:srgbClr val="FFFFFF"/>
                </a:solidFill>
                <a:effectLst/>
                <a:uLnTx/>
                <a:uFillTx/>
                <a:cs typeface="Arial" panose="020B0604020202020204" pitchFamily="34" charset="0"/>
              </a:rPr>
              <a:t>20</a:t>
            </a:r>
            <a:endParaRPr kumimoji="0" lang="en-GB" sz="1300" b="1" i="0" u="none" strike="noStrike" kern="1200" cap="none" spc="0" normalizeH="0" baseline="0" noProof="0">
              <a:ln>
                <a:noFill/>
              </a:ln>
              <a:solidFill>
                <a:srgbClr val="FFFFFF"/>
              </a:solidFill>
              <a:effectLst/>
              <a:uLnTx/>
              <a:uFillTx/>
              <a:cs typeface="Arial" panose="020B0604020202020204" pitchFamily="34" charset="0"/>
            </a:endParaRPr>
          </a:p>
        </p:txBody>
      </p:sp>
      <p:sp>
        <p:nvSpPr>
          <p:cNvPr id="67" name="Text Placeholder 94">
            <a:extLst>
              <a:ext uri="{FF2B5EF4-FFF2-40B4-BE49-F238E27FC236}">
                <a16:creationId xmlns:a16="http://schemas.microsoft.com/office/drawing/2014/main" id="{D20C8027-CC7B-35F2-93AB-CDE482D6BD07}"/>
              </a:ext>
            </a:extLst>
          </p:cNvPr>
          <p:cNvSpPr txBox="1">
            <a:spLocks/>
          </p:cNvSpPr>
          <p:nvPr/>
        </p:nvSpPr>
        <p:spPr>
          <a:xfrm>
            <a:off x="973559" y="4709079"/>
            <a:ext cx="416781" cy="492443"/>
          </a:xfrm>
          <a:prstGeom prst="rect">
            <a:avLst/>
          </a:prstGeom>
        </p:spPr>
        <p:txBody>
          <a:bodyPr wrap="non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3200" b="1" i="0" u="none" strike="noStrike" kern="1200" cap="none" spc="0" normalizeH="0" baseline="0" noProof="0">
                <a:ln>
                  <a:noFill/>
                </a:ln>
                <a:solidFill>
                  <a:srgbClr val="FFFFFF"/>
                </a:solidFill>
                <a:effectLst/>
                <a:uLnTx/>
                <a:uFillTx/>
                <a:cs typeface="Arial" panose="020B0604020202020204" pitchFamily="34" charset="0"/>
              </a:rPr>
              <a:t>40</a:t>
            </a:r>
            <a:endParaRPr kumimoji="0" lang="en-GB" sz="1300" b="1" i="0" u="none" strike="noStrike" kern="1200" cap="none" spc="0" normalizeH="0" baseline="0" noProof="0">
              <a:ln>
                <a:noFill/>
              </a:ln>
              <a:solidFill>
                <a:srgbClr val="FFFFFF"/>
              </a:solidFill>
              <a:effectLst/>
              <a:uLnTx/>
              <a:uFillTx/>
              <a:cs typeface="Arial" panose="020B0604020202020204" pitchFamily="34" charset="0"/>
            </a:endParaRPr>
          </a:p>
        </p:txBody>
      </p:sp>
      <p:sp>
        <p:nvSpPr>
          <p:cNvPr id="68" name="Text Placeholder 94">
            <a:extLst>
              <a:ext uri="{FF2B5EF4-FFF2-40B4-BE49-F238E27FC236}">
                <a16:creationId xmlns:a16="http://schemas.microsoft.com/office/drawing/2014/main" id="{BE7AC96D-6B0A-5471-4651-FD57E900394E}"/>
              </a:ext>
            </a:extLst>
          </p:cNvPr>
          <p:cNvSpPr txBox="1">
            <a:spLocks/>
          </p:cNvSpPr>
          <p:nvPr/>
        </p:nvSpPr>
        <p:spPr>
          <a:xfrm>
            <a:off x="973559" y="5662699"/>
            <a:ext cx="416781" cy="492443"/>
          </a:xfrm>
          <a:prstGeom prst="rect">
            <a:avLst/>
          </a:prstGeom>
        </p:spPr>
        <p:txBody>
          <a:bodyPr wrap="none" lIns="0" tIns="0" rIns="0" bIns="0">
            <a:spAutoFit/>
          </a:bodyPr>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3200" b="1" i="0" u="none" strike="noStrike" kern="1200" cap="none" spc="0" normalizeH="0" baseline="0" noProof="0">
                <a:ln>
                  <a:noFill/>
                </a:ln>
                <a:solidFill>
                  <a:srgbClr val="FFFFFF"/>
                </a:solidFill>
                <a:effectLst/>
                <a:uLnTx/>
                <a:uFillTx/>
                <a:cs typeface="Arial" panose="020B0604020202020204" pitchFamily="34" charset="0"/>
              </a:rPr>
              <a:t>20</a:t>
            </a:r>
            <a:endParaRPr kumimoji="0" lang="en-GB" sz="1300" b="1" i="0" u="none" strike="noStrike" kern="1200" cap="none" spc="0" normalizeH="0" baseline="0" noProof="0">
              <a:ln>
                <a:noFill/>
              </a:ln>
              <a:solidFill>
                <a:srgbClr val="FFFFFF"/>
              </a:solidFill>
              <a:effectLst/>
              <a:uLnTx/>
              <a:uFillTx/>
              <a:cs typeface="Arial" panose="020B0604020202020204" pitchFamily="34" charset="0"/>
            </a:endParaRPr>
          </a:p>
        </p:txBody>
      </p:sp>
      <p:sp>
        <p:nvSpPr>
          <p:cNvPr id="69" name="Text Placeholder 94">
            <a:extLst>
              <a:ext uri="{FF2B5EF4-FFF2-40B4-BE49-F238E27FC236}">
                <a16:creationId xmlns:a16="http://schemas.microsoft.com/office/drawing/2014/main" id="{30E27026-86EB-8C95-AFA7-3BE6B9C7D275}"/>
              </a:ext>
            </a:extLst>
          </p:cNvPr>
          <p:cNvSpPr txBox="1">
            <a:spLocks/>
          </p:cNvSpPr>
          <p:nvPr/>
        </p:nvSpPr>
        <p:spPr>
          <a:xfrm>
            <a:off x="8397323" y="4558550"/>
            <a:ext cx="3044737" cy="625972"/>
          </a:xfrm>
          <a:prstGeom prst="rect">
            <a:avLst/>
          </a:prstGeom>
        </p:spPr>
        <p:txBody>
          <a:bodyPr lIns="0" tIns="0" rIns="0" bIns="0"/>
          <a:lstStyle>
            <a:lvl1pPr marL="0" indent="0" algn="l" defTabSz="914400" rtl="0" eaLnBrk="1" latinLnBrk="0" hangingPunct="1">
              <a:lnSpc>
                <a:spcPct val="100000"/>
              </a:lnSpc>
              <a:spcBef>
                <a:spcPts val="0"/>
              </a:spcBef>
              <a:spcAft>
                <a:spcPts val="600"/>
              </a:spcAft>
              <a:buFontTx/>
              <a:buNone/>
              <a:defRPr sz="15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accent2"/>
                </a:solidFill>
                <a:latin typeface="+mn-lt"/>
                <a:ea typeface="+mn-ea"/>
                <a:cs typeface="+mn-cs"/>
              </a:defRPr>
            </a:lvl2pPr>
            <a:lvl3pPr marL="18097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3pPr>
            <a:lvl4pPr marL="361950"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a:solidFill>
                  <a:schemeClr val="accent2"/>
                </a:solidFill>
                <a:latin typeface="+mn-lt"/>
                <a:ea typeface="+mn-ea"/>
                <a:cs typeface="+mn-cs"/>
              </a:defRPr>
            </a:lvl4pPr>
            <a:lvl5pPr marL="542925" indent="-180975" algn="l" defTabSz="914400" rtl="0" eaLnBrk="1" latinLnBrk="0" hangingPunct="1">
              <a:lnSpc>
                <a:spcPct val="100000"/>
              </a:lnSpc>
              <a:spcBef>
                <a:spcPts val="0"/>
              </a:spcBef>
              <a:spcAft>
                <a:spcPts val="600"/>
              </a:spcAft>
              <a:buClrTx/>
              <a:buFont typeface="Arial" panose="020B0604020202020204" pitchFamily="34" charset="0"/>
              <a:buChar char="•"/>
              <a:defRPr sz="1500" kern="1200" baseline="0">
                <a:solidFill>
                  <a:schemeClr val="accent2"/>
                </a:solidFill>
                <a:latin typeface="+mn-lt"/>
                <a:ea typeface="+mn-ea"/>
                <a:cs typeface="+mn-cs"/>
              </a:defRPr>
            </a:lvl5pPr>
            <a:lvl6pPr marL="719138" indent="-180975"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8969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074738" indent="-1778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1257300" indent="-182563" algn="l" defTabSz="914400" rtl="0" eaLnBrk="1" latinLnBrk="0" hangingPunct="1">
              <a:lnSpc>
                <a:spcPct val="90000"/>
              </a:lnSpc>
              <a:spcBef>
                <a:spcPts val="500"/>
              </a:spcBef>
              <a:buFont typeface="Arial" panose="020B0604020202020204" pitchFamily="34" charset="0"/>
              <a:buChar char="•"/>
              <a:defRPr sz="1500" kern="1200">
                <a:solidFill>
                  <a:schemeClr val="tx2"/>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a:ln>
                  <a:noFill/>
                </a:ln>
                <a:solidFill>
                  <a:srgbClr val="FFFFFF"/>
                </a:solidFill>
                <a:effectLst/>
                <a:uLnTx/>
                <a:uFillTx/>
                <a:cs typeface="Arial" panose="020B0604020202020204" pitchFamily="34" charset="0"/>
              </a:rPr>
              <a:t>With F-ROC, </a:t>
            </a:r>
            <a:r>
              <a:rPr kumimoji="0" lang="en-US" sz="1800" b="0" i="0" u="none" strike="noStrike" kern="1200" cap="none" spc="0" normalizeH="0" baseline="0" noProof="0">
                <a:ln>
                  <a:noFill/>
                </a:ln>
                <a:solidFill>
                  <a:srgbClr val="FFFFFF"/>
                </a:solidFill>
                <a:effectLst/>
                <a:uLnTx/>
                <a:uFillTx/>
                <a:cs typeface="Arial" panose="020B0604020202020204" pitchFamily="34" charset="0"/>
              </a:rPr>
              <a:t>you can receive up to </a:t>
            </a:r>
            <a:r>
              <a:rPr kumimoji="0" lang="en-US" sz="1800" b="1" i="0" u="none" strike="noStrike" kern="1200" cap="none" spc="0" normalizeH="0" baseline="0" noProof="0">
                <a:ln>
                  <a:noFill/>
                </a:ln>
                <a:solidFill>
                  <a:srgbClr val="FFFFFF"/>
                </a:solidFill>
                <a:effectLst/>
                <a:uLnTx/>
                <a:uFillTx/>
                <a:cs typeface="Arial" panose="020B0604020202020204" pitchFamily="34" charset="0"/>
              </a:rPr>
              <a:t>80% Funding Upfront</a:t>
            </a:r>
          </a:p>
          <a:p>
            <a:pPr marL="0" marR="0" lvl="1" indent="0" algn="l" defTabSz="914400" rtl="0" eaLnBrk="1" fontAlgn="auto" latinLnBrk="0" hangingPunct="1">
              <a:lnSpc>
                <a:spcPct val="100000"/>
              </a:lnSpc>
              <a:spcBef>
                <a:spcPts val="0"/>
              </a:spcBef>
              <a:spcAft>
                <a:spcPts val="600"/>
              </a:spcAft>
              <a:buClrTx/>
              <a:buSzTx/>
              <a:buFontTx/>
              <a:buNone/>
              <a:tabLst/>
              <a:defRPr/>
            </a:pPr>
            <a:endParaRPr kumimoji="0" lang="en-GB" sz="1600" b="0" i="0" u="none" strike="noStrike" kern="1200" cap="none" spc="0" normalizeH="0" baseline="0" noProof="0">
              <a:ln>
                <a:noFill/>
              </a:ln>
              <a:solidFill>
                <a:srgbClr val="FFFFFF"/>
              </a:solidFill>
              <a:effectLst/>
              <a:uLnTx/>
              <a:uFillTx/>
              <a:ea typeface="+mn-ea"/>
              <a:cs typeface="+mn-cs"/>
            </a:endParaRPr>
          </a:p>
        </p:txBody>
      </p:sp>
      <p:cxnSp>
        <p:nvCxnSpPr>
          <p:cNvPr id="70" name="Straight Connector 69">
            <a:extLst>
              <a:ext uri="{FF2B5EF4-FFF2-40B4-BE49-F238E27FC236}">
                <a16:creationId xmlns:a16="http://schemas.microsoft.com/office/drawing/2014/main" id="{42F7673A-4F5F-9E2A-C554-BAEB4D57054F}"/>
              </a:ext>
            </a:extLst>
          </p:cNvPr>
          <p:cNvCxnSpPr>
            <a:cxnSpLocks/>
          </p:cNvCxnSpPr>
          <p:nvPr/>
        </p:nvCxnSpPr>
        <p:spPr>
          <a:xfrm>
            <a:off x="991289" y="4648200"/>
            <a:ext cx="6532238" cy="0"/>
          </a:xfrm>
          <a:prstGeom prst="line">
            <a:avLst/>
          </a:prstGeom>
          <a:noFill/>
          <a:ln w="6350" cap="flat" cmpd="sng" algn="ctr">
            <a:solidFill>
              <a:srgbClr val="FFFFFF"/>
            </a:solidFill>
            <a:prstDash val="dash"/>
            <a:miter lim="800000"/>
          </a:ln>
          <a:effectLst/>
        </p:spPr>
      </p:cxnSp>
      <p:cxnSp>
        <p:nvCxnSpPr>
          <p:cNvPr id="71" name="Straight Connector 70">
            <a:extLst>
              <a:ext uri="{FF2B5EF4-FFF2-40B4-BE49-F238E27FC236}">
                <a16:creationId xmlns:a16="http://schemas.microsoft.com/office/drawing/2014/main" id="{9512A51C-A295-B52F-3AEC-0B60C44CA6F9}"/>
              </a:ext>
            </a:extLst>
          </p:cNvPr>
          <p:cNvCxnSpPr>
            <a:cxnSpLocks/>
          </p:cNvCxnSpPr>
          <p:nvPr/>
        </p:nvCxnSpPr>
        <p:spPr>
          <a:xfrm flipV="1">
            <a:off x="991289" y="5633679"/>
            <a:ext cx="6532238" cy="5121"/>
          </a:xfrm>
          <a:prstGeom prst="line">
            <a:avLst/>
          </a:prstGeom>
          <a:noFill/>
          <a:ln w="6350" cap="flat" cmpd="sng" algn="ctr">
            <a:solidFill>
              <a:srgbClr val="FFFFFF"/>
            </a:solidFill>
            <a:prstDash val="dash"/>
            <a:miter lim="800000"/>
          </a:ln>
          <a:effectLst/>
        </p:spPr>
      </p:cxnSp>
      <p:sp>
        <p:nvSpPr>
          <p:cNvPr id="72" name="TextBox 71">
            <a:extLst>
              <a:ext uri="{FF2B5EF4-FFF2-40B4-BE49-F238E27FC236}">
                <a16:creationId xmlns:a16="http://schemas.microsoft.com/office/drawing/2014/main" id="{515320F8-B445-3871-D0FE-2DF7F33F5499}"/>
              </a:ext>
            </a:extLst>
          </p:cNvPr>
          <p:cNvSpPr txBox="1"/>
          <p:nvPr/>
        </p:nvSpPr>
        <p:spPr>
          <a:xfrm>
            <a:off x="952721" y="1365647"/>
            <a:ext cx="10278997"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2000" b="0" i="0" u="none" strike="noStrike" kern="1200" cap="none" spc="0" normalizeH="0" baseline="0" noProof="0">
                <a:ln>
                  <a:noFill/>
                </a:ln>
                <a:solidFill>
                  <a:srgbClr val="005EB8"/>
                </a:solidFill>
                <a:effectLst/>
                <a:uLnTx/>
                <a:uFillTx/>
                <a:cs typeface="Arial" panose="020B0604020202020204" pitchFamily="34" charset="0"/>
              </a:rPr>
              <a:t>The Florida Iceberg! Just like the majority of an iceberg isn’t visible, the majority of PA funding can be received upfront through the F-ROC process. </a:t>
            </a:r>
          </a:p>
        </p:txBody>
      </p:sp>
      <p:cxnSp>
        <p:nvCxnSpPr>
          <p:cNvPr id="73" name="Straight Arrow Connector 72">
            <a:extLst>
              <a:ext uri="{FF2B5EF4-FFF2-40B4-BE49-F238E27FC236}">
                <a16:creationId xmlns:a16="http://schemas.microsoft.com/office/drawing/2014/main" id="{5003A5E8-6282-5F91-0B39-309EF2EC4427}"/>
              </a:ext>
            </a:extLst>
          </p:cNvPr>
          <p:cNvCxnSpPr>
            <a:cxnSpLocks/>
          </p:cNvCxnSpPr>
          <p:nvPr/>
        </p:nvCxnSpPr>
        <p:spPr>
          <a:xfrm flipH="1">
            <a:off x="7210769" y="2897013"/>
            <a:ext cx="813172" cy="14186"/>
          </a:xfrm>
          <a:prstGeom prst="straightConnector1">
            <a:avLst/>
          </a:prstGeom>
          <a:noFill/>
          <a:ln w="19050" cap="flat" cmpd="sng" algn="ctr">
            <a:solidFill>
              <a:srgbClr val="1E49E2"/>
            </a:solidFill>
            <a:prstDash val="solid"/>
            <a:miter lim="800000"/>
            <a:tailEnd type="triangle"/>
          </a:ln>
          <a:effectLst/>
        </p:spPr>
      </p:cxnSp>
      <p:sp>
        <p:nvSpPr>
          <p:cNvPr id="74" name="Right Brace 73">
            <a:extLst>
              <a:ext uri="{FF2B5EF4-FFF2-40B4-BE49-F238E27FC236}">
                <a16:creationId xmlns:a16="http://schemas.microsoft.com/office/drawing/2014/main" id="{7821A0F5-6BD2-E185-B82B-448FABC3BD3D}"/>
              </a:ext>
            </a:extLst>
          </p:cNvPr>
          <p:cNvSpPr/>
          <p:nvPr/>
        </p:nvSpPr>
        <p:spPr>
          <a:xfrm>
            <a:off x="7864028" y="3682525"/>
            <a:ext cx="360747" cy="2472617"/>
          </a:xfrm>
          <a:prstGeom prst="rightBrace">
            <a:avLst/>
          </a:prstGeom>
          <a:noFill/>
          <a:ln w="1905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a typeface="+mn-ea"/>
              <a:cs typeface="+mn-cs"/>
            </a:endParaRPr>
          </a:p>
        </p:txBody>
      </p:sp>
      <p:sp>
        <p:nvSpPr>
          <p:cNvPr id="75" name="TextBox 74">
            <a:extLst>
              <a:ext uri="{FF2B5EF4-FFF2-40B4-BE49-F238E27FC236}">
                <a16:creationId xmlns:a16="http://schemas.microsoft.com/office/drawing/2014/main" id="{A68977B0-875F-B594-274A-0C83B598D2AF}"/>
              </a:ext>
            </a:extLst>
          </p:cNvPr>
          <p:cNvSpPr txBox="1"/>
          <p:nvPr/>
        </p:nvSpPr>
        <p:spPr>
          <a:xfrm>
            <a:off x="6840857" y="6455859"/>
            <a:ext cx="5478412" cy="369332"/>
          </a:xfrm>
          <a:prstGeom prst="rect">
            <a:avLst/>
          </a:prstGeom>
          <a:noFill/>
        </p:spPr>
        <p:txBody>
          <a:bodyPr wrap="square">
            <a:spAutoFit/>
          </a:bodyPr>
          <a:lstStyle/>
          <a:p>
            <a:r>
              <a:rPr lang="en-US">
                <a:solidFill>
                  <a:schemeClr val="bg1"/>
                </a:solidFill>
              </a:rPr>
              <a:t>*5 bonus points can be earned with EMAP accreditation </a:t>
            </a:r>
          </a:p>
        </p:txBody>
      </p:sp>
    </p:spTree>
    <p:custDataLst>
      <p:tags r:id="rId1"/>
    </p:custDataLst>
    <p:extLst>
      <p:ext uri="{BB962C8B-B14F-4D97-AF65-F5344CB8AC3E}">
        <p14:creationId xmlns:p14="http://schemas.microsoft.com/office/powerpoint/2010/main" val="21018280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3030A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126D11-1926-40CB-A970-0DB36DA2942C}"/>
              </a:ext>
            </a:extLst>
          </p:cNvPr>
          <p:cNvSpPr>
            <a:spLocks noGrp="1"/>
          </p:cNvSpPr>
          <p:nvPr>
            <p:ph type="title"/>
          </p:nvPr>
        </p:nvSpPr>
        <p:spPr>
          <a:xfrm>
            <a:off x="838200" y="3321322"/>
            <a:ext cx="10515600" cy="1018714"/>
          </a:xfrm>
        </p:spPr>
        <p:txBody>
          <a:bodyPr>
            <a:noAutofit/>
          </a:bodyPr>
          <a:lstStyle/>
          <a:p>
            <a:pPr algn="ctr"/>
            <a:r>
              <a:rPr lang="en-US" sz="6000">
                <a:latin typeface="+mn-lt"/>
              </a:rPr>
              <a:t>Module 2</a:t>
            </a:r>
            <a:br>
              <a:rPr lang="en-US" sz="6000">
                <a:latin typeface="+mn-lt"/>
              </a:rPr>
            </a:br>
            <a:r>
              <a:rPr lang="en-US" sz="6000">
                <a:latin typeface="+mn-lt"/>
              </a:rPr>
              <a:t>Exploring F-ROC Forms and Documentation</a:t>
            </a:r>
          </a:p>
        </p:txBody>
      </p:sp>
    </p:spTree>
    <p:custDataLst>
      <p:tags r:id="rId1"/>
    </p:custDataLst>
    <p:extLst>
      <p:ext uri="{BB962C8B-B14F-4D97-AF65-F5344CB8AC3E}">
        <p14:creationId xmlns:p14="http://schemas.microsoft.com/office/powerpoint/2010/main" val="28146749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6">
            <a:extLst>
              <a:ext uri="{FF2B5EF4-FFF2-40B4-BE49-F238E27FC236}">
                <a16:creationId xmlns:a16="http://schemas.microsoft.com/office/drawing/2014/main" id="{60533A61-3512-CEED-28BA-6B741A925354}"/>
              </a:ext>
            </a:extLst>
          </p:cNvPr>
          <p:cNvGraphicFramePr>
            <a:graphicFrameLocks/>
          </p:cNvGraphicFramePr>
          <p:nvPr>
            <p:extLst>
              <p:ext uri="{D42A27DB-BD31-4B8C-83A1-F6EECF244321}">
                <p14:modId xmlns:p14="http://schemas.microsoft.com/office/powerpoint/2010/main" val="1182455769"/>
              </p:ext>
            </p:extLst>
          </p:nvPr>
        </p:nvGraphicFramePr>
        <p:xfrm>
          <a:off x="577422" y="1349829"/>
          <a:ext cx="11037156" cy="5318097"/>
        </p:xfrm>
        <a:graphic>
          <a:graphicData uri="http://schemas.openxmlformats.org/drawingml/2006/table">
            <a:tbl>
              <a:tblPr firstRow="1" bandRow="1"/>
              <a:tblGrid>
                <a:gridCol w="2759289">
                  <a:extLst>
                    <a:ext uri="{9D8B030D-6E8A-4147-A177-3AD203B41FA5}">
                      <a16:colId xmlns:a16="http://schemas.microsoft.com/office/drawing/2014/main" val="39329572"/>
                    </a:ext>
                  </a:extLst>
                </a:gridCol>
                <a:gridCol w="2759289">
                  <a:extLst>
                    <a:ext uri="{9D8B030D-6E8A-4147-A177-3AD203B41FA5}">
                      <a16:colId xmlns:a16="http://schemas.microsoft.com/office/drawing/2014/main" val="156697286"/>
                    </a:ext>
                  </a:extLst>
                </a:gridCol>
                <a:gridCol w="2759289">
                  <a:extLst>
                    <a:ext uri="{9D8B030D-6E8A-4147-A177-3AD203B41FA5}">
                      <a16:colId xmlns:a16="http://schemas.microsoft.com/office/drawing/2014/main" val="2782679353"/>
                    </a:ext>
                  </a:extLst>
                </a:gridCol>
                <a:gridCol w="2759289">
                  <a:extLst>
                    <a:ext uri="{9D8B030D-6E8A-4147-A177-3AD203B41FA5}">
                      <a16:colId xmlns:a16="http://schemas.microsoft.com/office/drawing/2014/main" val="3548980468"/>
                    </a:ext>
                  </a:extLst>
                </a:gridCol>
              </a:tblGrid>
              <a:tr h="334911">
                <a:tc>
                  <a:txBody>
                    <a:bodyPr/>
                    <a:lstStyle>
                      <a:lvl1pPr marL="0" algn="l" defTabSz="914400" rtl="0" eaLnBrk="1" latinLnBrk="0" hangingPunct="1">
                        <a:defRPr sz="1800" b="1" kern="1200">
                          <a:solidFill>
                            <a:schemeClr val="tx1"/>
                          </a:solidFill>
                          <a:latin typeface="Roboto Condensed"/>
                        </a:defRPr>
                      </a:lvl1pPr>
                      <a:lvl2pPr marL="457200" algn="l" defTabSz="914400" rtl="0" eaLnBrk="1" latinLnBrk="0" hangingPunct="1">
                        <a:defRPr sz="1800" b="1" kern="1200">
                          <a:solidFill>
                            <a:schemeClr val="tx1"/>
                          </a:solidFill>
                          <a:latin typeface="Roboto Condensed"/>
                        </a:defRPr>
                      </a:lvl2pPr>
                      <a:lvl3pPr marL="914400" algn="l" defTabSz="914400" rtl="0" eaLnBrk="1" latinLnBrk="0" hangingPunct="1">
                        <a:defRPr sz="1800" b="1" kern="1200">
                          <a:solidFill>
                            <a:schemeClr val="tx1"/>
                          </a:solidFill>
                          <a:latin typeface="Roboto Condensed"/>
                        </a:defRPr>
                      </a:lvl3pPr>
                      <a:lvl4pPr marL="1371600" algn="l" defTabSz="914400" rtl="0" eaLnBrk="1" latinLnBrk="0" hangingPunct="1">
                        <a:defRPr sz="1800" b="1" kern="1200">
                          <a:solidFill>
                            <a:schemeClr val="tx1"/>
                          </a:solidFill>
                          <a:latin typeface="Roboto Condensed"/>
                        </a:defRPr>
                      </a:lvl4pPr>
                      <a:lvl5pPr marL="1828800" algn="l" defTabSz="914400" rtl="0" eaLnBrk="1" latinLnBrk="0" hangingPunct="1">
                        <a:defRPr sz="1800" b="1" kern="1200">
                          <a:solidFill>
                            <a:schemeClr val="tx1"/>
                          </a:solidFill>
                          <a:latin typeface="Roboto Condensed"/>
                        </a:defRPr>
                      </a:lvl5pPr>
                      <a:lvl6pPr marL="2286000" algn="l" defTabSz="914400" rtl="0" eaLnBrk="1" latinLnBrk="0" hangingPunct="1">
                        <a:defRPr sz="1800" b="1" kern="1200">
                          <a:solidFill>
                            <a:schemeClr val="tx1"/>
                          </a:solidFill>
                          <a:latin typeface="Roboto Condensed"/>
                        </a:defRPr>
                      </a:lvl6pPr>
                      <a:lvl7pPr marL="2743200" algn="l" defTabSz="914400" rtl="0" eaLnBrk="1" latinLnBrk="0" hangingPunct="1">
                        <a:defRPr sz="1800" b="1" kern="1200">
                          <a:solidFill>
                            <a:schemeClr val="tx1"/>
                          </a:solidFill>
                          <a:latin typeface="Roboto Condensed"/>
                        </a:defRPr>
                      </a:lvl7pPr>
                      <a:lvl8pPr marL="3200400" algn="l" defTabSz="914400" rtl="0" eaLnBrk="1" latinLnBrk="0" hangingPunct="1">
                        <a:defRPr sz="1800" b="1" kern="1200">
                          <a:solidFill>
                            <a:schemeClr val="tx1"/>
                          </a:solidFill>
                          <a:latin typeface="Roboto Condensed"/>
                        </a:defRPr>
                      </a:lvl8pPr>
                      <a:lvl9pPr marL="3657600" algn="l" defTabSz="914400" rtl="0" eaLnBrk="1" latinLnBrk="0" hangingPunct="1">
                        <a:defRPr sz="1800" b="1" kern="1200">
                          <a:solidFill>
                            <a:schemeClr val="tx1"/>
                          </a:solidFill>
                          <a:latin typeface="Roboto Condensed"/>
                        </a:defRPr>
                      </a:lvl9pPr>
                    </a:lstStyle>
                    <a:p>
                      <a:r>
                        <a:rPr lang="en-US" sz="1300">
                          <a:solidFill>
                            <a:srgbClr val="005EB8"/>
                          </a:solidFill>
                          <a:latin typeface="+mn-lt"/>
                          <a:cs typeface="Arial" panose="020B0604020202020204" pitchFamily="34" charset="0"/>
                        </a:rPr>
                        <a:t>Contract Work Summary Record</a:t>
                      </a:r>
                    </a:p>
                    <a:p>
                      <a:endParaRPr lang="en-US" sz="1300">
                        <a:solidFill>
                          <a:srgbClr val="005EB8"/>
                        </a:solidFill>
                        <a:latin typeface="+mn-lt"/>
                        <a:cs typeface="Arial" panose="020B0604020202020204" pitchFamily="34" charset="0"/>
                      </a:endParaRP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Demolition of Private Property </a:t>
                      </a:r>
                    </a:p>
                    <a:p>
                      <a:r>
                        <a:rPr lang="en-US" sz="1300" b="1">
                          <a:solidFill>
                            <a:srgbClr val="005EB8"/>
                          </a:solidFill>
                          <a:latin typeface="+mn-lt"/>
                          <a:cs typeface="Arial" panose="020B0604020202020204" pitchFamily="34" charset="0"/>
                        </a:rPr>
                        <a:t>Eligibility Checklist </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Leaner-Hanger-Stump Ticket – Example </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Mutual Aid - State Mission Cost Estimate Form - Editable Travel</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5616736"/>
                  </a:ext>
                </a:extLst>
              </a:tr>
              <a:tr h="368855">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Crew Time Report</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9A5EF">
                        <a:alpha val="20000"/>
                      </a:srgbClr>
                    </a:solidFill>
                  </a:tcPr>
                </a:tc>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Donated Resources - Emergency Work Checklist</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9A5EF">
                        <a:alpha val="20000"/>
                      </a:srgbClr>
                    </a:solidFill>
                  </a:tcPr>
                </a:tc>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Load Site Log</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9A5EF">
                        <a:alpha val="20000"/>
                      </a:srgbClr>
                    </a:solidFill>
                  </a:tcPr>
                </a:tc>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On-Hand Materials and Supplies Usage Log                                  </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9A5EF">
                        <a:alpha val="20000"/>
                      </a:srgbClr>
                    </a:solidFill>
                  </a:tcPr>
                </a:tc>
                <a:extLst>
                  <a:ext uri="{0D108BD9-81ED-4DB2-BD59-A6C34878D82A}">
                    <a16:rowId xmlns:a16="http://schemas.microsoft.com/office/drawing/2014/main" val="1772937313"/>
                  </a:ext>
                </a:extLst>
              </a:tr>
              <a:tr h="481697">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Daily Activity Report- Inmates</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Equipment Inventory Log                                        </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Mosquito Abatement – Vector </a:t>
                      </a:r>
                    </a:p>
                    <a:p>
                      <a:r>
                        <a:rPr lang="en-US" sz="1300" b="1">
                          <a:solidFill>
                            <a:srgbClr val="005EB8"/>
                          </a:solidFill>
                          <a:latin typeface="+mn-lt"/>
                          <a:cs typeface="Arial" panose="020B0604020202020204" pitchFamily="34" charset="0"/>
                        </a:rPr>
                        <a:t>Control Checklist</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fr-FR" sz="1300" b="1">
                          <a:solidFill>
                            <a:srgbClr val="005EB8"/>
                          </a:solidFill>
                          <a:latin typeface="+mn-lt"/>
                          <a:cs typeface="Arial" panose="020B0604020202020204" pitchFamily="34" charset="0"/>
                        </a:rPr>
                        <a:t>Public Assistance Applicant Procurement Compliance Checklist </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4521770"/>
                  </a:ext>
                </a:extLst>
              </a:tr>
              <a:tr h="481697">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Daily Activity Reports- Individual</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9A5EF">
                        <a:alpha val="20000"/>
                      </a:srgbClr>
                    </a:solidFill>
                  </a:tcPr>
                </a:tc>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Expanded Daily Activity Reports – </a:t>
                      </a:r>
                    </a:p>
                    <a:p>
                      <a:r>
                        <a:rPr lang="en-US" sz="1300" b="1">
                          <a:solidFill>
                            <a:srgbClr val="005EB8"/>
                          </a:solidFill>
                          <a:latin typeface="+mn-lt"/>
                          <a:cs typeface="Arial" panose="020B0604020202020204" pitchFamily="34" charset="0"/>
                        </a:rPr>
                        <a:t>Team - National Guard</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9A5EF">
                        <a:alpha val="20000"/>
                      </a:srgbClr>
                    </a:solidFill>
                  </a:tcPr>
                </a:tc>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Mutual Aid - EMAC R-2</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9A5EF">
                        <a:alpha val="20000"/>
                      </a:srgbClr>
                    </a:solidFill>
                  </a:tcPr>
                </a:tc>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Right of Entry – Example    </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9A5EF">
                        <a:alpha val="20000"/>
                      </a:srgbClr>
                    </a:solidFill>
                  </a:tcPr>
                </a:tc>
                <a:extLst>
                  <a:ext uri="{0D108BD9-81ED-4DB2-BD59-A6C34878D82A}">
                    <a16:rowId xmlns:a16="http://schemas.microsoft.com/office/drawing/2014/main" val="2053437449"/>
                  </a:ext>
                </a:extLst>
              </a:tr>
              <a:tr h="481697">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Daily Activity Reports- Individual EMS</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FEMA EHP Completeness Checklist </a:t>
                      </a:r>
                    </a:p>
                    <a:p>
                      <a:r>
                        <a:rPr lang="en-US" sz="1300" b="1">
                          <a:solidFill>
                            <a:srgbClr val="005EB8"/>
                          </a:solidFill>
                          <a:latin typeface="+mn-lt"/>
                          <a:cs typeface="Arial" panose="020B0604020202020204" pitchFamily="34" charset="0"/>
                        </a:rPr>
                        <a:t>for CAT A and B Permit Reference List </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Mutual Aid - SMAA Local Resource </a:t>
                      </a:r>
                    </a:p>
                    <a:p>
                      <a:r>
                        <a:rPr lang="en-US" sz="1300" b="1">
                          <a:solidFill>
                            <a:srgbClr val="005EB8"/>
                          </a:solidFill>
                          <a:latin typeface="+mn-lt"/>
                          <a:cs typeface="Arial" panose="020B0604020202020204" pitchFamily="34" charset="0"/>
                        </a:rPr>
                        <a:t>Support Agreement</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Sign-In Sheet</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0702310"/>
                  </a:ext>
                </a:extLst>
              </a:tr>
              <a:tr h="622857">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Daily Activity Reports- Individual Firefighter</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9A5EF">
                        <a:alpha val="20000"/>
                      </a:srgbClr>
                    </a:solidFill>
                  </a:tcPr>
                </a:tc>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First Push Activity Log </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9A5EF">
                        <a:alpha val="20000"/>
                      </a:srgbClr>
                    </a:solidFill>
                  </a:tcPr>
                </a:tc>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Mutual Aid - State Mission Cost </a:t>
                      </a:r>
                    </a:p>
                    <a:p>
                      <a:r>
                        <a:rPr lang="en-US" sz="1300" b="1">
                          <a:solidFill>
                            <a:srgbClr val="005EB8"/>
                          </a:solidFill>
                          <a:latin typeface="+mn-lt"/>
                          <a:cs typeface="Arial" panose="020B0604020202020204" pitchFamily="34" charset="0"/>
                        </a:rPr>
                        <a:t>Estimate Form - Editable </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9A5EF">
                        <a:alpha val="20000"/>
                      </a:srgbClr>
                    </a:solidFill>
                  </a:tcPr>
                </a:tc>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Stump Summary</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9A5EF">
                        <a:alpha val="20000"/>
                      </a:srgbClr>
                    </a:solidFill>
                  </a:tcPr>
                </a:tc>
                <a:extLst>
                  <a:ext uri="{0D108BD9-81ED-4DB2-BD59-A6C34878D82A}">
                    <a16:rowId xmlns:a16="http://schemas.microsoft.com/office/drawing/2014/main" val="2475211780"/>
                  </a:ext>
                </a:extLst>
              </a:tr>
              <a:tr h="481697">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Daily Activity Reports – Individual – </a:t>
                      </a:r>
                    </a:p>
                    <a:p>
                      <a:r>
                        <a:rPr lang="en-US" sz="1300" b="1">
                          <a:solidFill>
                            <a:srgbClr val="005EB8"/>
                          </a:solidFill>
                          <a:latin typeface="+mn-lt"/>
                          <a:cs typeface="Arial" panose="020B0604020202020204" pitchFamily="34" charset="0"/>
                        </a:rPr>
                        <a:t>Law Enforcement </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Haul-Out Log</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Mutual Aid - State Mission Cost </a:t>
                      </a:r>
                    </a:p>
                    <a:p>
                      <a:r>
                        <a:rPr lang="en-US" sz="1300" b="1">
                          <a:solidFill>
                            <a:srgbClr val="005EB8"/>
                          </a:solidFill>
                          <a:latin typeface="+mn-lt"/>
                          <a:cs typeface="Arial" panose="020B0604020202020204" pitchFamily="34" charset="0"/>
                        </a:rPr>
                        <a:t>Estimate Form – Editable EC.</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Tower Monitor Summary Form </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38295290"/>
                  </a:ext>
                </a:extLst>
              </a:tr>
              <a:tr h="368855">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Daily Activity Reports- Team</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9A5EF">
                        <a:alpha val="20000"/>
                      </a:srgbClr>
                    </a:solidFill>
                  </a:tcPr>
                </a:tc>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Initial Damage Assessment</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9A5EF">
                        <a:alpha val="20000"/>
                      </a:srgbClr>
                    </a:solidFill>
                  </a:tcPr>
                </a:tc>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Mutual Aid - State Mission Cost </a:t>
                      </a:r>
                    </a:p>
                    <a:p>
                      <a:r>
                        <a:rPr lang="en-US" sz="1300" b="1">
                          <a:solidFill>
                            <a:srgbClr val="005EB8"/>
                          </a:solidFill>
                          <a:latin typeface="+mn-lt"/>
                          <a:cs typeface="Arial" panose="020B0604020202020204" pitchFamily="34" charset="0"/>
                        </a:rPr>
                        <a:t>Est. Form – Editable Equipment Rates</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9A5EF">
                        <a:alpha val="20000"/>
                      </a:srgbClr>
                    </a:solidFill>
                  </a:tcPr>
                </a:tc>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Truck Certification Form &amp; Instructions </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9A5EF">
                        <a:alpha val="20000"/>
                      </a:srgbClr>
                    </a:solidFill>
                  </a:tcPr>
                </a:tc>
                <a:extLst>
                  <a:ext uri="{0D108BD9-81ED-4DB2-BD59-A6C34878D82A}">
                    <a16:rowId xmlns:a16="http://schemas.microsoft.com/office/drawing/2014/main" val="665018164"/>
                  </a:ext>
                </a:extLst>
              </a:tr>
              <a:tr h="512941">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Daily Roving Monitor Log</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Labor Backfill Form</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Mutual Aid - State Mission Cost </a:t>
                      </a:r>
                    </a:p>
                    <a:p>
                      <a:r>
                        <a:rPr lang="en-US" sz="1300" b="1">
                          <a:solidFill>
                            <a:srgbClr val="005EB8"/>
                          </a:solidFill>
                          <a:latin typeface="+mn-lt"/>
                          <a:cs typeface="Arial" panose="020B0604020202020204" pitchFamily="34" charset="0"/>
                        </a:rPr>
                        <a:t>Est. Form - Editable Materials</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Unmanned Equipment Usage Log </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0922400"/>
                  </a:ext>
                </a:extLst>
              </a:tr>
              <a:tr h="368855">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Debris Load Ticket Template</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9A5EF">
                        <a:alpha val="20000"/>
                      </a:srgbClr>
                    </a:solidFill>
                  </a:tcPr>
                </a:tc>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Labor Roster</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9A5EF">
                        <a:alpha val="20000"/>
                      </a:srgbClr>
                    </a:solidFill>
                  </a:tcPr>
                </a:tc>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r>
                        <a:rPr lang="en-US" sz="1300" b="1">
                          <a:solidFill>
                            <a:srgbClr val="005EB8"/>
                          </a:solidFill>
                          <a:latin typeface="+mn-lt"/>
                          <a:cs typeface="Arial" panose="020B0604020202020204" pitchFamily="34" charset="0"/>
                        </a:rPr>
                        <a:t>Mutual Aid- Claim Summary Form</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9A5EF">
                        <a:alpha val="20000"/>
                      </a:srgbClr>
                    </a:solidFill>
                  </a:tcPr>
                </a:tc>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endParaRPr lang="en-US" sz="1300" b="1">
                        <a:solidFill>
                          <a:srgbClr val="005EB8"/>
                        </a:solidFill>
                        <a:latin typeface="+mn-lt"/>
                        <a:cs typeface="Arial" panose="020B0604020202020204" pitchFamily="34" charset="0"/>
                      </a:endParaRP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9A5EF">
                        <a:alpha val="20000"/>
                      </a:srgbClr>
                    </a:solidFill>
                  </a:tcPr>
                </a:tc>
                <a:extLst>
                  <a:ext uri="{0D108BD9-81ED-4DB2-BD59-A6C34878D82A}">
                    <a16:rowId xmlns:a16="http://schemas.microsoft.com/office/drawing/2014/main" val="3278639583"/>
                  </a:ext>
                </a:extLst>
              </a:tr>
              <a:tr h="340537">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kern="1200">
                          <a:solidFill>
                            <a:srgbClr val="005EB8"/>
                          </a:solidFill>
                          <a:latin typeface="Roboto Condensed"/>
                          <a:ea typeface="+mn-ea"/>
                          <a:cs typeface="Arial" panose="020B0604020202020204" pitchFamily="34" charset="0"/>
                        </a:rPr>
                        <a:t>Debris Management Site Checklist</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kern="1200">
                          <a:solidFill>
                            <a:srgbClr val="005EB8"/>
                          </a:solidFill>
                          <a:latin typeface="Roboto Condensed"/>
                          <a:ea typeface="+mn-ea"/>
                          <a:cs typeface="Arial" panose="020B0604020202020204" pitchFamily="34" charset="0"/>
                        </a:rPr>
                        <a:t>Leaner-Hanger Summary</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kern="1200">
                          <a:solidFill>
                            <a:srgbClr val="005EB8"/>
                          </a:solidFill>
                          <a:latin typeface="Roboto Condensed"/>
                          <a:ea typeface="+mn-ea"/>
                          <a:cs typeface="Arial" panose="020B0604020202020204" pitchFamily="34" charset="0"/>
                        </a:rPr>
                        <a:t>Mutual Aid - State Mission Cost Estimate Form - Editable PC </a:t>
                      </a: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Roboto Condensed"/>
                        </a:defRPr>
                      </a:lvl1pPr>
                      <a:lvl2pPr marL="457200" algn="l" defTabSz="914400" rtl="0" eaLnBrk="1" latinLnBrk="0" hangingPunct="1">
                        <a:defRPr sz="1800" kern="1200">
                          <a:solidFill>
                            <a:schemeClr val="tx1"/>
                          </a:solidFill>
                          <a:latin typeface="Roboto Condensed"/>
                        </a:defRPr>
                      </a:lvl2pPr>
                      <a:lvl3pPr marL="914400" algn="l" defTabSz="914400" rtl="0" eaLnBrk="1" latinLnBrk="0" hangingPunct="1">
                        <a:defRPr sz="1800" kern="1200">
                          <a:solidFill>
                            <a:schemeClr val="tx1"/>
                          </a:solidFill>
                          <a:latin typeface="Roboto Condensed"/>
                        </a:defRPr>
                      </a:lvl3pPr>
                      <a:lvl4pPr marL="1371600" algn="l" defTabSz="914400" rtl="0" eaLnBrk="1" latinLnBrk="0" hangingPunct="1">
                        <a:defRPr sz="1800" kern="1200">
                          <a:solidFill>
                            <a:schemeClr val="tx1"/>
                          </a:solidFill>
                          <a:latin typeface="Roboto Condensed"/>
                        </a:defRPr>
                      </a:lvl4pPr>
                      <a:lvl5pPr marL="1828800" algn="l" defTabSz="914400" rtl="0" eaLnBrk="1" latinLnBrk="0" hangingPunct="1">
                        <a:defRPr sz="1800" kern="1200">
                          <a:solidFill>
                            <a:schemeClr val="tx1"/>
                          </a:solidFill>
                          <a:latin typeface="Roboto Condensed"/>
                        </a:defRPr>
                      </a:lvl5pPr>
                      <a:lvl6pPr marL="2286000" algn="l" defTabSz="914400" rtl="0" eaLnBrk="1" latinLnBrk="0" hangingPunct="1">
                        <a:defRPr sz="1800" kern="1200">
                          <a:solidFill>
                            <a:schemeClr val="tx1"/>
                          </a:solidFill>
                          <a:latin typeface="Roboto Condensed"/>
                        </a:defRPr>
                      </a:lvl6pPr>
                      <a:lvl7pPr marL="2743200" algn="l" defTabSz="914400" rtl="0" eaLnBrk="1" latinLnBrk="0" hangingPunct="1">
                        <a:defRPr sz="1800" kern="1200">
                          <a:solidFill>
                            <a:schemeClr val="tx1"/>
                          </a:solidFill>
                          <a:latin typeface="Roboto Condensed"/>
                        </a:defRPr>
                      </a:lvl7pPr>
                      <a:lvl8pPr marL="3200400" algn="l" defTabSz="914400" rtl="0" eaLnBrk="1" latinLnBrk="0" hangingPunct="1">
                        <a:defRPr sz="1800" kern="1200">
                          <a:solidFill>
                            <a:schemeClr val="tx1"/>
                          </a:solidFill>
                          <a:latin typeface="Roboto Condensed"/>
                        </a:defRPr>
                      </a:lvl8pPr>
                      <a:lvl9pPr marL="3657600" algn="l" defTabSz="914400" rtl="0" eaLnBrk="1" latinLnBrk="0" hangingPunct="1">
                        <a:defRPr sz="1800" kern="1200">
                          <a:solidFill>
                            <a:schemeClr val="tx1"/>
                          </a:solidFill>
                          <a:latin typeface="Roboto Condensed"/>
                        </a:defRPr>
                      </a:lvl9pPr>
                    </a:lstStyle>
                    <a:p>
                      <a:endParaRPr lang="en-US" sz="1300">
                        <a:solidFill>
                          <a:srgbClr val="005EB8"/>
                        </a:solidFill>
                        <a:latin typeface="+mn-lt"/>
                        <a:cs typeface="Arial" panose="020B0604020202020204" pitchFamily="34" charset="0"/>
                      </a:endParaRPr>
                    </a:p>
                  </a:txBody>
                  <a:tcPr marL="75422" marR="75422" marT="37712" marB="3771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05828829"/>
                  </a:ext>
                </a:extLst>
              </a:tr>
            </a:tbl>
          </a:graphicData>
        </a:graphic>
      </p:graphicFrame>
      <p:sp>
        <p:nvSpPr>
          <p:cNvPr id="5" name="Title 3">
            <a:extLst>
              <a:ext uri="{FF2B5EF4-FFF2-40B4-BE49-F238E27FC236}">
                <a16:creationId xmlns:a16="http://schemas.microsoft.com/office/drawing/2014/main" id="{209B384B-3D2F-AB5C-2D06-3870C23256B5}"/>
              </a:ext>
            </a:extLst>
          </p:cNvPr>
          <p:cNvSpPr txBox="1">
            <a:spLocks/>
          </p:cNvSpPr>
          <p:nvPr/>
        </p:nvSpPr>
        <p:spPr>
          <a:xfrm>
            <a:off x="1184678" y="0"/>
            <a:ext cx="9347199" cy="1143000"/>
          </a:xfrm>
          <a:prstGeom prst="rect">
            <a:avLst/>
          </a:prstGeom>
        </p:spPr>
        <p:txBody>
          <a:bodyPr vert="horz" lIns="91440" tIns="45720" rIns="91440" bIns="45720" rtlCol="0" anchor="ctr">
            <a:noAutofit/>
          </a:bodyPr>
          <a:lstStyle>
            <a:lvl1pPr algn="l" defTabSz="914400" rtl="0" eaLnBrk="1" latinLnBrk="0" hangingPunct="1">
              <a:spcBef>
                <a:spcPct val="0"/>
              </a:spcBef>
              <a:buNone/>
              <a:defRPr sz="4600" b="1" kern="1200" cap="none" spc="-100" baseline="0">
                <a:ln>
                  <a:noFill/>
                </a:ln>
                <a:solidFill>
                  <a:srgbClr val="13619E"/>
                </a:solidFill>
                <a:effectLst/>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600" b="0" i="0" u="none" strike="noStrike" kern="1200" cap="none" spc="-100" normalizeH="0" baseline="0" noProof="0">
                <a:ln>
                  <a:noFill/>
                </a:ln>
                <a:solidFill>
                  <a:schemeClr val="bg1"/>
                </a:solidFill>
                <a:effectLst/>
                <a:uLnTx/>
                <a:uFillTx/>
                <a:latin typeface="+mn-lt"/>
                <a:ea typeface="+mj-ea"/>
                <a:cs typeface="Arial" panose="020B0604020202020204" pitchFamily="34" charset="0"/>
              </a:rPr>
              <a:t>Standardized Forms</a:t>
            </a:r>
          </a:p>
        </p:txBody>
      </p:sp>
    </p:spTree>
    <p:custDataLst>
      <p:tags r:id="rId1"/>
    </p:custDataLst>
    <p:extLst>
      <p:ext uri="{BB962C8B-B14F-4D97-AF65-F5344CB8AC3E}">
        <p14:creationId xmlns:p14="http://schemas.microsoft.com/office/powerpoint/2010/main" val="41202563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54EC577-D38A-1EEB-245B-F094366A0DF9}"/>
              </a:ext>
            </a:extLst>
          </p:cNvPr>
          <p:cNvSpPr>
            <a:spLocks noGrp="1"/>
          </p:cNvSpPr>
          <p:nvPr>
            <p:ph type="body" sz="quarter" idx="10"/>
          </p:nvPr>
        </p:nvSpPr>
        <p:spPr>
          <a:xfrm>
            <a:off x="430228" y="1339002"/>
            <a:ext cx="6618641" cy="5168329"/>
          </a:xfrm>
        </p:spPr>
        <p:txBody>
          <a:bodyPr>
            <a:normAutofit lnSpcReduction="10000"/>
          </a:bodyPr>
          <a:lstStyle/>
          <a:p>
            <a:pPr marL="342900" marR="0" lvl="0" indent="-342900">
              <a:lnSpc>
                <a:spcPct val="107000"/>
              </a:lnSpc>
              <a:spcBef>
                <a:spcPts val="0"/>
              </a:spcBef>
              <a:spcAft>
                <a:spcPts val="0"/>
              </a:spcAft>
              <a:buFont typeface="+mj-lt"/>
              <a:buAutoNum type="arabicPeriod"/>
              <a:tabLst>
                <a:tab pos="215900" algn="l"/>
              </a:tabLst>
            </a:pPr>
            <a:r>
              <a:rPr lang="en-US" sz="2400">
                <a:solidFill>
                  <a:srgbClr val="393C43"/>
                </a:solidFill>
                <a:effectLst/>
                <a:latin typeface="+mn-lt"/>
                <a:ea typeface="Times New Roman" panose="02020603050405020304" pitchFamily="18" charset="0"/>
                <a:cs typeface="Times New Roman" panose="02020603050405020304" pitchFamily="18" charset="0"/>
              </a:rPr>
              <a:t>Read and analyze the questions. </a:t>
            </a:r>
            <a:endParaRPr lang="en-US" sz="2400">
              <a:effectLst/>
              <a:latin typeface="+mn-lt"/>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tabLst>
                <a:tab pos="215900" algn="l"/>
              </a:tabLst>
            </a:pPr>
            <a:r>
              <a:rPr lang="en-US" sz="2400">
                <a:solidFill>
                  <a:srgbClr val="393C43"/>
                </a:solidFill>
                <a:effectLst/>
                <a:latin typeface="+mn-lt"/>
                <a:ea typeface="Times New Roman" panose="02020603050405020304" pitchFamily="18" charset="0"/>
                <a:cs typeface="Times New Roman" panose="02020603050405020304" pitchFamily="18" charset="0"/>
              </a:rPr>
              <a:t>In your team, brainstorm solutions. Each member of the group should engage in the conversation and share their personal experiences. Remember, there are no right or wrong answers.</a:t>
            </a:r>
            <a:endParaRPr lang="en-US" sz="2400">
              <a:effectLst/>
              <a:latin typeface="+mn-lt"/>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tabLst>
                <a:tab pos="215900" algn="l"/>
              </a:tabLst>
            </a:pPr>
            <a:r>
              <a:rPr lang="en-US" sz="2400">
                <a:solidFill>
                  <a:srgbClr val="393C43"/>
                </a:solidFill>
                <a:effectLst/>
                <a:latin typeface="+mn-lt"/>
                <a:ea typeface="Times New Roman" panose="02020603050405020304" pitchFamily="18" charset="0"/>
                <a:cs typeface="Times New Roman" panose="02020603050405020304" pitchFamily="18" charset="0"/>
              </a:rPr>
              <a:t>Evaluate and select the best solutions. In your team, discuss the merits of different solutions and ultimately agree on the most viable and appropriate option.</a:t>
            </a:r>
            <a:endParaRPr lang="en-US" sz="2400">
              <a:effectLst/>
              <a:latin typeface="+mn-lt"/>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tabLst>
                <a:tab pos="215900" algn="l"/>
              </a:tabLst>
            </a:pPr>
            <a:r>
              <a:rPr lang="en-US" sz="2400">
                <a:solidFill>
                  <a:srgbClr val="393C43"/>
                </a:solidFill>
                <a:effectLst/>
                <a:latin typeface="+mn-lt"/>
                <a:ea typeface="Times New Roman" panose="02020603050405020304" pitchFamily="18" charset="0"/>
                <a:cs typeface="Times New Roman" panose="02020603050405020304" pitchFamily="18" charset="0"/>
              </a:rPr>
              <a:t>Prepare a report back for the class. In your group you may want to designate a person or people who will share your recommendations back to the class.</a:t>
            </a:r>
            <a:endParaRPr lang="en-US" sz="2400">
              <a:effectLst/>
              <a:latin typeface="+mn-lt"/>
              <a:ea typeface="Calibri" panose="020F0502020204030204" pitchFamily="34" charset="0"/>
              <a:cs typeface="Times New Roman" panose="02020603050405020304" pitchFamily="18" charset="0"/>
            </a:endParaRPr>
          </a:p>
          <a:p>
            <a:endParaRPr lang="en-US" sz="3600">
              <a:latin typeface="+mn-lt"/>
            </a:endParaRPr>
          </a:p>
        </p:txBody>
      </p:sp>
      <p:sp>
        <p:nvSpPr>
          <p:cNvPr id="4" name="Title 3">
            <a:extLst>
              <a:ext uri="{FF2B5EF4-FFF2-40B4-BE49-F238E27FC236}">
                <a16:creationId xmlns:a16="http://schemas.microsoft.com/office/drawing/2014/main" id="{8277D007-6286-D6E2-45B4-DF0A68856B18}"/>
              </a:ext>
            </a:extLst>
          </p:cNvPr>
          <p:cNvSpPr>
            <a:spLocks noGrp="1"/>
          </p:cNvSpPr>
          <p:nvPr>
            <p:ph type="title"/>
          </p:nvPr>
        </p:nvSpPr>
        <p:spPr/>
        <p:txBody>
          <a:bodyPr/>
          <a:lstStyle/>
          <a:p>
            <a:r>
              <a:rPr lang="en-US">
                <a:latin typeface="+mn-lt"/>
              </a:rPr>
              <a:t>Group Activity Instructions</a:t>
            </a:r>
          </a:p>
        </p:txBody>
      </p:sp>
      <p:pic>
        <p:nvPicPr>
          <p:cNvPr id="6" name="Picture 5">
            <a:extLst>
              <a:ext uri="{FF2B5EF4-FFF2-40B4-BE49-F238E27FC236}">
                <a16:creationId xmlns:a16="http://schemas.microsoft.com/office/drawing/2014/main" id="{93DF3377-BA3E-DB49-FE42-D8888E7A66B4}"/>
              </a:ext>
            </a:extLst>
          </p:cNvPr>
          <p:cNvPicPr>
            <a:picLocks noChangeAspect="1"/>
          </p:cNvPicPr>
          <p:nvPr/>
        </p:nvPicPr>
        <p:blipFill>
          <a:blip r:embed="rId3"/>
          <a:stretch>
            <a:fillRect/>
          </a:stretch>
        </p:blipFill>
        <p:spPr>
          <a:xfrm>
            <a:off x="7192327" y="1997475"/>
            <a:ext cx="4880475" cy="3653155"/>
          </a:xfrm>
          <a:prstGeom prst="rect">
            <a:avLst/>
          </a:prstGeom>
        </p:spPr>
      </p:pic>
    </p:spTree>
    <p:custDataLst>
      <p:tags r:id="rId1"/>
    </p:custDataLst>
    <p:extLst>
      <p:ext uri="{BB962C8B-B14F-4D97-AF65-F5344CB8AC3E}">
        <p14:creationId xmlns:p14="http://schemas.microsoft.com/office/powerpoint/2010/main" val="1330110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F5B5F26-F220-A340-36BD-BE624B97269C}"/>
              </a:ext>
            </a:extLst>
          </p:cNvPr>
          <p:cNvSpPr>
            <a:spLocks noGrp="1"/>
          </p:cNvSpPr>
          <p:nvPr>
            <p:ph type="body" sz="quarter" idx="10"/>
          </p:nvPr>
        </p:nvSpPr>
        <p:spPr>
          <a:xfrm>
            <a:off x="639048" y="1394530"/>
            <a:ext cx="10656330" cy="4546800"/>
          </a:xfrm>
        </p:spPr>
        <p:txBody>
          <a:bodyPr>
            <a:normAutofit/>
          </a:bodyPr>
          <a:lstStyle/>
          <a:p>
            <a:pPr marL="0" indent="0">
              <a:buNone/>
            </a:pPr>
            <a:r>
              <a:rPr lang="en-US" b="1">
                <a:latin typeface="+mn-lt"/>
              </a:rPr>
              <a:t>Instructions:</a:t>
            </a:r>
          </a:p>
          <a:p>
            <a:pPr marL="1428750" lvl="2" indent="-514350">
              <a:buFont typeface="+mj-lt"/>
              <a:buAutoNum type="arabicPeriod"/>
            </a:pPr>
            <a:r>
              <a:rPr lang="en-US">
                <a:latin typeface="+mn-lt"/>
              </a:rPr>
              <a:t>Navigate to the F-ROC homepage </a:t>
            </a:r>
            <a:r>
              <a:rPr lang="en-US">
                <a:latin typeface="+mn-lt"/>
                <a:hlinkClick r:id="rId3"/>
              </a:rPr>
              <a:t>https://www.floridadisaster.org/FROC/</a:t>
            </a:r>
            <a:r>
              <a:rPr lang="en-US">
                <a:latin typeface="+mn-lt"/>
              </a:rPr>
              <a:t> </a:t>
            </a:r>
          </a:p>
          <a:p>
            <a:pPr marL="1428750" lvl="2" indent="-514350">
              <a:buFont typeface="+mj-lt"/>
              <a:buAutoNum type="arabicPeriod"/>
            </a:pPr>
            <a:r>
              <a:rPr lang="en-US">
                <a:latin typeface="+mn-lt"/>
              </a:rPr>
              <a:t>Use the F-ROC files and forms to answer the questions on the following slides.</a:t>
            </a:r>
          </a:p>
          <a:p>
            <a:pPr marL="914400" lvl="2" indent="0">
              <a:buNone/>
            </a:pPr>
            <a:r>
              <a:rPr lang="en-US">
                <a:latin typeface="+mn-lt"/>
              </a:rPr>
              <a:t> </a:t>
            </a:r>
          </a:p>
        </p:txBody>
      </p:sp>
      <p:sp>
        <p:nvSpPr>
          <p:cNvPr id="4" name="Title 3">
            <a:extLst>
              <a:ext uri="{FF2B5EF4-FFF2-40B4-BE49-F238E27FC236}">
                <a16:creationId xmlns:a16="http://schemas.microsoft.com/office/drawing/2014/main" id="{8BC6139F-0358-9B79-4E35-1C01CFDFEE4B}"/>
              </a:ext>
            </a:extLst>
          </p:cNvPr>
          <p:cNvSpPr>
            <a:spLocks noGrp="1"/>
          </p:cNvSpPr>
          <p:nvPr>
            <p:ph type="title"/>
          </p:nvPr>
        </p:nvSpPr>
        <p:spPr/>
        <p:txBody>
          <a:bodyPr/>
          <a:lstStyle/>
          <a:p>
            <a:r>
              <a:rPr lang="en-US">
                <a:latin typeface="+mn-lt"/>
              </a:rPr>
              <a:t>Group Activity – Standardized Forms</a:t>
            </a:r>
          </a:p>
        </p:txBody>
      </p:sp>
      <p:grpSp>
        <p:nvGrpSpPr>
          <p:cNvPr id="20" name="Group 19">
            <a:extLst>
              <a:ext uri="{FF2B5EF4-FFF2-40B4-BE49-F238E27FC236}">
                <a16:creationId xmlns:a16="http://schemas.microsoft.com/office/drawing/2014/main" id="{24E74F97-A15E-04D1-E5CA-8752BFE40ECE}"/>
              </a:ext>
            </a:extLst>
          </p:cNvPr>
          <p:cNvGrpSpPr/>
          <p:nvPr/>
        </p:nvGrpSpPr>
        <p:grpSpPr>
          <a:xfrm>
            <a:off x="9265920" y="4002938"/>
            <a:ext cx="2760980" cy="2855062"/>
            <a:chOff x="5506720" y="1615338"/>
            <a:chExt cx="3637280" cy="4190150"/>
          </a:xfrm>
        </p:grpSpPr>
        <p:sp>
          <p:nvSpPr>
            <p:cNvPr id="21" name="Freeform 75">
              <a:extLst>
                <a:ext uri="{FF2B5EF4-FFF2-40B4-BE49-F238E27FC236}">
                  <a16:creationId xmlns:a16="http://schemas.microsoft.com/office/drawing/2014/main" id="{120935D0-F3F4-4B87-4480-0E821042D602}"/>
                </a:ext>
              </a:extLst>
            </p:cNvPr>
            <p:cNvSpPr>
              <a:spLocks/>
            </p:cNvSpPr>
            <p:nvPr/>
          </p:nvSpPr>
          <p:spPr bwMode="auto">
            <a:xfrm>
              <a:off x="6028096" y="3643747"/>
              <a:ext cx="1034793" cy="1710301"/>
            </a:xfrm>
            <a:custGeom>
              <a:avLst/>
              <a:gdLst>
                <a:gd name="T0" fmla="*/ 34 w 385"/>
                <a:gd name="T1" fmla="*/ 471 h 631"/>
                <a:gd name="T2" fmla="*/ 224 w 385"/>
                <a:gd name="T3" fmla="*/ 2 h 631"/>
                <a:gd name="T4" fmla="*/ 352 w 385"/>
                <a:gd name="T5" fmla="*/ 225 h 631"/>
                <a:gd name="T6" fmla="*/ 232 w 385"/>
                <a:gd name="T7" fmla="*/ 508 h 631"/>
                <a:gd name="T8" fmla="*/ 149 w 385"/>
                <a:gd name="T9" fmla="*/ 631 h 631"/>
                <a:gd name="T10" fmla="*/ 0 w 385"/>
                <a:gd name="T11" fmla="*/ 552 h 631"/>
                <a:gd name="T12" fmla="*/ 34 w 385"/>
                <a:gd name="T13" fmla="*/ 471 h 631"/>
              </a:gdLst>
              <a:ahLst/>
              <a:cxnLst>
                <a:cxn ang="0">
                  <a:pos x="T0" y="T1"/>
                </a:cxn>
                <a:cxn ang="0">
                  <a:pos x="T2" y="T3"/>
                </a:cxn>
                <a:cxn ang="0">
                  <a:pos x="T4" y="T5"/>
                </a:cxn>
                <a:cxn ang="0">
                  <a:pos x="T6" y="T7"/>
                </a:cxn>
                <a:cxn ang="0">
                  <a:pos x="T8" y="T9"/>
                </a:cxn>
                <a:cxn ang="0">
                  <a:pos x="T10" y="T11"/>
                </a:cxn>
                <a:cxn ang="0">
                  <a:pos x="T12" y="T13"/>
                </a:cxn>
              </a:cxnLst>
              <a:rect l="0" t="0" r="r" b="b"/>
              <a:pathLst>
                <a:path w="385" h="631">
                  <a:moveTo>
                    <a:pt x="34" y="471"/>
                  </a:moveTo>
                  <a:cubicBezTo>
                    <a:pt x="34" y="471"/>
                    <a:pt x="62" y="0"/>
                    <a:pt x="224" y="2"/>
                  </a:cubicBezTo>
                  <a:cubicBezTo>
                    <a:pt x="385" y="5"/>
                    <a:pt x="358" y="194"/>
                    <a:pt x="352" y="225"/>
                  </a:cubicBezTo>
                  <a:cubicBezTo>
                    <a:pt x="345" y="256"/>
                    <a:pt x="296" y="463"/>
                    <a:pt x="232" y="508"/>
                  </a:cubicBezTo>
                  <a:cubicBezTo>
                    <a:pt x="168" y="554"/>
                    <a:pt x="198" y="538"/>
                    <a:pt x="149" y="631"/>
                  </a:cubicBezTo>
                  <a:cubicBezTo>
                    <a:pt x="0" y="552"/>
                    <a:pt x="0" y="552"/>
                    <a:pt x="0" y="552"/>
                  </a:cubicBezTo>
                  <a:cubicBezTo>
                    <a:pt x="34" y="471"/>
                    <a:pt x="34" y="471"/>
                    <a:pt x="34" y="471"/>
                  </a:cubicBezTo>
                </a:path>
              </a:pathLst>
            </a:custGeom>
            <a:solidFill>
              <a:srgbClr val="C186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 name="Freeform 76">
              <a:extLst>
                <a:ext uri="{FF2B5EF4-FFF2-40B4-BE49-F238E27FC236}">
                  <a16:creationId xmlns:a16="http://schemas.microsoft.com/office/drawing/2014/main" id="{F6F7445A-1553-57B2-95C8-66ADEEE80FF5}"/>
                </a:ext>
              </a:extLst>
            </p:cNvPr>
            <p:cNvSpPr>
              <a:spLocks/>
            </p:cNvSpPr>
            <p:nvPr/>
          </p:nvSpPr>
          <p:spPr bwMode="auto">
            <a:xfrm>
              <a:off x="5865544" y="4803145"/>
              <a:ext cx="768357" cy="659361"/>
            </a:xfrm>
            <a:custGeom>
              <a:avLst/>
              <a:gdLst>
                <a:gd name="T0" fmla="*/ 36 w 571"/>
                <a:gd name="T1" fmla="*/ 168 h 490"/>
                <a:gd name="T2" fmla="*/ 114 w 571"/>
                <a:gd name="T3" fmla="*/ 0 h 490"/>
                <a:gd name="T4" fmla="*/ 571 w 571"/>
                <a:gd name="T5" fmla="*/ 250 h 490"/>
                <a:gd name="T6" fmla="*/ 471 w 571"/>
                <a:gd name="T7" fmla="*/ 490 h 490"/>
                <a:gd name="T8" fmla="*/ 0 w 571"/>
                <a:gd name="T9" fmla="*/ 268 h 490"/>
                <a:gd name="T10" fmla="*/ 36 w 571"/>
                <a:gd name="T11" fmla="*/ 168 h 490"/>
              </a:gdLst>
              <a:ahLst/>
              <a:cxnLst>
                <a:cxn ang="0">
                  <a:pos x="T0" y="T1"/>
                </a:cxn>
                <a:cxn ang="0">
                  <a:pos x="T2" y="T3"/>
                </a:cxn>
                <a:cxn ang="0">
                  <a:pos x="T4" y="T5"/>
                </a:cxn>
                <a:cxn ang="0">
                  <a:pos x="T6" y="T7"/>
                </a:cxn>
                <a:cxn ang="0">
                  <a:pos x="T8" y="T9"/>
                </a:cxn>
                <a:cxn ang="0">
                  <a:pos x="T10" y="T11"/>
                </a:cxn>
              </a:cxnLst>
              <a:rect l="0" t="0" r="r" b="b"/>
              <a:pathLst>
                <a:path w="571" h="490">
                  <a:moveTo>
                    <a:pt x="36" y="168"/>
                  </a:moveTo>
                  <a:lnTo>
                    <a:pt x="114" y="0"/>
                  </a:lnTo>
                  <a:lnTo>
                    <a:pt x="571" y="250"/>
                  </a:lnTo>
                  <a:lnTo>
                    <a:pt x="471" y="490"/>
                  </a:lnTo>
                  <a:lnTo>
                    <a:pt x="0" y="268"/>
                  </a:lnTo>
                  <a:lnTo>
                    <a:pt x="36" y="1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 name="Freeform: Shape 22">
              <a:extLst>
                <a:ext uri="{FF2B5EF4-FFF2-40B4-BE49-F238E27FC236}">
                  <a16:creationId xmlns:a16="http://schemas.microsoft.com/office/drawing/2014/main" id="{6B9A5680-C2B6-833D-62C8-52F4467EDAF1}"/>
                </a:ext>
              </a:extLst>
            </p:cNvPr>
            <p:cNvSpPr>
              <a:spLocks/>
            </p:cNvSpPr>
            <p:nvPr/>
          </p:nvSpPr>
          <p:spPr bwMode="auto">
            <a:xfrm>
              <a:off x="5506720" y="4949819"/>
              <a:ext cx="1078738" cy="855669"/>
            </a:xfrm>
            <a:custGeom>
              <a:avLst/>
              <a:gdLst>
                <a:gd name="connsiteX0" fmla="*/ 470945 w 1272632"/>
                <a:gd name="connsiteY0" fmla="*/ 0 h 1009468"/>
                <a:gd name="connsiteX1" fmla="*/ 1272632 w 1272632"/>
                <a:gd name="connsiteY1" fmla="*/ 441325 h 1009468"/>
                <a:gd name="connsiteX2" fmla="*/ 1039471 w 1272632"/>
                <a:gd name="connsiteY2" fmla="*/ 1009468 h 1009468"/>
                <a:gd name="connsiteX3" fmla="*/ 0 w 1272632"/>
                <a:gd name="connsiteY3" fmla="*/ 1009468 h 1009468"/>
              </a:gdLst>
              <a:ahLst/>
              <a:cxnLst>
                <a:cxn ang="0">
                  <a:pos x="connsiteX0" y="connsiteY0"/>
                </a:cxn>
                <a:cxn ang="0">
                  <a:pos x="connsiteX1" y="connsiteY1"/>
                </a:cxn>
                <a:cxn ang="0">
                  <a:pos x="connsiteX2" y="connsiteY2"/>
                </a:cxn>
                <a:cxn ang="0">
                  <a:pos x="connsiteX3" y="connsiteY3"/>
                </a:cxn>
              </a:cxnLst>
              <a:rect l="l" t="t" r="r" b="b"/>
              <a:pathLst>
                <a:path w="1272632" h="1009468">
                  <a:moveTo>
                    <a:pt x="470945" y="0"/>
                  </a:moveTo>
                  <a:lnTo>
                    <a:pt x="1272632" y="441325"/>
                  </a:lnTo>
                  <a:lnTo>
                    <a:pt x="1039471" y="1009468"/>
                  </a:lnTo>
                  <a:lnTo>
                    <a:pt x="0" y="1009468"/>
                  </a:lnTo>
                  <a:close/>
                </a:path>
              </a:pathLst>
            </a:custGeom>
            <a:solidFill>
              <a:srgbClr val="0A28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4" name="Freeform 78">
              <a:extLst>
                <a:ext uri="{FF2B5EF4-FFF2-40B4-BE49-F238E27FC236}">
                  <a16:creationId xmlns:a16="http://schemas.microsoft.com/office/drawing/2014/main" id="{9C16E398-923A-F33F-073D-60ACD4612C1B}"/>
                </a:ext>
              </a:extLst>
            </p:cNvPr>
            <p:cNvSpPr>
              <a:spLocks/>
            </p:cNvSpPr>
            <p:nvPr/>
          </p:nvSpPr>
          <p:spPr bwMode="auto">
            <a:xfrm>
              <a:off x="6259815" y="5416754"/>
              <a:ext cx="115725" cy="118416"/>
            </a:xfrm>
            <a:custGeom>
              <a:avLst/>
              <a:gdLst>
                <a:gd name="T0" fmla="*/ 41 w 43"/>
                <a:gd name="T1" fmla="*/ 18 h 44"/>
                <a:gd name="T2" fmla="*/ 26 w 43"/>
                <a:gd name="T3" fmla="*/ 42 h 44"/>
                <a:gd name="T4" fmla="*/ 2 w 43"/>
                <a:gd name="T5" fmla="*/ 27 h 44"/>
                <a:gd name="T6" fmla="*/ 17 w 43"/>
                <a:gd name="T7" fmla="*/ 3 h 44"/>
                <a:gd name="T8" fmla="*/ 41 w 43"/>
                <a:gd name="T9" fmla="*/ 18 h 44"/>
              </a:gdLst>
              <a:ahLst/>
              <a:cxnLst>
                <a:cxn ang="0">
                  <a:pos x="T0" y="T1"/>
                </a:cxn>
                <a:cxn ang="0">
                  <a:pos x="T2" y="T3"/>
                </a:cxn>
                <a:cxn ang="0">
                  <a:pos x="T4" y="T5"/>
                </a:cxn>
                <a:cxn ang="0">
                  <a:pos x="T6" y="T7"/>
                </a:cxn>
                <a:cxn ang="0">
                  <a:pos x="T8" y="T9"/>
                </a:cxn>
              </a:cxnLst>
              <a:rect l="0" t="0" r="r" b="b"/>
              <a:pathLst>
                <a:path w="43" h="44">
                  <a:moveTo>
                    <a:pt x="41" y="18"/>
                  </a:moveTo>
                  <a:cubicBezTo>
                    <a:pt x="43" y="28"/>
                    <a:pt x="37" y="39"/>
                    <a:pt x="26" y="42"/>
                  </a:cubicBezTo>
                  <a:cubicBezTo>
                    <a:pt x="15" y="44"/>
                    <a:pt x="5" y="37"/>
                    <a:pt x="2" y="27"/>
                  </a:cubicBezTo>
                  <a:cubicBezTo>
                    <a:pt x="0" y="16"/>
                    <a:pt x="6" y="5"/>
                    <a:pt x="17" y="3"/>
                  </a:cubicBezTo>
                  <a:cubicBezTo>
                    <a:pt x="28" y="0"/>
                    <a:pt x="38" y="7"/>
                    <a:pt x="41"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 name="Freeform 79">
              <a:extLst>
                <a:ext uri="{FF2B5EF4-FFF2-40B4-BE49-F238E27FC236}">
                  <a16:creationId xmlns:a16="http://schemas.microsoft.com/office/drawing/2014/main" id="{E8992C3D-633E-919E-F0D7-0351D33149AC}"/>
                </a:ext>
              </a:extLst>
            </p:cNvPr>
            <p:cNvSpPr>
              <a:spLocks/>
            </p:cNvSpPr>
            <p:nvPr/>
          </p:nvSpPr>
          <p:spPr bwMode="auto">
            <a:xfrm>
              <a:off x="6319023" y="5299684"/>
              <a:ext cx="118416" cy="119762"/>
            </a:xfrm>
            <a:custGeom>
              <a:avLst/>
              <a:gdLst>
                <a:gd name="T0" fmla="*/ 42 w 44"/>
                <a:gd name="T1" fmla="*/ 17 h 44"/>
                <a:gd name="T2" fmla="*/ 27 w 44"/>
                <a:gd name="T3" fmla="*/ 41 h 44"/>
                <a:gd name="T4" fmla="*/ 3 w 44"/>
                <a:gd name="T5" fmla="*/ 26 h 44"/>
                <a:gd name="T6" fmla="*/ 18 w 44"/>
                <a:gd name="T7" fmla="*/ 3 h 44"/>
                <a:gd name="T8" fmla="*/ 42 w 44"/>
                <a:gd name="T9" fmla="*/ 17 h 44"/>
              </a:gdLst>
              <a:ahLst/>
              <a:cxnLst>
                <a:cxn ang="0">
                  <a:pos x="T0" y="T1"/>
                </a:cxn>
                <a:cxn ang="0">
                  <a:pos x="T2" y="T3"/>
                </a:cxn>
                <a:cxn ang="0">
                  <a:pos x="T4" y="T5"/>
                </a:cxn>
                <a:cxn ang="0">
                  <a:pos x="T6" y="T7"/>
                </a:cxn>
                <a:cxn ang="0">
                  <a:pos x="T8" y="T9"/>
                </a:cxn>
              </a:cxnLst>
              <a:rect l="0" t="0" r="r" b="b"/>
              <a:pathLst>
                <a:path w="44" h="44">
                  <a:moveTo>
                    <a:pt x="42" y="17"/>
                  </a:moveTo>
                  <a:cubicBezTo>
                    <a:pt x="44" y="28"/>
                    <a:pt x="37" y="39"/>
                    <a:pt x="27" y="41"/>
                  </a:cubicBezTo>
                  <a:cubicBezTo>
                    <a:pt x="16" y="44"/>
                    <a:pt x="5" y="37"/>
                    <a:pt x="3" y="26"/>
                  </a:cubicBezTo>
                  <a:cubicBezTo>
                    <a:pt x="0" y="16"/>
                    <a:pt x="7" y="5"/>
                    <a:pt x="18" y="3"/>
                  </a:cubicBezTo>
                  <a:cubicBezTo>
                    <a:pt x="28" y="0"/>
                    <a:pt x="39" y="7"/>
                    <a:pt x="42"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 name="Freeform 80">
              <a:extLst>
                <a:ext uri="{FF2B5EF4-FFF2-40B4-BE49-F238E27FC236}">
                  <a16:creationId xmlns:a16="http://schemas.microsoft.com/office/drawing/2014/main" id="{85ABD0B7-C73F-1FDB-6295-39FD8033B66B}"/>
                </a:ext>
              </a:extLst>
            </p:cNvPr>
            <p:cNvSpPr>
              <a:spLocks/>
            </p:cNvSpPr>
            <p:nvPr/>
          </p:nvSpPr>
          <p:spPr bwMode="auto">
            <a:xfrm>
              <a:off x="6305566" y="1815838"/>
              <a:ext cx="2010377" cy="2724909"/>
            </a:xfrm>
            <a:custGeom>
              <a:avLst/>
              <a:gdLst>
                <a:gd name="T0" fmla="*/ 720 w 747"/>
                <a:gd name="T1" fmla="*/ 1005 h 1005"/>
                <a:gd name="T2" fmla="*/ 27 w 747"/>
                <a:gd name="T3" fmla="*/ 1005 h 1005"/>
                <a:gd name="T4" fmla="*/ 0 w 747"/>
                <a:gd name="T5" fmla="*/ 978 h 1005"/>
                <a:gd name="T6" fmla="*/ 0 w 747"/>
                <a:gd name="T7" fmla="*/ 27 h 1005"/>
                <a:gd name="T8" fmla="*/ 27 w 747"/>
                <a:gd name="T9" fmla="*/ 0 h 1005"/>
                <a:gd name="T10" fmla="*/ 720 w 747"/>
                <a:gd name="T11" fmla="*/ 0 h 1005"/>
                <a:gd name="T12" fmla="*/ 747 w 747"/>
                <a:gd name="T13" fmla="*/ 27 h 1005"/>
                <a:gd name="T14" fmla="*/ 747 w 747"/>
                <a:gd name="T15" fmla="*/ 978 h 1005"/>
                <a:gd name="T16" fmla="*/ 720 w 747"/>
                <a:gd name="T17" fmla="*/ 1005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7" h="1005">
                  <a:moveTo>
                    <a:pt x="720" y="1005"/>
                  </a:moveTo>
                  <a:cubicBezTo>
                    <a:pt x="27" y="1005"/>
                    <a:pt x="27" y="1005"/>
                    <a:pt x="27" y="1005"/>
                  </a:cubicBezTo>
                  <a:cubicBezTo>
                    <a:pt x="12" y="1005"/>
                    <a:pt x="0" y="993"/>
                    <a:pt x="0" y="978"/>
                  </a:cubicBezTo>
                  <a:cubicBezTo>
                    <a:pt x="0" y="27"/>
                    <a:pt x="0" y="27"/>
                    <a:pt x="0" y="27"/>
                  </a:cubicBezTo>
                  <a:cubicBezTo>
                    <a:pt x="0" y="12"/>
                    <a:pt x="12" y="0"/>
                    <a:pt x="27" y="0"/>
                  </a:cubicBezTo>
                  <a:cubicBezTo>
                    <a:pt x="720" y="0"/>
                    <a:pt x="720" y="0"/>
                    <a:pt x="720" y="0"/>
                  </a:cubicBezTo>
                  <a:cubicBezTo>
                    <a:pt x="735" y="0"/>
                    <a:pt x="747" y="12"/>
                    <a:pt x="747" y="27"/>
                  </a:cubicBezTo>
                  <a:cubicBezTo>
                    <a:pt x="747" y="978"/>
                    <a:pt x="747" y="978"/>
                    <a:pt x="747" y="978"/>
                  </a:cubicBezTo>
                  <a:cubicBezTo>
                    <a:pt x="747" y="993"/>
                    <a:pt x="735" y="1005"/>
                    <a:pt x="720" y="1005"/>
                  </a:cubicBezTo>
                </a:path>
              </a:pathLst>
            </a:custGeom>
            <a:solidFill>
              <a:srgbClr val="0033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7" name="Freeform 81">
              <a:extLst>
                <a:ext uri="{FF2B5EF4-FFF2-40B4-BE49-F238E27FC236}">
                  <a16:creationId xmlns:a16="http://schemas.microsoft.com/office/drawing/2014/main" id="{7958ABD7-BABD-5BDA-8395-4C1A645289D4}"/>
                </a:ext>
              </a:extLst>
            </p:cNvPr>
            <p:cNvSpPr>
              <a:spLocks/>
            </p:cNvSpPr>
            <p:nvPr/>
          </p:nvSpPr>
          <p:spPr bwMode="auto">
            <a:xfrm>
              <a:off x="6067389" y="3792574"/>
              <a:ext cx="383506" cy="1143789"/>
            </a:xfrm>
            <a:custGeom>
              <a:avLst/>
              <a:gdLst>
                <a:gd name="T0" fmla="*/ 120 w 143"/>
                <a:gd name="T1" fmla="*/ 61 h 422"/>
                <a:gd name="T2" fmla="*/ 64 w 143"/>
                <a:gd name="T3" fmla="*/ 41 h 422"/>
                <a:gd name="T4" fmla="*/ 34 w 143"/>
                <a:gd name="T5" fmla="*/ 182 h 422"/>
                <a:gd name="T6" fmla="*/ 14 w 143"/>
                <a:gd name="T7" fmla="*/ 389 h 422"/>
                <a:gd name="T8" fmla="*/ 74 w 143"/>
                <a:gd name="T9" fmla="*/ 422 h 422"/>
                <a:gd name="T10" fmla="*/ 97 w 143"/>
                <a:gd name="T11" fmla="*/ 323 h 422"/>
                <a:gd name="T12" fmla="*/ 120 w 143"/>
                <a:gd name="T13" fmla="*/ 61 h 422"/>
              </a:gdLst>
              <a:ahLst/>
              <a:cxnLst>
                <a:cxn ang="0">
                  <a:pos x="T0" y="T1"/>
                </a:cxn>
                <a:cxn ang="0">
                  <a:pos x="T2" y="T3"/>
                </a:cxn>
                <a:cxn ang="0">
                  <a:pos x="T4" y="T5"/>
                </a:cxn>
                <a:cxn ang="0">
                  <a:pos x="T6" y="T7"/>
                </a:cxn>
                <a:cxn ang="0">
                  <a:pos x="T8" y="T9"/>
                </a:cxn>
                <a:cxn ang="0">
                  <a:pos x="T10" y="T11"/>
                </a:cxn>
                <a:cxn ang="0">
                  <a:pos x="T12" y="T13"/>
                </a:cxn>
              </a:cxnLst>
              <a:rect l="0" t="0" r="r" b="b"/>
              <a:pathLst>
                <a:path w="143" h="422">
                  <a:moveTo>
                    <a:pt x="120" y="61"/>
                  </a:moveTo>
                  <a:cubicBezTo>
                    <a:pt x="98" y="0"/>
                    <a:pt x="64" y="41"/>
                    <a:pt x="64" y="41"/>
                  </a:cubicBezTo>
                  <a:cubicBezTo>
                    <a:pt x="64" y="53"/>
                    <a:pt x="70" y="105"/>
                    <a:pt x="34" y="182"/>
                  </a:cubicBezTo>
                  <a:cubicBezTo>
                    <a:pt x="0" y="253"/>
                    <a:pt x="12" y="372"/>
                    <a:pt x="14" y="389"/>
                  </a:cubicBezTo>
                  <a:cubicBezTo>
                    <a:pt x="74" y="422"/>
                    <a:pt x="74" y="422"/>
                    <a:pt x="74" y="422"/>
                  </a:cubicBezTo>
                  <a:cubicBezTo>
                    <a:pt x="97" y="323"/>
                    <a:pt x="97" y="323"/>
                    <a:pt x="97" y="323"/>
                  </a:cubicBezTo>
                  <a:cubicBezTo>
                    <a:pt x="105" y="294"/>
                    <a:pt x="143" y="121"/>
                    <a:pt x="120" y="61"/>
                  </a:cubicBezTo>
                  <a:close/>
                </a:path>
              </a:pathLst>
            </a:custGeom>
            <a:solidFill>
              <a:srgbClr val="C186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8" name="Freeform 82">
              <a:extLst>
                <a:ext uri="{FF2B5EF4-FFF2-40B4-BE49-F238E27FC236}">
                  <a16:creationId xmlns:a16="http://schemas.microsoft.com/office/drawing/2014/main" id="{262DBC9B-8C4D-E217-1E87-BAB8982A31C3}"/>
                </a:ext>
              </a:extLst>
            </p:cNvPr>
            <p:cNvSpPr>
              <a:spLocks/>
            </p:cNvSpPr>
            <p:nvPr/>
          </p:nvSpPr>
          <p:spPr bwMode="auto">
            <a:xfrm>
              <a:off x="6234247" y="3920409"/>
              <a:ext cx="92849" cy="129181"/>
            </a:xfrm>
            <a:custGeom>
              <a:avLst/>
              <a:gdLst>
                <a:gd name="T0" fmla="*/ 3 w 35"/>
                <a:gd name="T1" fmla="*/ 0 h 48"/>
                <a:gd name="T2" fmla="*/ 30 w 35"/>
                <a:gd name="T3" fmla="*/ 21 h 48"/>
                <a:gd name="T4" fmla="*/ 26 w 35"/>
                <a:gd name="T5" fmla="*/ 48 h 48"/>
                <a:gd name="T6" fmla="*/ 0 w 35"/>
                <a:gd name="T7" fmla="*/ 45 h 48"/>
                <a:gd name="T8" fmla="*/ 3 w 35"/>
                <a:gd name="T9" fmla="*/ 0 h 48"/>
              </a:gdLst>
              <a:ahLst/>
              <a:cxnLst>
                <a:cxn ang="0">
                  <a:pos x="T0" y="T1"/>
                </a:cxn>
                <a:cxn ang="0">
                  <a:pos x="T2" y="T3"/>
                </a:cxn>
                <a:cxn ang="0">
                  <a:pos x="T4" y="T5"/>
                </a:cxn>
                <a:cxn ang="0">
                  <a:pos x="T6" y="T7"/>
                </a:cxn>
                <a:cxn ang="0">
                  <a:pos x="T8" y="T9"/>
                </a:cxn>
              </a:cxnLst>
              <a:rect l="0" t="0" r="r" b="b"/>
              <a:pathLst>
                <a:path w="35" h="48">
                  <a:moveTo>
                    <a:pt x="3" y="0"/>
                  </a:moveTo>
                  <a:cubicBezTo>
                    <a:pt x="3" y="0"/>
                    <a:pt x="24" y="2"/>
                    <a:pt x="30" y="21"/>
                  </a:cubicBezTo>
                  <a:cubicBezTo>
                    <a:pt x="35" y="40"/>
                    <a:pt x="26" y="48"/>
                    <a:pt x="26" y="48"/>
                  </a:cubicBezTo>
                  <a:cubicBezTo>
                    <a:pt x="0" y="45"/>
                    <a:pt x="0" y="45"/>
                    <a:pt x="0" y="45"/>
                  </a:cubicBezTo>
                  <a:cubicBezTo>
                    <a:pt x="0" y="45"/>
                    <a:pt x="4" y="15"/>
                    <a:pt x="3" y="0"/>
                  </a:cubicBezTo>
                  <a:close/>
                </a:path>
              </a:pathLst>
            </a:custGeom>
            <a:solidFill>
              <a:srgbClr val="FA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9" name="Freeform 83">
              <a:extLst>
                <a:ext uri="{FF2B5EF4-FFF2-40B4-BE49-F238E27FC236}">
                  <a16:creationId xmlns:a16="http://schemas.microsoft.com/office/drawing/2014/main" id="{A8C38612-F5EA-06C2-CF66-52B091C1215D}"/>
                </a:ext>
              </a:extLst>
            </p:cNvPr>
            <p:cNvSpPr>
              <a:spLocks/>
            </p:cNvSpPr>
            <p:nvPr/>
          </p:nvSpPr>
          <p:spPr bwMode="auto">
            <a:xfrm>
              <a:off x="6426673" y="4065737"/>
              <a:ext cx="1612069" cy="339100"/>
            </a:xfrm>
            <a:custGeom>
              <a:avLst/>
              <a:gdLst>
                <a:gd name="T0" fmla="*/ 28 w 1198"/>
                <a:gd name="T1" fmla="*/ 0 h 252"/>
                <a:gd name="T2" fmla="*/ 28 w 1198"/>
                <a:gd name="T3" fmla="*/ 0 h 252"/>
                <a:gd name="T4" fmla="*/ 0 w 1198"/>
                <a:gd name="T5" fmla="*/ 252 h 252"/>
                <a:gd name="T6" fmla="*/ 1198 w 1198"/>
                <a:gd name="T7" fmla="*/ 252 h 252"/>
                <a:gd name="T8" fmla="*/ 28 w 1198"/>
                <a:gd name="T9" fmla="*/ 232 h 252"/>
                <a:gd name="T10" fmla="*/ 28 w 1198"/>
                <a:gd name="T11" fmla="*/ 0 h 252"/>
              </a:gdLst>
              <a:ahLst/>
              <a:cxnLst>
                <a:cxn ang="0">
                  <a:pos x="T0" y="T1"/>
                </a:cxn>
                <a:cxn ang="0">
                  <a:pos x="T2" y="T3"/>
                </a:cxn>
                <a:cxn ang="0">
                  <a:pos x="T4" y="T5"/>
                </a:cxn>
                <a:cxn ang="0">
                  <a:pos x="T6" y="T7"/>
                </a:cxn>
                <a:cxn ang="0">
                  <a:pos x="T8" y="T9"/>
                </a:cxn>
                <a:cxn ang="0">
                  <a:pos x="T10" y="T11"/>
                </a:cxn>
              </a:cxnLst>
              <a:rect l="0" t="0" r="r" b="b"/>
              <a:pathLst>
                <a:path w="1198" h="252">
                  <a:moveTo>
                    <a:pt x="28" y="0"/>
                  </a:moveTo>
                  <a:lnTo>
                    <a:pt x="28" y="0"/>
                  </a:lnTo>
                  <a:lnTo>
                    <a:pt x="0" y="252"/>
                  </a:lnTo>
                  <a:lnTo>
                    <a:pt x="1198" y="252"/>
                  </a:lnTo>
                  <a:lnTo>
                    <a:pt x="28" y="232"/>
                  </a:lnTo>
                  <a:lnTo>
                    <a:pt x="28" y="0"/>
                  </a:lnTo>
                  <a:close/>
                </a:path>
              </a:pathLst>
            </a:custGeom>
            <a:solidFill>
              <a:srgbClr val="1C4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0" name="Freeform 84">
              <a:extLst>
                <a:ext uri="{FF2B5EF4-FFF2-40B4-BE49-F238E27FC236}">
                  <a16:creationId xmlns:a16="http://schemas.microsoft.com/office/drawing/2014/main" id="{884FE7C2-C44B-D148-59C6-F9FF943569B4}"/>
                </a:ext>
              </a:extLst>
            </p:cNvPr>
            <p:cNvSpPr>
              <a:spLocks/>
            </p:cNvSpPr>
            <p:nvPr/>
          </p:nvSpPr>
          <p:spPr bwMode="auto">
            <a:xfrm>
              <a:off x="6426673" y="4065737"/>
              <a:ext cx="1612069" cy="339100"/>
            </a:xfrm>
            <a:custGeom>
              <a:avLst/>
              <a:gdLst>
                <a:gd name="T0" fmla="*/ 28 w 1198"/>
                <a:gd name="T1" fmla="*/ 0 h 252"/>
                <a:gd name="T2" fmla="*/ 28 w 1198"/>
                <a:gd name="T3" fmla="*/ 0 h 252"/>
                <a:gd name="T4" fmla="*/ 0 w 1198"/>
                <a:gd name="T5" fmla="*/ 252 h 252"/>
                <a:gd name="T6" fmla="*/ 1198 w 1198"/>
                <a:gd name="T7" fmla="*/ 252 h 252"/>
                <a:gd name="T8" fmla="*/ 28 w 1198"/>
                <a:gd name="T9" fmla="*/ 232 h 252"/>
                <a:gd name="T10" fmla="*/ 28 w 1198"/>
                <a:gd name="T11" fmla="*/ 0 h 252"/>
              </a:gdLst>
              <a:ahLst/>
              <a:cxnLst>
                <a:cxn ang="0">
                  <a:pos x="T0" y="T1"/>
                </a:cxn>
                <a:cxn ang="0">
                  <a:pos x="T2" y="T3"/>
                </a:cxn>
                <a:cxn ang="0">
                  <a:pos x="T4" y="T5"/>
                </a:cxn>
                <a:cxn ang="0">
                  <a:pos x="T6" y="T7"/>
                </a:cxn>
                <a:cxn ang="0">
                  <a:pos x="T8" y="T9"/>
                </a:cxn>
                <a:cxn ang="0">
                  <a:pos x="T10" y="T11"/>
                </a:cxn>
              </a:cxnLst>
              <a:rect l="0" t="0" r="r" b="b"/>
              <a:pathLst>
                <a:path w="1198" h="252">
                  <a:moveTo>
                    <a:pt x="28" y="0"/>
                  </a:moveTo>
                  <a:lnTo>
                    <a:pt x="28" y="0"/>
                  </a:lnTo>
                  <a:lnTo>
                    <a:pt x="0" y="252"/>
                  </a:lnTo>
                  <a:lnTo>
                    <a:pt x="1198" y="252"/>
                  </a:lnTo>
                  <a:lnTo>
                    <a:pt x="28" y="232"/>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1" name="Freeform 85">
              <a:extLst>
                <a:ext uri="{FF2B5EF4-FFF2-40B4-BE49-F238E27FC236}">
                  <a16:creationId xmlns:a16="http://schemas.microsoft.com/office/drawing/2014/main" id="{6F58A658-5995-2844-AFFE-8A2FFF3716CE}"/>
                </a:ext>
              </a:extLst>
            </p:cNvPr>
            <p:cNvSpPr>
              <a:spLocks/>
            </p:cNvSpPr>
            <p:nvPr/>
          </p:nvSpPr>
          <p:spPr bwMode="auto">
            <a:xfrm>
              <a:off x="6448203" y="1981350"/>
              <a:ext cx="1717029" cy="2423487"/>
            </a:xfrm>
            <a:custGeom>
              <a:avLst/>
              <a:gdLst>
                <a:gd name="T0" fmla="*/ 1276 w 1276"/>
                <a:gd name="T1" fmla="*/ 1801 h 1801"/>
                <a:gd name="T2" fmla="*/ 12 w 1276"/>
                <a:gd name="T3" fmla="*/ 1781 h 1801"/>
                <a:gd name="T4" fmla="*/ 0 w 1276"/>
                <a:gd name="T5" fmla="*/ 2 h 1801"/>
                <a:gd name="T6" fmla="*/ 1134 w 1276"/>
                <a:gd name="T7" fmla="*/ 2 h 1801"/>
                <a:gd name="T8" fmla="*/ 1276 w 1276"/>
                <a:gd name="T9" fmla="*/ 0 h 1801"/>
                <a:gd name="T10" fmla="*/ 1276 w 1276"/>
                <a:gd name="T11" fmla="*/ 135 h 1801"/>
                <a:gd name="T12" fmla="*/ 1276 w 1276"/>
                <a:gd name="T13" fmla="*/ 1801 h 1801"/>
              </a:gdLst>
              <a:ahLst/>
              <a:cxnLst>
                <a:cxn ang="0">
                  <a:pos x="T0" y="T1"/>
                </a:cxn>
                <a:cxn ang="0">
                  <a:pos x="T2" y="T3"/>
                </a:cxn>
                <a:cxn ang="0">
                  <a:pos x="T4" y="T5"/>
                </a:cxn>
                <a:cxn ang="0">
                  <a:pos x="T6" y="T7"/>
                </a:cxn>
                <a:cxn ang="0">
                  <a:pos x="T8" y="T9"/>
                </a:cxn>
                <a:cxn ang="0">
                  <a:pos x="T10" y="T11"/>
                </a:cxn>
                <a:cxn ang="0">
                  <a:pos x="T12" y="T13"/>
                </a:cxn>
              </a:cxnLst>
              <a:rect l="0" t="0" r="r" b="b"/>
              <a:pathLst>
                <a:path w="1276" h="1801">
                  <a:moveTo>
                    <a:pt x="1276" y="1801"/>
                  </a:moveTo>
                  <a:lnTo>
                    <a:pt x="12" y="1781"/>
                  </a:lnTo>
                  <a:lnTo>
                    <a:pt x="0" y="2"/>
                  </a:lnTo>
                  <a:lnTo>
                    <a:pt x="1134" y="2"/>
                  </a:lnTo>
                  <a:lnTo>
                    <a:pt x="1276" y="0"/>
                  </a:lnTo>
                  <a:lnTo>
                    <a:pt x="1276" y="135"/>
                  </a:lnTo>
                  <a:lnTo>
                    <a:pt x="1276" y="180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2" name="Freeform 86">
              <a:extLst>
                <a:ext uri="{FF2B5EF4-FFF2-40B4-BE49-F238E27FC236}">
                  <a16:creationId xmlns:a16="http://schemas.microsoft.com/office/drawing/2014/main" id="{EC9DD2F2-6860-3C1A-302B-87088E7845B2}"/>
                </a:ext>
              </a:extLst>
            </p:cNvPr>
            <p:cNvSpPr>
              <a:spLocks/>
            </p:cNvSpPr>
            <p:nvPr/>
          </p:nvSpPr>
          <p:spPr bwMode="auto">
            <a:xfrm>
              <a:off x="6448203" y="1981350"/>
              <a:ext cx="1717029" cy="2423487"/>
            </a:xfrm>
            <a:custGeom>
              <a:avLst/>
              <a:gdLst>
                <a:gd name="T0" fmla="*/ 1276 w 1276"/>
                <a:gd name="T1" fmla="*/ 1801 h 1801"/>
                <a:gd name="T2" fmla="*/ 12 w 1276"/>
                <a:gd name="T3" fmla="*/ 1781 h 1801"/>
                <a:gd name="T4" fmla="*/ 0 w 1276"/>
                <a:gd name="T5" fmla="*/ 2 h 1801"/>
                <a:gd name="T6" fmla="*/ 1134 w 1276"/>
                <a:gd name="T7" fmla="*/ 2 h 1801"/>
                <a:gd name="T8" fmla="*/ 1276 w 1276"/>
                <a:gd name="T9" fmla="*/ 0 h 1801"/>
                <a:gd name="T10" fmla="*/ 1276 w 1276"/>
                <a:gd name="T11" fmla="*/ 135 h 1801"/>
                <a:gd name="T12" fmla="*/ 1276 w 1276"/>
                <a:gd name="T13" fmla="*/ 1801 h 1801"/>
              </a:gdLst>
              <a:ahLst/>
              <a:cxnLst>
                <a:cxn ang="0">
                  <a:pos x="T0" y="T1"/>
                </a:cxn>
                <a:cxn ang="0">
                  <a:pos x="T2" y="T3"/>
                </a:cxn>
                <a:cxn ang="0">
                  <a:pos x="T4" y="T5"/>
                </a:cxn>
                <a:cxn ang="0">
                  <a:pos x="T6" y="T7"/>
                </a:cxn>
                <a:cxn ang="0">
                  <a:pos x="T8" y="T9"/>
                </a:cxn>
                <a:cxn ang="0">
                  <a:pos x="T10" y="T11"/>
                </a:cxn>
                <a:cxn ang="0">
                  <a:pos x="T12" y="T13"/>
                </a:cxn>
              </a:cxnLst>
              <a:rect l="0" t="0" r="r" b="b"/>
              <a:pathLst>
                <a:path w="1276" h="1801">
                  <a:moveTo>
                    <a:pt x="1276" y="1801"/>
                  </a:moveTo>
                  <a:lnTo>
                    <a:pt x="12" y="1781"/>
                  </a:lnTo>
                  <a:lnTo>
                    <a:pt x="0" y="2"/>
                  </a:lnTo>
                  <a:lnTo>
                    <a:pt x="1134" y="2"/>
                  </a:lnTo>
                  <a:lnTo>
                    <a:pt x="1276" y="0"/>
                  </a:lnTo>
                  <a:lnTo>
                    <a:pt x="1276" y="135"/>
                  </a:lnTo>
                  <a:lnTo>
                    <a:pt x="1276" y="180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3" name="Freeform 87">
              <a:extLst>
                <a:ext uri="{FF2B5EF4-FFF2-40B4-BE49-F238E27FC236}">
                  <a16:creationId xmlns:a16="http://schemas.microsoft.com/office/drawing/2014/main" id="{39CD8E25-89D2-7FA4-87A1-C0513D7EFC12}"/>
                </a:ext>
              </a:extLst>
            </p:cNvPr>
            <p:cNvSpPr>
              <a:spLocks noEditPoints="1"/>
            </p:cNvSpPr>
            <p:nvPr/>
          </p:nvSpPr>
          <p:spPr bwMode="auto">
            <a:xfrm>
              <a:off x="6919175" y="1615338"/>
              <a:ext cx="777776" cy="421184"/>
            </a:xfrm>
            <a:custGeom>
              <a:avLst/>
              <a:gdLst>
                <a:gd name="T0" fmla="*/ 261 w 289"/>
                <a:gd name="T1" fmla="*/ 51 h 155"/>
                <a:gd name="T2" fmla="*/ 196 w 289"/>
                <a:gd name="T3" fmla="*/ 51 h 155"/>
                <a:gd name="T4" fmla="*/ 145 w 289"/>
                <a:gd name="T5" fmla="*/ 0 h 155"/>
                <a:gd name="T6" fmla="*/ 93 w 289"/>
                <a:gd name="T7" fmla="*/ 51 h 155"/>
                <a:gd name="T8" fmla="*/ 34 w 289"/>
                <a:gd name="T9" fmla="*/ 51 h 155"/>
                <a:gd name="T10" fmla="*/ 0 w 289"/>
                <a:gd name="T11" fmla="*/ 155 h 155"/>
                <a:gd name="T12" fmla="*/ 289 w 289"/>
                <a:gd name="T13" fmla="*/ 155 h 155"/>
                <a:gd name="T14" fmla="*/ 261 w 289"/>
                <a:gd name="T15" fmla="*/ 51 h 155"/>
                <a:gd name="T16" fmla="*/ 116 w 289"/>
                <a:gd name="T17" fmla="*/ 51 h 155"/>
                <a:gd name="T18" fmla="*/ 145 w 289"/>
                <a:gd name="T19" fmla="*/ 22 h 155"/>
                <a:gd name="T20" fmla="*/ 174 w 289"/>
                <a:gd name="T21" fmla="*/ 51 h 155"/>
                <a:gd name="T22" fmla="*/ 116 w 289"/>
                <a:gd name="T23" fmla="*/ 5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9" h="155">
                  <a:moveTo>
                    <a:pt x="261" y="51"/>
                  </a:moveTo>
                  <a:cubicBezTo>
                    <a:pt x="196" y="51"/>
                    <a:pt x="196" y="51"/>
                    <a:pt x="196" y="51"/>
                  </a:cubicBezTo>
                  <a:cubicBezTo>
                    <a:pt x="196" y="23"/>
                    <a:pt x="173" y="0"/>
                    <a:pt x="145" y="0"/>
                  </a:cubicBezTo>
                  <a:cubicBezTo>
                    <a:pt x="116" y="0"/>
                    <a:pt x="93" y="23"/>
                    <a:pt x="93" y="51"/>
                  </a:cubicBezTo>
                  <a:cubicBezTo>
                    <a:pt x="34" y="51"/>
                    <a:pt x="34" y="51"/>
                    <a:pt x="34" y="51"/>
                  </a:cubicBezTo>
                  <a:cubicBezTo>
                    <a:pt x="0" y="155"/>
                    <a:pt x="0" y="155"/>
                    <a:pt x="0" y="155"/>
                  </a:cubicBezTo>
                  <a:cubicBezTo>
                    <a:pt x="289" y="155"/>
                    <a:pt x="289" y="155"/>
                    <a:pt x="289" y="155"/>
                  </a:cubicBezTo>
                  <a:lnTo>
                    <a:pt x="261" y="51"/>
                  </a:lnTo>
                  <a:close/>
                  <a:moveTo>
                    <a:pt x="116" y="51"/>
                  </a:moveTo>
                  <a:cubicBezTo>
                    <a:pt x="116" y="35"/>
                    <a:pt x="129" y="22"/>
                    <a:pt x="145" y="22"/>
                  </a:cubicBezTo>
                  <a:cubicBezTo>
                    <a:pt x="161" y="22"/>
                    <a:pt x="174" y="35"/>
                    <a:pt x="174" y="51"/>
                  </a:cubicBezTo>
                  <a:lnTo>
                    <a:pt x="116" y="51"/>
                  </a:lnTo>
                  <a:close/>
                </a:path>
              </a:pathLst>
            </a:custGeom>
            <a:solidFill>
              <a:srgbClr val="ACBC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4" name="Rectangle 88">
              <a:extLst>
                <a:ext uri="{FF2B5EF4-FFF2-40B4-BE49-F238E27FC236}">
                  <a16:creationId xmlns:a16="http://schemas.microsoft.com/office/drawing/2014/main" id="{F2DCC0B8-CEDE-783B-E2E4-144F1071B860}"/>
                </a:ext>
              </a:extLst>
            </p:cNvPr>
            <p:cNvSpPr>
              <a:spLocks noChangeArrowheads="1"/>
            </p:cNvSpPr>
            <p:nvPr/>
          </p:nvSpPr>
          <p:spPr bwMode="auto">
            <a:xfrm>
              <a:off x="6596223" y="2339289"/>
              <a:ext cx="1420989" cy="56517"/>
            </a:xfrm>
            <a:prstGeom prst="rect">
              <a:avLst/>
            </a:prstGeom>
            <a:solidFill>
              <a:srgbClr val="B9B7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5" name="Rectangle 89">
              <a:extLst>
                <a:ext uri="{FF2B5EF4-FFF2-40B4-BE49-F238E27FC236}">
                  <a16:creationId xmlns:a16="http://schemas.microsoft.com/office/drawing/2014/main" id="{4B533012-FE9B-1A30-22B8-84988B48DA64}"/>
                </a:ext>
              </a:extLst>
            </p:cNvPr>
            <p:cNvSpPr>
              <a:spLocks noChangeArrowheads="1"/>
            </p:cNvSpPr>
            <p:nvPr/>
          </p:nvSpPr>
          <p:spPr bwMode="auto">
            <a:xfrm>
              <a:off x="6596223" y="2339289"/>
              <a:ext cx="1420989" cy="56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6" name="Rectangle 90">
              <a:extLst>
                <a:ext uri="{FF2B5EF4-FFF2-40B4-BE49-F238E27FC236}">
                  <a16:creationId xmlns:a16="http://schemas.microsoft.com/office/drawing/2014/main" id="{EECF8D98-F186-DE15-859E-1806532C6131}"/>
                </a:ext>
              </a:extLst>
            </p:cNvPr>
            <p:cNvSpPr>
              <a:spLocks noChangeArrowheads="1"/>
            </p:cNvSpPr>
            <p:nvPr/>
          </p:nvSpPr>
          <p:spPr bwMode="auto">
            <a:xfrm>
              <a:off x="6596223" y="2453668"/>
              <a:ext cx="1420989" cy="56517"/>
            </a:xfrm>
            <a:prstGeom prst="rect">
              <a:avLst/>
            </a:prstGeom>
            <a:solidFill>
              <a:srgbClr val="B9B7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7" name="Rectangle 91">
              <a:extLst>
                <a:ext uri="{FF2B5EF4-FFF2-40B4-BE49-F238E27FC236}">
                  <a16:creationId xmlns:a16="http://schemas.microsoft.com/office/drawing/2014/main" id="{48B4F917-103E-AE37-7675-DEB3402949C5}"/>
                </a:ext>
              </a:extLst>
            </p:cNvPr>
            <p:cNvSpPr>
              <a:spLocks noChangeArrowheads="1"/>
            </p:cNvSpPr>
            <p:nvPr/>
          </p:nvSpPr>
          <p:spPr bwMode="auto">
            <a:xfrm>
              <a:off x="6596223" y="2453668"/>
              <a:ext cx="1420989" cy="56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8" name="Rectangle 92">
              <a:extLst>
                <a:ext uri="{FF2B5EF4-FFF2-40B4-BE49-F238E27FC236}">
                  <a16:creationId xmlns:a16="http://schemas.microsoft.com/office/drawing/2014/main" id="{35A638DB-4178-00B0-5281-423F589E0EA9}"/>
                </a:ext>
              </a:extLst>
            </p:cNvPr>
            <p:cNvSpPr>
              <a:spLocks noChangeArrowheads="1"/>
            </p:cNvSpPr>
            <p:nvPr/>
          </p:nvSpPr>
          <p:spPr bwMode="auto">
            <a:xfrm>
              <a:off x="6905719" y="2681080"/>
              <a:ext cx="1106111" cy="59208"/>
            </a:xfrm>
            <a:prstGeom prst="rect">
              <a:avLst/>
            </a:prstGeom>
            <a:solidFill>
              <a:srgbClr val="B9B7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9" name="Rectangle 93">
              <a:extLst>
                <a:ext uri="{FF2B5EF4-FFF2-40B4-BE49-F238E27FC236}">
                  <a16:creationId xmlns:a16="http://schemas.microsoft.com/office/drawing/2014/main" id="{E9C9D3C1-1737-9827-D968-623A4DFECED8}"/>
                </a:ext>
              </a:extLst>
            </p:cNvPr>
            <p:cNvSpPr>
              <a:spLocks noChangeArrowheads="1"/>
            </p:cNvSpPr>
            <p:nvPr/>
          </p:nvSpPr>
          <p:spPr bwMode="auto">
            <a:xfrm>
              <a:off x="6905719" y="2681080"/>
              <a:ext cx="1106111" cy="59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0" name="Rectangle 94">
              <a:extLst>
                <a:ext uri="{FF2B5EF4-FFF2-40B4-BE49-F238E27FC236}">
                  <a16:creationId xmlns:a16="http://schemas.microsoft.com/office/drawing/2014/main" id="{7A75E965-911E-8CB0-8377-AAA14328384D}"/>
                </a:ext>
              </a:extLst>
            </p:cNvPr>
            <p:cNvSpPr>
              <a:spLocks noChangeArrowheads="1"/>
            </p:cNvSpPr>
            <p:nvPr/>
          </p:nvSpPr>
          <p:spPr bwMode="auto">
            <a:xfrm>
              <a:off x="6905719" y="2819681"/>
              <a:ext cx="1106111" cy="59208"/>
            </a:xfrm>
            <a:prstGeom prst="rect">
              <a:avLst/>
            </a:prstGeom>
            <a:solidFill>
              <a:srgbClr val="B9B7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1" name="Rectangle 95">
              <a:extLst>
                <a:ext uri="{FF2B5EF4-FFF2-40B4-BE49-F238E27FC236}">
                  <a16:creationId xmlns:a16="http://schemas.microsoft.com/office/drawing/2014/main" id="{9EBC5029-A910-BDE7-4D9D-CB55D2B54C28}"/>
                </a:ext>
              </a:extLst>
            </p:cNvPr>
            <p:cNvSpPr>
              <a:spLocks noChangeArrowheads="1"/>
            </p:cNvSpPr>
            <p:nvPr/>
          </p:nvSpPr>
          <p:spPr bwMode="auto">
            <a:xfrm>
              <a:off x="6905719" y="2819681"/>
              <a:ext cx="1106111" cy="59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2" name="Rectangle 96">
              <a:extLst>
                <a:ext uri="{FF2B5EF4-FFF2-40B4-BE49-F238E27FC236}">
                  <a16:creationId xmlns:a16="http://schemas.microsoft.com/office/drawing/2014/main" id="{56D781EE-6CD9-0567-80A5-85DC3D58B558}"/>
                </a:ext>
              </a:extLst>
            </p:cNvPr>
            <p:cNvSpPr>
              <a:spLocks noChangeArrowheads="1"/>
            </p:cNvSpPr>
            <p:nvPr/>
          </p:nvSpPr>
          <p:spPr bwMode="auto">
            <a:xfrm>
              <a:off x="6905719" y="3138595"/>
              <a:ext cx="1106111" cy="57863"/>
            </a:xfrm>
            <a:prstGeom prst="rect">
              <a:avLst/>
            </a:prstGeom>
            <a:solidFill>
              <a:srgbClr val="B9B7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3" name="Rectangle 97">
              <a:extLst>
                <a:ext uri="{FF2B5EF4-FFF2-40B4-BE49-F238E27FC236}">
                  <a16:creationId xmlns:a16="http://schemas.microsoft.com/office/drawing/2014/main" id="{34A7CA23-6065-21A1-4513-3EC6A8C3AD80}"/>
                </a:ext>
              </a:extLst>
            </p:cNvPr>
            <p:cNvSpPr>
              <a:spLocks noChangeArrowheads="1"/>
            </p:cNvSpPr>
            <p:nvPr/>
          </p:nvSpPr>
          <p:spPr bwMode="auto">
            <a:xfrm>
              <a:off x="6905719" y="3138595"/>
              <a:ext cx="1106111" cy="57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4" name="Rectangle 98">
              <a:extLst>
                <a:ext uri="{FF2B5EF4-FFF2-40B4-BE49-F238E27FC236}">
                  <a16:creationId xmlns:a16="http://schemas.microsoft.com/office/drawing/2014/main" id="{3330861E-7948-C844-F0F0-C02664DD1B45}"/>
                </a:ext>
              </a:extLst>
            </p:cNvPr>
            <p:cNvSpPr>
              <a:spLocks noChangeArrowheads="1"/>
            </p:cNvSpPr>
            <p:nvPr/>
          </p:nvSpPr>
          <p:spPr bwMode="auto">
            <a:xfrm>
              <a:off x="6905719" y="3277196"/>
              <a:ext cx="1106111" cy="60554"/>
            </a:xfrm>
            <a:prstGeom prst="rect">
              <a:avLst/>
            </a:prstGeom>
            <a:solidFill>
              <a:srgbClr val="B9B7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5" name="Rectangle 99">
              <a:extLst>
                <a:ext uri="{FF2B5EF4-FFF2-40B4-BE49-F238E27FC236}">
                  <a16:creationId xmlns:a16="http://schemas.microsoft.com/office/drawing/2014/main" id="{85543223-72FD-D3C0-62A5-2ADE536D98C4}"/>
                </a:ext>
              </a:extLst>
            </p:cNvPr>
            <p:cNvSpPr>
              <a:spLocks noChangeArrowheads="1"/>
            </p:cNvSpPr>
            <p:nvPr/>
          </p:nvSpPr>
          <p:spPr bwMode="auto">
            <a:xfrm>
              <a:off x="6905719" y="3277196"/>
              <a:ext cx="1106111" cy="60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6" name="Rectangle 100">
              <a:extLst>
                <a:ext uri="{FF2B5EF4-FFF2-40B4-BE49-F238E27FC236}">
                  <a16:creationId xmlns:a16="http://schemas.microsoft.com/office/drawing/2014/main" id="{803EAC5C-60FE-A751-7874-B62249EBEA5A}"/>
                </a:ext>
              </a:extLst>
            </p:cNvPr>
            <p:cNvSpPr>
              <a:spLocks noChangeArrowheads="1"/>
            </p:cNvSpPr>
            <p:nvPr/>
          </p:nvSpPr>
          <p:spPr bwMode="auto">
            <a:xfrm>
              <a:off x="6905719" y="3597457"/>
              <a:ext cx="1106111" cy="56517"/>
            </a:xfrm>
            <a:prstGeom prst="rect">
              <a:avLst/>
            </a:prstGeom>
            <a:solidFill>
              <a:srgbClr val="B9B7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7" name="Rectangle 101">
              <a:extLst>
                <a:ext uri="{FF2B5EF4-FFF2-40B4-BE49-F238E27FC236}">
                  <a16:creationId xmlns:a16="http://schemas.microsoft.com/office/drawing/2014/main" id="{02CD1013-2B17-CD62-C39A-26537AE4E29A}"/>
                </a:ext>
              </a:extLst>
            </p:cNvPr>
            <p:cNvSpPr>
              <a:spLocks noChangeArrowheads="1"/>
            </p:cNvSpPr>
            <p:nvPr/>
          </p:nvSpPr>
          <p:spPr bwMode="auto">
            <a:xfrm>
              <a:off x="6905719" y="3597457"/>
              <a:ext cx="1106111" cy="56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8" name="Rectangle 102">
              <a:extLst>
                <a:ext uri="{FF2B5EF4-FFF2-40B4-BE49-F238E27FC236}">
                  <a16:creationId xmlns:a16="http://schemas.microsoft.com/office/drawing/2014/main" id="{149B0C41-3C60-2CCE-414E-30984251BD04}"/>
                </a:ext>
              </a:extLst>
            </p:cNvPr>
            <p:cNvSpPr>
              <a:spLocks noChangeArrowheads="1"/>
            </p:cNvSpPr>
            <p:nvPr/>
          </p:nvSpPr>
          <p:spPr bwMode="auto">
            <a:xfrm>
              <a:off x="6905719" y="3736058"/>
              <a:ext cx="1106111" cy="59208"/>
            </a:xfrm>
            <a:prstGeom prst="rect">
              <a:avLst/>
            </a:prstGeom>
            <a:solidFill>
              <a:srgbClr val="B9B7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9" name="Rectangle 103">
              <a:extLst>
                <a:ext uri="{FF2B5EF4-FFF2-40B4-BE49-F238E27FC236}">
                  <a16:creationId xmlns:a16="http://schemas.microsoft.com/office/drawing/2014/main" id="{2980D0B2-C6F3-791C-4FF9-D8C77C2FF182}"/>
                </a:ext>
              </a:extLst>
            </p:cNvPr>
            <p:cNvSpPr>
              <a:spLocks noChangeArrowheads="1"/>
            </p:cNvSpPr>
            <p:nvPr/>
          </p:nvSpPr>
          <p:spPr bwMode="auto">
            <a:xfrm>
              <a:off x="6905719" y="3736058"/>
              <a:ext cx="1106111" cy="59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0" name="Rectangle 104">
              <a:extLst>
                <a:ext uri="{FF2B5EF4-FFF2-40B4-BE49-F238E27FC236}">
                  <a16:creationId xmlns:a16="http://schemas.microsoft.com/office/drawing/2014/main" id="{2EA4BDED-82D6-7BD4-B525-11B762FFB912}"/>
                </a:ext>
              </a:extLst>
            </p:cNvPr>
            <p:cNvSpPr>
              <a:spLocks noChangeArrowheads="1"/>
            </p:cNvSpPr>
            <p:nvPr/>
          </p:nvSpPr>
          <p:spPr bwMode="auto">
            <a:xfrm>
              <a:off x="6905719" y="4054972"/>
              <a:ext cx="1106111" cy="57863"/>
            </a:xfrm>
            <a:prstGeom prst="rect">
              <a:avLst/>
            </a:prstGeom>
            <a:solidFill>
              <a:srgbClr val="B9B7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1" name="Rectangle 105">
              <a:extLst>
                <a:ext uri="{FF2B5EF4-FFF2-40B4-BE49-F238E27FC236}">
                  <a16:creationId xmlns:a16="http://schemas.microsoft.com/office/drawing/2014/main" id="{EC821FD6-260B-236C-051B-B3FC628C4DCC}"/>
                </a:ext>
              </a:extLst>
            </p:cNvPr>
            <p:cNvSpPr>
              <a:spLocks noChangeArrowheads="1"/>
            </p:cNvSpPr>
            <p:nvPr/>
          </p:nvSpPr>
          <p:spPr bwMode="auto">
            <a:xfrm>
              <a:off x="6905719" y="4054972"/>
              <a:ext cx="1106111" cy="57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2" name="Rectangle 106">
              <a:extLst>
                <a:ext uri="{FF2B5EF4-FFF2-40B4-BE49-F238E27FC236}">
                  <a16:creationId xmlns:a16="http://schemas.microsoft.com/office/drawing/2014/main" id="{DB65F1AC-DE9C-F936-C773-2C0257319754}"/>
                </a:ext>
              </a:extLst>
            </p:cNvPr>
            <p:cNvSpPr>
              <a:spLocks noChangeArrowheads="1"/>
            </p:cNvSpPr>
            <p:nvPr/>
          </p:nvSpPr>
          <p:spPr bwMode="auto">
            <a:xfrm>
              <a:off x="6905719" y="4193573"/>
              <a:ext cx="1106111" cy="59208"/>
            </a:xfrm>
            <a:prstGeom prst="rect">
              <a:avLst/>
            </a:prstGeom>
            <a:solidFill>
              <a:srgbClr val="B9B7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3" name="Rectangle 107">
              <a:extLst>
                <a:ext uri="{FF2B5EF4-FFF2-40B4-BE49-F238E27FC236}">
                  <a16:creationId xmlns:a16="http://schemas.microsoft.com/office/drawing/2014/main" id="{7232CDB5-C190-6D74-1455-191A8BA6AFAA}"/>
                </a:ext>
              </a:extLst>
            </p:cNvPr>
            <p:cNvSpPr>
              <a:spLocks noChangeArrowheads="1"/>
            </p:cNvSpPr>
            <p:nvPr/>
          </p:nvSpPr>
          <p:spPr bwMode="auto">
            <a:xfrm>
              <a:off x="6905719" y="4193573"/>
              <a:ext cx="1106111" cy="59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4" name="Freeform 108">
              <a:extLst>
                <a:ext uri="{FF2B5EF4-FFF2-40B4-BE49-F238E27FC236}">
                  <a16:creationId xmlns:a16="http://schemas.microsoft.com/office/drawing/2014/main" id="{6D1E498E-912C-4464-F093-1E78D764B3A4}"/>
                </a:ext>
              </a:extLst>
            </p:cNvPr>
            <p:cNvSpPr>
              <a:spLocks noEditPoints="1"/>
            </p:cNvSpPr>
            <p:nvPr/>
          </p:nvSpPr>
          <p:spPr bwMode="auto">
            <a:xfrm>
              <a:off x="6590841" y="2681080"/>
              <a:ext cx="193771" cy="197809"/>
            </a:xfrm>
            <a:custGeom>
              <a:avLst/>
              <a:gdLst>
                <a:gd name="T0" fmla="*/ 32 w 144"/>
                <a:gd name="T1" fmla="*/ 113 h 147"/>
                <a:gd name="T2" fmla="*/ 32 w 144"/>
                <a:gd name="T3" fmla="*/ 34 h 147"/>
                <a:gd name="T4" fmla="*/ 110 w 144"/>
                <a:gd name="T5" fmla="*/ 34 h 147"/>
                <a:gd name="T6" fmla="*/ 110 w 144"/>
                <a:gd name="T7" fmla="*/ 113 h 147"/>
                <a:gd name="T8" fmla="*/ 32 w 144"/>
                <a:gd name="T9" fmla="*/ 113 h 147"/>
                <a:gd name="T10" fmla="*/ 144 w 144"/>
                <a:gd name="T11" fmla="*/ 0 h 147"/>
                <a:gd name="T12" fmla="*/ 0 w 144"/>
                <a:gd name="T13" fmla="*/ 0 h 147"/>
                <a:gd name="T14" fmla="*/ 0 w 144"/>
                <a:gd name="T15" fmla="*/ 147 h 147"/>
                <a:gd name="T16" fmla="*/ 144 w 144"/>
                <a:gd name="T17" fmla="*/ 147 h 147"/>
                <a:gd name="T18" fmla="*/ 144 w 144"/>
                <a:gd name="T19"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7">
                  <a:moveTo>
                    <a:pt x="32" y="113"/>
                  </a:moveTo>
                  <a:lnTo>
                    <a:pt x="32" y="34"/>
                  </a:lnTo>
                  <a:lnTo>
                    <a:pt x="110" y="34"/>
                  </a:lnTo>
                  <a:lnTo>
                    <a:pt x="110" y="113"/>
                  </a:lnTo>
                  <a:lnTo>
                    <a:pt x="32" y="113"/>
                  </a:lnTo>
                  <a:close/>
                  <a:moveTo>
                    <a:pt x="144" y="0"/>
                  </a:moveTo>
                  <a:lnTo>
                    <a:pt x="0" y="0"/>
                  </a:lnTo>
                  <a:lnTo>
                    <a:pt x="0" y="147"/>
                  </a:lnTo>
                  <a:lnTo>
                    <a:pt x="144" y="147"/>
                  </a:lnTo>
                  <a:lnTo>
                    <a:pt x="144" y="0"/>
                  </a:lnTo>
                  <a:close/>
                </a:path>
              </a:pathLst>
            </a:custGeom>
            <a:solidFill>
              <a:srgbClr val="B9B7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5" name="Freeform 109">
              <a:extLst>
                <a:ext uri="{FF2B5EF4-FFF2-40B4-BE49-F238E27FC236}">
                  <a16:creationId xmlns:a16="http://schemas.microsoft.com/office/drawing/2014/main" id="{D9BFDFAD-C03B-75F2-9CF3-4CA88EC1CA43}"/>
                </a:ext>
              </a:extLst>
            </p:cNvPr>
            <p:cNvSpPr>
              <a:spLocks noEditPoints="1"/>
            </p:cNvSpPr>
            <p:nvPr/>
          </p:nvSpPr>
          <p:spPr bwMode="auto">
            <a:xfrm>
              <a:off x="6590841" y="2681080"/>
              <a:ext cx="193771" cy="197809"/>
            </a:xfrm>
            <a:custGeom>
              <a:avLst/>
              <a:gdLst>
                <a:gd name="T0" fmla="*/ 32 w 144"/>
                <a:gd name="T1" fmla="*/ 113 h 147"/>
                <a:gd name="T2" fmla="*/ 32 w 144"/>
                <a:gd name="T3" fmla="*/ 34 h 147"/>
                <a:gd name="T4" fmla="*/ 110 w 144"/>
                <a:gd name="T5" fmla="*/ 34 h 147"/>
                <a:gd name="T6" fmla="*/ 110 w 144"/>
                <a:gd name="T7" fmla="*/ 113 h 147"/>
                <a:gd name="T8" fmla="*/ 32 w 144"/>
                <a:gd name="T9" fmla="*/ 113 h 147"/>
                <a:gd name="T10" fmla="*/ 144 w 144"/>
                <a:gd name="T11" fmla="*/ 0 h 147"/>
                <a:gd name="T12" fmla="*/ 0 w 144"/>
                <a:gd name="T13" fmla="*/ 0 h 147"/>
                <a:gd name="T14" fmla="*/ 0 w 144"/>
                <a:gd name="T15" fmla="*/ 147 h 147"/>
                <a:gd name="T16" fmla="*/ 144 w 144"/>
                <a:gd name="T17" fmla="*/ 147 h 147"/>
                <a:gd name="T18" fmla="*/ 144 w 144"/>
                <a:gd name="T19"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7">
                  <a:moveTo>
                    <a:pt x="32" y="113"/>
                  </a:moveTo>
                  <a:lnTo>
                    <a:pt x="32" y="34"/>
                  </a:lnTo>
                  <a:lnTo>
                    <a:pt x="110" y="34"/>
                  </a:lnTo>
                  <a:lnTo>
                    <a:pt x="110" y="113"/>
                  </a:lnTo>
                  <a:lnTo>
                    <a:pt x="32" y="113"/>
                  </a:lnTo>
                  <a:moveTo>
                    <a:pt x="144" y="0"/>
                  </a:moveTo>
                  <a:lnTo>
                    <a:pt x="0" y="0"/>
                  </a:lnTo>
                  <a:lnTo>
                    <a:pt x="0" y="147"/>
                  </a:lnTo>
                  <a:lnTo>
                    <a:pt x="144" y="147"/>
                  </a:lnTo>
                  <a:lnTo>
                    <a:pt x="1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6" name="Freeform 110">
              <a:extLst>
                <a:ext uri="{FF2B5EF4-FFF2-40B4-BE49-F238E27FC236}">
                  <a16:creationId xmlns:a16="http://schemas.microsoft.com/office/drawing/2014/main" id="{3CD5712B-0CA9-5854-D993-7C8FED8FE800}"/>
                </a:ext>
              </a:extLst>
            </p:cNvPr>
            <p:cNvSpPr>
              <a:spLocks noEditPoints="1"/>
            </p:cNvSpPr>
            <p:nvPr/>
          </p:nvSpPr>
          <p:spPr bwMode="auto">
            <a:xfrm>
              <a:off x="6590841" y="3138595"/>
              <a:ext cx="193771" cy="199154"/>
            </a:xfrm>
            <a:custGeom>
              <a:avLst/>
              <a:gdLst>
                <a:gd name="T0" fmla="*/ 32 w 144"/>
                <a:gd name="T1" fmla="*/ 113 h 148"/>
                <a:gd name="T2" fmla="*/ 32 w 144"/>
                <a:gd name="T3" fmla="*/ 35 h 148"/>
                <a:gd name="T4" fmla="*/ 110 w 144"/>
                <a:gd name="T5" fmla="*/ 35 h 148"/>
                <a:gd name="T6" fmla="*/ 110 w 144"/>
                <a:gd name="T7" fmla="*/ 113 h 148"/>
                <a:gd name="T8" fmla="*/ 32 w 144"/>
                <a:gd name="T9" fmla="*/ 113 h 148"/>
                <a:gd name="T10" fmla="*/ 144 w 144"/>
                <a:gd name="T11" fmla="*/ 0 h 148"/>
                <a:gd name="T12" fmla="*/ 0 w 144"/>
                <a:gd name="T13" fmla="*/ 0 h 148"/>
                <a:gd name="T14" fmla="*/ 0 w 144"/>
                <a:gd name="T15" fmla="*/ 148 h 148"/>
                <a:gd name="T16" fmla="*/ 144 w 144"/>
                <a:gd name="T17" fmla="*/ 148 h 148"/>
                <a:gd name="T18" fmla="*/ 144 w 144"/>
                <a:gd name="T1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8">
                  <a:moveTo>
                    <a:pt x="32" y="113"/>
                  </a:moveTo>
                  <a:lnTo>
                    <a:pt x="32" y="35"/>
                  </a:lnTo>
                  <a:lnTo>
                    <a:pt x="110" y="35"/>
                  </a:lnTo>
                  <a:lnTo>
                    <a:pt x="110" y="113"/>
                  </a:lnTo>
                  <a:lnTo>
                    <a:pt x="32" y="113"/>
                  </a:lnTo>
                  <a:close/>
                  <a:moveTo>
                    <a:pt x="144" y="0"/>
                  </a:moveTo>
                  <a:lnTo>
                    <a:pt x="0" y="0"/>
                  </a:lnTo>
                  <a:lnTo>
                    <a:pt x="0" y="148"/>
                  </a:lnTo>
                  <a:lnTo>
                    <a:pt x="144" y="148"/>
                  </a:lnTo>
                  <a:lnTo>
                    <a:pt x="144" y="0"/>
                  </a:lnTo>
                  <a:close/>
                </a:path>
              </a:pathLst>
            </a:custGeom>
            <a:solidFill>
              <a:srgbClr val="B9B7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7" name="Freeform 111">
              <a:extLst>
                <a:ext uri="{FF2B5EF4-FFF2-40B4-BE49-F238E27FC236}">
                  <a16:creationId xmlns:a16="http://schemas.microsoft.com/office/drawing/2014/main" id="{7031EA91-C3DB-BE41-8729-2AB0960B328D}"/>
                </a:ext>
              </a:extLst>
            </p:cNvPr>
            <p:cNvSpPr>
              <a:spLocks noEditPoints="1"/>
            </p:cNvSpPr>
            <p:nvPr/>
          </p:nvSpPr>
          <p:spPr bwMode="auto">
            <a:xfrm>
              <a:off x="6590841" y="3138595"/>
              <a:ext cx="193771" cy="199154"/>
            </a:xfrm>
            <a:custGeom>
              <a:avLst/>
              <a:gdLst>
                <a:gd name="T0" fmla="*/ 32 w 144"/>
                <a:gd name="T1" fmla="*/ 113 h 148"/>
                <a:gd name="T2" fmla="*/ 32 w 144"/>
                <a:gd name="T3" fmla="*/ 35 h 148"/>
                <a:gd name="T4" fmla="*/ 110 w 144"/>
                <a:gd name="T5" fmla="*/ 35 h 148"/>
                <a:gd name="T6" fmla="*/ 110 w 144"/>
                <a:gd name="T7" fmla="*/ 113 h 148"/>
                <a:gd name="T8" fmla="*/ 32 w 144"/>
                <a:gd name="T9" fmla="*/ 113 h 148"/>
                <a:gd name="T10" fmla="*/ 144 w 144"/>
                <a:gd name="T11" fmla="*/ 0 h 148"/>
                <a:gd name="T12" fmla="*/ 0 w 144"/>
                <a:gd name="T13" fmla="*/ 0 h 148"/>
                <a:gd name="T14" fmla="*/ 0 w 144"/>
                <a:gd name="T15" fmla="*/ 148 h 148"/>
                <a:gd name="T16" fmla="*/ 144 w 144"/>
                <a:gd name="T17" fmla="*/ 148 h 148"/>
                <a:gd name="T18" fmla="*/ 144 w 144"/>
                <a:gd name="T19"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8">
                  <a:moveTo>
                    <a:pt x="32" y="113"/>
                  </a:moveTo>
                  <a:lnTo>
                    <a:pt x="32" y="35"/>
                  </a:lnTo>
                  <a:lnTo>
                    <a:pt x="110" y="35"/>
                  </a:lnTo>
                  <a:lnTo>
                    <a:pt x="110" y="113"/>
                  </a:lnTo>
                  <a:lnTo>
                    <a:pt x="32" y="113"/>
                  </a:lnTo>
                  <a:moveTo>
                    <a:pt x="144" y="0"/>
                  </a:moveTo>
                  <a:lnTo>
                    <a:pt x="0" y="0"/>
                  </a:lnTo>
                  <a:lnTo>
                    <a:pt x="0" y="148"/>
                  </a:lnTo>
                  <a:lnTo>
                    <a:pt x="144" y="148"/>
                  </a:lnTo>
                  <a:lnTo>
                    <a:pt x="1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8" name="Freeform 112">
              <a:extLst>
                <a:ext uri="{FF2B5EF4-FFF2-40B4-BE49-F238E27FC236}">
                  <a16:creationId xmlns:a16="http://schemas.microsoft.com/office/drawing/2014/main" id="{1BE633D4-3F87-2722-A137-141FF68E64F4}"/>
                </a:ext>
              </a:extLst>
            </p:cNvPr>
            <p:cNvSpPr>
              <a:spLocks noEditPoints="1"/>
            </p:cNvSpPr>
            <p:nvPr/>
          </p:nvSpPr>
          <p:spPr bwMode="auto">
            <a:xfrm>
              <a:off x="6590841" y="3597457"/>
              <a:ext cx="193771" cy="197809"/>
            </a:xfrm>
            <a:custGeom>
              <a:avLst/>
              <a:gdLst>
                <a:gd name="T0" fmla="*/ 32 w 144"/>
                <a:gd name="T1" fmla="*/ 113 h 147"/>
                <a:gd name="T2" fmla="*/ 32 w 144"/>
                <a:gd name="T3" fmla="*/ 34 h 147"/>
                <a:gd name="T4" fmla="*/ 110 w 144"/>
                <a:gd name="T5" fmla="*/ 34 h 147"/>
                <a:gd name="T6" fmla="*/ 110 w 144"/>
                <a:gd name="T7" fmla="*/ 113 h 147"/>
                <a:gd name="T8" fmla="*/ 32 w 144"/>
                <a:gd name="T9" fmla="*/ 113 h 147"/>
                <a:gd name="T10" fmla="*/ 144 w 144"/>
                <a:gd name="T11" fmla="*/ 0 h 147"/>
                <a:gd name="T12" fmla="*/ 0 w 144"/>
                <a:gd name="T13" fmla="*/ 0 h 147"/>
                <a:gd name="T14" fmla="*/ 0 w 144"/>
                <a:gd name="T15" fmla="*/ 147 h 147"/>
                <a:gd name="T16" fmla="*/ 144 w 144"/>
                <a:gd name="T17" fmla="*/ 147 h 147"/>
                <a:gd name="T18" fmla="*/ 144 w 144"/>
                <a:gd name="T19"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7">
                  <a:moveTo>
                    <a:pt x="32" y="113"/>
                  </a:moveTo>
                  <a:lnTo>
                    <a:pt x="32" y="34"/>
                  </a:lnTo>
                  <a:lnTo>
                    <a:pt x="110" y="34"/>
                  </a:lnTo>
                  <a:lnTo>
                    <a:pt x="110" y="113"/>
                  </a:lnTo>
                  <a:lnTo>
                    <a:pt x="32" y="113"/>
                  </a:lnTo>
                  <a:close/>
                  <a:moveTo>
                    <a:pt x="144" y="0"/>
                  </a:moveTo>
                  <a:lnTo>
                    <a:pt x="0" y="0"/>
                  </a:lnTo>
                  <a:lnTo>
                    <a:pt x="0" y="147"/>
                  </a:lnTo>
                  <a:lnTo>
                    <a:pt x="144" y="147"/>
                  </a:lnTo>
                  <a:lnTo>
                    <a:pt x="144" y="0"/>
                  </a:lnTo>
                  <a:close/>
                </a:path>
              </a:pathLst>
            </a:custGeom>
            <a:solidFill>
              <a:srgbClr val="B9B7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9" name="Freeform 113">
              <a:extLst>
                <a:ext uri="{FF2B5EF4-FFF2-40B4-BE49-F238E27FC236}">
                  <a16:creationId xmlns:a16="http://schemas.microsoft.com/office/drawing/2014/main" id="{DFA66556-7586-59BD-2C58-2BE6F19BF530}"/>
                </a:ext>
              </a:extLst>
            </p:cNvPr>
            <p:cNvSpPr>
              <a:spLocks noEditPoints="1"/>
            </p:cNvSpPr>
            <p:nvPr/>
          </p:nvSpPr>
          <p:spPr bwMode="auto">
            <a:xfrm>
              <a:off x="6590841" y="3597457"/>
              <a:ext cx="193771" cy="197809"/>
            </a:xfrm>
            <a:custGeom>
              <a:avLst/>
              <a:gdLst>
                <a:gd name="T0" fmla="*/ 32 w 144"/>
                <a:gd name="T1" fmla="*/ 113 h 147"/>
                <a:gd name="T2" fmla="*/ 32 w 144"/>
                <a:gd name="T3" fmla="*/ 34 h 147"/>
                <a:gd name="T4" fmla="*/ 110 w 144"/>
                <a:gd name="T5" fmla="*/ 34 h 147"/>
                <a:gd name="T6" fmla="*/ 110 w 144"/>
                <a:gd name="T7" fmla="*/ 113 h 147"/>
                <a:gd name="T8" fmla="*/ 32 w 144"/>
                <a:gd name="T9" fmla="*/ 113 h 147"/>
                <a:gd name="T10" fmla="*/ 144 w 144"/>
                <a:gd name="T11" fmla="*/ 0 h 147"/>
                <a:gd name="T12" fmla="*/ 0 w 144"/>
                <a:gd name="T13" fmla="*/ 0 h 147"/>
                <a:gd name="T14" fmla="*/ 0 w 144"/>
                <a:gd name="T15" fmla="*/ 147 h 147"/>
                <a:gd name="T16" fmla="*/ 144 w 144"/>
                <a:gd name="T17" fmla="*/ 147 h 147"/>
                <a:gd name="T18" fmla="*/ 144 w 144"/>
                <a:gd name="T19"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7">
                  <a:moveTo>
                    <a:pt x="32" y="113"/>
                  </a:moveTo>
                  <a:lnTo>
                    <a:pt x="32" y="34"/>
                  </a:lnTo>
                  <a:lnTo>
                    <a:pt x="110" y="34"/>
                  </a:lnTo>
                  <a:lnTo>
                    <a:pt x="110" y="113"/>
                  </a:lnTo>
                  <a:lnTo>
                    <a:pt x="32" y="113"/>
                  </a:lnTo>
                  <a:moveTo>
                    <a:pt x="144" y="0"/>
                  </a:moveTo>
                  <a:lnTo>
                    <a:pt x="0" y="0"/>
                  </a:lnTo>
                  <a:lnTo>
                    <a:pt x="0" y="147"/>
                  </a:lnTo>
                  <a:lnTo>
                    <a:pt x="144" y="147"/>
                  </a:lnTo>
                  <a:lnTo>
                    <a:pt x="1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0" name="Freeform 114">
              <a:extLst>
                <a:ext uri="{FF2B5EF4-FFF2-40B4-BE49-F238E27FC236}">
                  <a16:creationId xmlns:a16="http://schemas.microsoft.com/office/drawing/2014/main" id="{CE1003BB-7065-321C-E676-DF3BDC0D6EC1}"/>
                </a:ext>
              </a:extLst>
            </p:cNvPr>
            <p:cNvSpPr>
              <a:spLocks noEditPoints="1"/>
            </p:cNvSpPr>
            <p:nvPr/>
          </p:nvSpPr>
          <p:spPr bwMode="auto">
            <a:xfrm>
              <a:off x="6590841" y="4054972"/>
              <a:ext cx="193771" cy="197809"/>
            </a:xfrm>
            <a:custGeom>
              <a:avLst/>
              <a:gdLst>
                <a:gd name="T0" fmla="*/ 32 w 144"/>
                <a:gd name="T1" fmla="*/ 113 h 147"/>
                <a:gd name="T2" fmla="*/ 32 w 144"/>
                <a:gd name="T3" fmla="*/ 35 h 147"/>
                <a:gd name="T4" fmla="*/ 110 w 144"/>
                <a:gd name="T5" fmla="*/ 35 h 147"/>
                <a:gd name="T6" fmla="*/ 110 w 144"/>
                <a:gd name="T7" fmla="*/ 113 h 147"/>
                <a:gd name="T8" fmla="*/ 32 w 144"/>
                <a:gd name="T9" fmla="*/ 113 h 147"/>
                <a:gd name="T10" fmla="*/ 144 w 144"/>
                <a:gd name="T11" fmla="*/ 0 h 147"/>
                <a:gd name="T12" fmla="*/ 0 w 144"/>
                <a:gd name="T13" fmla="*/ 0 h 147"/>
                <a:gd name="T14" fmla="*/ 0 w 144"/>
                <a:gd name="T15" fmla="*/ 147 h 147"/>
                <a:gd name="T16" fmla="*/ 144 w 144"/>
                <a:gd name="T17" fmla="*/ 147 h 147"/>
                <a:gd name="T18" fmla="*/ 144 w 144"/>
                <a:gd name="T19"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7">
                  <a:moveTo>
                    <a:pt x="32" y="113"/>
                  </a:moveTo>
                  <a:lnTo>
                    <a:pt x="32" y="35"/>
                  </a:lnTo>
                  <a:lnTo>
                    <a:pt x="110" y="35"/>
                  </a:lnTo>
                  <a:lnTo>
                    <a:pt x="110" y="113"/>
                  </a:lnTo>
                  <a:lnTo>
                    <a:pt x="32" y="113"/>
                  </a:lnTo>
                  <a:close/>
                  <a:moveTo>
                    <a:pt x="144" y="0"/>
                  </a:moveTo>
                  <a:lnTo>
                    <a:pt x="0" y="0"/>
                  </a:lnTo>
                  <a:lnTo>
                    <a:pt x="0" y="147"/>
                  </a:lnTo>
                  <a:lnTo>
                    <a:pt x="144" y="147"/>
                  </a:lnTo>
                  <a:lnTo>
                    <a:pt x="144" y="0"/>
                  </a:lnTo>
                  <a:close/>
                </a:path>
              </a:pathLst>
            </a:custGeom>
            <a:solidFill>
              <a:srgbClr val="B9B7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1" name="Freeform 115">
              <a:extLst>
                <a:ext uri="{FF2B5EF4-FFF2-40B4-BE49-F238E27FC236}">
                  <a16:creationId xmlns:a16="http://schemas.microsoft.com/office/drawing/2014/main" id="{C45684F6-DFAF-0607-389A-D121EDC1E73A}"/>
                </a:ext>
              </a:extLst>
            </p:cNvPr>
            <p:cNvSpPr>
              <a:spLocks noEditPoints="1"/>
            </p:cNvSpPr>
            <p:nvPr/>
          </p:nvSpPr>
          <p:spPr bwMode="auto">
            <a:xfrm>
              <a:off x="6590841" y="4054972"/>
              <a:ext cx="193771" cy="197809"/>
            </a:xfrm>
            <a:custGeom>
              <a:avLst/>
              <a:gdLst>
                <a:gd name="T0" fmla="*/ 32 w 144"/>
                <a:gd name="T1" fmla="*/ 113 h 147"/>
                <a:gd name="T2" fmla="*/ 32 w 144"/>
                <a:gd name="T3" fmla="*/ 35 h 147"/>
                <a:gd name="T4" fmla="*/ 110 w 144"/>
                <a:gd name="T5" fmla="*/ 35 h 147"/>
                <a:gd name="T6" fmla="*/ 110 w 144"/>
                <a:gd name="T7" fmla="*/ 113 h 147"/>
                <a:gd name="T8" fmla="*/ 32 w 144"/>
                <a:gd name="T9" fmla="*/ 113 h 147"/>
                <a:gd name="T10" fmla="*/ 144 w 144"/>
                <a:gd name="T11" fmla="*/ 0 h 147"/>
                <a:gd name="T12" fmla="*/ 0 w 144"/>
                <a:gd name="T13" fmla="*/ 0 h 147"/>
                <a:gd name="T14" fmla="*/ 0 w 144"/>
                <a:gd name="T15" fmla="*/ 147 h 147"/>
                <a:gd name="T16" fmla="*/ 144 w 144"/>
                <a:gd name="T17" fmla="*/ 147 h 147"/>
                <a:gd name="T18" fmla="*/ 144 w 144"/>
                <a:gd name="T19"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47">
                  <a:moveTo>
                    <a:pt x="32" y="113"/>
                  </a:moveTo>
                  <a:lnTo>
                    <a:pt x="32" y="35"/>
                  </a:lnTo>
                  <a:lnTo>
                    <a:pt x="110" y="35"/>
                  </a:lnTo>
                  <a:lnTo>
                    <a:pt x="110" y="113"/>
                  </a:lnTo>
                  <a:lnTo>
                    <a:pt x="32" y="113"/>
                  </a:lnTo>
                  <a:moveTo>
                    <a:pt x="144" y="0"/>
                  </a:moveTo>
                  <a:lnTo>
                    <a:pt x="0" y="0"/>
                  </a:lnTo>
                  <a:lnTo>
                    <a:pt x="0" y="147"/>
                  </a:lnTo>
                  <a:lnTo>
                    <a:pt x="144" y="147"/>
                  </a:lnTo>
                  <a:lnTo>
                    <a:pt x="1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2" name="Freeform 116">
              <a:extLst>
                <a:ext uri="{FF2B5EF4-FFF2-40B4-BE49-F238E27FC236}">
                  <a16:creationId xmlns:a16="http://schemas.microsoft.com/office/drawing/2014/main" id="{3BF4C3C0-969A-5596-B4ED-8364DF39FF7B}"/>
                </a:ext>
              </a:extLst>
            </p:cNvPr>
            <p:cNvSpPr>
              <a:spLocks/>
            </p:cNvSpPr>
            <p:nvPr/>
          </p:nvSpPr>
          <p:spPr bwMode="auto">
            <a:xfrm>
              <a:off x="6617753" y="2621872"/>
              <a:ext cx="244905" cy="211265"/>
            </a:xfrm>
            <a:custGeom>
              <a:avLst/>
              <a:gdLst>
                <a:gd name="T0" fmla="*/ 24 w 182"/>
                <a:gd name="T1" fmla="*/ 76 h 157"/>
                <a:gd name="T2" fmla="*/ 24 w 182"/>
                <a:gd name="T3" fmla="*/ 76 h 157"/>
                <a:gd name="T4" fmla="*/ 24 w 182"/>
                <a:gd name="T5" fmla="*/ 76 h 157"/>
                <a:gd name="T6" fmla="*/ 0 w 182"/>
                <a:gd name="T7" fmla="*/ 102 h 157"/>
                <a:gd name="T8" fmla="*/ 58 w 182"/>
                <a:gd name="T9" fmla="*/ 157 h 157"/>
                <a:gd name="T10" fmla="*/ 182 w 182"/>
                <a:gd name="T11" fmla="*/ 24 h 157"/>
                <a:gd name="T12" fmla="*/ 156 w 182"/>
                <a:gd name="T13" fmla="*/ 0 h 157"/>
                <a:gd name="T14" fmla="*/ 56 w 182"/>
                <a:gd name="T15" fmla="*/ 106 h 157"/>
                <a:gd name="T16" fmla="*/ 24 w 182"/>
                <a:gd name="T17" fmla="*/ 76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157">
                  <a:moveTo>
                    <a:pt x="24" y="76"/>
                  </a:moveTo>
                  <a:lnTo>
                    <a:pt x="24" y="76"/>
                  </a:lnTo>
                  <a:lnTo>
                    <a:pt x="24" y="76"/>
                  </a:lnTo>
                  <a:lnTo>
                    <a:pt x="0" y="102"/>
                  </a:lnTo>
                  <a:lnTo>
                    <a:pt x="58" y="157"/>
                  </a:lnTo>
                  <a:lnTo>
                    <a:pt x="182" y="24"/>
                  </a:lnTo>
                  <a:lnTo>
                    <a:pt x="156" y="0"/>
                  </a:lnTo>
                  <a:lnTo>
                    <a:pt x="56" y="106"/>
                  </a:lnTo>
                  <a:lnTo>
                    <a:pt x="24" y="76"/>
                  </a:lnTo>
                  <a:close/>
                </a:path>
              </a:pathLst>
            </a:custGeom>
            <a:solidFill>
              <a:srgbClr val="00A3A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3" name="Freeform 117">
              <a:extLst>
                <a:ext uri="{FF2B5EF4-FFF2-40B4-BE49-F238E27FC236}">
                  <a16:creationId xmlns:a16="http://schemas.microsoft.com/office/drawing/2014/main" id="{E0D10B63-5B44-B8AD-1E7C-D5D84764DA76}"/>
                </a:ext>
              </a:extLst>
            </p:cNvPr>
            <p:cNvSpPr>
              <a:spLocks/>
            </p:cNvSpPr>
            <p:nvPr/>
          </p:nvSpPr>
          <p:spPr bwMode="auto">
            <a:xfrm>
              <a:off x="6633901" y="3549014"/>
              <a:ext cx="244905" cy="211265"/>
            </a:xfrm>
            <a:custGeom>
              <a:avLst/>
              <a:gdLst>
                <a:gd name="T0" fmla="*/ 26 w 182"/>
                <a:gd name="T1" fmla="*/ 78 h 157"/>
                <a:gd name="T2" fmla="*/ 26 w 182"/>
                <a:gd name="T3" fmla="*/ 76 h 157"/>
                <a:gd name="T4" fmla="*/ 26 w 182"/>
                <a:gd name="T5" fmla="*/ 76 h 157"/>
                <a:gd name="T6" fmla="*/ 0 w 182"/>
                <a:gd name="T7" fmla="*/ 102 h 157"/>
                <a:gd name="T8" fmla="*/ 58 w 182"/>
                <a:gd name="T9" fmla="*/ 157 h 157"/>
                <a:gd name="T10" fmla="*/ 182 w 182"/>
                <a:gd name="T11" fmla="*/ 24 h 157"/>
                <a:gd name="T12" fmla="*/ 158 w 182"/>
                <a:gd name="T13" fmla="*/ 0 h 157"/>
                <a:gd name="T14" fmla="*/ 56 w 182"/>
                <a:gd name="T15" fmla="*/ 108 h 157"/>
                <a:gd name="T16" fmla="*/ 26 w 182"/>
                <a:gd name="T1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157">
                  <a:moveTo>
                    <a:pt x="26" y="78"/>
                  </a:moveTo>
                  <a:lnTo>
                    <a:pt x="26" y="76"/>
                  </a:lnTo>
                  <a:lnTo>
                    <a:pt x="26" y="76"/>
                  </a:lnTo>
                  <a:lnTo>
                    <a:pt x="0" y="102"/>
                  </a:lnTo>
                  <a:lnTo>
                    <a:pt x="58" y="157"/>
                  </a:lnTo>
                  <a:lnTo>
                    <a:pt x="182" y="24"/>
                  </a:lnTo>
                  <a:lnTo>
                    <a:pt x="158" y="0"/>
                  </a:lnTo>
                  <a:lnTo>
                    <a:pt x="56" y="108"/>
                  </a:lnTo>
                  <a:lnTo>
                    <a:pt x="26" y="78"/>
                  </a:lnTo>
                  <a:close/>
                </a:path>
              </a:pathLst>
            </a:custGeom>
            <a:solidFill>
              <a:srgbClr val="00A3A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4" name="Freeform 118">
              <a:extLst>
                <a:ext uri="{FF2B5EF4-FFF2-40B4-BE49-F238E27FC236}">
                  <a16:creationId xmlns:a16="http://schemas.microsoft.com/office/drawing/2014/main" id="{18B83DC4-95EC-B483-2A68-5E06E0AAA777}"/>
                </a:ext>
              </a:extLst>
            </p:cNvPr>
            <p:cNvSpPr>
              <a:spLocks/>
            </p:cNvSpPr>
            <p:nvPr/>
          </p:nvSpPr>
          <p:spPr bwMode="auto">
            <a:xfrm>
              <a:off x="6633901" y="3090153"/>
              <a:ext cx="244905" cy="211265"/>
            </a:xfrm>
            <a:custGeom>
              <a:avLst/>
              <a:gdLst>
                <a:gd name="T0" fmla="*/ 26 w 182"/>
                <a:gd name="T1" fmla="*/ 79 h 157"/>
                <a:gd name="T2" fmla="*/ 26 w 182"/>
                <a:gd name="T3" fmla="*/ 79 h 157"/>
                <a:gd name="T4" fmla="*/ 26 w 182"/>
                <a:gd name="T5" fmla="*/ 77 h 157"/>
                <a:gd name="T6" fmla="*/ 0 w 182"/>
                <a:gd name="T7" fmla="*/ 103 h 157"/>
                <a:gd name="T8" fmla="*/ 58 w 182"/>
                <a:gd name="T9" fmla="*/ 157 h 157"/>
                <a:gd name="T10" fmla="*/ 182 w 182"/>
                <a:gd name="T11" fmla="*/ 24 h 157"/>
                <a:gd name="T12" fmla="*/ 158 w 182"/>
                <a:gd name="T13" fmla="*/ 0 h 157"/>
                <a:gd name="T14" fmla="*/ 56 w 182"/>
                <a:gd name="T15" fmla="*/ 109 h 157"/>
                <a:gd name="T16" fmla="*/ 26 w 182"/>
                <a:gd name="T17" fmla="*/ 7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2" h="157">
                  <a:moveTo>
                    <a:pt x="26" y="79"/>
                  </a:moveTo>
                  <a:lnTo>
                    <a:pt x="26" y="79"/>
                  </a:lnTo>
                  <a:lnTo>
                    <a:pt x="26" y="77"/>
                  </a:lnTo>
                  <a:lnTo>
                    <a:pt x="0" y="103"/>
                  </a:lnTo>
                  <a:lnTo>
                    <a:pt x="58" y="157"/>
                  </a:lnTo>
                  <a:lnTo>
                    <a:pt x="182" y="24"/>
                  </a:lnTo>
                  <a:lnTo>
                    <a:pt x="158" y="0"/>
                  </a:lnTo>
                  <a:lnTo>
                    <a:pt x="56" y="109"/>
                  </a:lnTo>
                  <a:lnTo>
                    <a:pt x="26" y="79"/>
                  </a:lnTo>
                  <a:close/>
                </a:path>
              </a:pathLst>
            </a:custGeom>
            <a:solidFill>
              <a:srgbClr val="00A3A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5" name="Freeform 119">
              <a:extLst>
                <a:ext uri="{FF2B5EF4-FFF2-40B4-BE49-F238E27FC236}">
                  <a16:creationId xmlns:a16="http://schemas.microsoft.com/office/drawing/2014/main" id="{4F58B195-CFE0-5517-A8B5-E4EDEFFF2B2A}"/>
                </a:ext>
              </a:extLst>
            </p:cNvPr>
            <p:cNvSpPr>
              <a:spLocks/>
            </p:cNvSpPr>
            <p:nvPr/>
          </p:nvSpPr>
          <p:spPr bwMode="auto">
            <a:xfrm>
              <a:off x="7077960" y="3442709"/>
              <a:ext cx="853132" cy="325643"/>
            </a:xfrm>
            <a:custGeom>
              <a:avLst/>
              <a:gdLst>
                <a:gd name="T0" fmla="*/ 219 w 317"/>
                <a:gd name="T1" fmla="*/ 94 h 120"/>
                <a:gd name="T2" fmla="*/ 102 w 317"/>
                <a:gd name="T3" fmla="*/ 102 h 120"/>
                <a:gd name="T4" fmla="*/ 24 w 317"/>
                <a:gd name="T5" fmla="*/ 108 h 120"/>
                <a:gd name="T6" fmla="*/ 21 w 317"/>
                <a:gd name="T7" fmla="*/ 76 h 120"/>
                <a:gd name="T8" fmla="*/ 252 w 317"/>
                <a:gd name="T9" fmla="*/ 60 h 120"/>
                <a:gd name="T10" fmla="*/ 219 w 317"/>
                <a:gd name="T11" fmla="*/ 94 h 120"/>
              </a:gdLst>
              <a:ahLst/>
              <a:cxnLst>
                <a:cxn ang="0">
                  <a:pos x="T0" y="T1"/>
                </a:cxn>
                <a:cxn ang="0">
                  <a:pos x="T2" y="T3"/>
                </a:cxn>
                <a:cxn ang="0">
                  <a:pos x="T4" y="T5"/>
                </a:cxn>
                <a:cxn ang="0">
                  <a:pos x="T6" y="T7"/>
                </a:cxn>
                <a:cxn ang="0">
                  <a:pos x="T8" y="T9"/>
                </a:cxn>
                <a:cxn ang="0">
                  <a:pos x="T10" y="T11"/>
                </a:cxn>
              </a:cxnLst>
              <a:rect l="0" t="0" r="r" b="b"/>
              <a:pathLst>
                <a:path w="317" h="120">
                  <a:moveTo>
                    <a:pt x="219" y="94"/>
                  </a:moveTo>
                  <a:cubicBezTo>
                    <a:pt x="219" y="94"/>
                    <a:pt x="131" y="102"/>
                    <a:pt x="102" y="102"/>
                  </a:cubicBezTo>
                  <a:cubicBezTo>
                    <a:pt x="74" y="102"/>
                    <a:pt x="24" y="108"/>
                    <a:pt x="24" y="108"/>
                  </a:cubicBezTo>
                  <a:cubicBezTo>
                    <a:pt x="24" y="108"/>
                    <a:pt x="0" y="90"/>
                    <a:pt x="21" y="76"/>
                  </a:cubicBezTo>
                  <a:cubicBezTo>
                    <a:pt x="43" y="62"/>
                    <a:pt x="188" y="0"/>
                    <a:pt x="252" y="60"/>
                  </a:cubicBezTo>
                  <a:cubicBezTo>
                    <a:pt x="317" y="120"/>
                    <a:pt x="219" y="94"/>
                    <a:pt x="219" y="94"/>
                  </a:cubicBezTo>
                  <a:close/>
                </a:path>
              </a:pathLst>
            </a:custGeom>
            <a:solidFill>
              <a:srgbClr val="C186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6" name="Freeform 120">
              <a:extLst>
                <a:ext uri="{FF2B5EF4-FFF2-40B4-BE49-F238E27FC236}">
                  <a16:creationId xmlns:a16="http://schemas.microsoft.com/office/drawing/2014/main" id="{DEA9CAA8-30C6-89AC-50CE-9B9EB5CF1B64}"/>
                </a:ext>
              </a:extLst>
            </p:cNvPr>
            <p:cNvSpPr>
              <a:spLocks/>
            </p:cNvSpPr>
            <p:nvPr/>
          </p:nvSpPr>
          <p:spPr bwMode="auto">
            <a:xfrm>
              <a:off x="7228671" y="3662047"/>
              <a:ext cx="613609" cy="360630"/>
            </a:xfrm>
            <a:custGeom>
              <a:avLst/>
              <a:gdLst>
                <a:gd name="T0" fmla="*/ 224 w 228"/>
                <a:gd name="T1" fmla="*/ 15 h 133"/>
                <a:gd name="T2" fmla="*/ 47 w 228"/>
                <a:gd name="T3" fmla="*/ 73 h 133"/>
                <a:gd name="T4" fmla="*/ 15 w 228"/>
                <a:gd name="T5" fmla="*/ 95 h 133"/>
                <a:gd name="T6" fmla="*/ 5 w 228"/>
                <a:gd name="T7" fmla="*/ 116 h 133"/>
                <a:gd name="T8" fmla="*/ 64 w 228"/>
                <a:gd name="T9" fmla="*/ 110 h 133"/>
                <a:gd name="T10" fmla="*/ 108 w 228"/>
                <a:gd name="T11" fmla="*/ 79 h 133"/>
                <a:gd name="T12" fmla="*/ 228 w 228"/>
                <a:gd name="T13" fmla="*/ 100 h 133"/>
                <a:gd name="T14" fmla="*/ 224 w 228"/>
                <a:gd name="T15" fmla="*/ 15 h 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8" h="133">
                  <a:moveTo>
                    <a:pt x="224" y="15"/>
                  </a:moveTo>
                  <a:cubicBezTo>
                    <a:pt x="224" y="15"/>
                    <a:pt x="122" y="0"/>
                    <a:pt x="47" y="73"/>
                  </a:cubicBezTo>
                  <a:cubicBezTo>
                    <a:pt x="15" y="95"/>
                    <a:pt x="15" y="95"/>
                    <a:pt x="15" y="95"/>
                  </a:cubicBezTo>
                  <a:cubicBezTo>
                    <a:pt x="15" y="95"/>
                    <a:pt x="0" y="112"/>
                    <a:pt x="5" y="116"/>
                  </a:cubicBezTo>
                  <a:cubicBezTo>
                    <a:pt x="10" y="119"/>
                    <a:pt x="22" y="133"/>
                    <a:pt x="64" y="110"/>
                  </a:cubicBezTo>
                  <a:cubicBezTo>
                    <a:pt x="106" y="87"/>
                    <a:pt x="108" y="79"/>
                    <a:pt x="108" y="79"/>
                  </a:cubicBezTo>
                  <a:cubicBezTo>
                    <a:pt x="108" y="79"/>
                    <a:pt x="214" y="49"/>
                    <a:pt x="228" y="100"/>
                  </a:cubicBezTo>
                  <a:lnTo>
                    <a:pt x="224" y="15"/>
                  </a:lnTo>
                  <a:close/>
                </a:path>
              </a:pathLst>
            </a:custGeom>
            <a:solidFill>
              <a:srgbClr val="C186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7" name="Freeform 121">
              <a:extLst>
                <a:ext uri="{FF2B5EF4-FFF2-40B4-BE49-F238E27FC236}">
                  <a16:creationId xmlns:a16="http://schemas.microsoft.com/office/drawing/2014/main" id="{9FB726FD-1D6D-2D1A-2646-9D2D09799154}"/>
                </a:ext>
              </a:extLst>
            </p:cNvPr>
            <p:cNvSpPr>
              <a:spLocks/>
            </p:cNvSpPr>
            <p:nvPr/>
          </p:nvSpPr>
          <p:spPr bwMode="auto">
            <a:xfrm>
              <a:off x="7234054" y="3370045"/>
              <a:ext cx="1251439" cy="1493653"/>
            </a:xfrm>
            <a:custGeom>
              <a:avLst/>
              <a:gdLst>
                <a:gd name="T0" fmla="*/ 0 w 465"/>
                <a:gd name="T1" fmla="*/ 70 h 551"/>
                <a:gd name="T2" fmla="*/ 127 w 465"/>
                <a:gd name="T3" fmla="*/ 24 h 551"/>
                <a:gd name="T4" fmla="*/ 184 w 465"/>
                <a:gd name="T5" fmla="*/ 39 h 551"/>
                <a:gd name="T6" fmla="*/ 290 w 465"/>
                <a:gd name="T7" fmla="*/ 104 h 551"/>
                <a:gd name="T8" fmla="*/ 354 w 465"/>
                <a:gd name="T9" fmla="*/ 177 h 551"/>
                <a:gd name="T10" fmla="*/ 400 w 465"/>
                <a:gd name="T11" fmla="*/ 435 h 551"/>
                <a:gd name="T12" fmla="*/ 465 w 465"/>
                <a:gd name="T13" fmla="*/ 551 h 551"/>
                <a:gd name="T14" fmla="*/ 210 w 465"/>
                <a:gd name="T15" fmla="*/ 363 h 551"/>
                <a:gd name="T16" fmla="*/ 198 w 465"/>
                <a:gd name="T17" fmla="*/ 137 h 551"/>
                <a:gd name="T18" fmla="*/ 97 w 465"/>
                <a:gd name="T19" fmla="*/ 78 h 551"/>
                <a:gd name="T20" fmla="*/ 18 w 465"/>
                <a:gd name="T21" fmla="*/ 103 h 551"/>
                <a:gd name="T22" fmla="*/ 0 w 465"/>
                <a:gd name="T23" fmla="*/ 70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5" h="551">
                  <a:moveTo>
                    <a:pt x="0" y="70"/>
                  </a:moveTo>
                  <a:cubicBezTo>
                    <a:pt x="0" y="70"/>
                    <a:pt x="124" y="25"/>
                    <a:pt x="127" y="24"/>
                  </a:cubicBezTo>
                  <a:cubicBezTo>
                    <a:pt x="130" y="22"/>
                    <a:pt x="151" y="0"/>
                    <a:pt x="184" y="39"/>
                  </a:cubicBezTo>
                  <a:cubicBezTo>
                    <a:pt x="217" y="77"/>
                    <a:pt x="276" y="102"/>
                    <a:pt x="290" y="104"/>
                  </a:cubicBezTo>
                  <a:cubicBezTo>
                    <a:pt x="304" y="107"/>
                    <a:pt x="344" y="103"/>
                    <a:pt x="354" y="177"/>
                  </a:cubicBezTo>
                  <a:cubicBezTo>
                    <a:pt x="364" y="251"/>
                    <a:pt x="400" y="435"/>
                    <a:pt x="400" y="435"/>
                  </a:cubicBezTo>
                  <a:cubicBezTo>
                    <a:pt x="465" y="551"/>
                    <a:pt x="465" y="551"/>
                    <a:pt x="465" y="551"/>
                  </a:cubicBezTo>
                  <a:cubicBezTo>
                    <a:pt x="210" y="363"/>
                    <a:pt x="210" y="363"/>
                    <a:pt x="210" y="363"/>
                  </a:cubicBezTo>
                  <a:cubicBezTo>
                    <a:pt x="198" y="137"/>
                    <a:pt x="198" y="137"/>
                    <a:pt x="198" y="137"/>
                  </a:cubicBezTo>
                  <a:cubicBezTo>
                    <a:pt x="97" y="78"/>
                    <a:pt x="97" y="78"/>
                    <a:pt x="97" y="78"/>
                  </a:cubicBezTo>
                  <a:cubicBezTo>
                    <a:pt x="18" y="103"/>
                    <a:pt x="18" y="103"/>
                    <a:pt x="18" y="103"/>
                  </a:cubicBezTo>
                  <a:lnTo>
                    <a:pt x="0" y="70"/>
                  </a:lnTo>
                  <a:close/>
                </a:path>
              </a:pathLst>
            </a:custGeom>
            <a:solidFill>
              <a:srgbClr val="C186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8" name="Freeform 122">
              <a:extLst>
                <a:ext uri="{FF2B5EF4-FFF2-40B4-BE49-F238E27FC236}">
                  <a16:creationId xmlns:a16="http://schemas.microsoft.com/office/drawing/2014/main" id="{96A1EC55-E9AF-6F1F-8536-03F398ACED26}"/>
                </a:ext>
              </a:extLst>
            </p:cNvPr>
            <p:cNvSpPr>
              <a:spLocks/>
            </p:cNvSpPr>
            <p:nvPr/>
          </p:nvSpPr>
          <p:spPr bwMode="auto">
            <a:xfrm>
              <a:off x="7621596" y="3697034"/>
              <a:ext cx="495193" cy="613609"/>
            </a:xfrm>
            <a:custGeom>
              <a:avLst/>
              <a:gdLst>
                <a:gd name="T0" fmla="*/ 1 w 184"/>
                <a:gd name="T1" fmla="*/ 0 h 226"/>
                <a:gd name="T2" fmla="*/ 0 w 184"/>
                <a:gd name="T3" fmla="*/ 5 h 226"/>
                <a:gd name="T4" fmla="*/ 35 w 184"/>
                <a:gd name="T5" fmla="*/ 92 h 226"/>
                <a:gd name="T6" fmla="*/ 170 w 184"/>
                <a:gd name="T7" fmla="*/ 226 h 226"/>
                <a:gd name="T8" fmla="*/ 163 w 184"/>
                <a:gd name="T9" fmla="*/ 48 h 226"/>
                <a:gd name="T10" fmla="*/ 1 w 184"/>
                <a:gd name="T11" fmla="*/ 0 h 226"/>
              </a:gdLst>
              <a:ahLst/>
              <a:cxnLst>
                <a:cxn ang="0">
                  <a:pos x="T0" y="T1"/>
                </a:cxn>
                <a:cxn ang="0">
                  <a:pos x="T2" y="T3"/>
                </a:cxn>
                <a:cxn ang="0">
                  <a:pos x="T4" y="T5"/>
                </a:cxn>
                <a:cxn ang="0">
                  <a:pos x="T6" y="T7"/>
                </a:cxn>
                <a:cxn ang="0">
                  <a:pos x="T8" y="T9"/>
                </a:cxn>
                <a:cxn ang="0">
                  <a:pos x="T10" y="T11"/>
                </a:cxn>
              </a:cxnLst>
              <a:rect l="0" t="0" r="r" b="b"/>
              <a:pathLst>
                <a:path w="184" h="226">
                  <a:moveTo>
                    <a:pt x="1" y="0"/>
                  </a:moveTo>
                  <a:cubicBezTo>
                    <a:pt x="0" y="5"/>
                    <a:pt x="0" y="5"/>
                    <a:pt x="0" y="5"/>
                  </a:cubicBezTo>
                  <a:cubicBezTo>
                    <a:pt x="33" y="26"/>
                    <a:pt x="63" y="58"/>
                    <a:pt x="35" y="92"/>
                  </a:cubicBezTo>
                  <a:cubicBezTo>
                    <a:pt x="170" y="226"/>
                    <a:pt x="170" y="226"/>
                    <a:pt x="170" y="226"/>
                  </a:cubicBezTo>
                  <a:cubicBezTo>
                    <a:pt x="170" y="226"/>
                    <a:pt x="184" y="120"/>
                    <a:pt x="163" y="48"/>
                  </a:cubicBezTo>
                  <a:lnTo>
                    <a:pt x="1" y="0"/>
                  </a:lnTo>
                  <a:close/>
                </a:path>
              </a:pathLst>
            </a:custGeom>
            <a:solidFill>
              <a:srgbClr val="C186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9" name="Freeform 123">
              <a:extLst>
                <a:ext uri="{FF2B5EF4-FFF2-40B4-BE49-F238E27FC236}">
                  <a16:creationId xmlns:a16="http://schemas.microsoft.com/office/drawing/2014/main" id="{53B01C5A-07FD-DF2F-6CED-4DFF9588009C}"/>
                </a:ext>
              </a:extLst>
            </p:cNvPr>
            <p:cNvSpPr>
              <a:spLocks/>
            </p:cNvSpPr>
            <p:nvPr/>
          </p:nvSpPr>
          <p:spPr bwMode="auto">
            <a:xfrm>
              <a:off x="8402064" y="3920409"/>
              <a:ext cx="118416" cy="80738"/>
            </a:xfrm>
            <a:custGeom>
              <a:avLst/>
              <a:gdLst>
                <a:gd name="T0" fmla="*/ 0 w 88"/>
                <a:gd name="T1" fmla="*/ 30 h 60"/>
                <a:gd name="T2" fmla="*/ 6 w 88"/>
                <a:gd name="T3" fmla="*/ 0 h 60"/>
                <a:gd name="T4" fmla="*/ 88 w 88"/>
                <a:gd name="T5" fmla="*/ 18 h 60"/>
                <a:gd name="T6" fmla="*/ 76 w 88"/>
                <a:gd name="T7" fmla="*/ 60 h 60"/>
                <a:gd name="T8" fmla="*/ 0 w 88"/>
                <a:gd name="T9" fmla="*/ 30 h 60"/>
              </a:gdLst>
              <a:ahLst/>
              <a:cxnLst>
                <a:cxn ang="0">
                  <a:pos x="T0" y="T1"/>
                </a:cxn>
                <a:cxn ang="0">
                  <a:pos x="T2" y="T3"/>
                </a:cxn>
                <a:cxn ang="0">
                  <a:pos x="T4" y="T5"/>
                </a:cxn>
                <a:cxn ang="0">
                  <a:pos x="T6" y="T7"/>
                </a:cxn>
                <a:cxn ang="0">
                  <a:pos x="T8" y="T9"/>
                </a:cxn>
              </a:cxnLst>
              <a:rect l="0" t="0" r="r" b="b"/>
              <a:pathLst>
                <a:path w="88" h="60">
                  <a:moveTo>
                    <a:pt x="0" y="30"/>
                  </a:moveTo>
                  <a:lnTo>
                    <a:pt x="6" y="0"/>
                  </a:lnTo>
                  <a:lnTo>
                    <a:pt x="88" y="18"/>
                  </a:lnTo>
                  <a:lnTo>
                    <a:pt x="76" y="60"/>
                  </a:lnTo>
                  <a:lnTo>
                    <a:pt x="0" y="30"/>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0" name="Freeform 124">
              <a:extLst>
                <a:ext uri="{FF2B5EF4-FFF2-40B4-BE49-F238E27FC236}">
                  <a16:creationId xmlns:a16="http://schemas.microsoft.com/office/drawing/2014/main" id="{476BD978-68A6-34BC-81B0-7A2CAD31FCEF}"/>
                </a:ext>
              </a:extLst>
            </p:cNvPr>
            <p:cNvSpPr>
              <a:spLocks/>
            </p:cNvSpPr>
            <p:nvPr/>
          </p:nvSpPr>
          <p:spPr bwMode="auto">
            <a:xfrm>
              <a:off x="7958005" y="3789883"/>
              <a:ext cx="610918" cy="165513"/>
            </a:xfrm>
            <a:custGeom>
              <a:avLst/>
              <a:gdLst>
                <a:gd name="T0" fmla="*/ 34 w 227"/>
                <a:gd name="T1" fmla="*/ 18 h 61"/>
                <a:gd name="T2" fmla="*/ 213 w 227"/>
                <a:gd name="T3" fmla="*/ 59 h 61"/>
                <a:gd name="T4" fmla="*/ 218 w 227"/>
                <a:gd name="T5" fmla="*/ 51 h 61"/>
                <a:gd name="T6" fmla="*/ 6 w 227"/>
                <a:gd name="T7" fmla="*/ 0 h 61"/>
                <a:gd name="T8" fmla="*/ 15 w 227"/>
                <a:gd name="T9" fmla="*/ 21 h 61"/>
                <a:gd name="T10" fmla="*/ 34 w 227"/>
                <a:gd name="T11" fmla="*/ 18 h 61"/>
              </a:gdLst>
              <a:ahLst/>
              <a:cxnLst>
                <a:cxn ang="0">
                  <a:pos x="T0" y="T1"/>
                </a:cxn>
                <a:cxn ang="0">
                  <a:pos x="T2" y="T3"/>
                </a:cxn>
                <a:cxn ang="0">
                  <a:pos x="T4" y="T5"/>
                </a:cxn>
                <a:cxn ang="0">
                  <a:pos x="T6" y="T7"/>
                </a:cxn>
                <a:cxn ang="0">
                  <a:pos x="T8" y="T9"/>
                </a:cxn>
                <a:cxn ang="0">
                  <a:pos x="T10" y="T11"/>
                </a:cxn>
              </a:cxnLst>
              <a:rect l="0" t="0" r="r" b="b"/>
              <a:pathLst>
                <a:path w="227" h="61">
                  <a:moveTo>
                    <a:pt x="34" y="18"/>
                  </a:moveTo>
                  <a:cubicBezTo>
                    <a:pt x="213" y="59"/>
                    <a:pt x="213" y="59"/>
                    <a:pt x="213" y="59"/>
                  </a:cubicBezTo>
                  <a:cubicBezTo>
                    <a:pt x="213" y="59"/>
                    <a:pt x="227" y="61"/>
                    <a:pt x="218" y="51"/>
                  </a:cubicBezTo>
                  <a:cubicBezTo>
                    <a:pt x="209" y="40"/>
                    <a:pt x="6" y="0"/>
                    <a:pt x="6" y="0"/>
                  </a:cubicBezTo>
                  <a:cubicBezTo>
                    <a:pt x="6" y="0"/>
                    <a:pt x="0" y="15"/>
                    <a:pt x="15" y="21"/>
                  </a:cubicBezTo>
                  <a:cubicBezTo>
                    <a:pt x="30" y="26"/>
                    <a:pt x="34" y="18"/>
                    <a:pt x="34" y="18"/>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1" name="Freeform 125">
              <a:extLst>
                <a:ext uri="{FF2B5EF4-FFF2-40B4-BE49-F238E27FC236}">
                  <a16:creationId xmlns:a16="http://schemas.microsoft.com/office/drawing/2014/main" id="{9231E5B7-558C-3220-5A3D-838BDD29F9ED}"/>
                </a:ext>
              </a:extLst>
            </p:cNvPr>
            <p:cNvSpPr>
              <a:spLocks/>
            </p:cNvSpPr>
            <p:nvPr/>
          </p:nvSpPr>
          <p:spPr bwMode="auto">
            <a:xfrm>
              <a:off x="8585070" y="4022677"/>
              <a:ext cx="107651" cy="82084"/>
            </a:xfrm>
            <a:custGeom>
              <a:avLst/>
              <a:gdLst>
                <a:gd name="T0" fmla="*/ 0 w 80"/>
                <a:gd name="T1" fmla="*/ 42 h 61"/>
                <a:gd name="T2" fmla="*/ 70 w 80"/>
                <a:gd name="T3" fmla="*/ 61 h 61"/>
                <a:gd name="T4" fmla="*/ 80 w 80"/>
                <a:gd name="T5" fmla="*/ 16 h 61"/>
                <a:gd name="T6" fmla="*/ 12 w 80"/>
                <a:gd name="T7" fmla="*/ 0 h 61"/>
                <a:gd name="T8" fmla="*/ 0 w 80"/>
                <a:gd name="T9" fmla="*/ 42 h 61"/>
              </a:gdLst>
              <a:ahLst/>
              <a:cxnLst>
                <a:cxn ang="0">
                  <a:pos x="T0" y="T1"/>
                </a:cxn>
                <a:cxn ang="0">
                  <a:pos x="T2" y="T3"/>
                </a:cxn>
                <a:cxn ang="0">
                  <a:pos x="T4" y="T5"/>
                </a:cxn>
                <a:cxn ang="0">
                  <a:pos x="T6" y="T7"/>
                </a:cxn>
                <a:cxn ang="0">
                  <a:pos x="T8" y="T9"/>
                </a:cxn>
              </a:cxnLst>
              <a:rect l="0" t="0" r="r" b="b"/>
              <a:pathLst>
                <a:path w="80" h="61">
                  <a:moveTo>
                    <a:pt x="0" y="42"/>
                  </a:moveTo>
                  <a:lnTo>
                    <a:pt x="70" y="61"/>
                  </a:lnTo>
                  <a:lnTo>
                    <a:pt x="80" y="16"/>
                  </a:lnTo>
                  <a:lnTo>
                    <a:pt x="12" y="0"/>
                  </a:lnTo>
                  <a:lnTo>
                    <a:pt x="0" y="42"/>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2" name="Freeform 126">
              <a:extLst>
                <a:ext uri="{FF2B5EF4-FFF2-40B4-BE49-F238E27FC236}">
                  <a16:creationId xmlns:a16="http://schemas.microsoft.com/office/drawing/2014/main" id="{6E60A08B-EBCC-E7CE-94A0-77FF98F4059F}"/>
                </a:ext>
              </a:extLst>
            </p:cNvPr>
            <p:cNvSpPr>
              <a:spLocks/>
            </p:cNvSpPr>
            <p:nvPr/>
          </p:nvSpPr>
          <p:spPr bwMode="auto">
            <a:xfrm>
              <a:off x="6905719" y="3648591"/>
              <a:ext cx="51134" cy="21530"/>
            </a:xfrm>
            <a:custGeom>
              <a:avLst/>
              <a:gdLst>
                <a:gd name="T0" fmla="*/ 36 w 38"/>
                <a:gd name="T1" fmla="*/ 16 h 16"/>
                <a:gd name="T2" fmla="*/ 0 w 38"/>
                <a:gd name="T3" fmla="*/ 4 h 16"/>
                <a:gd name="T4" fmla="*/ 0 w 38"/>
                <a:gd name="T5" fmla="*/ 0 h 16"/>
                <a:gd name="T6" fmla="*/ 38 w 38"/>
                <a:gd name="T7" fmla="*/ 2 h 16"/>
                <a:gd name="T8" fmla="*/ 36 w 38"/>
                <a:gd name="T9" fmla="*/ 16 h 16"/>
              </a:gdLst>
              <a:ahLst/>
              <a:cxnLst>
                <a:cxn ang="0">
                  <a:pos x="T0" y="T1"/>
                </a:cxn>
                <a:cxn ang="0">
                  <a:pos x="T2" y="T3"/>
                </a:cxn>
                <a:cxn ang="0">
                  <a:pos x="T4" y="T5"/>
                </a:cxn>
                <a:cxn ang="0">
                  <a:pos x="T6" y="T7"/>
                </a:cxn>
                <a:cxn ang="0">
                  <a:pos x="T8" y="T9"/>
                </a:cxn>
              </a:cxnLst>
              <a:rect l="0" t="0" r="r" b="b"/>
              <a:pathLst>
                <a:path w="38" h="16">
                  <a:moveTo>
                    <a:pt x="36" y="16"/>
                  </a:moveTo>
                  <a:lnTo>
                    <a:pt x="0" y="4"/>
                  </a:lnTo>
                  <a:lnTo>
                    <a:pt x="0" y="0"/>
                  </a:lnTo>
                  <a:lnTo>
                    <a:pt x="38" y="2"/>
                  </a:lnTo>
                  <a:lnTo>
                    <a:pt x="36" y="16"/>
                  </a:lnTo>
                  <a:close/>
                </a:path>
              </a:pathLst>
            </a:custGeom>
            <a:solidFill>
              <a:srgbClr val="00A3A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3" name="Freeform 127">
              <a:extLst>
                <a:ext uri="{FF2B5EF4-FFF2-40B4-BE49-F238E27FC236}">
                  <a16:creationId xmlns:a16="http://schemas.microsoft.com/office/drawing/2014/main" id="{41E013D8-E2B2-1DB0-034E-8E836A16AAB4}"/>
                </a:ext>
              </a:extLst>
            </p:cNvPr>
            <p:cNvSpPr>
              <a:spLocks/>
            </p:cNvSpPr>
            <p:nvPr/>
          </p:nvSpPr>
          <p:spPr bwMode="auto">
            <a:xfrm>
              <a:off x="6905719" y="3648591"/>
              <a:ext cx="51134" cy="21530"/>
            </a:xfrm>
            <a:custGeom>
              <a:avLst/>
              <a:gdLst>
                <a:gd name="T0" fmla="*/ 36 w 38"/>
                <a:gd name="T1" fmla="*/ 16 h 16"/>
                <a:gd name="T2" fmla="*/ 0 w 38"/>
                <a:gd name="T3" fmla="*/ 4 h 16"/>
                <a:gd name="T4" fmla="*/ 0 w 38"/>
                <a:gd name="T5" fmla="*/ 0 h 16"/>
                <a:gd name="T6" fmla="*/ 38 w 38"/>
                <a:gd name="T7" fmla="*/ 2 h 16"/>
                <a:gd name="T8" fmla="*/ 36 w 38"/>
                <a:gd name="T9" fmla="*/ 16 h 16"/>
              </a:gdLst>
              <a:ahLst/>
              <a:cxnLst>
                <a:cxn ang="0">
                  <a:pos x="T0" y="T1"/>
                </a:cxn>
                <a:cxn ang="0">
                  <a:pos x="T2" y="T3"/>
                </a:cxn>
                <a:cxn ang="0">
                  <a:pos x="T4" y="T5"/>
                </a:cxn>
                <a:cxn ang="0">
                  <a:pos x="T6" y="T7"/>
                </a:cxn>
                <a:cxn ang="0">
                  <a:pos x="T8" y="T9"/>
                </a:cxn>
              </a:cxnLst>
              <a:rect l="0" t="0" r="r" b="b"/>
              <a:pathLst>
                <a:path w="38" h="16">
                  <a:moveTo>
                    <a:pt x="36" y="16"/>
                  </a:moveTo>
                  <a:lnTo>
                    <a:pt x="0" y="4"/>
                  </a:lnTo>
                  <a:lnTo>
                    <a:pt x="0" y="0"/>
                  </a:lnTo>
                  <a:lnTo>
                    <a:pt x="38" y="2"/>
                  </a:lnTo>
                  <a:lnTo>
                    <a:pt x="36"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4" name="Freeform 128">
              <a:extLst>
                <a:ext uri="{FF2B5EF4-FFF2-40B4-BE49-F238E27FC236}">
                  <a16:creationId xmlns:a16="http://schemas.microsoft.com/office/drawing/2014/main" id="{5EDFD4D8-BA51-956D-09A9-A6C2DAFDD6DE}"/>
                </a:ext>
              </a:extLst>
            </p:cNvPr>
            <p:cNvSpPr>
              <a:spLocks/>
            </p:cNvSpPr>
            <p:nvPr/>
          </p:nvSpPr>
          <p:spPr bwMode="auto">
            <a:xfrm>
              <a:off x="6948780" y="3645899"/>
              <a:ext cx="1673968" cy="458862"/>
            </a:xfrm>
            <a:custGeom>
              <a:avLst/>
              <a:gdLst>
                <a:gd name="T0" fmla="*/ 142 w 1244"/>
                <a:gd name="T1" fmla="*/ 85 h 341"/>
                <a:gd name="T2" fmla="*/ 1226 w 1244"/>
                <a:gd name="T3" fmla="*/ 341 h 341"/>
                <a:gd name="T4" fmla="*/ 1244 w 1244"/>
                <a:gd name="T5" fmla="*/ 268 h 341"/>
                <a:gd name="T6" fmla="*/ 158 w 1244"/>
                <a:gd name="T7" fmla="*/ 8 h 341"/>
                <a:gd name="T8" fmla="*/ 4 w 1244"/>
                <a:gd name="T9" fmla="*/ 0 h 341"/>
                <a:gd name="T10" fmla="*/ 0 w 1244"/>
                <a:gd name="T11" fmla="*/ 20 h 341"/>
                <a:gd name="T12" fmla="*/ 142 w 1244"/>
                <a:gd name="T13" fmla="*/ 85 h 341"/>
              </a:gdLst>
              <a:ahLst/>
              <a:cxnLst>
                <a:cxn ang="0">
                  <a:pos x="T0" y="T1"/>
                </a:cxn>
                <a:cxn ang="0">
                  <a:pos x="T2" y="T3"/>
                </a:cxn>
                <a:cxn ang="0">
                  <a:pos x="T4" y="T5"/>
                </a:cxn>
                <a:cxn ang="0">
                  <a:pos x="T6" y="T7"/>
                </a:cxn>
                <a:cxn ang="0">
                  <a:pos x="T8" y="T9"/>
                </a:cxn>
                <a:cxn ang="0">
                  <a:pos x="T10" y="T11"/>
                </a:cxn>
                <a:cxn ang="0">
                  <a:pos x="T12" y="T13"/>
                </a:cxn>
              </a:cxnLst>
              <a:rect l="0" t="0" r="r" b="b"/>
              <a:pathLst>
                <a:path w="1244" h="341">
                  <a:moveTo>
                    <a:pt x="142" y="85"/>
                  </a:moveTo>
                  <a:lnTo>
                    <a:pt x="1226" y="341"/>
                  </a:lnTo>
                  <a:lnTo>
                    <a:pt x="1244" y="268"/>
                  </a:lnTo>
                  <a:lnTo>
                    <a:pt x="158" y="8"/>
                  </a:lnTo>
                  <a:lnTo>
                    <a:pt x="4" y="0"/>
                  </a:lnTo>
                  <a:lnTo>
                    <a:pt x="0" y="20"/>
                  </a:lnTo>
                  <a:lnTo>
                    <a:pt x="142" y="85"/>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5" name="Freeform 129">
              <a:extLst>
                <a:ext uri="{FF2B5EF4-FFF2-40B4-BE49-F238E27FC236}">
                  <a16:creationId xmlns:a16="http://schemas.microsoft.com/office/drawing/2014/main" id="{D8B8C825-AB99-9507-2547-12FE48A9E8DB}"/>
                </a:ext>
              </a:extLst>
            </p:cNvPr>
            <p:cNvSpPr>
              <a:spLocks/>
            </p:cNvSpPr>
            <p:nvPr/>
          </p:nvSpPr>
          <p:spPr bwMode="auto">
            <a:xfrm>
              <a:off x="7145242" y="3659356"/>
              <a:ext cx="1431754" cy="434640"/>
            </a:xfrm>
            <a:custGeom>
              <a:avLst/>
              <a:gdLst>
                <a:gd name="T0" fmla="*/ 1046 w 1064"/>
                <a:gd name="T1" fmla="*/ 323 h 323"/>
                <a:gd name="T2" fmla="*/ 1064 w 1064"/>
                <a:gd name="T3" fmla="*/ 250 h 323"/>
                <a:gd name="T4" fmla="*/ 18 w 1064"/>
                <a:gd name="T5" fmla="*/ 0 h 323"/>
                <a:gd name="T6" fmla="*/ 0 w 1064"/>
                <a:gd name="T7" fmla="*/ 75 h 323"/>
                <a:gd name="T8" fmla="*/ 1046 w 1064"/>
                <a:gd name="T9" fmla="*/ 323 h 323"/>
              </a:gdLst>
              <a:ahLst/>
              <a:cxnLst>
                <a:cxn ang="0">
                  <a:pos x="T0" y="T1"/>
                </a:cxn>
                <a:cxn ang="0">
                  <a:pos x="T2" y="T3"/>
                </a:cxn>
                <a:cxn ang="0">
                  <a:pos x="T4" y="T5"/>
                </a:cxn>
                <a:cxn ang="0">
                  <a:pos x="T6" y="T7"/>
                </a:cxn>
                <a:cxn ang="0">
                  <a:pos x="T8" y="T9"/>
                </a:cxn>
              </a:cxnLst>
              <a:rect l="0" t="0" r="r" b="b"/>
              <a:pathLst>
                <a:path w="1064" h="323">
                  <a:moveTo>
                    <a:pt x="1046" y="323"/>
                  </a:moveTo>
                  <a:lnTo>
                    <a:pt x="1064" y="250"/>
                  </a:lnTo>
                  <a:lnTo>
                    <a:pt x="18" y="0"/>
                  </a:lnTo>
                  <a:lnTo>
                    <a:pt x="0" y="75"/>
                  </a:lnTo>
                  <a:lnTo>
                    <a:pt x="1046" y="323"/>
                  </a:lnTo>
                  <a:close/>
                </a:path>
              </a:pathLst>
            </a:custGeom>
            <a:solidFill>
              <a:srgbClr val="EAAA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6" name="Freeform 130">
              <a:extLst>
                <a:ext uri="{FF2B5EF4-FFF2-40B4-BE49-F238E27FC236}">
                  <a16:creationId xmlns:a16="http://schemas.microsoft.com/office/drawing/2014/main" id="{A9A75EEC-99A5-B280-A29F-82EAF4CE1634}"/>
                </a:ext>
              </a:extLst>
            </p:cNvPr>
            <p:cNvSpPr>
              <a:spLocks/>
            </p:cNvSpPr>
            <p:nvPr/>
          </p:nvSpPr>
          <p:spPr bwMode="auto">
            <a:xfrm>
              <a:off x="7126403" y="3678195"/>
              <a:ext cx="1445211" cy="357939"/>
            </a:xfrm>
            <a:custGeom>
              <a:avLst/>
              <a:gdLst>
                <a:gd name="T0" fmla="*/ 2 w 1074"/>
                <a:gd name="T1" fmla="*/ 12 h 266"/>
                <a:gd name="T2" fmla="*/ 1070 w 1074"/>
                <a:gd name="T3" fmla="*/ 266 h 266"/>
                <a:gd name="T4" fmla="*/ 1074 w 1074"/>
                <a:gd name="T5" fmla="*/ 254 h 266"/>
                <a:gd name="T6" fmla="*/ 0 w 1074"/>
                <a:gd name="T7" fmla="*/ 0 h 266"/>
                <a:gd name="T8" fmla="*/ 2 w 1074"/>
                <a:gd name="T9" fmla="*/ 12 h 266"/>
              </a:gdLst>
              <a:ahLst/>
              <a:cxnLst>
                <a:cxn ang="0">
                  <a:pos x="T0" y="T1"/>
                </a:cxn>
                <a:cxn ang="0">
                  <a:pos x="T2" y="T3"/>
                </a:cxn>
                <a:cxn ang="0">
                  <a:pos x="T4" y="T5"/>
                </a:cxn>
                <a:cxn ang="0">
                  <a:pos x="T6" y="T7"/>
                </a:cxn>
                <a:cxn ang="0">
                  <a:pos x="T8" y="T9"/>
                </a:cxn>
              </a:cxnLst>
              <a:rect l="0" t="0" r="r" b="b"/>
              <a:pathLst>
                <a:path w="1074" h="266">
                  <a:moveTo>
                    <a:pt x="2" y="12"/>
                  </a:moveTo>
                  <a:lnTo>
                    <a:pt x="1070" y="266"/>
                  </a:lnTo>
                  <a:lnTo>
                    <a:pt x="1074" y="254"/>
                  </a:lnTo>
                  <a:lnTo>
                    <a:pt x="0" y="0"/>
                  </a:lnTo>
                  <a:lnTo>
                    <a:pt x="2" y="12"/>
                  </a:lnTo>
                  <a:close/>
                </a:path>
              </a:pathLst>
            </a:custGeom>
            <a:solidFill>
              <a:srgbClr val="D0D2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7" name="Freeform 131">
              <a:extLst>
                <a:ext uri="{FF2B5EF4-FFF2-40B4-BE49-F238E27FC236}">
                  <a16:creationId xmlns:a16="http://schemas.microsoft.com/office/drawing/2014/main" id="{8544D5F3-291B-1CB9-00E1-2C9CB050897F}"/>
                </a:ext>
              </a:extLst>
            </p:cNvPr>
            <p:cNvSpPr>
              <a:spLocks/>
            </p:cNvSpPr>
            <p:nvPr/>
          </p:nvSpPr>
          <p:spPr bwMode="auto">
            <a:xfrm>
              <a:off x="7624287" y="3773735"/>
              <a:ext cx="53825" cy="107651"/>
            </a:xfrm>
            <a:custGeom>
              <a:avLst/>
              <a:gdLst>
                <a:gd name="T0" fmla="*/ 22 w 40"/>
                <a:gd name="T1" fmla="*/ 80 h 80"/>
                <a:gd name="T2" fmla="*/ 40 w 40"/>
                <a:gd name="T3" fmla="*/ 6 h 80"/>
                <a:gd name="T4" fmla="*/ 18 w 40"/>
                <a:gd name="T5" fmla="*/ 0 h 80"/>
                <a:gd name="T6" fmla="*/ 0 w 40"/>
                <a:gd name="T7" fmla="*/ 74 h 80"/>
                <a:gd name="T8" fmla="*/ 22 w 40"/>
                <a:gd name="T9" fmla="*/ 80 h 80"/>
              </a:gdLst>
              <a:ahLst/>
              <a:cxnLst>
                <a:cxn ang="0">
                  <a:pos x="T0" y="T1"/>
                </a:cxn>
                <a:cxn ang="0">
                  <a:pos x="T2" y="T3"/>
                </a:cxn>
                <a:cxn ang="0">
                  <a:pos x="T4" y="T5"/>
                </a:cxn>
                <a:cxn ang="0">
                  <a:pos x="T6" y="T7"/>
                </a:cxn>
                <a:cxn ang="0">
                  <a:pos x="T8" y="T9"/>
                </a:cxn>
              </a:cxnLst>
              <a:rect l="0" t="0" r="r" b="b"/>
              <a:pathLst>
                <a:path w="40" h="80">
                  <a:moveTo>
                    <a:pt x="22" y="80"/>
                  </a:moveTo>
                  <a:lnTo>
                    <a:pt x="40" y="6"/>
                  </a:lnTo>
                  <a:lnTo>
                    <a:pt x="18" y="0"/>
                  </a:lnTo>
                  <a:lnTo>
                    <a:pt x="0" y="74"/>
                  </a:lnTo>
                  <a:lnTo>
                    <a:pt x="22" y="80"/>
                  </a:lnTo>
                  <a:close/>
                </a:path>
              </a:pathLst>
            </a:custGeom>
            <a:solidFill>
              <a:srgbClr val="D0D2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8" name="Freeform 132">
              <a:extLst>
                <a:ext uri="{FF2B5EF4-FFF2-40B4-BE49-F238E27FC236}">
                  <a16:creationId xmlns:a16="http://schemas.microsoft.com/office/drawing/2014/main" id="{113AD487-526E-6D2E-20FF-8D26B1AE553B}"/>
                </a:ext>
              </a:extLst>
            </p:cNvPr>
            <p:cNvSpPr>
              <a:spLocks/>
            </p:cNvSpPr>
            <p:nvPr/>
          </p:nvSpPr>
          <p:spPr bwMode="auto">
            <a:xfrm>
              <a:off x="7094455" y="3405704"/>
              <a:ext cx="933870" cy="411765"/>
            </a:xfrm>
            <a:custGeom>
              <a:avLst/>
              <a:gdLst>
                <a:gd name="T0" fmla="*/ 347 w 347"/>
                <a:gd name="T1" fmla="*/ 99 h 152"/>
                <a:gd name="T2" fmla="*/ 332 w 347"/>
                <a:gd name="T3" fmla="*/ 95 h 152"/>
                <a:gd name="T4" fmla="*/ 286 w 347"/>
                <a:gd name="T5" fmla="*/ 78 h 152"/>
                <a:gd name="T6" fmla="*/ 166 w 347"/>
                <a:gd name="T7" fmla="*/ 25 h 152"/>
                <a:gd name="T8" fmla="*/ 18 w 347"/>
                <a:gd name="T9" fmla="*/ 68 h 152"/>
                <a:gd name="T10" fmla="*/ 8 w 347"/>
                <a:gd name="T11" fmla="*/ 93 h 152"/>
                <a:gd name="T12" fmla="*/ 101 w 347"/>
                <a:gd name="T13" fmla="*/ 106 h 152"/>
                <a:gd name="T14" fmla="*/ 169 w 347"/>
                <a:gd name="T15" fmla="*/ 91 h 152"/>
                <a:gd name="T16" fmla="*/ 233 w 347"/>
                <a:gd name="T17" fmla="*/ 123 h 152"/>
                <a:gd name="T18" fmla="*/ 331 w 347"/>
                <a:gd name="T19" fmla="*/ 152 h 152"/>
                <a:gd name="T20" fmla="*/ 347 w 347"/>
                <a:gd name="T21" fmla="*/ 9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7" h="152">
                  <a:moveTo>
                    <a:pt x="347" y="99"/>
                  </a:moveTo>
                  <a:cubicBezTo>
                    <a:pt x="342" y="97"/>
                    <a:pt x="337" y="96"/>
                    <a:pt x="332" y="95"/>
                  </a:cubicBezTo>
                  <a:cubicBezTo>
                    <a:pt x="332" y="95"/>
                    <a:pt x="291" y="83"/>
                    <a:pt x="286" y="78"/>
                  </a:cubicBezTo>
                  <a:cubicBezTo>
                    <a:pt x="280" y="73"/>
                    <a:pt x="197" y="0"/>
                    <a:pt x="166" y="25"/>
                  </a:cubicBezTo>
                  <a:cubicBezTo>
                    <a:pt x="134" y="51"/>
                    <a:pt x="39" y="72"/>
                    <a:pt x="18" y="68"/>
                  </a:cubicBezTo>
                  <a:cubicBezTo>
                    <a:pt x="18" y="68"/>
                    <a:pt x="0" y="76"/>
                    <a:pt x="8" y="93"/>
                  </a:cubicBezTo>
                  <a:cubicBezTo>
                    <a:pt x="8" y="93"/>
                    <a:pt x="57" y="125"/>
                    <a:pt x="101" y="106"/>
                  </a:cubicBezTo>
                  <a:cubicBezTo>
                    <a:pt x="169" y="91"/>
                    <a:pt x="169" y="91"/>
                    <a:pt x="169" y="91"/>
                  </a:cubicBezTo>
                  <a:cubicBezTo>
                    <a:pt x="169" y="91"/>
                    <a:pt x="203" y="103"/>
                    <a:pt x="233" y="123"/>
                  </a:cubicBezTo>
                  <a:cubicBezTo>
                    <a:pt x="331" y="152"/>
                    <a:pt x="331" y="152"/>
                    <a:pt x="331" y="152"/>
                  </a:cubicBezTo>
                  <a:lnTo>
                    <a:pt x="347" y="99"/>
                  </a:lnTo>
                  <a:close/>
                </a:path>
              </a:pathLst>
            </a:custGeom>
            <a:solidFill>
              <a:srgbClr val="C186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9" name="Freeform 133">
              <a:extLst>
                <a:ext uri="{FF2B5EF4-FFF2-40B4-BE49-F238E27FC236}">
                  <a16:creationId xmlns:a16="http://schemas.microsoft.com/office/drawing/2014/main" id="{238D2A1A-4BB6-465D-964E-EDDB8FF8B54C}"/>
                </a:ext>
              </a:extLst>
            </p:cNvPr>
            <p:cNvSpPr>
              <a:spLocks/>
            </p:cNvSpPr>
            <p:nvPr/>
          </p:nvSpPr>
          <p:spPr bwMode="auto">
            <a:xfrm>
              <a:off x="7143530" y="3556414"/>
              <a:ext cx="110342" cy="48443"/>
            </a:xfrm>
            <a:custGeom>
              <a:avLst/>
              <a:gdLst>
                <a:gd name="T0" fmla="*/ 0 w 41"/>
                <a:gd name="T1" fmla="*/ 9 h 18"/>
                <a:gd name="T2" fmla="*/ 0 w 41"/>
                <a:gd name="T3" fmla="*/ 11 h 18"/>
                <a:gd name="T4" fmla="*/ 41 w 41"/>
                <a:gd name="T5" fmla="*/ 0 h 18"/>
                <a:gd name="T6" fmla="*/ 8 w 41"/>
                <a:gd name="T7" fmla="*/ 2 h 18"/>
                <a:gd name="T8" fmla="*/ 0 w 41"/>
                <a:gd name="T9" fmla="*/ 9 h 18"/>
              </a:gdLst>
              <a:ahLst/>
              <a:cxnLst>
                <a:cxn ang="0">
                  <a:pos x="T0" y="T1"/>
                </a:cxn>
                <a:cxn ang="0">
                  <a:pos x="T2" y="T3"/>
                </a:cxn>
                <a:cxn ang="0">
                  <a:pos x="T4" y="T5"/>
                </a:cxn>
                <a:cxn ang="0">
                  <a:pos x="T6" y="T7"/>
                </a:cxn>
                <a:cxn ang="0">
                  <a:pos x="T8" y="T9"/>
                </a:cxn>
              </a:cxnLst>
              <a:rect l="0" t="0" r="r" b="b"/>
              <a:pathLst>
                <a:path w="41" h="18">
                  <a:moveTo>
                    <a:pt x="0" y="9"/>
                  </a:moveTo>
                  <a:cubicBezTo>
                    <a:pt x="0" y="11"/>
                    <a:pt x="0" y="11"/>
                    <a:pt x="0" y="11"/>
                  </a:cubicBezTo>
                  <a:cubicBezTo>
                    <a:pt x="0" y="11"/>
                    <a:pt x="38" y="18"/>
                    <a:pt x="41" y="0"/>
                  </a:cubicBezTo>
                  <a:cubicBezTo>
                    <a:pt x="26" y="2"/>
                    <a:pt x="14" y="3"/>
                    <a:pt x="8" y="2"/>
                  </a:cubicBezTo>
                  <a:cubicBezTo>
                    <a:pt x="8" y="2"/>
                    <a:pt x="3" y="4"/>
                    <a:pt x="0" y="9"/>
                  </a:cubicBezTo>
                  <a:close/>
                </a:path>
              </a:pathLst>
            </a:custGeom>
            <a:solidFill>
              <a:srgbClr val="FA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0" name="Freeform 134">
              <a:extLst>
                <a:ext uri="{FF2B5EF4-FFF2-40B4-BE49-F238E27FC236}">
                  <a16:creationId xmlns:a16="http://schemas.microsoft.com/office/drawing/2014/main" id="{DE9E9669-6B4E-7734-0BF5-9E2578322E30}"/>
                </a:ext>
              </a:extLst>
            </p:cNvPr>
            <p:cNvSpPr>
              <a:spLocks/>
            </p:cNvSpPr>
            <p:nvPr/>
          </p:nvSpPr>
          <p:spPr bwMode="auto">
            <a:xfrm>
              <a:off x="7034900" y="3629753"/>
              <a:ext cx="1539405" cy="1394077"/>
            </a:xfrm>
            <a:custGeom>
              <a:avLst/>
              <a:gdLst>
                <a:gd name="T0" fmla="*/ 369 w 572"/>
                <a:gd name="T1" fmla="*/ 514 h 514"/>
                <a:gd name="T2" fmla="*/ 294 w 572"/>
                <a:gd name="T3" fmla="*/ 403 h 514"/>
                <a:gd name="T4" fmla="*/ 187 w 572"/>
                <a:gd name="T5" fmla="*/ 301 h 514"/>
                <a:gd name="T6" fmla="*/ 105 w 572"/>
                <a:gd name="T7" fmla="*/ 198 h 514"/>
                <a:gd name="T8" fmla="*/ 25 w 572"/>
                <a:gd name="T9" fmla="*/ 99 h 514"/>
                <a:gd name="T10" fmla="*/ 0 w 572"/>
                <a:gd name="T11" fmla="*/ 39 h 514"/>
                <a:gd name="T12" fmla="*/ 51 w 572"/>
                <a:gd name="T13" fmla="*/ 35 h 514"/>
                <a:gd name="T14" fmla="*/ 90 w 572"/>
                <a:gd name="T15" fmla="*/ 92 h 514"/>
                <a:gd name="T16" fmla="*/ 257 w 572"/>
                <a:gd name="T17" fmla="*/ 112 h 514"/>
                <a:gd name="T18" fmla="*/ 461 w 572"/>
                <a:gd name="T19" fmla="*/ 274 h 514"/>
                <a:gd name="T20" fmla="*/ 498 w 572"/>
                <a:gd name="T21" fmla="*/ 388 h 514"/>
                <a:gd name="T22" fmla="*/ 572 w 572"/>
                <a:gd name="T23" fmla="*/ 481 h 514"/>
                <a:gd name="T24" fmla="*/ 369 w 572"/>
                <a:gd name="T25" fmla="*/ 51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2" h="514">
                  <a:moveTo>
                    <a:pt x="369" y="514"/>
                  </a:moveTo>
                  <a:cubicBezTo>
                    <a:pt x="369" y="514"/>
                    <a:pt x="320" y="428"/>
                    <a:pt x="294" y="403"/>
                  </a:cubicBezTo>
                  <a:cubicBezTo>
                    <a:pt x="268" y="377"/>
                    <a:pt x="197" y="324"/>
                    <a:pt x="187" y="301"/>
                  </a:cubicBezTo>
                  <a:cubicBezTo>
                    <a:pt x="177" y="277"/>
                    <a:pt x="111" y="204"/>
                    <a:pt x="105" y="198"/>
                  </a:cubicBezTo>
                  <a:cubicBezTo>
                    <a:pt x="100" y="192"/>
                    <a:pt x="31" y="132"/>
                    <a:pt x="25" y="99"/>
                  </a:cubicBezTo>
                  <a:cubicBezTo>
                    <a:pt x="19" y="66"/>
                    <a:pt x="0" y="39"/>
                    <a:pt x="0" y="39"/>
                  </a:cubicBezTo>
                  <a:cubicBezTo>
                    <a:pt x="0" y="39"/>
                    <a:pt x="5" y="0"/>
                    <a:pt x="51" y="35"/>
                  </a:cubicBezTo>
                  <a:cubicBezTo>
                    <a:pt x="96" y="71"/>
                    <a:pt x="90" y="92"/>
                    <a:pt x="90" y="92"/>
                  </a:cubicBezTo>
                  <a:cubicBezTo>
                    <a:pt x="90" y="92"/>
                    <a:pt x="216" y="180"/>
                    <a:pt x="257" y="112"/>
                  </a:cubicBezTo>
                  <a:cubicBezTo>
                    <a:pt x="461" y="274"/>
                    <a:pt x="461" y="274"/>
                    <a:pt x="461" y="274"/>
                  </a:cubicBezTo>
                  <a:cubicBezTo>
                    <a:pt x="461" y="274"/>
                    <a:pt x="470" y="363"/>
                    <a:pt x="498" y="388"/>
                  </a:cubicBezTo>
                  <a:cubicBezTo>
                    <a:pt x="525" y="413"/>
                    <a:pt x="572" y="481"/>
                    <a:pt x="572" y="481"/>
                  </a:cubicBezTo>
                  <a:lnTo>
                    <a:pt x="369" y="514"/>
                  </a:lnTo>
                  <a:close/>
                </a:path>
              </a:pathLst>
            </a:custGeom>
            <a:solidFill>
              <a:srgbClr val="C186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1" name="Freeform 135">
              <a:extLst>
                <a:ext uri="{FF2B5EF4-FFF2-40B4-BE49-F238E27FC236}">
                  <a16:creationId xmlns:a16="http://schemas.microsoft.com/office/drawing/2014/main" id="{E0D2E71F-2638-93BA-DC2A-E5441C830A79}"/>
                </a:ext>
              </a:extLst>
            </p:cNvPr>
            <p:cNvSpPr>
              <a:spLocks/>
            </p:cNvSpPr>
            <p:nvPr/>
          </p:nvSpPr>
          <p:spPr bwMode="auto">
            <a:xfrm>
              <a:off x="7034900" y="3697034"/>
              <a:ext cx="148020" cy="146674"/>
            </a:xfrm>
            <a:custGeom>
              <a:avLst/>
              <a:gdLst>
                <a:gd name="T0" fmla="*/ 9 w 55"/>
                <a:gd name="T1" fmla="*/ 0 h 54"/>
                <a:gd name="T2" fmla="*/ 22 w 55"/>
                <a:gd name="T3" fmla="*/ 54 h 54"/>
                <a:gd name="T4" fmla="*/ 0 w 55"/>
                <a:gd name="T5" fmla="*/ 14 h 54"/>
                <a:gd name="T6" fmla="*/ 9 w 55"/>
                <a:gd name="T7" fmla="*/ 0 h 54"/>
              </a:gdLst>
              <a:ahLst/>
              <a:cxnLst>
                <a:cxn ang="0">
                  <a:pos x="T0" y="T1"/>
                </a:cxn>
                <a:cxn ang="0">
                  <a:pos x="T2" y="T3"/>
                </a:cxn>
                <a:cxn ang="0">
                  <a:pos x="T4" y="T5"/>
                </a:cxn>
                <a:cxn ang="0">
                  <a:pos x="T6" y="T7"/>
                </a:cxn>
              </a:cxnLst>
              <a:rect l="0" t="0" r="r" b="b"/>
              <a:pathLst>
                <a:path w="55" h="54">
                  <a:moveTo>
                    <a:pt x="9" y="0"/>
                  </a:moveTo>
                  <a:cubicBezTo>
                    <a:pt x="9" y="0"/>
                    <a:pt x="55" y="31"/>
                    <a:pt x="22" y="54"/>
                  </a:cubicBezTo>
                  <a:cubicBezTo>
                    <a:pt x="22" y="54"/>
                    <a:pt x="5" y="16"/>
                    <a:pt x="0" y="14"/>
                  </a:cubicBezTo>
                  <a:cubicBezTo>
                    <a:pt x="0" y="14"/>
                    <a:pt x="3" y="1"/>
                    <a:pt x="9" y="0"/>
                  </a:cubicBezTo>
                  <a:close/>
                </a:path>
              </a:pathLst>
            </a:custGeom>
            <a:solidFill>
              <a:srgbClr val="FA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2" name="Freeform 136">
              <a:extLst>
                <a:ext uri="{FF2B5EF4-FFF2-40B4-BE49-F238E27FC236}">
                  <a16:creationId xmlns:a16="http://schemas.microsoft.com/office/drawing/2014/main" id="{114AF4F5-5B98-06C0-0891-B78D49D0A137}"/>
                </a:ext>
              </a:extLst>
            </p:cNvPr>
            <p:cNvSpPr>
              <a:spLocks/>
            </p:cNvSpPr>
            <p:nvPr/>
          </p:nvSpPr>
          <p:spPr bwMode="auto">
            <a:xfrm>
              <a:off x="7756159" y="4529981"/>
              <a:ext cx="691656" cy="444059"/>
            </a:xfrm>
            <a:custGeom>
              <a:avLst/>
              <a:gdLst>
                <a:gd name="T0" fmla="*/ 480 w 514"/>
                <a:gd name="T1" fmla="*/ 0 h 330"/>
                <a:gd name="T2" fmla="*/ 0 w 514"/>
                <a:gd name="T3" fmla="*/ 193 h 330"/>
                <a:gd name="T4" fmla="*/ 78 w 514"/>
                <a:gd name="T5" fmla="*/ 330 h 330"/>
                <a:gd name="T6" fmla="*/ 514 w 514"/>
                <a:gd name="T7" fmla="*/ 105 h 330"/>
                <a:gd name="T8" fmla="*/ 480 w 514"/>
                <a:gd name="T9" fmla="*/ 0 h 330"/>
              </a:gdLst>
              <a:ahLst/>
              <a:cxnLst>
                <a:cxn ang="0">
                  <a:pos x="T0" y="T1"/>
                </a:cxn>
                <a:cxn ang="0">
                  <a:pos x="T2" y="T3"/>
                </a:cxn>
                <a:cxn ang="0">
                  <a:pos x="T4" y="T5"/>
                </a:cxn>
                <a:cxn ang="0">
                  <a:pos x="T6" y="T7"/>
                </a:cxn>
                <a:cxn ang="0">
                  <a:pos x="T8" y="T9"/>
                </a:cxn>
              </a:cxnLst>
              <a:rect l="0" t="0" r="r" b="b"/>
              <a:pathLst>
                <a:path w="514" h="330">
                  <a:moveTo>
                    <a:pt x="480" y="0"/>
                  </a:moveTo>
                  <a:lnTo>
                    <a:pt x="0" y="193"/>
                  </a:lnTo>
                  <a:lnTo>
                    <a:pt x="78" y="330"/>
                  </a:lnTo>
                  <a:lnTo>
                    <a:pt x="514" y="105"/>
                  </a:lnTo>
                  <a:lnTo>
                    <a:pt x="4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3" name="Freeform: Shape 82">
              <a:extLst>
                <a:ext uri="{FF2B5EF4-FFF2-40B4-BE49-F238E27FC236}">
                  <a16:creationId xmlns:a16="http://schemas.microsoft.com/office/drawing/2014/main" id="{5EF1997C-D370-78CD-D9A8-FD87A0560291}"/>
                </a:ext>
              </a:extLst>
            </p:cNvPr>
            <p:cNvSpPr>
              <a:spLocks/>
            </p:cNvSpPr>
            <p:nvPr/>
          </p:nvSpPr>
          <p:spPr bwMode="auto">
            <a:xfrm>
              <a:off x="7785763" y="4634941"/>
              <a:ext cx="1358237" cy="1170547"/>
            </a:xfrm>
            <a:custGeom>
              <a:avLst/>
              <a:gdLst>
                <a:gd name="connsiteX0" fmla="*/ 787400 w 1602368"/>
                <a:gd name="connsiteY0" fmla="*/ 0 h 1380943"/>
                <a:gd name="connsiteX1" fmla="*/ 1602368 w 1602368"/>
                <a:gd name="connsiteY1" fmla="*/ 1380943 h 1380943"/>
                <a:gd name="connsiteX2" fmla="*/ 549286 w 1602368"/>
                <a:gd name="connsiteY2" fmla="*/ 1380943 h 1380943"/>
                <a:gd name="connsiteX3" fmla="*/ 0 w 1602368"/>
                <a:gd name="connsiteY3" fmla="*/ 320675 h 1380943"/>
              </a:gdLst>
              <a:ahLst/>
              <a:cxnLst>
                <a:cxn ang="0">
                  <a:pos x="connsiteX0" y="connsiteY0"/>
                </a:cxn>
                <a:cxn ang="0">
                  <a:pos x="connsiteX1" y="connsiteY1"/>
                </a:cxn>
                <a:cxn ang="0">
                  <a:pos x="connsiteX2" y="connsiteY2"/>
                </a:cxn>
                <a:cxn ang="0">
                  <a:pos x="connsiteX3" y="connsiteY3"/>
                </a:cxn>
              </a:cxnLst>
              <a:rect l="l" t="t" r="r" b="b"/>
              <a:pathLst>
                <a:path w="1602368" h="1380943">
                  <a:moveTo>
                    <a:pt x="787400" y="0"/>
                  </a:moveTo>
                  <a:lnTo>
                    <a:pt x="1602368" y="1380943"/>
                  </a:lnTo>
                  <a:lnTo>
                    <a:pt x="549286" y="1380943"/>
                  </a:lnTo>
                  <a:lnTo>
                    <a:pt x="0" y="320675"/>
                  </a:lnTo>
                  <a:close/>
                </a:path>
              </a:pathLst>
            </a:custGeom>
            <a:solidFill>
              <a:srgbClr val="0A28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4" name="Rectangle 88">
              <a:extLst>
                <a:ext uri="{FF2B5EF4-FFF2-40B4-BE49-F238E27FC236}">
                  <a16:creationId xmlns:a16="http://schemas.microsoft.com/office/drawing/2014/main" id="{70A0EBB5-B6D3-709D-84CF-F095CD7F257F}"/>
                </a:ext>
              </a:extLst>
            </p:cNvPr>
            <p:cNvSpPr>
              <a:spLocks noChangeArrowheads="1"/>
            </p:cNvSpPr>
            <p:nvPr/>
          </p:nvSpPr>
          <p:spPr bwMode="auto">
            <a:xfrm>
              <a:off x="6596223" y="2227332"/>
              <a:ext cx="1420989" cy="56517"/>
            </a:xfrm>
            <a:prstGeom prst="rect">
              <a:avLst/>
            </a:prstGeom>
            <a:solidFill>
              <a:srgbClr val="B9B7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8" name="Group 7">
            <a:extLst>
              <a:ext uri="{FF2B5EF4-FFF2-40B4-BE49-F238E27FC236}">
                <a16:creationId xmlns:a16="http://schemas.microsoft.com/office/drawing/2014/main" id="{B585C759-44F9-0BCE-5D0A-77FA98479A6F}"/>
              </a:ext>
            </a:extLst>
          </p:cNvPr>
          <p:cNvGrpSpPr/>
          <p:nvPr/>
        </p:nvGrpSpPr>
        <p:grpSpPr>
          <a:xfrm>
            <a:off x="1921927" y="2837808"/>
            <a:ext cx="7039603" cy="3639894"/>
            <a:chOff x="1972446" y="2576394"/>
            <a:chExt cx="7039603" cy="3639894"/>
          </a:xfrm>
        </p:grpSpPr>
        <p:pic>
          <p:nvPicPr>
            <p:cNvPr id="7" name="Picture 6">
              <a:extLst>
                <a:ext uri="{FF2B5EF4-FFF2-40B4-BE49-F238E27FC236}">
                  <a16:creationId xmlns:a16="http://schemas.microsoft.com/office/drawing/2014/main" id="{E781CA66-9DFE-EB77-C737-ABB04DBAC3D9}"/>
                </a:ext>
              </a:extLst>
            </p:cNvPr>
            <p:cNvPicPr>
              <a:picLocks noChangeAspect="1"/>
            </p:cNvPicPr>
            <p:nvPr/>
          </p:nvPicPr>
          <p:blipFill rotWithShape="1">
            <a:blip r:embed="rId4"/>
            <a:srcRect l="1382" t="1567" r="4187"/>
            <a:stretch/>
          </p:blipFill>
          <p:spPr>
            <a:xfrm>
              <a:off x="2781661" y="2576394"/>
              <a:ext cx="6230388" cy="3639894"/>
            </a:xfrm>
            <a:prstGeom prst="rect">
              <a:avLst/>
            </a:prstGeom>
            <a:ln>
              <a:solidFill>
                <a:schemeClr val="bg2">
                  <a:lumMod val="75000"/>
                </a:schemeClr>
              </a:solidFill>
            </a:ln>
          </p:spPr>
        </p:pic>
        <p:pic>
          <p:nvPicPr>
            <p:cNvPr id="1026" name="Picture 2">
              <a:extLst>
                <a:ext uri="{FF2B5EF4-FFF2-40B4-BE49-F238E27FC236}">
                  <a16:creationId xmlns:a16="http://schemas.microsoft.com/office/drawing/2014/main" id="{6093B301-C82B-E93A-38EE-B5EE6100785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2446" y="5876125"/>
              <a:ext cx="1009650" cy="304800"/>
            </a:xfrm>
            <a:prstGeom prst="rect">
              <a:avLst/>
            </a:prstGeom>
            <a:noFill/>
            <a:extLst>
              <a:ext uri="{909E8E84-426E-40DD-AFC4-6F175D3DCCD1}">
                <a14:hiddenFill xmlns:a14="http://schemas.microsoft.com/office/drawing/2010/main">
                  <a:solidFill>
                    <a:srgbClr val="FFFFFF"/>
                  </a:solidFill>
                </a14:hiddenFill>
              </a:ext>
            </a:extLst>
          </p:spPr>
        </p:pic>
      </p:grpSp>
      <p:pic>
        <p:nvPicPr>
          <p:cNvPr id="3" name="Picture 2" descr="A qr code with a logo&#10;&#10;Description automatically generated with low confidence">
            <a:extLst>
              <a:ext uri="{FF2B5EF4-FFF2-40B4-BE49-F238E27FC236}">
                <a16:creationId xmlns:a16="http://schemas.microsoft.com/office/drawing/2014/main" id="{610D0801-F487-D344-1310-235F3C9DE7E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6086" y="3426320"/>
            <a:ext cx="1601767" cy="1989395"/>
          </a:xfrm>
          <a:prstGeom prst="rect">
            <a:avLst/>
          </a:prstGeom>
        </p:spPr>
      </p:pic>
    </p:spTree>
    <p:custDataLst>
      <p:tags r:id="rId1"/>
    </p:custDataLst>
    <p:extLst>
      <p:ext uri="{BB962C8B-B14F-4D97-AF65-F5344CB8AC3E}">
        <p14:creationId xmlns:p14="http://schemas.microsoft.com/office/powerpoint/2010/main" val="42237136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8A8EDC-8B59-854C-4C38-21CCF0056BCA}"/>
              </a:ext>
            </a:extLst>
          </p:cNvPr>
          <p:cNvSpPr>
            <a:spLocks noGrp="1"/>
          </p:cNvSpPr>
          <p:nvPr>
            <p:ph type="body" sz="quarter" idx="10"/>
          </p:nvPr>
        </p:nvSpPr>
        <p:spPr>
          <a:xfrm>
            <a:off x="388799" y="1304724"/>
            <a:ext cx="5393934" cy="5248476"/>
          </a:xfrm>
        </p:spPr>
        <p:txBody>
          <a:bodyPr>
            <a:normAutofit/>
          </a:bodyPr>
          <a:lstStyle/>
          <a:p>
            <a:pPr marL="342900" indent="-342900">
              <a:buAutoNum type="arabicPeriod"/>
            </a:pPr>
            <a:r>
              <a:rPr lang="en-US" sz="1400">
                <a:effectLst/>
                <a:latin typeface="Calibri" panose="020F0502020204030204" pitchFamily="34" charset="0"/>
              </a:rPr>
              <a:t>Fill in the blank: "The Initial Damage Assessment Form is used to ____________________________________for the purpose of meeting a county threshold for a declaration.”</a:t>
            </a:r>
          </a:p>
          <a:p>
            <a:pPr marL="457200" indent="-457200" defTabSz="457200">
              <a:buNone/>
            </a:pPr>
            <a:r>
              <a:rPr lang="en-US" sz="1400" i="1">
                <a:latin typeface="Calibri" panose="020F0502020204030204" pitchFamily="34" charset="0"/>
              </a:rPr>
              <a:t>	</a:t>
            </a:r>
            <a:r>
              <a:rPr lang="en-US" sz="1200" i="1">
                <a:effectLst/>
                <a:latin typeface="Calibri" panose="020F0502020204030204" pitchFamily="34" charset="0"/>
              </a:rPr>
              <a:t>Navigation: Damage Assessment &gt; Initial Damage Assessment (F-ROC-FOR-005)</a:t>
            </a:r>
          </a:p>
          <a:p>
            <a:pPr marL="342900" marR="0" indent="-342900">
              <a:spcBef>
                <a:spcPts val="600"/>
              </a:spcBef>
              <a:spcAft>
                <a:spcPts val="0"/>
              </a:spcAft>
              <a:buFont typeface="+mj-lt"/>
              <a:buAutoNum type="arabicPeriod" startAt="2"/>
            </a:pPr>
            <a:r>
              <a:rPr lang="en-US" sz="1400">
                <a:effectLst/>
                <a:latin typeface="Calibri" panose="020F0502020204030204" pitchFamily="34" charset="0"/>
              </a:rPr>
              <a:t>How many inches minimum in diameter must an incident-damaged tree be in order for FEMA to consider it hazardous and eligible for removal?</a:t>
            </a:r>
          </a:p>
          <a:p>
            <a:pPr marL="804863" marR="0" indent="-341313">
              <a:spcBef>
                <a:spcPts val="0"/>
              </a:spcBef>
              <a:spcAft>
                <a:spcPts val="0"/>
              </a:spcAft>
              <a:buFont typeface="Arial" panose="020B0604020202020204" pitchFamily="34" charset="0"/>
              <a:buChar char="•"/>
            </a:pPr>
            <a:r>
              <a:rPr lang="en-US" sz="1400" i="1">
                <a:effectLst/>
                <a:latin typeface="Calibri" panose="020F0502020204030204" pitchFamily="34" charset="0"/>
              </a:rPr>
              <a:t>BONUS</a:t>
            </a:r>
            <a:r>
              <a:rPr lang="en-US" sz="1400">
                <a:effectLst/>
                <a:latin typeface="Calibri" panose="020F0502020204030204" pitchFamily="34" charset="0"/>
              </a:rPr>
              <a:t>: Name one (or more) additional eligibility criteria for hazardous tree removal</a:t>
            </a:r>
          </a:p>
          <a:p>
            <a:pPr marL="457200" indent="0" defTabSz="457200">
              <a:buNone/>
            </a:pPr>
            <a:r>
              <a:rPr lang="en-US" sz="1200" i="1">
                <a:latin typeface="Calibri" panose="020F0502020204030204" pitchFamily="34" charset="0"/>
              </a:rPr>
              <a:t>Navigation: Debris &gt; Leaner-Hanger-Stump Guidance (F-ROC-GUI-005)</a:t>
            </a:r>
          </a:p>
          <a:p>
            <a:pPr marL="347663" indent="-347663">
              <a:buFont typeface="+mj-lt"/>
              <a:buAutoNum type="arabicPeriod" startAt="3"/>
            </a:pPr>
            <a:r>
              <a:rPr lang="en-US" sz="1400">
                <a:latin typeface="Calibri" panose="020F0502020204030204" pitchFamily="34" charset="0"/>
              </a:rPr>
              <a:t>On page 1 of the Donated Resources Daily Activity Report, what is the definition of the following?</a:t>
            </a:r>
          </a:p>
          <a:p>
            <a:pPr marL="804863" indent="-347663" defTabSz="457200">
              <a:spcBef>
                <a:spcPts val="0"/>
              </a:spcBef>
            </a:pPr>
            <a:r>
              <a:rPr lang="en-US" sz="1400">
                <a:effectLst/>
                <a:latin typeface="Calibri" panose="020F0502020204030204" pitchFamily="34" charset="0"/>
              </a:rPr>
              <a:t>Receiving Representative –</a:t>
            </a:r>
          </a:p>
          <a:p>
            <a:pPr marL="804863" indent="-347663" defTabSz="457200">
              <a:spcBef>
                <a:spcPts val="0"/>
              </a:spcBef>
            </a:pPr>
            <a:r>
              <a:rPr lang="en-US" sz="1400">
                <a:effectLst/>
                <a:latin typeface="Calibri" panose="020F0502020204030204" pitchFamily="34" charset="0"/>
              </a:rPr>
              <a:t>Providing Representative –</a:t>
            </a:r>
          </a:p>
          <a:p>
            <a:pPr marL="457200" indent="-457200" defTabSz="457200">
              <a:buNone/>
            </a:pPr>
            <a:r>
              <a:rPr lang="en-US" sz="1200" i="1">
                <a:effectLst/>
                <a:latin typeface="Calibri" panose="020F0502020204030204" pitchFamily="34" charset="0"/>
              </a:rPr>
              <a:t>	Navigation: Donated Resources &gt; Donated Resources Activity Report - Daily Log (F-ROC-LOG-011) (PDF VERSION)</a:t>
            </a:r>
          </a:p>
          <a:p>
            <a:pPr marL="342900" indent="-342900">
              <a:buFont typeface="+mj-lt"/>
              <a:buAutoNum type="arabicPeriod" startAt="4"/>
            </a:pPr>
            <a:r>
              <a:rPr lang="en-US" sz="1400">
                <a:effectLst/>
                <a:latin typeface="Calibri" panose="020F0502020204030204" pitchFamily="34" charset="0"/>
              </a:rPr>
              <a:t>True or False: One of the top 10 Procurement Under Grant Mistakes is continuing work under a sole-source contract after the urgent need has ended.</a:t>
            </a:r>
          </a:p>
          <a:p>
            <a:pPr marL="457200" indent="0">
              <a:buNone/>
            </a:pPr>
            <a:r>
              <a:rPr lang="en-US" sz="1200" i="1">
                <a:effectLst/>
                <a:latin typeface="Calibri" panose="020F0502020204030204" pitchFamily="34" charset="0"/>
              </a:rPr>
              <a:t>Navigation: FEMA Policies and Fact Sheets &gt;  FEMA PDAT - Top 10 Procurement Under Grant Mistakes</a:t>
            </a:r>
          </a:p>
          <a:p>
            <a:pPr marL="457200" indent="-457200" defTabSz="457200">
              <a:buNone/>
            </a:pPr>
            <a:endParaRPr lang="en-US" sz="1050" i="1">
              <a:effectLst/>
              <a:latin typeface="Calibri" panose="020F0502020204030204" pitchFamily="34" charset="0"/>
            </a:endParaRPr>
          </a:p>
          <a:p>
            <a:pPr marL="0" indent="0">
              <a:buNone/>
            </a:pPr>
            <a:endParaRPr lang="en-US"/>
          </a:p>
        </p:txBody>
      </p:sp>
      <p:sp>
        <p:nvSpPr>
          <p:cNvPr id="3" name="Title 2">
            <a:extLst>
              <a:ext uri="{FF2B5EF4-FFF2-40B4-BE49-F238E27FC236}">
                <a16:creationId xmlns:a16="http://schemas.microsoft.com/office/drawing/2014/main" id="{C484EA48-C5A5-7DCC-1BDD-AF98A40363C9}"/>
              </a:ext>
            </a:extLst>
          </p:cNvPr>
          <p:cNvSpPr>
            <a:spLocks noGrp="1"/>
          </p:cNvSpPr>
          <p:nvPr>
            <p:ph type="title"/>
          </p:nvPr>
        </p:nvSpPr>
        <p:spPr/>
        <p:txBody>
          <a:bodyPr/>
          <a:lstStyle/>
          <a:p>
            <a:r>
              <a:rPr lang="en-US">
                <a:latin typeface="+mn-lt"/>
              </a:rPr>
              <a:t>Group Activity – Standardized Forms</a:t>
            </a:r>
            <a:endParaRPr lang="en-US"/>
          </a:p>
        </p:txBody>
      </p:sp>
      <p:sp>
        <p:nvSpPr>
          <p:cNvPr id="4" name="Text Placeholder 1">
            <a:extLst>
              <a:ext uri="{FF2B5EF4-FFF2-40B4-BE49-F238E27FC236}">
                <a16:creationId xmlns:a16="http://schemas.microsoft.com/office/drawing/2014/main" id="{24E5A2C7-5A79-48A3-0E1B-CC763FA1CBC1}"/>
              </a:ext>
            </a:extLst>
          </p:cNvPr>
          <p:cNvSpPr txBox="1">
            <a:spLocks/>
          </p:cNvSpPr>
          <p:nvPr/>
        </p:nvSpPr>
        <p:spPr>
          <a:xfrm>
            <a:off x="6409269" y="1304724"/>
            <a:ext cx="5647264" cy="512994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indent="-342900">
              <a:spcAft>
                <a:spcPts val="0"/>
              </a:spcAft>
              <a:buFont typeface="+mj-lt"/>
              <a:buAutoNum type="arabicPeriod" startAt="5"/>
            </a:pPr>
            <a:r>
              <a:rPr lang="en-US" sz="1400">
                <a:latin typeface="Calibri" panose="020F0502020204030204" pitchFamily="34" charset="0"/>
              </a:rPr>
              <a:t>Fill in the blank of the following definition:</a:t>
            </a:r>
          </a:p>
          <a:p>
            <a:pPr marL="347663" marR="0" indent="0">
              <a:spcAft>
                <a:spcPts val="0"/>
              </a:spcAft>
              <a:buNone/>
              <a:tabLst>
                <a:tab pos="347663" algn="l"/>
              </a:tabLst>
            </a:pPr>
            <a:r>
              <a:rPr lang="en-US" sz="1400">
                <a:latin typeface="Calibri" panose="020F0502020204030204" pitchFamily="34" charset="0"/>
              </a:rPr>
              <a:t>Disaster Readiness Assessment (DRA): The Disaster Readiness Assessment is a questionnaire completed _______________ that evaluates the Applicant’s __________________ in the Public Assistance program</a:t>
            </a:r>
          </a:p>
          <a:p>
            <a:pPr marL="457200" indent="0">
              <a:buNone/>
            </a:pPr>
            <a:r>
              <a:rPr lang="en-US" sz="1200" i="1">
                <a:effectLst/>
                <a:latin typeface="Calibri" panose="020F0502020204030204" pitchFamily="34" charset="0"/>
              </a:rPr>
              <a:t>Navigation: F-ROC Request Form &gt;  2023-2024 F-ROC Participation Request Form for Website</a:t>
            </a:r>
            <a:endParaRPr lang="en-US" sz="1200">
              <a:effectLst/>
              <a:latin typeface="Calibri" panose="020F0502020204030204" pitchFamily="34" charset="0"/>
            </a:endParaRPr>
          </a:p>
          <a:p>
            <a:pPr marL="228600" marR="0" indent="-228600">
              <a:spcBef>
                <a:spcPts val="600"/>
              </a:spcBef>
              <a:spcAft>
                <a:spcPts val="0"/>
              </a:spcAft>
              <a:buFont typeface="+mj-lt"/>
              <a:buAutoNum type="arabicPeriod" startAt="6"/>
            </a:pPr>
            <a:r>
              <a:rPr lang="en-US" sz="1400">
                <a:effectLst/>
                <a:latin typeface="Calibri" panose="020F0502020204030204" pitchFamily="34" charset="0"/>
              </a:rPr>
              <a:t>True or False: The PDMG is a group of several points-of-contact assigned to provide customer service to Applicants throughout the Assistance process.</a:t>
            </a:r>
          </a:p>
          <a:p>
            <a:pPr marL="457200" marR="0" indent="0">
              <a:spcBef>
                <a:spcPts val="0"/>
              </a:spcBef>
              <a:spcAft>
                <a:spcPts val="0"/>
              </a:spcAft>
              <a:buNone/>
            </a:pPr>
            <a:r>
              <a:rPr lang="en-US" sz="1200" i="1">
                <a:effectLst/>
                <a:latin typeface="Calibri" panose="020F0502020204030204" pitchFamily="34" charset="0"/>
              </a:rPr>
              <a:t>Navigation: Informational One Pagers &gt; </a:t>
            </a:r>
            <a:r>
              <a:rPr lang="en-US" sz="1200" i="1" err="1">
                <a:effectLst/>
                <a:latin typeface="Calibri" panose="020F0502020204030204" pitchFamily="34" charset="0"/>
              </a:rPr>
              <a:t>WhatToDo_Event_Color_Final</a:t>
            </a:r>
            <a:endParaRPr lang="en-US" sz="1200" i="1">
              <a:effectLst/>
              <a:latin typeface="Calibri" panose="020F0502020204030204" pitchFamily="34" charset="0"/>
            </a:endParaRPr>
          </a:p>
          <a:p>
            <a:pPr marL="347663" indent="-347663">
              <a:buFont typeface="+mj-lt"/>
              <a:buAutoNum type="arabicPeriod" startAt="7"/>
            </a:pPr>
            <a:r>
              <a:rPr lang="en-US" sz="1400">
                <a:latin typeface="Calibri" panose="020F0502020204030204" pitchFamily="34" charset="0"/>
              </a:rPr>
              <a:t>Which of the following is NOT one the required fields on the On-Hand Materials &amp; Supply Usage Log:</a:t>
            </a:r>
          </a:p>
          <a:p>
            <a:pPr marL="457200" lvl="1" indent="0">
              <a:buNone/>
            </a:pPr>
            <a:r>
              <a:rPr lang="en-US" sz="1200" i="1">
                <a:latin typeface="Calibri" panose="020F0502020204030204" pitchFamily="34" charset="0"/>
              </a:rPr>
              <a:t>Navigation: Labor, Equipment, Materials &gt; On-Hand Materials &amp; Supply Usage Log (F-ROC-LOG-004) (PDF VERSION)</a:t>
            </a:r>
          </a:p>
          <a:p>
            <a:pPr marL="457200" lvl="1" indent="0">
              <a:buNone/>
            </a:pPr>
            <a:endParaRPr lang="en-US" sz="1100" i="1">
              <a:latin typeface="Calibri" panose="020F0502020204030204" pitchFamily="34" charset="0"/>
            </a:endParaRPr>
          </a:p>
          <a:p>
            <a:pPr marL="457200" lvl="1" indent="0">
              <a:buNone/>
            </a:pPr>
            <a:endParaRPr lang="en-US" sz="1100" i="1">
              <a:latin typeface="Calibri" panose="020F0502020204030204" pitchFamily="34" charset="0"/>
            </a:endParaRPr>
          </a:p>
          <a:p>
            <a:pPr marL="457200" lvl="1" indent="0">
              <a:buNone/>
            </a:pPr>
            <a:endParaRPr lang="en-US" sz="1100" i="1">
              <a:latin typeface="Calibri" panose="020F0502020204030204" pitchFamily="34" charset="0"/>
            </a:endParaRPr>
          </a:p>
          <a:p>
            <a:pPr marL="457200" lvl="1" indent="0">
              <a:buNone/>
            </a:pPr>
            <a:endParaRPr lang="en-US" sz="1100" i="1">
              <a:latin typeface="Calibri" panose="020F0502020204030204" pitchFamily="34" charset="0"/>
            </a:endParaRPr>
          </a:p>
          <a:p>
            <a:pPr marL="228600" lvl="1">
              <a:buFont typeface="+mj-lt"/>
              <a:buAutoNum type="arabicPeriod" startAt="8"/>
            </a:pPr>
            <a:r>
              <a:rPr lang="en-US" sz="1400">
                <a:latin typeface="Calibri" panose="020F0502020204030204" pitchFamily="34" charset="0"/>
              </a:rPr>
              <a:t>Which of the following are considered essential community services?</a:t>
            </a:r>
          </a:p>
          <a:p>
            <a:pPr marL="457200" lvl="1" indent="0">
              <a:buNone/>
            </a:pPr>
            <a:r>
              <a:rPr lang="en-US" sz="1200" i="1">
                <a:latin typeface="Calibri" panose="020F0502020204030204" pitchFamily="34" charset="0"/>
              </a:rPr>
              <a:t>Navigation: Procurement, Permitting, Insurance &gt; Relocation of Essential Services (F-ROC-GUI-010)</a:t>
            </a:r>
          </a:p>
          <a:p>
            <a:pPr marL="0" lvl="1" indent="0">
              <a:buNone/>
            </a:pPr>
            <a:endParaRPr lang="en-US" sz="1100" i="1">
              <a:latin typeface="Calibri" panose="020F0502020204030204" pitchFamily="34" charset="0"/>
            </a:endParaRPr>
          </a:p>
          <a:p>
            <a:pPr marL="457200" lvl="1" indent="0">
              <a:buNone/>
            </a:pPr>
            <a:endParaRPr lang="en-US" sz="1100" i="1">
              <a:latin typeface="Calibri" panose="020F0502020204030204" pitchFamily="34" charset="0"/>
            </a:endParaRPr>
          </a:p>
          <a:p>
            <a:pPr marL="347663" indent="-347663">
              <a:buFont typeface="+mj-lt"/>
              <a:buAutoNum type="arabicPeriod" startAt="8"/>
            </a:pPr>
            <a:endParaRPr lang="en-US" sz="1500">
              <a:latin typeface="Calibri" panose="020F0502020204030204" pitchFamily="34" charset="0"/>
            </a:endParaRPr>
          </a:p>
        </p:txBody>
      </p:sp>
      <p:graphicFrame>
        <p:nvGraphicFramePr>
          <p:cNvPr id="5" name="Table 6">
            <a:extLst>
              <a:ext uri="{FF2B5EF4-FFF2-40B4-BE49-F238E27FC236}">
                <a16:creationId xmlns:a16="http://schemas.microsoft.com/office/drawing/2014/main" id="{32359EC5-C36D-56B6-6B16-F1C59D369A57}"/>
              </a:ext>
            </a:extLst>
          </p:cNvPr>
          <p:cNvGraphicFramePr>
            <a:graphicFrameLocks noGrp="1"/>
          </p:cNvGraphicFramePr>
          <p:nvPr>
            <p:extLst>
              <p:ext uri="{D42A27DB-BD31-4B8C-83A1-F6EECF244321}">
                <p14:modId xmlns:p14="http://schemas.microsoft.com/office/powerpoint/2010/main" val="1838029771"/>
              </p:ext>
            </p:extLst>
          </p:nvPr>
        </p:nvGraphicFramePr>
        <p:xfrm>
          <a:off x="7468722" y="4648974"/>
          <a:ext cx="3705758" cy="741680"/>
        </p:xfrm>
        <a:graphic>
          <a:graphicData uri="http://schemas.openxmlformats.org/drawingml/2006/table">
            <a:tbl>
              <a:tblPr firstRow="1" bandRow="1">
                <a:tableStyleId>{5940675A-B579-460E-94D1-54222C63F5DA}</a:tableStyleId>
              </a:tblPr>
              <a:tblGrid>
                <a:gridCol w="1852879">
                  <a:extLst>
                    <a:ext uri="{9D8B030D-6E8A-4147-A177-3AD203B41FA5}">
                      <a16:colId xmlns:a16="http://schemas.microsoft.com/office/drawing/2014/main" val="3961588007"/>
                    </a:ext>
                  </a:extLst>
                </a:gridCol>
                <a:gridCol w="1852879">
                  <a:extLst>
                    <a:ext uri="{9D8B030D-6E8A-4147-A177-3AD203B41FA5}">
                      <a16:colId xmlns:a16="http://schemas.microsoft.com/office/drawing/2014/main" val="2271321458"/>
                    </a:ext>
                  </a:extLst>
                </a:gridCol>
              </a:tblGrid>
              <a:tr h="370840">
                <a:tc>
                  <a:txBody>
                    <a:bodyPr/>
                    <a:lstStyle/>
                    <a:p>
                      <a:r>
                        <a:rPr lang="en-US" sz="1200"/>
                        <a:t>a) Material Typ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200"/>
                        <a:t>c) Tim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707764905"/>
                  </a:ext>
                </a:extLst>
              </a:tr>
              <a:tr h="370840">
                <a:tc>
                  <a:txBody>
                    <a:bodyPr/>
                    <a:lstStyle/>
                    <a:p>
                      <a:r>
                        <a:rPr lang="en-US" sz="1200"/>
                        <a:t>b) Loc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200"/>
                        <a:t>d) Receiver</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868463620"/>
                  </a:ext>
                </a:extLst>
              </a:tr>
            </a:tbl>
          </a:graphicData>
        </a:graphic>
      </p:graphicFrame>
      <p:graphicFrame>
        <p:nvGraphicFramePr>
          <p:cNvPr id="6" name="Table 5">
            <a:extLst>
              <a:ext uri="{FF2B5EF4-FFF2-40B4-BE49-F238E27FC236}">
                <a16:creationId xmlns:a16="http://schemas.microsoft.com/office/drawing/2014/main" id="{E65899C0-E7F5-5E0B-3EF2-353F2C91F463}"/>
              </a:ext>
            </a:extLst>
          </p:cNvPr>
          <p:cNvGraphicFramePr>
            <a:graphicFrameLocks noGrp="1"/>
          </p:cNvGraphicFramePr>
          <p:nvPr>
            <p:extLst>
              <p:ext uri="{D42A27DB-BD31-4B8C-83A1-F6EECF244321}">
                <p14:modId xmlns:p14="http://schemas.microsoft.com/office/powerpoint/2010/main" val="3822603596"/>
              </p:ext>
            </p:extLst>
          </p:nvPr>
        </p:nvGraphicFramePr>
        <p:xfrm>
          <a:off x="7468722" y="6116320"/>
          <a:ext cx="3902148" cy="741680"/>
        </p:xfrm>
        <a:graphic>
          <a:graphicData uri="http://schemas.openxmlformats.org/drawingml/2006/table">
            <a:tbl>
              <a:tblPr firstRow="1" bandRow="1">
                <a:tableStyleId>{5940675A-B579-460E-94D1-54222C63F5DA}</a:tableStyleId>
              </a:tblPr>
              <a:tblGrid>
                <a:gridCol w="1951074">
                  <a:extLst>
                    <a:ext uri="{9D8B030D-6E8A-4147-A177-3AD203B41FA5}">
                      <a16:colId xmlns:a16="http://schemas.microsoft.com/office/drawing/2014/main" val="3961588007"/>
                    </a:ext>
                  </a:extLst>
                </a:gridCol>
                <a:gridCol w="1951074">
                  <a:extLst>
                    <a:ext uri="{9D8B030D-6E8A-4147-A177-3AD203B41FA5}">
                      <a16:colId xmlns:a16="http://schemas.microsoft.com/office/drawing/2014/main" val="2271321458"/>
                    </a:ext>
                  </a:extLst>
                </a:gridCol>
              </a:tblGrid>
              <a:tr h="370840">
                <a:tc>
                  <a:txBody>
                    <a:bodyPr/>
                    <a:lstStyle/>
                    <a:p>
                      <a:r>
                        <a:rPr lang="en-US" sz="1200"/>
                        <a:t>a) Educa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200"/>
                        <a:t>c) Pris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707764905"/>
                  </a:ext>
                </a:extLst>
              </a:tr>
              <a:tr h="370840">
                <a:tc>
                  <a:txBody>
                    <a:bodyPr/>
                    <a:lstStyle/>
                    <a:p>
                      <a:r>
                        <a:rPr lang="en-US" sz="1200"/>
                        <a:t>b) Election and Polling</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200"/>
                        <a:t>d) All of the abov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868463620"/>
                  </a:ext>
                </a:extLst>
              </a:tr>
            </a:tbl>
          </a:graphicData>
        </a:graphic>
      </p:graphicFrame>
    </p:spTree>
    <p:custDataLst>
      <p:tags r:id="rId1"/>
    </p:custDataLst>
    <p:extLst>
      <p:ext uri="{BB962C8B-B14F-4D97-AF65-F5344CB8AC3E}">
        <p14:creationId xmlns:p14="http://schemas.microsoft.com/office/powerpoint/2010/main" val="10142501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BC6139F-0358-9B79-4E35-1C01CFDFEE4B}"/>
              </a:ext>
            </a:extLst>
          </p:cNvPr>
          <p:cNvSpPr>
            <a:spLocks noGrp="1"/>
          </p:cNvSpPr>
          <p:nvPr>
            <p:ph type="title"/>
          </p:nvPr>
        </p:nvSpPr>
        <p:spPr/>
        <p:txBody>
          <a:bodyPr/>
          <a:lstStyle/>
          <a:p>
            <a:r>
              <a:rPr lang="en-US">
                <a:latin typeface="+mn-lt"/>
              </a:rPr>
              <a:t>Group Activity – Standardized Forms</a:t>
            </a:r>
          </a:p>
        </p:txBody>
      </p:sp>
      <p:pic>
        <p:nvPicPr>
          <p:cNvPr id="13" name="Picture 12">
            <a:extLst>
              <a:ext uri="{FF2B5EF4-FFF2-40B4-BE49-F238E27FC236}">
                <a16:creationId xmlns:a16="http://schemas.microsoft.com/office/drawing/2014/main" id="{C2F6317B-EBD4-BB6A-8BB7-E506B70C69FA}"/>
              </a:ext>
            </a:extLst>
          </p:cNvPr>
          <p:cNvPicPr>
            <a:picLocks noChangeAspect="1"/>
          </p:cNvPicPr>
          <p:nvPr/>
        </p:nvPicPr>
        <p:blipFill>
          <a:blip r:embed="rId4"/>
          <a:stretch>
            <a:fillRect/>
          </a:stretch>
        </p:blipFill>
        <p:spPr>
          <a:xfrm flipH="1">
            <a:off x="9371573" y="3953998"/>
            <a:ext cx="2917889" cy="3172968"/>
          </a:xfrm>
          <a:prstGeom prst="rect">
            <a:avLst/>
          </a:prstGeom>
        </p:spPr>
      </p:pic>
      <p:sp>
        <p:nvSpPr>
          <p:cNvPr id="23" name="TextBox 22">
            <a:extLst>
              <a:ext uri="{FF2B5EF4-FFF2-40B4-BE49-F238E27FC236}">
                <a16:creationId xmlns:a16="http://schemas.microsoft.com/office/drawing/2014/main" id="{E457F3D3-0384-C1ED-3BF3-7F4CE4EB30E4}"/>
              </a:ext>
            </a:extLst>
          </p:cNvPr>
          <p:cNvSpPr txBox="1"/>
          <p:nvPr/>
        </p:nvSpPr>
        <p:spPr>
          <a:xfrm>
            <a:off x="489545" y="2004636"/>
            <a:ext cx="5874861" cy="6432530"/>
          </a:xfrm>
          <a:prstGeom prst="rect">
            <a:avLst/>
          </a:prstGeom>
          <a:noFill/>
        </p:spPr>
        <p:txBody>
          <a:bodyPr wrap="square" rtlCol="0">
            <a:spAutoFit/>
          </a:bodyPr>
          <a:lstStyle/>
          <a:p>
            <a:pPr marL="342900" indent="-342900">
              <a:spcBef>
                <a:spcPts val="1200"/>
              </a:spcBef>
              <a:spcAft>
                <a:spcPts val="600"/>
              </a:spcAft>
              <a:buFont typeface="+mj-lt"/>
              <a:buAutoNum type="arabicPeriod"/>
            </a:pPr>
            <a:r>
              <a:rPr lang="en-US">
                <a:effectLst/>
                <a:latin typeface="Calibri" panose="020F0502020204030204" pitchFamily="34" charset="0"/>
              </a:rPr>
              <a:t>"The Initial Damage Assessment Form is used to </a:t>
            </a:r>
            <a:r>
              <a:rPr lang="en-US" b="1" u="sng">
                <a:solidFill>
                  <a:srgbClr val="00338D"/>
                </a:solidFill>
              </a:rPr>
              <a:t>Summarize the damages from an event</a:t>
            </a:r>
            <a:r>
              <a:rPr lang="en-US" b="1">
                <a:solidFill>
                  <a:srgbClr val="00338D"/>
                </a:solidFill>
              </a:rPr>
              <a:t> </a:t>
            </a:r>
            <a:r>
              <a:rPr lang="en-US">
                <a:effectLst/>
                <a:latin typeface="Calibri" panose="020F0502020204030204" pitchFamily="34" charset="0"/>
              </a:rPr>
              <a:t>for the purpose of meeting a county threshold for a declaration.”</a:t>
            </a:r>
          </a:p>
          <a:p>
            <a:pPr marL="342900" indent="-342900">
              <a:spcBef>
                <a:spcPts val="1200"/>
              </a:spcBef>
              <a:spcAft>
                <a:spcPts val="600"/>
              </a:spcAft>
              <a:buFont typeface="+mj-lt"/>
              <a:buAutoNum type="arabicPeriod"/>
            </a:pPr>
            <a:r>
              <a:rPr lang="en-US">
                <a:latin typeface="Calibri" panose="020F0502020204030204" pitchFamily="34" charset="0"/>
              </a:rPr>
              <a:t>6 Inches (BONUS: </a:t>
            </a:r>
            <a:r>
              <a:rPr lang="en-US" b="1">
                <a:solidFill>
                  <a:srgbClr val="00338D"/>
                </a:solidFill>
                <a:effectLst/>
                <a:latin typeface="Calibri" panose="020F0502020204030204" pitchFamily="34" charset="0"/>
              </a:rPr>
              <a:t>M</a:t>
            </a:r>
            <a:r>
              <a:rPr lang="en-US" b="1">
                <a:solidFill>
                  <a:srgbClr val="00338D"/>
                </a:solidFill>
              </a:rPr>
              <a:t>easures 4.5 feet above ground; has a split trunk; has a broken canopy; is leaning at an angle greater than 30 degrees</a:t>
            </a:r>
            <a:r>
              <a:rPr lang="en-US"/>
              <a:t>)</a:t>
            </a:r>
          </a:p>
          <a:p>
            <a:pPr marL="342900" indent="-342900">
              <a:spcBef>
                <a:spcPts val="1200"/>
              </a:spcBef>
              <a:spcAft>
                <a:spcPts val="600"/>
              </a:spcAft>
              <a:buFont typeface="+mj-lt"/>
              <a:buAutoNum type="arabicPeriod"/>
            </a:pPr>
            <a:r>
              <a:rPr lang="en-US" b="1" i="0">
                <a:solidFill>
                  <a:srgbClr val="000000"/>
                </a:solidFill>
                <a:effectLst/>
              </a:rPr>
              <a:t>Receiving Representative</a:t>
            </a:r>
            <a:r>
              <a:rPr lang="en-US" b="0" i="0">
                <a:solidFill>
                  <a:srgbClr val="000000"/>
                </a:solidFill>
                <a:effectLst/>
              </a:rPr>
              <a:t>: </a:t>
            </a:r>
            <a:r>
              <a:rPr lang="en-US" b="0" i="0">
                <a:solidFill>
                  <a:srgbClr val="00338D"/>
                </a:solidFill>
                <a:effectLst/>
              </a:rPr>
              <a:t>Individual from the receiving entity that has the authority to receive the donated resources and oversees their intake</a:t>
            </a:r>
          </a:p>
          <a:p>
            <a:pPr marL="341313" lvl="1">
              <a:spcBef>
                <a:spcPts val="1200"/>
              </a:spcBef>
              <a:spcAft>
                <a:spcPts val="600"/>
              </a:spcAft>
            </a:pPr>
            <a:r>
              <a:rPr lang="en-US" b="1" i="0">
                <a:solidFill>
                  <a:srgbClr val="000000"/>
                </a:solidFill>
                <a:effectLst/>
              </a:rPr>
              <a:t>Providing Representative</a:t>
            </a:r>
            <a:r>
              <a:rPr lang="en-US" b="0" i="0">
                <a:solidFill>
                  <a:srgbClr val="000000"/>
                </a:solidFill>
                <a:effectLst/>
              </a:rPr>
              <a:t>: </a:t>
            </a:r>
            <a:r>
              <a:rPr lang="en-US" b="0" i="0">
                <a:solidFill>
                  <a:srgbClr val="00338D"/>
                </a:solidFill>
                <a:effectLst/>
              </a:rPr>
              <a:t>Individual from the providing entity that has the authority to provide/donate the donated resources and oversees the provision/donation</a:t>
            </a:r>
          </a:p>
          <a:p>
            <a:pPr marL="684213" indent="-342900">
              <a:buFont typeface="+mj-lt"/>
              <a:buAutoNum type="arabicPeriod"/>
            </a:pPr>
            <a:endParaRPr lang="en-US">
              <a:latin typeface="Calibri" panose="020F0502020204030204" pitchFamily="34" charset="0"/>
            </a:endParaRPr>
          </a:p>
          <a:p>
            <a:pPr marL="341313" indent="-341313">
              <a:buFont typeface="+mj-lt"/>
              <a:buAutoNum type="arabicPeriod" startAt="4"/>
            </a:pPr>
            <a:r>
              <a:rPr lang="en-US">
                <a:latin typeface="Calibri" panose="020F0502020204030204" pitchFamily="34" charset="0"/>
              </a:rPr>
              <a:t>TRUE</a:t>
            </a:r>
          </a:p>
          <a:p>
            <a:pPr>
              <a:spcBef>
                <a:spcPts val="600"/>
              </a:spcBef>
              <a:spcAft>
                <a:spcPts val="600"/>
              </a:spcAft>
            </a:pPr>
            <a:endParaRPr lang="en-US">
              <a:effectLst/>
              <a:latin typeface="Calibri" panose="020F0502020204030204" pitchFamily="34" charset="0"/>
            </a:endParaRPr>
          </a:p>
          <a:p>
            <a:pPr marL="342900" indent="-342900">
              <a:buFont typeface="+mj-lt"/>
              <a:buAutoNum type="arabicPeriod"/>
            </a:pPr>
            <a:endParaRPr lang="en-US" sz="1600">
              <a:latin typeface="Calibri" panose="020F0502020204030204" pitchFamily="34" charset="0"/>
            </a:endParaRPr>
          </a:p>
          <a:p>
            <a:pPr marL="342900" indent="-342900">
              <a:buFont typeface="+mj-lt"/>
              <a:buAutoNum type="arabicPeriod"/>
            </a:pPr>
            <a:endParaRPr lang="en-US" sz="1600">
              <a:effectLst/>
              <a:latin typeface="Calibri" panose="020F0502020204030204" pitchFamily="34" charset="0"/>
            </a:endParaRPr>
          </a:p>
          <a:p>
            <a:pPr marL="342900" indent="-342900">
              <a:buFont typeface="+mj-lt"/>
              <a:buAutoNum type="arabicPeriod"/>
            </a:pPr>
            <a:endParaRPr lang="en-US" sz="1600">
              <a:effectLst/>
              <a:latin typeface="Calibri" panose="020F0502020204030204" pitchFamily="34" charset="0"/>
            </a:endParaRPr>
          </a:p>
          <a:p>
            <a:endParaRPr lang="en-US" sz="1600">
              <a:effectLst/>
              <a:latin typeface="Calibri" panose="020F0502020204030204" pitchFamily="34" charset="0"/>
            </a:endParaRPr>
          </a:p>
          <a:p>
            <a:endParaRPr lang="en-US"/>
          </a:p>
        </p:txBody>
      </p:sp>
      <p:sp>
        <p:nvSpPr>
          <p:cNvPr id="25" name="TextBox 24">
            <a:extLst>
              <a:ext uri="{FF2B5EF4-FFF2-40B4-BE49-F238E27FC236}">
                <a16:creationId xmlns:a16="http://schemas.microsoft.com/office/drawing/2014/main" id="{6E82E1E1-6CE8-5FF3-ABA9-614CB467F89F}"/>
              </a:ext>
            </a:extLst>
          </p:cNvPr>
          <p:cNvSpPr txBox="1"/>
          <p:nvPr/>
        </p:nvSpPr>
        <p:spPr>
          <a:xfrm>
            <a:off x="6444655" y="2004636"/>
            <a:ext cx="5257800" cy="3431709"/>
          </a:xfrm>
          <a:prstGeom prst="rect">
            <a:avLst/>
          </a:prstGeom>
          <a:noFill/>
        </p:spPr>
        <p:txBody>
          <a:bodyPr wrap="square">
            <a:spAutoFit/>
          </a:bodyPr>
          <a:lstStyle/>
          <a:p>
            <a:pPr marL="342900" indent="-342900">
              <a:spcBef>
                <a:spcPts val="1200"/>
              </a:spcBef>
              <a:spcAft>
                <a:spcPts val="600"/>
              </a:spcAft>
              <a:buFont typeface="+mj-lt"/>
              <a:buAutoNum type="arabicPeriod" startAt="5"/>
            </a:pPr>
            <a:r>
              <a:rPr lang="en-US">
                <a:effectLst/>
                <a:latin typeface="Calibri" panose="020F0502020204030204" pitchFamily="34" charset="0"/>
              </a:rPr>
              <a:t>Disaster Readiness Assessment (DRA): The Disaster Readiness Assessment is a questionnaire completed </a:t>
            </a:r>
            <a:r>
              <a:rPr lang="en-US" b="1" u="sng">
                <a:solidFill>
                  <a:srgbClr val="00338D"/>
                </a:solidFill>
              </a:rPr>
              <a:t>prior to a disaster </a:t>
            </a:r>
            <a:r>
              <a:rPr lang="en-US">
                <a:effectLst/>
                <a:latin typeface="Calibri" panose="020F0502020204030204" pitchFamily="34" charset="0"/>
              </a:rPr>
              <a:t>that evaluates the Applicant’s </a:t>
            </a:r>
            <a:r>
              <a:rPr lang="en-US" b="1" u="sng">
                <a:solidFill>
                  <a:srgbClr val="00338D"/>
                </a:solidFill>
              </a:rPr>
              <a:t>risk of deobligations</a:t>
            </a:r>
            <a:r>
              <a:rPr lang="en-US" b="1">
                <a:solidFill>
                  <a:srgbClr val="00338D"/>
                </a:solidFill>
              </a:rPr>
              <a:t> </a:t>
            </a:r>
            <a:r>
              <a:rPr lang="en-US">
                <a:effectLst/>
                <a:latin typeface="Calibri" panose="020F0502020204030204" pitchFamily="34" charset="0"/>
              </a:rPr>
              <a:t>in the Public Assistance program</a:t>
            </a:r>
          </a:p>
          <a:p>
            <a:pPr marL="342900" indent="-342900">
              <a:spcBef>
                <a:spcPts val="1200"/>
              </a:spcBef>
              <a:spcAft>
                <a:spcPts val="600"/>
              </a:spcAft>
              <a:buFont typeface="+mj-lt"/>
              <a:buAutoNum type="arabicPeriod" startAt="5"/>
            </a:pPr>
            <a:r>
              <a:rPr lang="en-US">
                <a:latin typeface="Calibri" panose="020F0502020204030204" pitchFamily="34" charset="0"/>
              </a:rPr>
              <a:t>FALSE</a:t>
            </a:r>
          </a:p>
          <a:p>
            <a:pPr marL="342900" indent="-342900">
              <a:spcBef>
                <a:spcPts val="1200"/>
              </a:spcBef>
              <a:spcAft>
                <a:spcPts val="600"/>
              </a:spcAft>
              <a:buFont typeface="+mj-lt"/>
              <a:buAutoNum type="arabicPeriod" startAt="5"/>
            </a:pPr>
            <a:r>
              <a:rPr lang="en-US">
                <a:latin typeface="Calibri" panose="020F0502020204030204" pitchFamily="34" charset="0"/>
              </a:rPr>
              <a:t>Location</a:t>
            </a:r>
          </a:p>
          <a:p>
            <a:pPr marL="342900" indent="-342900">
              <a:spcBef>
                <a:spcPts val="1200"/>
              </a:spcBef>
              <a:spcAft>
                <a:spcPts val="600"/>
              </a:spcAft>
              <a:buFont typeface="+mj-lt"/>
              <a:buAutoNum type="arabicPeriod" startAt="5"/>
            </a:pPr>
            <a:r>
              <a:rPr lang="en-US">
                <a:latin typeface="Calibri" panose="020F0502020204030204" pitchFamily="34" charset="0"/>
              </a:rPr>
              <a:t>All of the Above</a:t>
            </a:r>
          </a:p>
          <a:p>
            <a:pPr marL="342900" indent="-342900">
              <a:spcBef>
                <a:spcPts val="600"/>
              </a:spcBef>
              <a:spcAft>
                <a:spcPts val="600"/>
              </a:spcAft>
              <a:buFont typeface="+mj-lt"/>
              <a:buAutoNum type="arabicPeriod" startAt="5"/>
            </a:pPr>
            <a:endParaRPr lang="en-US">
              <a:effectLst/>
              <a:latin typeface="Calibri" panose="020F0502020204030204" pitchFamily="34" charset="0"/>
            </a:endParaRPr>
          </a:p>
        </p:txBody>
      </p:sp>
    </p:spTree>
    <p:custDataLst>
      <p:tags r:id="rId1"/>
    </p:custDataLst>
    <p:extLst>
      <p:ext uri="{BB962C8B-B14F-4D97-AF65-F5344CB8AC3E}">
        <p14:creationId xmlns:p14="http://schemas.microsoft.com/office/powerpoint/2010/main" val="30361199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C54FAF3-2927-1B4B-2486-DF37E74D3F5E}"/>
              </a:ext>
            </a:extLst>
          </p:cNvPr>
          <p:cNvSpPr>
            <a:spLocks noGrp="1"/>
          </p:cNvSpPr>
          <p:nvPr>
            <p:ph type="body" sz="quarter" idx="10"/>
          </p:nvPr>
        </p:nvSpPr>
        <p:spPr/>
        <p:txBody>
          <a:bodyPr/>
          <a:lstStyle/>
          <a:p>
            <a:pPr marL="0" indent="0">
              <a:buNone/>
            </a:pPr>
            <a:r>
              <a:rPr lang="en-US" sz="3200" b="1"/>
              <a:t>For this exercise we will review the following:</a:t>
            </a:r>
          </a:p>
          <a:p>
            <a:pPr marL="514350" indent="-514350">
              <a:buFont typeface="+mj-lt"/>
              <a:buAutoNum type="arabicPeriod"/>
            </a:pPr>
            <a:r>
              <a:rPr lang="en-US"/>
              <a:t>Daily Activity Report – Team</a:t>
            </a:r>
          </a:p>
          <a:p>
            <a:pPr marL="514350" indent="-514350">
              <a:buFont typeface="+mj-lt"/>
              <a:buAutoNum type="arabicPeriod"/>
            </a:pPr>
            <a:r>
              <a:rPr lang="en-US"/>
              <a:t>Leaner – Hanger Summary</a:t>
            </a:r>
          </a:p>
          <a:p>
            <a:pPr marL="514350" indent="-514350">
              <a:buFont typeface="+mj-lt"/>
              <a:buAutoNum type="arabicPeriod"/>
            </a:pPr>
            <a:r>
              <a:rPr lang="en-US"/>
              <a:t>FEMA Policies and Fact Sheets</a:t>
            </a:r>
          </a:p>
          <a:p>
            <a:pPr marL="514350" indent="-514350">
              <a:buFont typeface="+mj-lt"/>
              <a:buAutoNum type="arabicPeriod"/>
            </a:pPr>
            <a:r>
              <a:rPr lang="en-US"/>
              <a:t>Equipment Inventory Log</a:t>
            </a:r>
          </a:p>
          <a:p>
            <a:pPr marL="514350" indent="-514350">
              <a:buFont typeface="+mj-lt"/>
              <a:buAutoNum type="arabicPeriod"/>
            </a:pPr>
            <a:r>
              <a:rPr lang="en-US"/>
              <a:t>Procurement, Permitting, Insurance</a:t>
            </a:r>
          </a:p>
          <a:p>
            <a:pPr marL="514350" indent="-514350">
              <a:buFont typeface="+mj-lt"/>
              <a:buAutoNum type="arabicPeriod"/>
            </a:pPr>
            <a:endParaRPr lang="en-US"/>
          </a:p>
        </p:txBody>
      </p:sp>
      <p:sp>
        <p:nvSpPr>
          <p:cNvPr id="3" name="Title 2">
            <a:extLst>
              <a:ext uri="{FF2B5EF4-FFF2-40B4-BE49-F238E27FC236}">
                <a16:creationId xmlns:a16="http://schemas.microsoft.com/office/drawing/2014/main" id="{EF2FECCB-C832-FBAD-6CA6-8A7AA7D11B7B}"/>
              </a:ext>
            </a:extLst>
          </p:cNvPr>
          <p:cNvSpPr>
            <a:spLocks noGrp="1"/>
          </p:cNvSpPr>
          <p:nvPr>
            <p:ph type="title"/>
          </p:nvPr>
        </p:nvSpPr>
        <p:spPr/>
        <p:txBody>
          <a:bodyPr/>
          <a:lstStyle/>
          <a:p>
            <a:r>
              <a:rPr lang="en-US"/>
              <a:t>Activity – Reviewing Forms</a:t>
            </a:r>
          </a:p>
        </p:txBody>
      </p:sp>
    </p:spTree>
    <p:custDataLst>
      <p:tags r:id="rId1"/>
    </p:custDataLst>
    <p:extLst>
      <p:ext uri="{BB962C8B-B14F-4D97-AF65-F5344CB8AC3E}">
        <p14:creationId xmlns:p14="http://schemas.microsoft.com/office/powerpoint/2010/main" val="32887997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3030A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126D11-1926-40CB-A970-0DB36DA2942C}"/>
              </a:ext>
            </a:extLst>
          </p:cNvPr>
          <p:cNvSpPr>
            <a:spLocks noGrp="1"/>
          </p:cNvSpPr>
          <p:nvPr>
            <p:ph type="title"/>
          </p:nvPr>
        </p:nvSpPr>
        <p:spPr>
          <a:xfrm>
            <a:off x="838200" y="3321322"/>
            <a:ext cx="10515600" cy="1018714"/>
          </a:xfrm>
        </p:spPr>
        <p:txBody>
          <a:bodyPr>
            <a:noAutofit/>
          </a:bodyPr>
          <a:lstStyle/>
          <a:p>
            <a:pPr algn="ctr"/>
            <a:r>
              <a:rPr lang="en-US" sz="6000">
                <a:latin typeface="+mn-lt"/>
              </a:rPr>
              <a:t>Module 3</a:t>
            </a:r>
            <a:br>
              <a:rPr lang="en-US" sz="6000">
                <a:latin typeface="+mn-lt"/>
              </a:rPr>
            </a:br>
            <a:r>
              <a:rPr lang="en-US" sz="6000">
                <a:latin typeface="+mn-lt"/>
              </a:rPr>
              <a:t>F-ROC Applicant Process</a:t>
            </a:r>
          </a:p>
        </p:txBody>
      </p:sp>
    </p:spTree>
    <p:custDataLst>
      <p:tags r:id="rId1"/>
    </p:custDataLst>
    <p:extLst>
      <p:ext uri="{BB962C8B-B14F-4D97-AF65-F5344CB8AC3E}">
        <p14:creationId xmlns:p14="http://schemas.microsoft.com/office/powerpoint/2010/main" val="11171616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1454B59F-3FC7-4777-8019-FC8182E843CF}"/>
              </a:ext>
            </a:extLst>
          </p:cNvPr>
          <p:cNvSpPr>
            <a:spLocks noGrp="1"/>
          </p:cNvSpPr>
          <p:nvPr>
            <p:ph idx="1"/>
          </p:nvPr>
        </p:nvSpPr>
        <p:spPr>
          <a:xfrm>
            <a:off x="1612398" y="4414280"/>
            <a:ext cx="9525999" cy="1688066"/>
          </a:xfrm>
        </p:spPr>
        <p:txBody>
          <a:bodyPr>
            <a:normAutofit/>
          </a:bodyPr>
          <a:lstStyle/>
          <a:p>
            <a:pPr marL="0" indent="0" algn="ctr">
              <a:buNone/>
            </a:pPr>
            <a:r>
              <a:rPr lang="en-US" sz="3200" b="1">
                <a:latin typeface="+mn-lt"/>
                <a:cs typeface="Arial" panose="020B0604020202020204" pitchFamily="34" charset="0"/>
              </a:rPr>
              <a:t>A Comprehensive Approach to F-ROC Administration</a:t>
            </a:r>
          </a:p>
          <a:p>
            <a:pPr marL="0" indent="0" algn="ctr">
              <a:buNone/>
            </a:pPr>
            <a:r>
              <a:rPr lang="en-US" sz="3200">
                <a:latin typeface="+mn-lt"/>
              </a:rPr>
              <a:t>XXXX County</a:t>
            </a:r>
          </a:p>
          <a:p>
            <a:pPr marL="0" indent="0" algn="ctr">
              <a:buNone/>
            </a:pPr>
            <a:r>
              <a:rPr lang="en-US" sz="3200">
                <a:latin typeface="+mn-lt"/>
                <a:cs typeface="Arial" panose="020B0604020202020204" pitchFamily="34" charset="0"/>
              </a:rPr>
              <a:t>June XX, 2023</a:t>
            </a:r>
          </a:p>
          <a:p>
            <a:pPr marL="0" indent="0" algn="ctr">
              <a:buNone/>
            </a:pPr>
            <a:endParaRPr lang="en-US" sz="3200">
              <a:latin typeface="Arial" panose="020B0604020202020204" pitchFamily="34" charset="0"/>
              <a:cs typeface="Arial" panose="020B0604020202020204" pitchFamily="34" charset="0"/>
            </a:endParaRPr>
          </a:p>
          <a:p>
            <a:endParaRPr lang="en-US" sz="3200"/>
          </a:p>
        </p:txBody>
      </p:sp>
      <p:pic>
        <p:nvPicPr>
          <p:cNvPr id="7" name="Picture 6" descr="Logo&#10;&#10;Description automatically generated">
            <a:extLst>
              <a:ext uri="{FF2B5EF4-FFF2-40B4-BE49-F238E27FC236}">
                <a16:creationId xmlns:a16="http://schemas.microsoft.com/office/drawing/2014/main" id="{296A09BE-366B-4AD3-AEEE-6DFE13AFECA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37552" y="1200235"/>
            <a:ext cx="3075693" cy="3062957"/>
          </a:xfrm>
          <a:prstGeom prst="rect">
            <a:avLst/>
          </a:prstGeom>
        </p:spPr>
      </p:pic>
      <p:grpSp>
        <p:nvGrpSpPr>
          <p:cNvPr id="10" name="Group 9">
            <a:extLst>
              <a:ext uri="{FF2B5EF4-FFF2-40B4-BE49-F238E27FC236}">
                <a16:creationId xmlns:a16="http://schemas.microsoft.com/office/drawing/2014/main" id="{8AAA03E0-E6F3-4350-BD13-83D7510E88AE}"/>
              </a:ext>
            </a:extLst>
          </p:cNvPr>
          <p:cNvGrpSpPr/>
          <p:nvPr/>
        </p:nvGrpSpPr>
        <p:grpSpPr>
          <a:xfrm>
            <a:off x="0" y="5948791"/>
            <a:ext cx="12192000" cy="909209"/>
            <a:chOff x="0" y="5928906"/>
            <a:chExt cx="12192000" cy="909209"/>
          </a:xfrm>
        </p:grpSpPr>
        <p:pic>
          <p:nvPicPr>
            <p:cNvPr id="8" name="Picture 7">
              <a:extLst>
                <a:ext uri="{FF2B5EF4-FFF2-40B4-BE49-F238E27FC236}">
                  <a16:creationId xmlns:a16="http://schemas.microsoft.com/office/drawing/2014/main" id="{4328C09C-B1D4-44A4-9ECF-819AFBC76D1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07471" y="5928906"/>
              <a:ext cx="5584529" cy="909209"/>
            </a:xfrm>
            <a:prstGeom prst="rect">
              <a:avLst/>
            </a:prstGeom>
          </p:spPr>
        </p:pic>
        <p:pic>
          <p:nvPicPr>
            <p:cNvPr id="9" name="Picture 8">
              <a:extLst>
                <a:ext uri="{FF2B5EF4-FFF2-40B4-BE49-F238E27FC236}">
                  <a16:creationId xmlns:a16="http://schemas.microsoft.com/office/drawing/2014/main" id="{D1489C41-F7A0-4713-A608-BF7DD880DFC8}"/>
                </a:ext>
              </a:extLst>
            </p:cNvPr>
            <p:cNvPicPr>
              <a:picLocks noChangeAspect="1"/>
            </p:cNvPicPr>
            <p:nvPr/>
          </p:nvPicPr>
          <p:blipFill>
            <a:blip r:embed="rId6"/>
            <a:stretch>
              <a:fillRect/>
            </a:stretch>
          </p:blipFill>
          <p:spPr>
            <a:xfrm>
              <a:off x="0" y="6237148"/>
              <a:ext cx="10809272" cy="461364"/>
            </a:xfrm>
            <a:prstGeom prst="rect">
              <a:avLst/>
            </a:prstGeom>
          </p:spPr>
        </p:pic>
      </p:grpSp>
      <p:sp>
        <p:nvSpPr>
          <p:cNvPr id="2" name="TextBox 1">
            <a:extLst>
              <a:ext uri="{FF2B5EF4-FFF2-40B4-BE49-F238E27FC236}">
                <a16:creationId xmlns:a16="http://schemas.microsoft.com/office/drawing/2014/main" id="{DFFDEEE5-E19B-8E82-905D-D89EA08E0C7C}"/>
              </a:ext>
            </a:extLst>
          </p:cNvPr>
          <p:cNvSpPr txBox="1"/>
          <p:nvPr/>
        </p:nvSpPr>
        <p:spPr>
          <a:xfrm rot="19852539">
            <a:off x="3002976" y="2906419"/>
            <a:ext cx="6186045" cy="2215991"/>
          </a:xfrm>
          <a:prstGeom prst="rect">
            <a:avLst/>
          </a:prstGeom>
          <a:noFill/>
        </p:spPr>
        <p:txBody>
          <a:bodyPr wrap="square" rtlCol="0">
            <a:spAutoFit/>
          </a:bodyPr>
          <a:lstStyle/>
          <a:p>
            <a:pPr algn="ctr"/>
            <a:r>
              <a:rPr lang="en-US" sz="13800">
                <a:solidFill>
                  <a:srgbClr val="FF0000"/>
                </a:solidFill>
              </a:rPr>
              <a:t>UPDATE</a:t>
            </a:r>
          </a:p>
        </p:txBody>
      </p:sp>
    </p:spTree>
    <p:custDataLst>
      <p:tags r:id="rId1"/>
    </p:custDataLst>
    <p:extLst>
      <p:ext uri="{BB962C8B-B14F-4D97-AF65-F5344CB8AC3E}">
        <p14:creationId xmlns:p14="http://schemas.microsoft.com/office/powerpoint/2010/main" val="34183603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D2ECCA3-03D9-E235-DA4D-24F08577C104}"/>
              </a:ext>
            </a:extLst>
          </p:cNvPr>
          <p:cNvSpPr>
            <a:spLocks noGrp="1"/>
          </p:cNvSpPr>
          <p:nvPr>
            <p:ph type="title"/>
          </p:nvPr>
        </p:nvSpPr>
        <p:spPr/>
        <p:txBody>
          <a:bodyPr/>
          <a:lstStyle/>
          <a:p>
            <a:r>
              <a:rPr lang="en-US">
                <a:latin typeface="+mn-lt"/>
              </a:rPr>
              <a:t>F-ROC Applicant Process</a:t>
            </a:r>
          </a:p>
        </p:txBody>
      </p:sp>
      <p:sp>
        <p:nvSpPr>
          <p:cNvPr id="7" name="Rectangle 6">
            <a:extLst>
              <a:ext uri="{FF2B5EF4-FFF2-40B4-BE49-F238E27FC236}">
                <a16:creationId xmlns:a16="http://schemas.microsoft.com/office/drawing/2014/main" id="{25C30CE7-C5C8-EFD5-D053-584693747171}"/>
              </a:ext>
            </a:extLst>
          </p:cNvPr>
          <p:cNvSpPr/>
          <p:nvPr/>
        </p:nvSpPr>
        <p:spPr>
          <a:xfrm>
            <a:off x="1238008" y="2016578"/>
            <a:ext cx="1912181" cy="3773693"/>
          </a:xfrm>
          <a:prstGeom prst="rect">
            <a:avLst/>
          </a:prstGeom>
          <a:solidFill>
            <a:sysClr val="window" lastClr="FFFFFF"/>
          </a:solidFill>
          <a:ln w="6350" cap="flat" cmpd="sng" algn="ctr">
            <a:solidFill>
              <a:srgbClr val="00338D"/>
            </a:solidFill>
            <a:prstDash val="solid"/>
          </a:ln>
          <a:effectLst/>
        </p:spPr>
        <p:txBody>
          <a:bodyPr lIns="84406" tIns="1941342" rIns="84406" rtlCol="0" anchor="t"/>
          <a:lstStyle/>
          <a:p>
            <a:pPr marL="4397" algn="ctr"/>
            <a:r>
              <a:rPr lang="en-US" sz="2000" b="1">
                <a:solidFill>
                  <a:srgbClr val="00338D"/>
                </a:solidFill>
                <a:cs typeface="Arial" panose="020B0604020202020204" pitchFamily="34" charset="0"/>
              </a:rPr>
              <a:t>Complete Opt-in Course</a:t>
            </a:r>
          </a:p>
        </p:txBody>
      </p:sp>
      <p:sp>
        <p:nvSpPr>
          <p:cNvPr id="8" name="Pentagon 7">
            <a:extLst>
              <a:ext uri="{FF2B5EF4-FFF2-40B4-BE49-F238E27FC236}">
                <a16:creationId xmlns:a16="http://schemas.microsoft.com/office/drawing/2014/main" id="{A6F79AC1-6481-5218-6686-7778CFFC5582}"/>
              </a:ext>
            </a:extLst>
          </p:cNvPr>
          <p:cNvSpPr/>
          <p:nvPr/>
        </p:nvSpPr>
        <p:spPr>
          <a:xfrm>
            <a:off x="1213182" y="2119526"/>
            <a:ext cx="1397821" cy="294439"/>
          </a:xfrm>
          <a:prstGeom prst="homePlate">
            <a:avLst/>
          </a:prstGeom>
          <a:solidFill>
            <a:srgbClr val="00338D"/>
          </a:solidFill>
          <a:ln w="25400" cap="flat" cmpd="sng" algn="ctr">
            <a:solidFill>
              <a:srgbClr val="00338D"/>
            </a:solidFill>
            <a:prstDash val="solid"/>
          </a:ln>
          <a:effectLst/>
        </p:spPr>
        <p:txBody>
          <a:bodyPr rtlCol="0" anchor="ctr"/>
          <a:lstStyle/>
          <a:p>
            <a:pPr algn="ctr" defTabSz="844083">
              <a:defRPr/>
            </a:pPr>
            <a:r>
              <a:rPr lang="en-US" sz="1846" b="1" kern="0">
                <a:solidFill>
                  <a:sysClr val="window" lastClr="FFFFFF"/>
                </a:solidFill>
                <a:cs typeface="Arial" pitchFamily="34" charset="0"/>
              </a:rPr>
              <a:t>1</a:t>
            </a:r>
          </a:p>
        </p:txBody>
      </p:sp>
      <p:sp>
        <p:nvSpPr>
          <p:cNvPr id="11" name="Rectangle 10">
            <a:extLst>
              <a:ext uri="{FF2B5EF4-FFF2-40B4-BE49-F238E27FC236}">
                <a16:creationId xmlns:a16="http://schemas.microsoft.com/office/drawing/2014/main" id="{85C03193-E826-C1FC-7A27-53EC3951225F}"/>
              </a:ext>
            </a:extLst>
          </p:cNvPr>
          <p:cNvSpPr/>
          <p:nvPr/>
        </p:nvSpPr>
        <p:spPr>
          <a:xfrm>
            <a:off x="3216914" y="2021025"/>
            <a:ext cx="1912181" cy="3773693"/>
          </a:xfrm>
          <a:prstGeom prst="rect">
            <a:avLst/>
          </a:prstGeom>
          <a:solidFill>
            <a:sysClr val="window" lastClr="FFFFFF"/>
          </a:solidFill>
          <a:ln w="6350" cap="flat" cmpd="sng" algn="ctr">
            <a:solidFill>
              <a:srgbClr val="005EB8"/>
            </a:solidFill>
            <a:prstDash val="solid"/>
          </a:ln>
          <a:effectLst/>
        </p:spPr>
        <p:txBody>
          <a:bodyPr lIns="84406" tIns="1941342" rIns="84406" rtlCol="0" anchor="t"/>
          <a:lstStyle/>
          <a:p>
            <a:pPr marL="4397" algn="ctr"/>
            <a:r>
              <a:rPr lang="en-US" sz="2000" b="1">
                <a:solidFill>
                  <a:srgbClr val="005EB8"/>
                </a:solidFill>
                <a:cs typeface="Arial" panose="020B0604020202020204" pitchFamily="34" charset="0"/>
              </a:rPr>
              <a:t>Sign Participation Request Form </a:t>
            </a:r>
          </a:p>
        </p:txBody>
      </p:sp>
      <p:sp>
        <p:nvSpPr>
          <p:cNvPr id="12" name="Pentagon 11">
            <a:extLst>
              <a:ext uri="{FF2B5EF4-FFF2-40B4-BE49-F238E27FC236}">
                <a16:creationId xmlns:a16="http://schemas.microsoft.com/office/drawing/2014/main" id="{DEA40AF6-C61D-49A3-0DC7-7EE8DA585431}"/>
              </a:ext>
            </a:extLst>
          </p:cNvPr>
          <p:cNvSpPr/>
          <p:nvPr/>
        </p:nvSpPr>
        <p:spPr>
          <a:xfrm>
            <a:off x="3184292" y="2119526"/>
            <a:ext cx="1397821" cy="294438"/>
          </a:xfrm>
          <a:prstGeom prst="homePlate">
            <a:avLst/>
          </a:prstGeom>
          <a:solidFill>
            <a:srgbClr val="005EB8"/>
          </a:solidFill>
          <a:ln w="25400" cap="flat" cmpd="sng" algn="ctr">
            <a:noFill/>
            <a:prstDash val="solid"/>
          </a:ln>
          <a:effectLst/>
        </p:spPr>
        <p:txBody>
          <a:bodyPr rtlCol="0" anchor="ctr"/>
          <a:lstStyle/>
          <a:p>
            <a:pPr algn="ctr" defTabSz="844083">
              <a:defRPr/>
            </a:pPr>
            <a:r>
              <a:rPr lang="en-US" sz="1846" b="1" kern="0">
                <a:solidFill>
                  <a:sysClr val="window" lastClr="FFFFFF"/>
                </a:solidFill>
                <a:cs typeface="Arial" pitchFamily="34" charset="0"/>
              </a:rPr>
              <a:t>2</a:t>
            </a:r>
          </a:p>
        </p:txBody>
      </p:sp>
      <p:sp>
        <p:nvSpPr>
          <p:cNvPr id="14" name="Rectangle 13">
            <a:extLst>
              <a:ext uri="{FF2B5EF4-FFF2-40B4-BE49-F238E27FC236}">
                <a16:creationId xmlns:a16="http://schemas.microsoft.com/office/drawing/2014/main" id="{7D5159CA-4E9A-8FE6-3EEF-FD4FA095A2BB}"/>
              </a:ext>
            </a:extLst>
          </p:cNvPr>
          <p:cNvSpPr/>
          <p:nvPr/>
        </p:nvSpPr>
        <p:spPr>
          <a:xfrm>
            <a:off x="5198164" y="2016578"/>
            <a:ext cx="1912181" cy="3773693"/>
          </a:xfrm>
          <a:prstGeom prst="rect">
            <a:avLst/>
          </a:prstGeom>
          <a:solidFill>
            <a:sysClr val="window" lastClr="FFFFFF"/>
          </a:solidFill>
          <a:ln w="6350" cap="flat" cmpd="sng" algn="ctr">
            <a:solidFill>
              <a:srgbClr val="0091DA"/>
            </a:solidFill>
            <a:prstDash val="solid"/>
          </a:ln>
          <a:effectLst/>
        </p:spPr>
        <p:txBody>
          <a:bodyPr lIns="84406" tIns="1941342" rIns="84406" rtlCol="0" anchor="t"/>
          <a:lstStyle/>
          <a:p>
            <a:pPr marL="4397" algn="ctr"/>
            <a:r>
              <a:rPr lang="en-US" sz="2000" b="1">
                <a:solidFill>
                  <a:srgbClr val="0091DA"/>
                </a:solidFill>
                <a:cs typeface="Arial" panose="020B0604020202020204" pitchFamily="34" charset="0"/>
              </a:rPr>
              <a:t>Complete Disaster Readiness Assessment</a:t>
            </a:r>
          </a:p>
        </p:txBody>
      </p:sp>
      <p:sp>
        <p:nvSpPr>
          <p:cNvPr id="15" name="Pentagon 14">
            <a:extLst>
              <a:ext uri="{FF2B5EF4-FFF2-40B4-BE49-F238E27FC236}">
                <a16:creationId xmlns:a16="http://schemas.microsoft.com/office/drawing/2014/main" id="{2F25347C-B6B3-93AC-E1A8-25D3E8FE4DDA}"/>
              </a:ext>
            </a:extLst>
          </p:cNvPr>
          <p:cNvSpPr/>
          <p:nvPr/>
        </p:nvSpPr>
        <p:spPr>
          <a:xfrm>
            <a:off x="5166022" y="2119526"/>
            <a:ext cx="1397821" cy="294438"/>
          </a:xfrm>
          <a:prstGeom prst="homePlate">
            <a:avLst/>
          </a:prstGeom>
          <a:solidFill>
            <a:srgbClr val="0091DA"/>
          </a:solidFill>
          <a:ln w="25400" cap="flat" cmpd="sng" algn="ctr">
            <a:noFill/>
            <a:prstDash val="solid"/>
          </a:ln>
          <a:effectLst/>
        </p:spPr>
        <p:txBody>
          <a:bodyPr rtlCol="0" anchor="ctr"/>
          <a:lstStyle/>
          <a:p>
            <a:pPr algn="ctr" defTabSz="844083">
              <a:defRPr/>
            </a:pPr>
            <a:r>
              <a:rPr lang="en-US" sz="1846" b="1" kern="0">
                <a:solidFill>
                  <a:sysClr val="window" lastClr="FFFFFF"/>
                </a:solidFill>
                <a:cs typeface="Arial" pitchFamily="34" charset="0"/>
              </a:rPr>
              <a:t>3</a:t>
            </a:r>
          </a:p>
        </p:txBody>
      </p:sp>
      <p:sp>
        <p:nvSpPr>
          <p:cNvPr id="17" name="Rectangle 16">
            <a:extLst>
              <a:ext uri="{FF2B5EF4-FFF2-40B4-BE49-F238E27FC236}">
                <a16:creationId xmlns:a16="http://schemas.microsoft.com/office/drawing/2014/main" id="{F0C1E350-F1CF-B835-1256-FD3AB2931220}"/>
              </a:ext>
            </a:extLst>
          </p:cNvPr>
          <p:cNvSpPr/>
          <p:nvPr/>
        </p:nvSpPr>
        <p:spPr>
          <a:xfrm>
            <a:off x="7171732" y="2016578"/>
            <a:ext cx="1912181" cy="3773693"/>
          </a:xfrm>
          <a:prstGeom prst="rect">
            <a:avLst/>
          </a:prstGeom>
          <a:solidFill>
            <a:sysClr val="window" lastClr="FFFFFF"/>
          </a:solidFill>
          <a:ln w="6350" cap="flat" cmpd="sng" algn="ctr">
            <a:solidFill>
              <a:srgbClr val="483698"/>
            </a:solidFill>
            <a:prstDash val="solid"/>
          </a:ln>
          <a:effectLst/>
        </p:spPr>
        <p:txBody>
          <a:bodyPr lIns="84406" tIns="1941342" rIns="84406" rtlCol="0" anchor="t"/>
          <a:lstStyle/>
          <a:p>
            <a:pPr marL="4397" algn="ctr"/>
            <a:r>
              <a:rPr lang="en-US" sz="2000" b="1">
                <a:solidFill>
                  <a:srgbClr val="483698"/>
                </a:solidFill>
                <a:cs typeface="Arial" panose="020B0604020202020204" pitchFamily="34" charset="0"/>
              </a:rPr>
              <a:t>Create Customized Abatement Plan (based on your options)</a:t>
            </a:r>
          </a:p>
        </p:txBody>
      </p:sp>
      <p:sp>
        <p:nvSpPr>
          <p:cNvPr id="18" name="Pentagon 17">
            <a:extLst>
              <a:ext uri="{FF2B5EF4-FFF2-40B4-BE49-F238E27FC236}">
                <a16:creationId xmlns:a16="http://schemas.microsoft.com/office/drawing/2014/main" id="{814A4920-3EE0-7729-71BA-266602FCDC35}"/>
              </a:ext>
            </a:extLst>
          </p:cNvPr>
          <p:cNvSpPr/>
          <p:nvPr/>
        </p:nvSpPr>
        <p:spPr>
          <a:xfrm>
            <a:off x="7142487" y="2119526"/>
            <a:ext cx="1397821" cy="294438"/>
          </a:xfrm>
          <a:prstGeom prst="homePlate">
            <a:avLst/>
          </a:prstGeom>
          <a:solidFill>
            <a:srgbClr val="483698"/>
          </a:solidFill>
          <a:ln w="25400" cap="flat" cmpd="sng" algn="ctr">
            <a:noFill/>
            <a:prstDash val="solid"/>
          </a:ln>
          <a:effectLst/>
        </p:spPr>
        <p:txBody>
          <a:bodyPr rtlCol="0" anchor="ctr"/>
          <a:lstStyle/>
          <a:p>
            <a:pPr algn="ctr" defTabSz="844083">
              <a:defRPr/>
            </a:pPr>
            <a:r>
              <a:rPr lang="en-US" sz="1846" b="1" kern="0">
                <a:solidFill>
                  <a:sysClr val="window" lastClr="FFFFFF"/>
                </a:solidFill>
                <a:cs typeface="Arial" pitchFamily="34" charset="0"/>
              </a:rPr>
              <a:t>4</a:t>
            </a:r>
          </a:p>
        </p:txBody>
      </p:sp>
      <p:sp>
        <p:nvSpPr>
          <p:cNvPr id="20" name="Rectangle 19">
            <a:extLst>
              <a:ext uri="{FF2B5EF4-FFF2-40B4-BE49-F238E27FC236}">
                <a16:creationId xmlns:a16="http://schemas.microsoft.com/office/drawing/2014/main" id="{26138A86-4184-02A1-42CA-B26D25A8DEC8}"/>
              </a:ext>
            </a:extLst>
          </p:cNvPr>
          <p:cNvSpPr/>
          <p:nvPr/>
        </p:nvSpPr>
        <p:spPr>
          <a:xfrm>
            <a:off x="9152983" y="2019221"/>
            <a:ext cx="1913915" cy="3773693"/>
          </a:xfrm>
          <a:prstGeom prst="rect">
            <a:avLst/>
          </a:prstGeom>
          <a:solidFill>
            <a:sysClr val="window" lastClr="FFFFFF"/>
          </a:solidFill>
          <a:ln w="6350" cap="flat" cmpd="sng" algn="ctr">
            <a:solidFill>
              <a:srgbClr val="470A68"/>
            </a:solidFill>
            <a:prstDash val="solid"/>
          </a:ln>
          <a:effectLst/>
        </p:spPr>
        <p:txBody>
          <a:bodyPr lIns="84406" tIns="1941342" rIns="84406" rtlCol="0" anchor="t"/>
          <a:lstStyle/>
          <a:p>
            <a:pPr marL="4397" algn="ctr"/>
            <a:r>
              <a:rPr lang="en-US" sz="2000" b="1">
                <a:solidFill>
                  <a:srgbClr val="470A68"/>
                </a:solidFill>
                <a:cs typeface="Arial" panose="020B0604020202020204" pitchFamily="34" charset="0"/>
              </a:rPr>
              <a:t>Complete and Submit Post Disaster Questionnaire</a:t>
            </a:r>
          </a:p>
        </p:txBody>
      </p:sp>
      <p:sp>
        <p:nvSpPr>
          <p:cNvPr id="21" name="Pentagon 20">
            <a:extLst>
              <a:ext uri="{FF2B5EF4-FFF2-40B4-BE49-F238E27FC236}">
                <a16:creationId xmlns:a16="http://schemas.microsoft.com/office/drawing/2014/main" id="{F890A4B6-17D0-DADD-B1A2-6432B9B20335}"/>
              </a:ext>
            </a:extLst>
          </p:cNvPr>
          <p:cNvSpPr/>
          <p:nvPr/>
        </p:nvSpPr>
        <p:spPr>
          <a:xfrm>
            <a:off x="9128489" y="2119526"/>
            <a:ext cx="1397821" cy="294438"/>
          </a:xfrm>
          <a:prstGeom prst="homePlate">
            <a:avLst/>
          </a:prstGeom>
          <a:solidFill>
            <a:srgbClr val="470A68"/>
          </a:solidFill>
          <a:ln w="25400" cap="flat" cmpd="sng" algn="ctr">
            <a:noFill/>
            <a:prstDash val="solid"/>
          </a:ln>
          <a:effectLst/>
        </p:spPr>
        <p:txBody>
          <a:bodyPr rtlCol="0" anchor="ctr"/>
          <a:lstStyle/>
          <a:p>
            <a:pPr algn="ctr" defTabSz="844083">
              <a:defRPr/>
            </a:pPr>
            <a:r>
              <a:rPr lang="en-US" sz="1846" b="1" kern="0">
                <a:solidFill>
                  <a:sysClr val="window" lastClr="FFFFFF"/>
                </a:solidFill>
                <a:cs typeface="Arial" pitchFamily="34" charset="0"/>
              </a:rPr>
              <a:t>5</a:t>
            </a:r>
          </a:p>
        </p:txBody>
      </p:sp>
      <p:grpSp>
        <p:nvGrpSpPr>
          <p:cNvPr id="438" name="Group 437">
            <a:extLst>
              <a:ext uri="{FF2B5EF4-FFF2-40B4-BE49-F238E27FC236}">
                <a16:creationId xmlns:a16="http://schemas.microsoft.com/office/drawing/2014/main" id="{FD30B32F-BD69-8F16-1F24-D5E6D2DB961D}"/>
              </a:ext>
            </a:extLst>
          </p:cNvPr>
          <p:cNvGrpSpPr/>
          <p:nvPr/>
        </p:nvGrpSpPr>
        <p:grpSpPr>
          <a:xfrm>
            <a:off x="3502725" y="2594832"/>
            <a:ext cx="1279601" cy="1141859"/>
            <a:chOff x="503700" y="2768118"/>
            <a:chExt cx="1015408" cy="946810"/>
          </a:xfrm>
        </p:grpSpPr>
        <p:sp>
          <p:nvSpPr>
            <p:cNvPr id="368" name="Freeform 23">
              <a:extLst>
                <a:ext uri="{FF2B5EF4-FFF2-40B4-BE49-F238E27FC236}">
                  <a16:creationId xmlns:a16="http://schemas.microsoft.com/office/drawing/2014/main" id="{1CFC8EEE-8A93-24E0-102F-4EE63D14096E}"/>
                </a:ext>
              </a:extLst>
            </p:cNvPr>
            <p:cNvSpPr>
              <a:spLocks/>
            </p:cNvSpPr>
            <p:nvPr/>
          </p:nvSpPr>
          <p:spPr bwMode="auto">
            <a:xfrm>
              <a:off x="503700" y="2768118"/>
              <a:ext cx="1015408" cy="946810"/>
            </a:xfrm>
            <a:custGeom>
              <a:avLst/>
              <a:gdLst>
                <a:gd name="T0" fmla="*/ 332 w 701"/>
                <a:gd name="T1" fmla="*/ 701 h 701"/>
                <a:gd name="T2" fmla="*/ 280 w 701"/>
                <a:gd name="T3" fmla="*/ 694 h 701"/>
                <a:gd name="T4" fmla="*/ 230 w 701"/>
                <a:gd name="T5" fmla="*/ 680 h 701"/>
                <a:gd name="T6" fmla="*/ 184 w 701"/>
                <a:gd name="T7" fmla="*/ 659 h 701"/>
                <a:gd name="T8" fmla="*/ 141 w 701"/>
                <a:gd name="T9" fmla="*/ 631 h 701"/>
                <a:gd name="T10" fmla="*/ 103 w 701"/>
                <a:gd name="T11" fmla="*/ 598 h 701"/>
                <a:gd name="T12" fmla="*/ 69 w 701"/>
                <a:gd name="T13" fmla="*/ 560 h 701"/>
                <a:gd name="T14" fmla="*/ 42 w 701"/>
                <a:gd name="T15" fmla="*/ 518 h 701"/>
                <a:gd name="T16" fmla="*/ 21 w 701"/>
                <a:gd name="T17" fmla="*/ 471 h 701"/>
                <a:gd name="T18" fmla="*/ 8 w 701"/>
                <a:gd name="T19" fmla="*/ 421 h 701"/>
                <a:gd name="T20" fmla="*/ 0 w 701"/>
                <a:gd name="T21" fmla="*/ 369 h 701"/>
                <a:gd name="T22" fmla="*/ 0 w 701"/>
                <a:gd name="T23" fmla="*/ 333 h 701"/>
                <a:gd name="T24" fmla="*/ 8 w 701"/>
                <a:gd name="T25" fmla="*/ 280 h 701"/>
                <a:gd name="T26" fmla="*/ 21 w 701"/>
                <a:gd name="T27" fmla="*/ 231 h 701"/>
                <a:gd name="T28" fmla="*/ 42 w 701"/>
                <a:gd name="T29" fmla="*/ 184 h 701"/>
                <a:gd name="T30" fmla="*/ 69 w 701"/>
                <a:gd name="T31" fmla="*/ 141 h 701"/>
                <a:gd name="T32" fmla="*/ 103 w 701"/>
                <a:gd name="T33" fmla="*/ 102 h 701"/>
                <a:gd name="T34" fmla="*/ 141 w 701"/>
                <a:gd name="T35" fmla="*/ 70 h 701"/>
                <a:gd name="T36" fmla="*/ 184 w 701"/>
                <a:gd name="T37" fmla="*/ 42 h 701"/>
                <a:gd name="T38" fmla="*/ 230 w 701"/>
                <a:gd name="T39" fmla="*/ 21 h 701"/>
                <a:gd name="T40" fmla="*/ 280 w 701"/>
                <a:gd name="T41" fmla="*/ 7 h 701"/>
                <a:gd name="T42" fmla="*/ 332 w 701"/>
                <a:gd name="T43" fmla="*/ 0 h 701"/>
                <a:gd name="T44" fmla="*/ 369 w 701"/>
                <a:gd name="T45" fmla="*/ 0 h 701"/>
                <a:gd name="T46" fmla="*/ 421 w 701"/>
                <a:gd name="T47" fmla="*/ 7 h 701"/>
                <a:gd name="T48" fmla="*/ 472 w 701"/>
                <a:gd name="T49" fmla="*/ 21 h 701"/>
                <a:gd name="T50" fmla="*/ 517 w 701"/>
                <a:gd name="T51" fmla="*/ 42 h 701"/>
                <a:gd name="T52" fmla="*/ 560 w 701"/>
                <a:gd name="T53" fmla="*/ 70 h 701"/>
                <a:gd name="T54" fmla="*/ 599 w 701"/>
                <a:gd name="T55" fmla="*/ 102 h 701"/>
                <a:gd name="T56" fmla="*/ 632 w 701"/>
                <a:gd name="T57" fmla="*/ 141 h 701"/>
                <a:gd name="T58" fmla="*/ 659 w 701"/>
                <a:gd name="T59" fmla="*/ 184 h 701"/>
                <a:gd name="T60" fmla="*/ 680 w 701"/>
                <a:gd name="T61" fmla="*/ 231 h 701"/>
                <a:gd name="T62" fmla="*/ 694 w 701"/>
                <a:gd name="T63" fmla="*/ 280 h 701"/>
                <a:gd name="T64" fmla="*/ 701 w 701"/>
                <a:gd name="T65" fmla="*/ 333 h 701"/>
                <a:gd name="T66" fmla="*/ 701 w 701"/>
                <a:gd name="T67" fmla="*/ 369 h 701"/>
                <a:gd name="T68" fmla="*/ 694 w 701"/>
                <a:gd name="T69" fmla="*/ 421 h 701"/>
                <a:gd name="T70" fmla="*/ 680 w 701"/>
                <a:gd name="T71" fmla="*/ 471 h 701"/>
                <a:gd name="T72" fmla="*/ 659 w 701"/>
                <a:gd name="T73" fmla="*/ 518 h 701"/>
                <a:gd name="T74" fmla="*/ 632 w 701"/>
                <a:gd name="T75" fmla="*/ 560 h 701"/>
                <a:gd name="T76" fmla="*/ 599 w 701"/>
                <a:gd name="T77" fmla="*/ 598 h 701"/>
                <a:gd name="T78" fmla="*/ 560 w 701"/>
                <a:gd name="T79" fmla="*/ 631 h 701"/>
                <a:gd name="T80" fmla="*/ 517 w 701"/>
                <a:gd name="T81" fmla="*/ 659 h 701"/>
                <a:gd name="T82" fmla="*/ 472 w 701"/>
                <a:gd name="T83" fmla="*/ 680 h 701"/>
                <a:gd name="T84" fmla="*/ 421 w 701"/>
                <a:gd name="T85" fmla="*/ 694 h 701"/>
                <a:gd name="T86" fmla="*/ 369 w 701"/>
                <a:gd name="T87" fmla="*/ 701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1">
                  <a:moveTo>
                    <a:pt x="351" y="701"/>
                  </a:moveTo>
                  <a:lnTo>
                    <a:pt x="351" y="701"/>
                  </a:lnTo>
                  <a:lnTo>
                    <a:pt x="332" y="701"/>
                  </a:lnTo>
                  <a:lnTo>
                    <a:pt x="315" y="699"/>
                  </a:lnTo>
                  <a:lnTo>
                    <a:pt x="298" y="697"/>
                  </a:lnTo>
                  <a:lnTo>
                    <a:pt x="280" y="694"/>
                  </a:lnTo>
                  <a:lnTo>
                    <a:pt x="263" y="689"/>
                  </a:lnTo>
                  <a:lnTo>
                    <a:pt x="247" y="686"/>
                  </a:lnTo>
                  <a:lnTo>
                    <a:pt x="230" y="680"/>
                  </a:lnTo>
                  <a:lnTo>
                    <a:pt x="214" y="673"/>
                  </a:lnTo>
                  <a:lnTo>
                    <a:pt x="199" y="666"/>
                  </a:lnTo>
                  <a:lnTo>
                    <a:pt x="184" y="659"/>
                  </a:lnTo>
                  <a:lnTo>
                    <a:pt x="169" y="650"/>
                  </a:lnTo>
                  <a:lnTo>
                    <a:pt x="155" y="641"/>
                  </a:lnTo>
                  <a:lnTo>
                    <a:pt x="141" y="631"/>
                  </a:lnTo>
                  <a:lnTo>
                    <a:pt x="127" y="620"/>
                  </a:lnTo>
                  <a:lnTo>
                    <a:pt x="115" y="611"/>
                  </a:lnTo>
                  <a:lnTo>
                    <a:pt x="103" y="598"/>
                  </a:lnTo>
                  <a:lnTo>
                    <a:pt x="92" y="586"/>
                  </a:lnTo>
                  <a:lnTo>
                    <a:pt x="81" y="573"/>
                  </a:lnTo>
                  <a:lnTo>
                    <a:pt x="69" y="560"/>
                  </a:lnTo>
                  <a:lnTo>
                    <a:pt x="60" y="546"/>
                  </a:lnTo>
                  <a:lnTo>
                    <a:pt x="51" y="533"/>
                  </a:lnTo>
                  <a:lnTo>
                    <a:pt x="42" y="518"/>
                  </a:lnTo>
                  <a:lnTo>
                    <a:pt x="35" y="502"/>
                  </a:lnTo>
                  <a:lnTo>
                    <a:pt x="28" y="487"/>
                  </a:lnTo>
                  <a:lnTo>
                    <a:pt x="21" y="471"/>
                  </a:lnTo>
                  <a:lnTo>
                    <a:pt x="16" y="455"/>
                  </a:lnTo>
                  <a:lnTo>
                    <a:pt x="11" y="438"/>
                  </a:lnTo>
                  <a:lnTo>
                    <a:pt x="8" y="421"/>
                  </a:lnTo>
                  <a:lnTo>
                    <a:pt x="4" y="403"/>
                  </a:lnTo>
                  <a:lnTo>
                    <a:pt x="2" y="386"/>
                  </a:lnTo>
                  <a:lnTo>
                    <a:pt x="0" y="369"/>
                  </a:lnTo>
                  <a:lnTo>
                    <a:pt x="0" y="350"/>
                  </a:lnTo>
                  <a:lnTo>
                    <a:pt x="0" y="350"/>
                  </a:lnTo>
                  <a:lnTo>
                    <a:pt x="0" y="333"/>
                  </a:lnTo>
                  <a:lnTo>
                    <a:pt x="2" y="314"/>
                  </a:lnTo>
                  <a:lnTo>
                    <a:pt x="4" y="297"/>
                  </a:lnTo>
                  <a:lnTo>
                    <a:pt x="8" y="280"/>
                  </a:lnTo>
                  <a:lnTo>
                    <a:pt x="11" y="263"/>
                  </a:lnTo>
                  <a:lnTo>
                    <a:pt x="16" y="247"/>
                  </a:lnTo>
                  <a:lnTo>
                    <a:pt x="21" y="231"/>
                  </a:lnTo>
                  <a:lnTo>
                    <a:pt x="28" y="215"/>
                  </a:lnTo>
                  <a:lnTo>
                    <a:pt x="35" y="198"/>
                  </a:lnTo>
                  <a:lnTo>
                    <a:pt x="42" y="184"/>
                  </a:lnTo>
                  <a:lnTo>
                    <a:pt x="51" y="169"/>
                  </a:lnTo>
                  <a:lnTo>
                    <a:pt x="60" y="154"/>
                  </a:lnTo>
                  <a:lnTo>
                    <a:pt x="69" y="141"/>
                  </a:lnTo>
                  <a:lnTo>
                    <a:pt x="81" y="127"/>
                  </a:lnTo>
                  <a:lnTo>
                    <a:pt x="92" y="115"/>
                  </a:lnTo>
                  <a:lnTo>
                    <a:pt x="103" y="102"/>
                  </a:lnTo>
                  <a:lnTo>
                    <a:pt x="115" y="91"/>
                  </a:lnTo>
                  <a:lnTo>
                    <a:pt x="127" y="80"/>
                  </a:lnTo>
                  <a:lnTo>
                    <a:pt x="141" y="70"/>
                  </a:lnTo>
                  <a:lnTo>
                    <a:pt x="155" y="60"/>
                  </a:lnTo>
                  <a:lnTo>
                    <a:pt x="169" y="50"/>
                  </a:lnTo>
                  <a:lnTo>
                    <a:pt x="184" y="42"/>
                  </a:lnTo>
                  <a:lnTo>
                    <a:pt x="199" y="34"/>
                  </a:lnTo>
                  <a:lnTo>
                    <a:pt x="214" y="27"/>
                  </a:lnTo>
                  <a:lnTo>
                    <a:pt x="230" y="21"/>
                  </a:lnTo>
                  <a:lnTo>
                    <a:pt x="247" y="16"/>
                  </a:lnTo>
                  <a:lnTo>
                    <a:pt x="263" y="11"/>
                  </a:lnTo>
                  <a:lnTo>
                    <a:pt x="280" y="7"/>
                  </a:lnTo>
                  <a:lnTo>
                    <a:pt x="298" y="4"/>
                  </a:lnTo>
                  <a:lnTo>
                    <a:pt x="315" y="2"/>
                  </a:lnTo>
                  <a:lnTo>
                    <a:pt x="332" y="0"/>
                  </a:lnTo>
                  <a:lnTo>
                    <a:pt x="351" y="0"/>
                  </a:lnTo>
                  <a:lnTo>
                    <a:pt x="351" y="0"/>
                  </a:lnTo>
                  <a:lnTo>
                    <a:pt x="369" y="0"/>
                  </a:lnTo>
                  <a:lnTo>
                    <a:pt x="386" y="2"/>
                  </a:lnTo>
                  <a:lnTo>
                    <a:pt x="404" y="4"/>
                  </a:lnTo>
                  <a:lnTo>
                    <a:pt x="421" y="7"/>
                  </a:lnTo>
                  <a:lnTo>
                    <a:pt x="438" y="11"/>
                  </a:lnTo>
                  <a:lnTo>
                    <a:pt x="456" y="16"/>
                  </a:lnTo>
                  <a:lnTo>
                    <a:pt x="472" y="21"/>
                  </a:lnTo>
                  <a:lnTo>
                    <a:pt x="488" y="27"/>
                  </a:lnTo>
                  <a:lnTo>
                    <a:pt x="502" y="34"/>
                  </a:lnTo>
                  <a:lnTo>
                    <a:pt x="517" y="42"/>
                  </a:lnTo>
                  <a:lnTo>
                    <a:pt x="532" y="50"/>
                  </a:lnTo>
                  <a:lnTo>
                    <a:pt x="547" y="60"/>
                  </a:lnTo>
                  <a:lnTo>
                    <a:pt x="560" y="70"/>
                  </a:lnTo>
                  <a:lnTo>
                    <a:pt x="574" y="80"/>
                  </a:lnTo>
                  <a:lnTo>
                    <a:pt x="586" y="91"/>
                  </a:lnTo>
                  <a:lnTo>
                    <a:pt x="599" y="102"/>
                  </a:lnTo>
                  <a:lnTo>
                    <a:pt x="610" y="115"/>
                  </a:lnTo>
                  <a:lnTo>
                    <a:pt x="621" y="127"/>
                  </a:lnTo>
                  <a:lnTo>
                    <a:pt x="632" y="141"/>
                  </a:lnTo>
                  <a:lnTo>
                    <a:pt x="642" y="154"/>
                  </a:lnTo>
                  <a:lnTo>
                    <a:pt x="650" y="169"/>
                  </a:lnTo>
                  <a:lnTo>
                    <a:pt x="659" y="184"/>
                  </a:lnTo>
                  <a:lnTo>
                    <a:pt x="666" y="198"/>
                  </a:lnTo>
                  <a:lnTo>
                    <a:pt x="674" y="215"/>
                  </a:lnTo>
                  <a:lnTo>
                    <a:pt x="680" y="231"/>
                  </a:lnTo>
                  <a:lnTo>
                    <a:pt x="685" y="247"/>
                  </a:lnTo>
                  <a:lnTo>
                    <a:pt x="690" y="263"/>
                  </a:lnTo>
                  <a:lnTo>
                    <a:pt x="694" y="280"/>
                  </a:lnTo>
                  <a:lnTo>
                    <a:pt x="697" y="297"/>
                  </a:lnTo>
                  <a:lnTo>
                    <a:pt x="700" y="314"/>
                  </a:lnTo>
                  <a:lnTo>
                    <a:pt x="701" y="333"/>
                  </a:lnTo>
                  <a:lnTo>
                    <a:pt x="701" y="350"/>
                  </a:lnTo>
                  <a:lnTo>
                    <a:pt x="701" y="350"/>
                  </a:lnTo>
                  <a:lnTo>
                    <a:pt x="701" y="369"/>
                  </a:lnTo>
                  <a:lnTo>
                    <a:pt x="700" y="386"/>
                  </a:lnTo>
                  <a:lnTo>
                    <a:pt x="697" y="403"/>
                  </a:lnTo>
                  <a:lnTo>
                    <a:pt x="694" y="421"/>
                  </a:lnTo>
                  <a:lnTo>
                    <a:pt x="690" y="438"/>
                  </a:lnTo>
                  <a:lnTo>
                    <a:pt x="685" y="455"/>
                  </a:lnTo>
                  <a:lnTo>
                    <a:pt x="680" y="471"/>
                  </a:lnTo>
                  <a:lnTo>
                    <a:pt x="674" y="487"/>
                  </a:lnTo>
                  <a:lnTo>
                    <a:pt x="666" y="502"/>
                  </a:lnTo>
                  <a:lnTo>
                    <a:pt x="659" y="518"/>
                  </a:lnTo>
                  <a:lnTo>
                    <a:pt x="650" y="533"/>
                  </a:lnTo>
                  <a:lnTo>
                    <a:pt x="642" y="546"/>
                  </a:lnTo>
                  <a:lnTo>
                    <a:pt x="632" y="560"/>
                  </a:lnTo>
                  <a:lnTo>
                    <a:pt x="621" y="573"/>
                  </a:lnTo>
                  <a:lnTo>
                    <a:pt x="610" y="586"/>
                  </a:lnTo>
                  <a:lnTo>
                    <a:pt x="599" y="598"/>
                  </a:lnTo>
                  <a:lnTo>
                    <a:pt x="586" y="611"/>
                  </a:lnTo>
                  <a:lnTo>
                    <a:pt x="574" y="620"/>
                  </a:lnTo>
                  <a:lnTo>
                    <a:pt x="560" y="631"/>
                  </a:lnTo>
                  <a:lnTo>
                    <a:pt x="547" y="641"/>
                  </a:lnTo>
                  <a:lnTo>
                    <a:pt x="532" y="650"/>
                  </a:lnTo>
                  <a:lnTo>
                    <a:pt x="517" y="659"/>
                  </a:lnTo>
                  <a:lnTo>
                    <a:pt x="502" y="666"/>
                  </a:lnTo>
                  <a:lnTo>
                    <a:pt x="488" y="673"/>
                  </a:lnTo>
                  <a:lnTo>
                    <a:pt x="472" y="680"/>
                  </a:lnTo>
                  <a:lnTo>
                    <a:pt x="456" y="686"/>
                  </a:lnTo>
                  <a:lnTo>
                    <a:pt x="438" y="689"/>
                  </a:lnTo>
                  <a:lnTo>
                    <a:pt x="421" y="694"/>
                  </a:lnTo>
                  <a:lnTo>
                    <a:pt x="404" y="697"/>
                  </a:lnTo>
                  <a:lnTo>
                    <a:pt x="386" y="699"/>
                  </a:lnTo>
                  <a:lnTo>
                    <a:pt x="369" y="701"/>
                  </a:lnTo>
                  <a:lnTo>
                    <a:pt x="351" y="701"/>
                  </a:lnTo>
                  <a:lnTo>
                    <a:pt x="351" y="701"/>
                  </a:lnTo>
                  <a:close/>
                </a:path>
              </a:pathLst>
            </a:custGeom>
            <a:solidFill>
              <a:srgbClr val="005EB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0" name="Freeform 325">
              <a:extLst>
                <a:ext uri="{FF2B5EF4-FFF2-40B4-BE49-F238E27FC236}">
                  <a16:creationId xmlns:a16="http://schemas.microsoft.com/office/drawing/2014/main" id="{68EAA97D-F64E-15DA-F2A6-839F06F2152A}"/>
                </a:ext>
              </a:extLst>
            </p:cNvPr>
            <p:cNvSpPr>
              <a:spLocks/>
            </p:cNvSpPr>
            <p:nvPr/>
          </p:nvSpPr>
          <p:spPr bwMode="auto">
            <a:xfrm>
              <a:off x="776020" y="2990977"/>
              <a:ext cx="398342" cy="507847"/>
            </a:xfrm>
            <a:custGeom>
              <a:avLst/>
              <a:gdLst>
                <a:gd name="T0" fmla="*/ 0 w 275"/>
                <a:gd name="T1" fmla="*/ 376 h 376"/>
                <a:gd name="T2" fmla="*/ 0 w 275"/>
                <a:gd name="T3" fmla="*/ 174 h 376"/>
                <a:gd name="T4" fmla="*/ 0 w 275"/>
                <a:gd name="T5" fmla="*/ 73 h 376"/>
                <a:gd name="T6" fmla="*/ 71 w 275"/>
                <a:gd name="T7" fmla="*/ 0 h 376"/>
                <a:gd name="T8" fmla="*/ 275 w 275"/>
                <a:gd name="T9" fmla="*/ 0 h 376"/>
                <a:gd name="T10" fmla="*/ 275 w 275"/>
                <a:gd name="T11" fmla="*/ 75 h 376"/>
                <a:gd name="T12" fmla="*/ 275 w 275"/>
                <a:gd name="T13" fmla="*/ 174 h 376"/>
                <a:gd name="T14" fmla="*/ 275 w 275"/>
                <a:gd name="T15" fmla="*/ 376 h 376"/>
                <a:gd name="T16" fmla="*/ 0 w 275"/>
                <a:gd name="T17" fmla="*/ 37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 h="376">
                  <a:moveTo>
                    <a:pt x="0" y="376"/>
                  </a:moveTo>
                  <a:lnTo>
                    <a:pt x="0" y="174"/>
                  </a:lnTo>
                  <a:lnTo>
                    <a:pt x="0" y="73"/>
                  </a:lnTo>
                  <a:lnTo>
                    <a:pt x="71" y="0"/>
                  </a:lnTo>
                  <a:lnTo>
                    <a:pt x="275" y="0"/>
                  </a:lnTo>
                  <a:lnTo>
                    <a:pt x="275" y="75"/>
                  </a:lnTo>
                  <a:lnTo>
                    <a:pt x="275" y="174"/>
                  </a:lnTo>
                  <a:lnTo>
                    <a:pt x="275" y="376"/>
                  </a:lnTo>
                  <a:lnTo>
                    <a:pt x="0" y="3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1" name="Freeform 326">
              <a:extLst>
                <a:ext uri="{FF2B5EF4-FFF2-40B4-BE49-F238E27FC236}">
                  <a16:creationId xmlns:a16="http://schemas.microsoft.com/office/drawing/2014/main" id="{87C7CDF8-AAE3-3215-7FD2-1A97B7E3D2A2}"/>
                </a:ext>
              </a:extLst>
            </p:cNvPr>
            <p:cNvSpPr>
              <a:spLocks/>
            </p:cNvSpPr>
            <p:nvPr/>
          </p:nvSpPr>
          <p:spPr bwMode="auto">
            <a:xfrm>
              <a:off x="776020" y="2990977"/>
              <a:ext cx="102845" cy="98598"/>
            </a:xfrm>
            <a:custGeom>
              <a:avLst/>
              <a:gdLst>
                <a:gd name="T0" fmla="*/ 71 w 71"/>
                <a:gd name="T1" fmla="*/ 73 h 73"/>
                <a:gd name="T2" fmla="*/ 0 w 71"/>
                <a:gd name="T3" fmla="*/ 73 h 73"/>
                <a:gd name="T4" fmla="*/ 71 w 71"/>
                <a:gd name="T5" fmla="*/ 0 h 73"/>
                <a:gd name="T6" fmla="*/ 71 w 71"/>
                <a:gd name="T7" fmla="*/ 73 h 73"/>
              </a:gdLst>
              <a:ahLst/>
              <a:cxnLst>
                <a:cxn ang="0">
                  <a:pos x="T0" y="T1"/>
                </a:cxn>
                <a:cxn ang="0">
                  <a:pos x="T2" y="T3"/>
                </a:cxn>
                <a:cxn ang="0">
                  <a:pos x="T4" y="T5"/>
                </a:cxn>
                <a:cxn ang="0">
                  <a:pos x="T6" y="T7"/>
                </a:cxn>
              </a:cxnLst>
              <a:rect l="0" t="0" r="r" b="b"/>
              <a:pathLst>
                <a:path w="71" h="73">
                  <a:moveTo>
                    <a:pt x="71" y="73"/>
                  </a:moveTo>
                  <a:lnTo>
                    <a:pt x="0" y="73"/>
                  </a:lnTo>
                  <a:lnTo>
                    <a:pt x="71" y="0"/>
                  </a:lnTo>
                  <a:lnTo>
                    <a:pt x="71" y="73"/>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2" name="Freeform 327">
              <a:extLst>
                <a:ext uri="{FF2B5EF4-FFF2-40B4-BE49-F238E27FC236}">
                  <a16:creationId xmlns:a16="http://schemas.microsoft.com/office/drawing/2014/main" id="{FA31AB41-0E90-AAA3-F534-0DFC3AB46707}"/>
                </a:ext>
              </a:extLst>
            </p:cNvPr>
            <p:cNvSpPr>
              <a:spLocks/>
            </p:cNvSpPr>
            <p:nvPr/>
          </p:nvSpPr>
          <p:spPr bwMode="auto">
            <a:xfrm>
              <a:off x="776020" y="3089574"/>
              <a:ext cx="102845" cy="98598"/>
            </a:xfrm>
            <a:custGeom>
              <a:avLst/>
              <a:gdLst>
                <a:gd name="T0" fmla="*/ 0 w 71"/>
                <a:gd name="T1" fmla="*/ 0 h 73"/>
                <a:gd name="T2" fmla="*/ 71 w 71"/>
                <a:gd name="T3" fmla="*/ 0 h 73"/>
                <a:gd name="T4" fmla="*/ 0 w 71"/>
                <a:gd name="T5" fmla="*/ 73 h 73"/>
                <a:gd name="T6" fmla="*/ 0 w 71"/>
                <a:gd name="T7" fmla="*/ 0 h 73"/>
              </a:gdLst>
              <a:ahLst/>
              <a:cxnLst>
                <a:cxn ang="0">
                  <a:pos x="T0" y="T1"/>
                </a:cxn>
                <a:cxn ang="0">
                  <a:pos x="T2" y="T3"/>
                </a:cxn>
                <a:cxn ang="0">
                  <a:pos x="T4" y="T5"/>
                </a:cxn>
                <a:cxn ang="0">
                  <a:pos x="T6" y="T7"/>
                </a:cxn>
              </a:cxnLst>
              <a:rect l="0" t="0" r="r" b="b"/>
              <a:pathLst>
                <a:path w="71" h="73">
                  <a:moveTo>
                    <a:pt x="0" y="0"/>
                  </a:moveTo>
                  <a:lnTo>
                    <a:pt x="71" y="0"/>
                  </a:lnTo>
                  <a:lnTo>
                    <a:pt x="0" y="73"/>
                  </a:lnTo>
                  <a:lnTo>
                    <a:pt x="0" y="0"/>
                  </a:lnTo>
                  <a:close/>
                </a:path>
              </a:pathLst>
            </a:custGeom>
            <a:solidFill>
              <a:srgbClr val="D1E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3" name="Freeform 328">
              <a:extLst>
                <a:ext uri="{FF2B5EF4-FFF2-40B4-BE49-F238E27FC236}">
                  <a16:creationId xmlns:a16="http://schemas.microsoft.com/office/drawing/2014/main" id="{6086F631-692B-9E16-E0DE-E23BAE157A3F}"/>
                </a:ext>
              </a:extLst>
            </p:cNvPr>
            <p:cNvSpPr>
              <a:spLocks/>
            </p:cNvSpPr>
            <p:nvPr/>
          </p:nvSpPr>
          <p:spPr bwMode="auto">
            <a:xfrm>
              <a:off x="897696" y="3296225"/>
              <a:ext cx="163682" cy="155326"/>
            </a:xfrm>
            <a:custGeom>
              <a:avLst/>
              <a:gdLst>
                <a:gd name="T0" fmla="*/ 18 w 113"/>
                <a:gd name="T1" fmla="*/ 43 h 115"/>
                <a:gd name="T2" fmla="*/ 18 w 113"/>
                <a:gd name="T3" fmla="*/ 43 h 115"/>
                <a:gd name="T4" fmla="*/ 21 w 113"/>
                <a:gd name="T5" fmla="*/ 49 h 115"/>
                <a:gd name="T6" fmla="*/ 22 w 113"/>
                <a:gd name="T7" fmla="*/ 55 h 115"/>
                <a:gd name="T8" fmla="*/ 21 w 113"/>
                <a:gd name="T9" fmla="*/ 63 h 115"/>
                <a:gd name="T10" fmla="*/ 19 w 113"/>
                <a:gd name="T11" fmla="*/ 71 h 115"/>
                <a:gd name="T12" fmla="*/ 16 w 113"/>
                <a:gd name="T13" fmla="*/ 80 h 115"/>
                <a:gd name="T14" fmla="*/ 12 w 113"/>
                <a:gd name="T15" fmla="*/ 89 h 115"/>
                <a:gd name="T16" fmla="*/ 6 w 113"/>
                <a:gd name="T17" fmla="*/ 97 h 115"/>
                <a:gd name="T18" fmla="*/ 0 w 113"/>
                <a:gd name="T19" fmla="*/ 106 h 115"/>
                <a:gd name="T20" fmla="*/ 2 w 113"/>
                <a:gd name="T21" fmla="*/ 108 h 115"/>
                <a:gd name="T22" fmla="*/ 2 w 113"/>
                <a:gd name="T23" fmla="*/ 108 h 115"/>
                <a:gd name="T24" fmla="*/ 48 w 113"/>
                <a:gd name="T25" fmla="*/ 63 h 115"/>
                <a:gd name="T26" fmla="*/ 48 w 113"/>
                <a:gd name="T27" fmla="*/ 63 h 115"/>
                <a:gd name="T28" fmla="*/ 47 w 113"/>
                <a:gd name="T29" fmla="*/ 59 h 115"/>
                <a:gd name="T30" fmla="*/ 49 w 113"/>
                <a:gd name="T31" fmla="*/ 55 h 115"/>
                <a:gd name="T32" fmla="*/ 49 w 113"/>
                <a:gd name="T33" fmla="*/ 55 h 115"/>
                <a:gd name="T34" fmla="*/ 50 w 113"/>
                <a:gd name="T35" fmla="*/ 54 h 115"/>
                <a:gd name="T36" fmla="*/ 53 w 113"/>
                <a:gd name="T37" fmla="*/ 54 h 115"/>
                <a:gd name="T38" fmla="*/ 55 w 113"/>
                <a:gd name="T39" fmla="*/ 54 h 115"/>
                <a:gd name="T40" fmla="*/ 58 w 113"/>
                <a:gd name="T41" fmla="*/ 55 h 115"/>
                <a:gd name="T42" fmla="*/ 58 w 113"/>
                <a:gd name="T43" fmla="*/ 55 h 115"/>
                <a:gd name="T44" fmla="*/ 59 w 113"/>
                <a:gd name="T45" fmla="*/ 58 h 115"/>
                <a:gd name="T46" fmla="*/ 59 w 113"/>
                <a:gd name="T47" fmla="*/ 60 h 115"/>
                <a:gd name="T48" fmla="*/ 59 w 113"/>
                <a:gd name="T49" fmla="*/ 63 h 115"/>
                <a:gd name="T50" fmla="*/ 58 w 113"/>
                <a:gd name="T51" fmla="*/ 64 h 115"/>
                <a:gd name="T52" fmla="*/ 58 w 113"/>
                <a:gd name="T53" fmla="*/ 64 h 115"/>
                <a:gd name="T54" fmla="*/ 54 w 113"/>
                <a:gd name="T55" fmla="*/ 67 h 115"/>
                <a:gd name="T56" fmla="*/ 50 w 113"/>
                <a:gd name="T57" fmla="*/ 65 h 115"/>
                <a:gd name="T58" fmla="*/ 5 w 113"/>
                <a:gd name="T59" fmla="*/ 111 h 115"/>
                <a:gd name="T60" fmla="*/ 5 w 113"/>
                <a:gd name="T61" fmla="*/ 111 h 115"/>
                <a:gd name="T62" fmla="*/ 7 w 113"/>
                <a:gd name="T63" fmla="*/ 115 h 115"/>
                <a:gd name="T64" fmla="*/ 7 w 113"/>
                <a:gd name="T65" fmla="*/ 115 h 115"/>
                <a:gd name="T66" fmla="*/ 16 w 113"/>
                <a:gd name="T67" fmla="*/ 107 h 115"/>
                <a:gd name="T68" fmla="*/ 24 w 113"/>
                <a:gd name="T69" fmla="*/ 102 h 115"/>
                <a:gd name="T70" fmla="*/ 33 w 113"/>
                <a:gd name="T71" fmla="*/ 97 h 115"/>
                <a:gd name="T72" fmla="*/ 42 w 113"/>
                <a:gd name="T73" fmla="*/ 94 h 115"/>
                <a:gd name="T74" fmla="*/ 50 w 113"/>
                <a:gd name="T75" fmla="*/ 92 h 115"/>
                <a:gd name="T76" fmla="*/ 58 w 113"/>
                <a:gd name="T77" fmla="*/ 91 h 115"/>
                <a:gd name="T78" fmla="*/ 65 w 113"/>
                <a:gd name="T79" fmla="*/ 92 h 115"/>
                <a:gd name="T80" fmla="*/ 71 w 113"/>
                <a:gd name="T81" fmla="*/ 95 h 115"/>
                <a:gd name="T82" fmla="*/ 71 w 113"/>
                <a:gd name="T83" fmla="*/ 95 h 115"/>
                <a:gd name="T84" fmla="*/ 80 w 113"/>
                <a:gd name="T85" fmla="*/ 81 h 115"/>
                <a:gd name="T86" fmla="*/ 90 w 113"/>
                <a:gd name="T87" fmla="*/ 67 h 115"/>
                <a:gd name="T88" fmla="*/ 90 w 113"/>
                <a:gd name="T89" fmla="*/ 67 h 115"/>
                <a:gd name="T90" fmla="*/ 102 w 113"/>
                <a:gd name="T91" fmla="*/ 54 h 115"/>
                <a:gd name="T92" fmla="*/ 113 w 113"/>
                <a:gd name="T93" fmla="*/ 43 h 115"/>
                <a:gd name="T94" fmla="*/ 113 w 113"/>
                <a:gd name="T95" fmla="*/ 43 h 115"/>
                <a:gd name="T96" fmla="*/ 102 w 113"/>
                <a:gd name="T97" fmla="*/ 34 h 115"/>
                <a:gd name="T98" fmla="*/ 90 w 113"/>
                <a:gd name="T99" fmla="*/ 23 h 115"/>
                <a:gd name="T100" fmla="*/ 90 w 113"/>
                <a:gd name="T101" fmla="*/ 23 h 115"/>
                <a:gd name="T102" fmla="*/ 80 w 113"/>
                <a:gd name="T103" fmla="*/ 12 h 115"/>
                <a:gd name="T104" fmla="*/ 70 w 113"/>
                <a:gd name="T105" fmla="*/ 0 h 115"/>
                <a:gd name="T106" fmla="*/ 70 w 113"/>
                <a:gd name="T107" fmla="*/ 0 h 115"/>
                <a:gd name="T108" fmla="*/ 59 w 113"/>
                <a:gd name="T109" fmla="*/ 12 h 115"/>
                <a:gd name="T110" fmla="*/ 47 w 113"/>
                <a:gd name="T111" fmla="*/ 23 h 115"/>
                <a:gd name="T112" fmla="*/ 47 w 113"/>
                <a:gd name="T113" fmla="*/ 23 h 115"/>
                <a:gd name="T114" fmla="*/ 33 w 113"/>
                <a:gd name="T115" fmla="*/ 33 h 115"/>
                <a:gd name="T116" fmla="*/ 18 w 113"/>
                <a:gd name="T117" fmla="*/ 43 h 115"/>
                <a:gd name="T118" fmla="*/ 18 w 113"/>
                <a:gd name="T119" fmla="*/ 4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 h="115">
                  <a:moveTo>
                    <a:pt x="18" y="43"/>
                  </a:moveTo>
                  <a:lnTo>
                    <a:pt x="18" y="43"/>
                  </a:lnTo>
                  <a:lnTo>
                    <a:pt x="21" y="49"/>
                  </a:lnTo>
                  <a:lnTo>
                    <a:pt x="22" y="55"/>
                  </a:lnTo>
                  <a:lnTo>
                    <a:pt x="21" y="63"/>
                  </a:lnTo>
                  <a:lnTo>
                    <a:pt x="19" y="71"/>
                  </a:lnTo>
                  <a:lnTo>
                    <a:pt x="16" y="80"/>
                  </a:lnTo>
                  <a:lnTo>
                    <a:pt x="12" y="89"/>
                  </a:lnTo>
                  <a:lnTo>
                    <a:pt x="6" y="97"/>
                  </a:lnTo>
                  <a:lnTo>
                    <a:pt x="0" y="106"/>
                  </a:lnTo>
                  <a:lnTo>
                    <a:pt x="2" y="108"/>
                  </a:lnTo>
                  <a:lnTo>
                    <a:pt x="2" y="108"/>
                  </a:lnTo>
                  <a:lnTo>
                    <a:pt x="48" y="63"/>
                  </a:lnTo>
                  <a:lnTo>
                    <a:pt x="48" y="63"/>
                  </a:lnTo>
                  <a:lnTo>
                    <a:pt x="47" y="59"/>
                  </a:lnTo>
                  <a:lnTo>
                    <a:pt x="49" y="55"/>
                  </a:lnTo>
                  <a:lnTo>
                    <a:pt x="49" y="55"/>
                  </a:lnTo>
                  <a:lnTo>
                    <a:pt x="50" y="54"/>
                  </a:lnTo>
                  <a:lnTo>
                    <a:pt x="53" y="54"/>
                  </a:lnTo>
                  <a:lnTo>
                    <a:pt x="55" y="54"/>
                  </a:lnTo>
                  <a:lnTo>
                    <a:pt x="58" y="55"/>
                  </a:lnTo>
                  <a:lnTo>
                    <a:pt x="58" y="55"/>
                  </a:lnTo>
                  <a:lnTo>
                    <a:pt x="59" y="58"/>
                  </a:lnTo>
                  <a:lnTo>
                    <a:pt x="59" y="60"/>
                  </a:lnTo>
                  <a:lnTo>
                    <a:pt x="59" y="63"/>
                  </a:lnTo>
                  <a:lnTo>
                    <a:pt x="58" y="64"/>
                  </a:lnTo>
                  <a:lnTo>
                    <a:pt x="58" y="64"/>
                  </a:lnTo>
                  <a:lnTo>
                    <a:pt x="54" y="67"/>
                  </a:lnTo>
                  <a:lnTo>
                    <a:pt x="50" y="65"/>
                  </a:lnTo>
                  <a:lnTo>
                    <a:pt x="5" y="111"/>
                  </a:lnTo>
                  <a:lnTo>
                    <a:pt x="5" y="111"/>
                  </a:lnTo>
                  <a:lnTo>
                    <a:pt x="7" y="115"/>
                  </a:lnTo>
                  <a:lnTo>
                    <a:pt x="7" y="115"/>
                  </a:lnTo>
                  <a:lnTo>
                    <a:pt x="16" y="107"/>
                  </a:lnTo>
                  <a:lnTo>
                    <a:pt x="24" y="102"/>
                  </a:lnTo>
                  <a:lnTo>
                    <a:pt x="33" y="97"/>
                  </a:lnTo>
                  <a:lnTo>
                    <a:pt x="42" y="94"/>
                  </a:lnTo>
                  <a:lnTo>
                    <a:pt x="50" y="92"/>
                  </a:lnTo>
                  <a:lnTo>
                    <a:pt x="58" y="91"/>
                  </a:lnTo>
                  <a:lnTo>
                    <a:pt x="65" y="92"/>
                  </a:lnTo>
                  <a:lnTo>
                    <a:pt x="71" y="95"/>
                  </a:lnTo>
                  <a:lnTo>
                    <a:pt x="71" y="95"/>
                  </a:lnTo>
                  <a:lnTo>
                    <a:pt x="80" y="81"/>
                  </a:lnTo>
                  <a:lnTo>
                    <a:pt x="90" y="67"/>
                  </a:lnTo>
                  <a:lnTo>
                    <a:pt x="90" y="67"/>
                  </a:lnTo>
                  <a:lnTo>
                    <a:pt x="102" y="54"/>
                  </a:lnTo>
                  <a:lnTo>
                    <a:pt x="113" y="43"/>
                  </a:lnTo>
                  <a:lnTo>
                    <a:pt x="113" y="43"/>
                  </a:lnTo>
                  <a:lnTo>
                    <a:pt x="102" y="34"/>
                  </a:lnTo>
                  <a:lnTo>
                    <a:pt x="90" y="23"/>
                  </a:lnTo>
                  <a:lnTo>
                    <a:pt x="90" y="23"/>
                  </a:lnTo>
                  <a:lnTo>
                    <a:pt x="80" y="12"/>
                  </a:lnTo>
                  <a:lnTo>
                    <a:pt x="70" y="0"/>
                  </a:lnTo>
                  <a:lnTo>
                    <a:pt x="70" y="0"/>
                  </a:lnTo>
                  <a:lnTo>
                    <a:pt x="59" y="12"/>
                  </a:lnTo>
                  <a:lnTo>
                    <a:pt x="47" y="23"/>
                  </a:lnTo>
                  <a:lnTo>
                    <a:pt x="47" y="23"/>
                  </a:lnTo>
                  <a:lnTo>
                    <a:pt x="33" y="33"/>
                  </a:lnTo>
                  <a:lnTo>
                    <a:pt x="18" y="43"/>
                  </a:lnTo>
                  <a:lnTo>
                    <a:pt x="18" y="43"/>
                  </a:lnTo>
                  <a:close/>
                </a:path>
              </a:pathLst>
            </a:custGeom>
            <a:solidFill>
              <a:srgbClr val="0E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4" name="Freeform 329">
              <a:extLst>
                <a:ext uri="{FF2B5EF4-FFF2-40B4-BE49-F238E27FC236}">
                  <a16:creationId xmlns:a16="http://schemas.microsoft.com/office/drawing/2014/main" id="{DB0329E2-41D0-3D1C-3B79-F87226C94258}"/>
                </a:ext>
              </a:extLst>
            </p:cNvPr>
            <p:cNvSpPr>
              <a:spLocks/>
            </p:cNvSpPr>
            <p:nvPr/>
          </p:nvSpPr>
          <p:spPr bwMode="auto">
            <a:xfrm>
              <a:off x="1000539" y="3131445"/>
              <a:ext cx="237556" cy="222859"/>
            </a:xfrm>
            <a:custGeom>
              <a:avLst/>
              <a:gdLst>
                <a:gd name="T0" fmla="*/ 156 w 164"/>
                <a:gd name="T1" fmla="*/ 45 h 165"/>
                <a:gd name="T2" fmla="*/ 156 w 164"/>
                <a:gd name="T3" fmla="*/ 45 h 165"/>
                <a:gd name="T4" fmla="*/ 159 w 164"/>
                <a:gd name="T5" fmla="*/ 41 h 165"/>
                <a:gd name="T6" fmla="*/ 162 w 164"/>
                <a:gd name="T7" fmla="*/ 36 h 165"/>
                <a:gd name="T8" fmla="*/ 164 w 164"/>
                <a:gd name="T9" fmla="*/ 31 h 165"/>
                <a:gd name="T10" fmla="*/ 164 w 164"/>
                <a:gd name="T11" fmla="*/ 24 h 165"/>
                <a:gd name="T12" fmla="*/ 164 w 164"/>
                <a:gd name="T13" fmla="*/ 20 h 165"/>
                <a:gd name="T14" fmla="*/ 162 w 164"/>
                <a:gd name="T15" fmla="*/ 16 h 165"/>
                <a:gd name="T16" fmla="*/ 159 w 164"/>
                <a:gd name="T17" fmla="*/ 11 h 165"/>
                <a:gd name="T18" fmla="*/ 157 w 164"/>
                <a:gd name="T19" fmla="*/ 7 h 165"/>
                <a:gd name="T20" fmla="*/ 153 w 164"/>
                <a:gd name="T21" fmla="*/ 5 h 165"/>
                <a:gd name="T22" fmla="*/ 148 w 164"/>
                <a:gd name="T23" fmla="*/ 2 h 165"/>
                <a:gd name="T24" fmla="*/ 145 w 164"/>
                <a:gd name="T25" fmla="*/ 1 h 165"/>
                <a:gd name="T26" fmla="*/ 140 w 164"/>
                <a:gd name="T27" fmla="*/ 0 h 165"/>
                <a:gd name="T28" fmla="*/ 135 w 164"/>
                <a:gd name="T29" fmla="*/ 0 h 165"/>
                <a:gd name="T30" fmla="*/ 129 w 164"/>
                <a:gd name="T31" fmla="*/ 2 h 165"/>
                <a:gd name="T32" fmla="*/ 124 w 164"/>
                <a:gd name="T33" fmla="*/ 5 h 165"/>
                <a:gd name="T34" fmla="*/ 119 w 164"/>
                <a:gd name="T35" fmla="*/ 8 h 165"/>
                <a:gd name="T36" fmla="*/ 119 w 164"/>
                <a:gd name="T37" fmla="*/ 8 h 165"/>
                <a:gd name="T38" fmla="*/ 0 w 164"/>
                <a:gd name="T39" fmla="*/ 123 h 165"/>
                <a:gd name="T40" fmla="*/ 0 w 164"/>
                <a:gd name="T41" fmla="*/ 123 h 165"/>
                <a:gd name="T42" fmla="*/ 42 w 164"/>
                <a:gd name="T43" fmla="*/ 165 h 165"/>
                <a:gd name="T44" fmla="*/ 42 w 164"/>
                <a:gd name="T45" fmla="*/ 165 h 165"/>
                <a:gd name="T46" fmla="*/ 156 w 164"/>
                <a:gd name="T47" fmla="*/ 45 h 165"/>
                <a:gd name="T48" fmla="*/ 156 w 164"/>
                <a:gd name="T49" fmla="*/ 4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4" h="165">
                  <a:moveTo>
                    <a:pt x="156" y="45"/>
                  </a:moveTo>
                  <a:lnTo>
                    <a:pt x="156" y="45"/>
                  </a:lnTo>
                  <a:lnTo>
                    <a:pt x="159" y="41"/>
                  </a:lnTo>
                  <a:lnTo>
                    <a:pt x="162" y="36"/>
                  </a:lnTo>
                  <a:lnTo>
                    <a:pt x="164" y="31"/>
                  </a:lnTo>
                  <a:lnTo>
                    <a:pt x="164" y="24"/>
                  </a:lnTo>
                  <a:lnTo>
                    <a:pt x="164" y="20"/>
                  </a:lnTo>
                  <a:lnTo>
                    <a:pt x="162" y="16"/>
                  </a:lnTo>
                  <a:lnTo>
                    <a:pt x="159" y="11"/>
                  </a:lnTo>
                  <a:lnTo>
                    <a:pt x="157" y="7"/>
                  </a:lnTo>
                  <a:lnTo>
                    <a:pt x="153" y="5"/>
                  </a:lnTo>
                  <a:lnTo>
                    <a:pt x="148" y="2"/>
                  </a:lnTo>
                  <a:lnTo>
                    <a:pt x="145" y="1"/>
                  </a:lnTo>
                  <a:lnTo>
                    <a:pt x="140" y="0"/>
                  </a:lnTo>
                  <a:lnTo>
                    <a:pt x="135" y="0"/>
                  </a:lnTo>
                  <a:lnTo>
                    <a:pt x="129" y="2"/>
                  </a:lnTo>
                  <a:lnTo>
                    <a:pt x="124" y="5"/>
                  </a:lnTo>
                  <a:lnTo>
                    <a:pt x="119" y="8"/>
                  </a:lnTo>
                  <a:lnTo>
                    <a:pt x="119" y="8"/>
                  </a:lnTo>
                  <a:lnTo>
                    <a:pt x="0" y="123"/>
                  </a:lnTo>
                  <a:lnTo>
                    <a:pt x="0" y="123"/>
                  </a:lnTo>
                  <a:lnTo>
                    <a:pt x="42" y="165"/>
                  </a:lnTo>
                  <a:lnTo>
                    <a:pt x="42" y="165"/>
                  </a:lnTo>
                  <a:lnTo>
                    <a:pt x="156" y="45"/>
                  </a:lnTo>
                  <a:lnTo>
                    <a:pt x="156" y="45"/>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5" name="Freeform 330">
              <a:extLst>
                <a:ext uri="{FF2B5EF4-FFF2-40B4-BE49-F238E27FC236}">
                  <a16:creationId xmlns:a16="http://schemas.microsoft.com/office/drawing/2014/main" id="{CD3EEAC0-3B59-86FD-5244-16D778DB5BA9}"/>
                </a:ext>
              </a:extLst>
            </p:cNvPr>
            <p:cNvSpPr>
              <a:spLocks/>
            </p:cNvSpPr>
            <p:nvPr/>
          </p:nvSpPr>
          <p:spPr bwMode="auto">
            <a:xfrm>
              <a:off x="990400" y="3296225"/>
              <a:ext cx="70978" cy="66183"/>
            </a:xfrm>
            <a:custGeom>
              <a:avLst/>
              <a:gdLst>
                <a:gd name="T0" fmla="*/ 49 w 49"/>
                <a:gd name="T1" fmla="*/ 43 h 49"/>
                <a:gd name="T2" fmla="*/ 6 w 49"/>
                <a:gd name="T3" fmla="*/ 0 h 49"/>
                <a:gd name="T4" fmla="*/ 0 w 49"/>
                <a:gd name="T5" fmla="*/ 6 h 49"/>
                <a:gd name="T6" fmla="*/ 43 w 49"/>
                <a:gd name="T7" fmla="*/ 49 h 49"/>
                <a:gd name="T8" fmla="*/ 49 w 49"/>
                <a:gd name="T9" fmla="*/ 43 h 49"/>
              </a:gdLst>
              <a:ahLst/>
              <a:cxnLst>
                <a:cxn ang="0">
                  <a:pos x="T0" y="T1"/>
                </a:cxn>
                <a:cxn ang="0">
                  <a:pos x="T2" y="T3"/>
                </a:cxn>
                <a:cxn ang="0">
                  <a:pos x="T4" y="T5"/>
                </a:cxn>
                <a:cxn ang="0">
                  <a:pos x="T6" y="T7"/>
                </a:cxn>
                <a:cxn ang="0">
                  <a:pos x="T8" y="T9"/>
                </a:cxn>
              </a:cxnLst>
              <a:rect l="0" t="0" r="r" b="b"/>
              <a:pathLst>
                <a:path w="49" h="49">
                  <a:moveTo>
                    <a:pt x="49" y="43"/>
                  </a:moveTo>
                  <a:lnTo>
                    <a:pt x="6" y="0"/>
                  </a:lnTo>
                  <a:lnTo>
                    <a:pt x="0" y="6"/>
                  </a:lnTo>
                  <a:lnTo>
                    <a:pt x="43" y="49"/>
                  </a:lnTo>
                  <a:lnTo>
                    <a:pt x="49" y="43"/>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6" name="Freeform 331">
              <a:extLst>
                <a:ext uri="{FF2B5EF4-FFF2-40B4-BE49-F238E27FC236}">
                  <a16:creationId xmlns:a16="http://schemas.microsoft.com/office/drawing/2014/main" id="{4BEEFC0A-1F42-65F3-2948-D33224628389}"/>
                </a:ext>
              </a:extLst>
            </p:cNvPr>
            <p:cNvSpPr>
              <a:spLocks/>
            </p:cNvSpPr>
            <p:nvPr/>
          </p:nvSpPr>
          <p:spPr bwMode="auto">
            <a:xfrm>
              <a:off x="1083105" y="3067964"/>
              <a:ext cx="224520" cy="209352"/>
            </a:xfrm>
            <a:custGeom>
              <a:avLst/>
              <a:gdLst>
                <a:gd name="T0" fmla="*/ 52 w 155"/>
                <a:gd name="T1" fmla="*/ 155 h 155"/>
                <a:gd name="T2" fmla="*/ 148 w 155"/>
                <a:gd name="T3" fmla="*/ 59 h 155"/>
                <a:gd name="T4" fmla="*/ 148 w 155"/>
                <a:gd name="T5" fmla="*/ 59 h 155"/>
                <a:gd name="T6" fmla="*/ 150 w 155"/>
                <a:gd name="T7" fmla="*/ 55 h 155"/>
                <a:gd name="T8" fmla="*/ 153 w 155"/>
                <a:gd name="T9" fmla="*/ 50 h 155"/>
                <a:gd name="T10" fmla="*/ 154 w 155"/>
                <a:gd name="T11" fmla="*/ 46 h 155"/>
                <a:gd name="T12" fmla="*/ 155 w 155"/>
                <a:gd name="T13" fmla="*/ 41 h 155"/>
                <a:gd name="T14" fmla="*/ 154 w 155"/>
                <a:gd name="T15" fmla="*/ 36 h 155"/>
                <a:gd name="T16" fmla="*/ 153 w 155"/>
                <a:gd name="T17" fmla="*/ 31 h 155"/>
                <a:gd name="T18" fmla="*/ 150 w 155"/>
                <a:gd name="T19" fmla="*/ 26 h 155"/>
                <a:gd name="T20" fmla="*/ 147 w 155"/>
                <a:gd name="T21" fmla="*/ 21 h 155"/>
                <a:gd name="T22" fmla="*/ 133 w 155"/>
                <a:gd name="T23" fmla="*/ 9 h 155"/>
                <a:gd name="T24" fmla="*/ 133 w 155"/>
                <a:gd name="T25" fmla="*/ 9 h 155"/>
                <a:gd name="T26" fmla="*/ 130 w 155"/>
                <a:gd name="T27" fmla="*/ 5 h 155"/>
                <a:gd name="T28" fmla="*/ 125 w 155"/>
                <a:gd name="T29" fmla="*/ 2 h 155"/>
                <a:gd name="T30" fmla="*/ 120 w 155"/>
                <a:gd name="T31" fmla="*/ 1 h 155"/>
                <a:gd name="T32" fmla="*/ 115 w 155"/>
                <a:gd name="T33" fmla="*/ 0 h 155"/>
                <a:gd name="T34" fmla="*/ 110 w 155"/>
                <a:gd name="T35" fmla="*/ 1 h 155"/>
                <a:gd name="T36" fmla="*/ 105 w 155"/>
                <a:gd name="T37" fmla="*/ 2 h 155"/>
                <a:gd name="T38" fmla="*/ 100 w 155"/>
                <a:gd name="T39" fmla="*/ 5 h 155"/>
                <a:gd name="T40" fmla="*/ 96 w 155"/>
                <a:gd name="T41" fmla="*/ 7 h 155"/>
                <a:gd name="T42" fmla="*/ 0 w 155"/>
                <a:gd name="T43" fmla="*/ 104 h 155"/>
                <a:gd name="T44" fmla="*/ 52 w 155"/>
                <a:gd name="T45"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5" h="155">
                  <a:moveTo>
                    <a:pt x="52" y="155"/>
                  </a:moveTo>
                  <a:lnTo>
                    <a:pt x="148" y="59"/>
                  </a:lnTo>
                  <a:lnTo>
                    <a:pt x="148" y="59"/>
                  </a:lnTo>
                  <a:lnTo>
                    <a:pt x="150" y="55"/>
                  </a:lnTo>
                  <a:lnTo>
                    <a:pt x="153" y="50"/>
                  </a:lnTo>
                  <a:lnTo>
                    <a:pt x="154" y="46"/>
                  </a:lnTo>
                  <a:lnTo>
                    <a:pt x="155" y="41"/>
                  </a:lnTo>
                  <a:lnTo>
                    <a:pt x="154" y="36"/>
                  </a:lnTo>
                  <a:lnTo>
                    <a:pt x="153" y="31"/>
                  </a:lnTo>
                  <a:lnTo>
                    <a:pt x="150" y="26"/>
                  </a:lnTo>
                  <a:lnTo>
                    <a:pt x="147" y="21"/>
                  </a:lnTo>
                  <a:lnTo>
                    <a:pt x="133" y="9"/>
                  </a:lnTo>
                  <a:lnTo>
                    <a:pt x="133" y="9"/>
                  </a:lnTo>
                  <a:lnTo>
                    <a:pt x="130" y="5"/>
                  </a:lnTo>
                  <a:lnTo>
                    <a:pt x="125" y="2"/>
                  </a:lnTo>
                  <a:lnTo>
                    <a:pt x="120" y="1"/>
                  </a:lnTo>
                  <a:lnTo>
                    <a:pt x="115" y="0"/>
                  </a:lnTo>
                  <a:lnTo>
                    <a:pt x="110" y="1"/>
                  </a:lnTo>
                  <a:lnTo>
                    <a:pt x="105" y="2"/>
                  </a:lnTo>
                  <a:lnTo>
                    <a:pt x="100" y="5"/>
                  </a:lnTo>
                  <a:lnTo>
                    <a:pt x="96" y="7"/>
                  </a:lnTo>
                  <a:lnTo>
                    <a:pt x="0" y="104"/>
                  </a:lnTo>
                  <a:lnTo>
                    <a:pt x="52" y="155"/>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7" name="Freeform 332">
              <a:extLst>
                <a:ext uri="{FF2B5EF4-FFF2-40B4-BE49-F238E27FC236}">
                  <a16:creationId xmlns:a16="http://schemas.microsoft.com/office/drawing/2014/main" id="{6D0D0B8D-0D91-7CFA-9D23-3AE4785A944A}"/>
                </a:ext>
              </a:extLst>
            </p:cNvPr>
            <p:cNvSpPr>
              <a:spLocks/>
            </p:cNvSpPr>
            <p:nvPr/>
          </p:nvSpPr>
          <p:spPr bwMode="auto">
            <a:xfrm>
              <a:off x="1083105" y="3074717"/>
              <a:ext cx="215829" cy="99949"/>
            </a:xfrm>
            <a:custGeom>
              <a:avLst/>
              <a:gdLst>
                <a:gd name="T0" fmla="*/ 148 w 149"/>
                <a:gd name="T1" fmla="*/ 59 h 74"/>
                <a:gd name="T2" fmla="*/ 96 w 149"/>
                <a:gd name="T3" fmla="*/ 7 h 74"/>
                <a:gd name="T4" fmla="*/ 96 w 149"/>
                <a:gd name="T5" fmla="*/ 7 h 74"/>
                <a:gd name="T6" fmla="*/ 93 w 149"/>
                <a:gd name="T7" fmla="*/ 5 h 74"/>
                <a:gd name="T8" fmla="*/ 89 w 149"/>
                <a:gd name="T9" fmla="*/ 2 h 74"/>
                <a:gd name="T10" fmla="*/ 84 w 149"/>
                <a:gd name="T11" fmla="*/ 1 h 74"/>
                <a:gd name="T12" fmla="*/ 80 w 149"/>
                <a:gd name="T13" fmla="*/ 0 h 74"/>
                <a:gd name="T14" fmla="*/ 75 w 149"/>
                <a:gd name="T15" fmla="*/ 0 h 74"/>
                <a:gd name="T16" fmla="*/ 72 w 149"/>
                <a:gd name="T17" fmla="*/ 1 h 74"/>
                <a:gd name="T18" fmla="*/ 68 w 149"/>
                <a:gd name="T19" fmla="*/ 2 h 74"/>
                <a:gd name="T20" fmla="*/ 64 w 149"/>
                <a:gd name="T21" fmla="*/ 6 h 74"/>
                <a:gd name="T22" fmla="*/ 9 w 149"/>
                <a:gd name="T23" fmla="*/ 60 h 74"/>
                <a:gd name="T24" fmla="*/ 9 w 149"/>
                <a:gd name="T25" fmla="*/ 60 h 74"/>
                <a:gd name="T26" fmla="*/ 0 w 149"/>
                <a:gd name="T27" fmla="*/ 70 h 74"/>
                <a:gd name="T28" fmla="*/ 0 w 149"/>
                <a:gd name="T29" fmla="*/ 70 h 74"/>
                <a:gd name="T30" fmla="*/ 6 w 149"/>
                <a:gd name="T31" fmla="*/ 73 h 74"/>
                <a:gd name="T32" fmla="*/ 12 w 149"/>
                <a:gd name="T33" fmla="*/ 74 h 74"/>
                <a:gd name="T34" fmla="*/ 19 w 149"/>
                <a:gd name="T35" fmla="*/ 73 h 74"/>
                <a:gd name="T36" fmla="*/ 22 w 149"/>
                <a:gd name="T37" fmla="*/ 70 h 74"/>
                <a:gd name="T38" fmla="*/ 22 w 149"/>
                <a:gd name="T39" fmla="*/ 70 h 74"/>
                <a:gd name="T40" fmla="*/ 25 w 149"/>
                <a:gd name="T41" fmla="*/ 65 h 74"/>
                <a:gd name="T42" fmla="*/ 25 w 149"/>
                <a:gd name="T43" fmla="*/ 62 h 74"/>
                <a:gd name="T44" fmla="*/ 73 w 149"/>
                <a:gd name="T45" fmla="*/ 13 h 74"/>
                <a:gd name="T46" fmla="*/ 73 w 149"/>
                <a:gd name="T47" fmla="*/ 13 h 74"/>
                <a:gd name="T48" fmla="*/ 76 w 149"/>
                <a:gd name="T49" fmla="*/ 11 h 74"/>
                <a:gd name="T50" fmla="*/ 80 w 149"/>
                <a:gd name="T51" fmla="*/ 11 h 74"/>
                <a:gd name="T52" fmla="*/ 85 w 149"/>
                <a:gd name="T53" fmla="*/ 11 h 74"/>
                <a:gd name="T54" fmla="*/ 90 w 149"/>
                <a:gd name="T55" fmla="*/ 15 h 74"/>
                <a:gd name="T56" fmla="*/ 141 w 149"/>
                <a:gd name="T57" fmla="*/ 66 h 74"/>
                <a:gd name="T58" fmla="*/ 141 w 149"/>
                <a:gd name="T59" fmla="*/ 66 h 74"/>
                <a:gd name="T60" fmla="*/ 143 w 149"/>
                <a:gd name="T61" fmla="*/ 68 h 74"/>
                <a:gd name="T62" fmla="*/ 144 w 149"/>
                <a:gd name="T63" fmla="*/ 68 h 74"/>
                <a:gd name="T64" fmla="*/ 147 w 149"/>
                <a:gd name="T65" fmla="*/ 68 h 74"/>
                <a:gd name="T66" fmla="*/ 148 w 149"/>
                <a:gd name="T67" fmla="*/ 66 h 74"/>
                <a:gd name="T68" fmla="*/ 148 w 149"/>
                <a:gd name="T69" fmla="*/ 66 h 74"/>
                <a:gd name="T70" fmla="*/ 149 w 149"/>
                <a:gd name="T71" fmla="*/ 65 h 74"/>
                <a:gd name="T72" fmla="*/ 149 w 149"/>
                <a:gd name="T73" fmla="*/ 63 h 74"/>
                <a:gd name="T74" fmla="*/ 149 w 149"/>
                <a:gd name="T75" fmla="*/ 60 h 74"/>
                <a:gd name="T76" fmla="*/ 148 w 149"/>
                <a:gd name="T77" fmla="*/ 59 h 74"/>
                <a:gd name="T78" fmla="*/ 148 w 149"/>
                <a:gd name="T79" fmla="*/ 5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9" h="74">
                  <a:moveTo>
                    <a:pt x="148" y="59"/>
                  </a:moveTo>
                  <a:lnTo>
                    <a:pt x="96" y="7"/>
                  </a:lnTo>
                  <a:lnTo>
                    <a:pt x="96" y="7"/>
                  </a:lnTo>
                  <a:lnTo>
                    <a:pt x="93" y="5"/>
                  </a:lnTo>
                  <a:lnTo>
                    <a:pt x="89" y="2"/>
                  </a:lnTo>
                  <a:lnTo>
                    <a:pt x="84" y="1"/>
                  </a:lnTo>
                  <a:lnTo>
                    <a:pt x="80" y="0"/>
                  </a:lnTo>
                  <a:lnTo>
                    <a:pt x="75" y="0"/>
                  </a:lnTo>
                  <a:lnTo>
                    <a:pt x="72" y="1"/>
                  </a:lnTo>
                  <a:lnTo>
                    <a:pt x="68" y="2"/>
                  </a:lnTo>
                  <a:lnTo>
                    <a:pt x="64" y="6"/>
                  </a:lnTo>
                  <a:lnTo>
                    <a:pt x="9" y="60"/>
                  </a:lnTo>
                  <a:lnTo>
                    <a:pt x="9" y="60"/>
                  </a:lnTo>
                  <a:lnTo>
                    <a:pt x="0" y="70"/>
                  </a:lnTo>
                  <a:lnTo>
                    <a:pt x="0" y="70"/>
                  </a:lnTo>
                  <a:lnTo>
                    <a:pt x="6" y="73"/>
                  </a:lnTo>
                  <a:lnTo>
                    <a:pt x="12" y="74"/>
                  </a:lnTo>
                  <a:lnTo>
                    <a:pt x="19" y="73"/>
                  </a:lnTo>
                  <a:lnTo>
                    <a:pt x="22" y="70"/>
                  </a:lnTo>
                  <a:lnTo>
                    <a:pt x="22" y="70"/>
                  </a:lnTo>
                  <a:lnTo>
                    <a:pt x="25" y="65"/>
                  </a:lnTo>
                  <a:lnTo>
                    <a:pt x="25" y="62"/>
                  </a:lnTo>
                  <a:lnTo>
                    <a:pt x="73" y="13"/>
                  </a:lnTo>
                  <a:lnTo>
                    <a:pt x="73" y="13"/>
                  </a:lnTo>
                  <a:lnTo>
                    <a:pt x="76" y="11"/>
                  </a:lnTo>
                  <a:lnTo>
                    <a:pt x="80" y="11"/>
                  </a:lnTo>
                  <a:lnTo>
                    <a:pt x="85" y="11"/>
                  </a:lnTo>
                  <a:lnTo>
                    <a:pt x="90" y="15"/>
                  </a:lnTo>
                  <a:lnTo>
                    <a:pt x="141" y="66"/>
                  </a:lnTo>
                  <a:lnTo>
                    <a:pt x="141" y="66"/>
                  </a:lnTo>
                  <a:lnTo>
                    <a:pt x="143" y="68"/>
                  </a:lnTo>
                  <a:lnTo>
                    <a:pt x="144" y="68"/>
                  </a:lnTo>
                  <a:lnTo>
                    <a:pt x="147" y="68"/>
                  </a:lnTo>
                  <a:lnTo>
                    <a:pt x="148" y="66"/>
                  </a:lnTo>
                  <a:lnTo>
                    <a:pt x="148" y="66"/>
                  </a:lnTo>
                  <a:lnTo>
                    <a:pt x="149" y="65"/>
                  </a:lnTo>
                  <a:lnTo>
                    <a:pt x="149" y="63"/>
                  </a:lnTo>
                  <a:lnTo>
                    <a:pt x="149" y="60"/>
                  </a:lnTo>
                  <a:lnTo>
                    <a:pt x="148" y="59"/>
                  </a:lnTo>
                  <a:lnTo>
                    <a:pt x="148" y="59"/>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grpSp>
        <p:nvGrpSpPr>
          <p:cNvPr id="463" name="Group 462">
            <a:extLst>
              <a:ext uri="{FF2B5EF4-FFF2-40B4-BE49-F238E27FC236}">
                <a16:creationId xmlns:a16="http://schemas.microsoft.com/office/drawing/2014/main" id="{CE4340AC-6735-38E8-9631-5234748CF3B5}"/>
              </a:ext>
            </a:extLst>
          </p:cNvPr>
          <p:cNvGrpSpPr/>
          <p:nvPr/>
        </p:nvGrpSpPr>
        <p:grpSpPr>
          <a:xfrm>
            <a:off x="5567487" y="2635426"/>
            <a:ext cx="1264209" cy="1139881"/>
            <a:chOff x="5552619" y="2943755"/>
            <a:chExt cx="1003177" cy="955950"/>
          </a:xfrm>
        </p:grpSpPr>
        <p:grpSp>
          <p:nvGrpSpPr>
            <p:cNvPr id="439" name="Group 438">
              <a:extLst>
                <a:ext uri="{FF2B5EF4-FFF2-40B4-BE49-F238E27FC236}">
                  <a16:creationId xmlns:a16="http://schemas.microsoft.com/office/drawing/2014/main" id="{FFAC5487-F2F3-E522-3C12-CA8CA9935E41}"/>
                </a:ext>
              </a:extLst>
            </p:cNvPr>
            <p:cNvGrpSpPr/>
            <p:nvPr/>
          </p:nvGrpSpPr>
          <p:grpSpPr>
            <a:xfrm>
              <a:off x="5552619" y="2943755"/>
              <a:ext cx="1003177" cy="955950"/>
              <a:chOff x="5552619" y="2943755"/>
              <a:chExt cx="1003177" cy="955950"/>
            </a:xfrm>
          </p:grpSpPr>
          <p:sp>
            <p:nvSpPr>
              <p:cNvPr id="379" name="Freeform 16">
                <a:extLst>
                  <a:ext uri="{FF2B5EF4-FFF2-40B4-BE49-F238E27FC236}">
                    <a16:creationId xmlns:a16="http://schemas.microsoft.com/office/drawing/2014/main" id="{3D10B883-EDCD-A727-3D3B-207C6655B8EA}"/>
                  </a:ext>
                </a:extLst>
              </p:cNvPr>
              <p:cNvSpPr>
                <a:spLocks/>
              </p:cNvSpPr>
              <p:nvPr/>
            </p:nvSpPr>
            <p:spPr bwMode="auto">
              <a:xfrm>
                <a:off x="5552619" y="2943755"/>
                <a:ext cx="1003177" cy="955950"/>
              </a:xfrm>
              <a:custGeom>
                <a:avLst/>
                <a:gdLst>
                  <a:gd name="T0" fmla="*/ 333 w 702"/>
                  <a:gd name="T1" fmla="*/ 700 h 700"/>
                  <a:gd name="T2" fmla="*/ 280 w 702"/>
                  <a:gd name="T3" fmla="*/ 693 h 700"/>
                  <a:gd name="T4" fmla="*/ 231 w 702"/>
                  <a:gd name="T5" fmla="*/ 679 h 700"/>
                  <a:gd name="T6" fmla="*/ 184 w 702"/>
                  <a:gd name="T7" fmla="*/ 658 h 700"/>
                  <a:gd name="T8" fmla="*/ 142 w 702"/>
                  <a:gd name="T9" fmla="*/ 631 h 700"/>
                  <a:gd name="T10" fmla="*/ 104 w 702"/>
                  <a:gd name="T11" fmla="*/ 598 h 700"/>
                  <a:gd name="T12" fmla="*/ 70 w 702"/>
                  <a:gd name="T13" fmla="*/ 560 h 700"/>
                  <a:gd name="T14" fmla="*/ 43 w 702"/>
                  <a:gd name="T15" fmla="*/ 517 h 700"/>
                  <a:gd name="T16" fmla="*/ 22 w 702"/>
                  <a:gd name="T17" fmla="*/ 471 h 700"/>
                  <a:gd name="T18" fmla="*/ 7 w 702"/>
                  <a:gd name="T19" fmla="*/ 420 h 700"/>
                  <a:gd name="T20" fmla="*/ 1 w 702"/>
                  <a:gd name="T21" fmla="*/ 369 h 700"/>
                  <a:gd name="T22" fmla="*/ 1 w 702"/>
                  <a:gd name="T23" fmla="*/ 331 h 700"/>
                  <a:gd name="T24" fmla="*/ 7 w 702"/>
                  <a:gd name="T25" fmla="*/ 280 h 700"/>
                  <a:gd name="T26" fmla="*/ 22 w 702"/>
                  <a:gd name="T27" fmla="*/ 229 h 700"/>
                  <a:gd name="T28" fmla="*/ 43 w 702"/>
                  <a:gd name="T29" fmla="*/ 183 h 700"/>
                  <a:gd name="T30" fmla="*/ 70 w 702"/>
                  <a:gd name="T31" fmla="*/ 140 h 700"/>
                  <a:gd name="T32" fmla="*/ 104 w 702"/>
                  <a:gd name="T33" fmla="*/ 102 h 700"/>
                  <a:gd name="T34" fmla="*/ 142 w 702"/>
                  <a:gd name="T35" fmla="*/ 69 h 700"/>
                  <a:gd name="T36" fmla="*/ 184 w 702"/>
                  <a:gd name="T37" fmla="*/ 42 h 700"/>
                  <a:gd name="T38" fmla="*/ 231 w 702"/>
                  <a:gd name="T39" fmla="*/ 21 h 700"/>
                  <a:gd name="T40" fmla="*/ 280 w 702"/>
                  <a:gd name="T41" fmla="*/ 7 h 700"/>
                  <a:gd name="T42" fmla="*/ 333 w 702"/>
                  <a:gd name="T43" fmla="*/ 0 h 700"/>
                  <a:gd name="T44" fmla="*/ 369 w 702"/>
                  <a:gd name="T45" fmla="*/ 0 h 700"/>
                  <a:gd name="T46" fmla="*/ 422 w 702"/>
                  <a:gd name="T47" fmla="*/ 7 h 700"/>
                  <a:gd name="T48" fmla="*/ 471 w 702"/>
                  <a:gd name="T49" fmla="*/ 21 h 700"/>
                  <a:gd name="T50" fmla="*/ 518 w 702"/>
                  <a:gd name="T51" fmla="*/ 42 h 700"/>
                  <a:gd name="T52" fmla="*/ 561 w 702"/>
                  <a:gd name="T53" fmla="*/ 69 h 700"/>
                  <a:gd name="T54" fmla="*/ 598 w 702"/>
                  <a:gd name="T55" fmla="*/ 102 h 700"/>
                  <a:gd name="T56" fmla="*/ 632 w 702"/>
                  <a:gd name="T57" fmla="*/ 140 h 700"/>
                  <a:gd name="T58" fmla="*/ 659 w 702"/>
                  <a:gd name="T59" fmla="*/ 183 h 700"/>
                  <a:gd name="T60" fmla="*/ 680 w 702"/>
                  <a:gd name="T61" fmla="*/ 229 h 700"/>
                  <a:gd name="T62" fmla="*/ 694 w 702"/>
                  <a:gd name="T63" fmla="*/ 280 h 700"/>
                  <a:gd name="T64" fmla="*/ 701 w 702"/>
                  <a:gd name="T65" fmla="*/ 331 h 700"/>
                  <a:gd name="T66" fmla="*/ 701 w 702"/>
                  <a:gd name="T67" fmla="*/ 369 h 700"/>
                  <a:gd name="T68" fmla="*/ 694 w 702"/>
                  <a:gd name="T69" fmla="*/ 420 h 700"/>
                  <a:gd name="T70" fmla="*/ 680 w 702"/>
                  <a:gd name="T71" fmla="*/ 471 h 700"/>
                  <a:gd name="T72" fmla="*/ 659 w 702"/>
                  <a:gd name="T73" fmla="*/ 517 h 700"/>
                  <a:gd name="T74" fmla="*/ 632 w 702"/>
                  <a:gd name="T75" fmla="*/ 560 h 700"/>
                  <a:gd name="T76" fmla="*/ 598 w 702"/>
                  <a:gd name="T77" fmla="*/ 598 h 700"/>
                  <a:gd name="T78" fmla="*/ 561 w 702"/>
                  <a:gd name="T79" fmla="*/ 631 h 700"/>
                  <a:gd name="T80" fmla="*/ 518 w 702"/>
                  <a:gd name="T81" fmla="*/ 658 h 700"/>
                  <a:gd name="T82" fmla="*/ 471 w 702"/>
                  <a:gd name="T83" fmla="*/ 679 h 700"/>
                  <a:gd name="T84" fmla="*/ 422 w 702"/>
                  <a:gd name="T85" fmla="*/ 693 h 700"/>
                  <a:gd name="T86" fmla="*/ 369 w 702"/>
                  <a:gd name="T87" fmla="*/ 70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2" h="700">
                    <a:moveTo>
                      <a:pt x="352" y="700"/>
                    </a:moveTo>
                    <a:lnTo>
                      <a:pt x="352" y="700"/>
                    </a:lnTo>
                    <a:lnTo>
                      <a:pt x="333" y="700"/>
                    </a:lnTo>
                    <a:lnTo>
                      <a:pt x="316" y="699"/>
                    </a:lnTo>
                    <a:lnTo>
                      <a:pt x="297" y="697"/>
                    </a:lnTo>
                    <a:lnTo>
                      <a:pt x="280" y="693"/>
                    </a:lnTo>
                    <a:lnTo>
                      <a:pt x="264" y="689"/>
                    </a:lnTo>
                    <a:lnTo>
                      <a:pt x="247" y="684"/>
                    </a:lnTo>
                    <a:lnTo>
                      <a:pt x="231" y="679"/>
                    </a:lnTo>
                    <a:lnTo>
                      <a:pt x="215" y="673"/>
                    </a:lnTo>
                    <a:lnTo>
                      <a:pt x="199" y="666"/>
                    </a:lnTo>
                    <a:lnTo>
                      <a:pt x="184" y="658"/>
                    </a:lnTo>
                    <a:lnTo>
                      <a:pt x="169" y="650"/>
                    </a:lnTo>
                    <a:lnTo>
                      <a:pt x="155" y="641"/>
                    </a:lnTo>
                    <a:lnTo>
                      <a:pt x="142" y="631"/>
                    </a:lnTo>
                    <a:lnTo>
                      <a:pt x="128" y="620"/>
                    </a:lnTo>
                    <a:lnTo>
                      <a:pt x="116" y="609"/>
                    </a:lnTo>
                    <a:lnTo>
                      <a:pt x="104" y="598"/>
                    </a:lnTo>
                    <a:lnTo>
                      <a:pt x="91" y="586"/>
                    </a:lnTo>
                    <a:lnTo>
                      <a:pt x="80" y="573"/>
                    </a:lnTo>
                    <a:lnTo>
                      <a:pt x="70" y="560"/>
                    </a:lnTo>
                    <a:lnTo>
                      <a:pt x="60" y="546"/>
                    </a:lnTo>
                    <a:lnTo>
                      <a:pt x="52" y="531"/>
                    </a:lnTo>
                    <a:lnTo>
                      <a:pt x="43" y="517"/>
                    </a:lnTo>
                    <a:lnTo>
                      <a:pt x="35" y="502"/>
                    </a:lnTo>
                    <a:lnTo>
                      <a:pt x="28" y="487"/>
                    </a:lnTo>
                    <a:lnTo>
                      <a:pt x="22" y="471"/>
                    </a:lnTo>
                    <a:lnTo>
                      <a:pt x="16" y="454"/>
                    </a:lnTo>
                    <a:lnTo>
                      <a:pt x="11" y="438"/>
                    </a:lnTo>
                    <a:lnTo>
                      <a:pt x="7" y="420"/>
                    </a:lnTo>
                    <a:lnTo>
                      <a:pt x="5" y="403"/>
                    </a:lnTo>
                    <a:lnTo>
                      <a:pt x="3" y="386"/>
                    </a:lnTo>
                    <a:lnTo>
                      <a:pt x="1" y="369"/>
                    </a:lnTo>
                    <a:lnTo>
                      <a:pt x="0" y="350"/>
                    </a:lnTo>
                    <a:lnTo>
                      <a:pt x="0" y="350"/>
                    </a:lnTo>
                    <a:lnTo>
                      <a:pt x="1" y="331"/>
                    </a:lnTo>
                    <a:lnTo>
                      <a:pt x="3" y="314"/>
                    </a:lnTo>
                    <a:lnTo>
                      <a:pt x="5" y="297"/>
                    </a:lnTo>
                    <a:lnTo>
                      <a:pt x="7" y="280"/>
                    </a:lnTo>
                    <a:lnTo>
                      <a:pt x="11" y="262"/>
                    </a:lnTo>
                    <a:lnTo>
                      <a:pt x="16" y="246"/>
                    </a:lnTo>
                    <a:lnTo>
                      <a:pt x="22" y="229"/>
                    </a:lnTo>
                    <a:lnTo>
                      <a:pt x="28" y="213"/>
                    </a:lnTo>
                    <a:lnTo>
                      <a:pt x="35" y="198"/>
                    </a:lnTo>
                    <a:lnTo>
                      <a:pt x="43" y="183"/>
                    </a:lnTo>
                    <a:lnTo>
                      <a:pt x="52" y="169"/>
                    </a:lnTo>
                    <a:lnTo>
                      <a:pt x="60" y="154"/>
                    </a:lnTo>
                    <a:lnTo>
                      <a:pt x="70" y="140"/>
                    </a:lnTo>
                    <a:lnTo>
                      <a:pt x="80" y="127"/>
                    </a:lnTo>
                    <a:lnTo>
                      <a:pt x="91" y="114"/>
                    </a:lnTo>
                    <a:lnTo>
                      <a:pt x="104" y="102"/>
                    </a:lnTo>
                    <a:lnTo>
                      <a:pt x="116" y="91"/>
                    </a:lnTo>
                    <a:lnTo>
                      <a:pt x="128" y="80"/>
                    </a:lnTo>
                    <a:lnTo>
                      <a:pt x="142" y="69"/>
                    </a:lnTo>
                    <a:lnTo>
                      <a:pt x="155" y="59"/>
                    </a:lnTo>
                    <a:lnTo>
                      <a:pt x="169" y="50"/>
                    </a:lnTo>
                    <a:lnTo>
                      <a:pt x="184" y="42"/>
                    </a:lnTo>
                    <a:lnTo>
                      <a:pt x="199" y="34"/>
                    </a:lnTo>
                    <a:lnTo>
                      <a:pt x="215" y="27"/>
                    </a:lnTo>
                    <a:lnTo>
                      <a:pt x="231" y="21"/>
                    </a:lnTo>
                    <a:lnTo>
                      <a:pt x="247" y="16"/>
                    </a:lnTo>
                    <a:lnTo>
                      <a:pt x="264" y="11"/>
                    </a:lnTo>
                    <a:lnTo>
                      <a:pt x="280" y="7"/>
                    </a:lnTo>
                    <a:lnTo>
                      <a:pt x="297" y="3"/>
                    </a:lnTo>
                    <a:lnTo>
                      <a:pt x="316" y="1"/>
                    </a:lnTo>
                    <a:lnTo>
                      <a:pt x="333" y="0"/>
                    </a:lnTo>
                    <a:lnTo>
                      <a:pt x="352" y="0"/>
                    </a:lnTo>
                    <a:lnTo>
                      <a:pt x="352" y="0"/>
                    </a:lnTo>
                    <a:lnTo>
                      <a:pt x="369" y="0"/>
                    </a:lnTo>
                    <a:lnTo>
                      <a:pt x="387" y="1"/>
                    </a:lnTo>
                    <a:lnTo>
                      <a:pt x="405" y="3"/>
                    </a:lnTo>
                    <a:lnTo>
                      <a:pt x="422" y="7"/>
                    </a:lnTo>
                    <a:lnTo>
                      <a:pt x="439" y="11"/>
                    </a:lnTo>
                    <a:lnTo>
                      <a:pt x="455" y="16"/>
                    </a:lnTo>
                    <a:lnTo>
                      <a:pt x="471" y="21"/>
                    </a:lnTo>
                    <a:lnTo>
                      <a:pt x="487" y="27"/>
                    </a:lnTo>
                    <a:lnTo>
                      <a:pt x="503" y="34"/>
                    </a:lnTo>
                    <a:lnTo>
                      <a:pt x="518" y="42"/>
                    </a:lnTo>
                    <a:lnTo>
                      <a:pt x="533" y="50"/>
                    </a:lnTo>
                    <a:lnTo>
                      <a:pt x="546" y="59"/>
                    </a:lnTo>
                    <a:lnTo>
                      <a:pt x="561" y="69"/>
                    </a:lnTo>
                    <a:lnTo>
                      <a:pt x="574" y="80"/>
                    </a:lnTo>
                    <a:lnTo>
                      <a:pt x="587" y="91"/>
                    </a:lnTo>
                    <a:lnTo>
                      <a:pt x="598" y="102"/>
                    </a:lnTo>
                    <a:lnTo>
                      <a:pt x="611" y="114"/>
                    </a:lnTo>
                    <a:lnTo>
                      <a:pt x="622" y="127"/>
                    </a:lnTo>
                    <a:lnTo>
                      <a:pt x="632" y="140"/>
                    </a:lnTo>
                    <a:lnTo>
                      <a:pt x="641" y="154"/>
                    </a:lnTo>
                    <a:lnTo>
                      <a:pt x="651" y="169"/>
                    </a:lnTo>
                    <a:lnTo>
                      <a:pt x="659" y="183"/>
                    </a:lnTo>
                    <a:lnTo>
                      <a:pt x="667" y="198"/>
                    </a:lnTo>
                    <a:lnTo>
                      <a:pt x="673" y="213"/>
                    </a:lnTo>
                    <a:lnTo>
                      <a:pt x="680" y="229"/>
                    </a:lnTo>
                    <a:lnTo>
                      <a:pt x="686" y="246"/>
                    </a:lnTo>
                    <a:lnTo>
                      <a:pt x="691" y="262"/>
                    </a:lnTo>
                    <a:lnTo>
                      <a:pt x="694" y="280"/>
                    </a:lnTo>
                    <a:lnTo>
                      <a:pt x="697" y="297"/>
                    </a:lnTo>
                    <a:lnTo>
                      <a:pt x="699" y="314"/>
                    </a:lnTo>
                    <a:lnTo>
                      <a:pt x="701" y="331"/>
                    </a:lnTo>
                    <a:lnTo>
                      <a:pt x="702" y="350"/>
                    </a:lnTo>
                    <a:lnTo>
                      <a:pt x="702" y="350"/>
                    </a:lnTo>
                    <a:lnTo>
                      <a:pt x="701" y="369"/>
                    </a:lnTo>
                    <a:lnTo>
                      <a:pt x="699" y="386"/>
                    </a:lnTo>
                    <a:lnTo>
                      <a:pt x="697" y="403"/>
                    </a:lnTo>
                    <a:lnTo>
                      <a:pt x="694" y="420"/>
                    </a:lnTo>
                    <a:lnTo>
                      <a:pt x="691" y="438"/>
                    </a:lnTo>
                    <a:lnTo>
                      <a:pt x="686" y="454"/>
                    </a:lnTo>
                    <a:lnTo>
                      <a:pt x="680" y="471"/>
                    </a:lnTo>
                    <a:lnTo>
                      <a:pt x="673" y="487"/>
                    </a:lnTo>
                    <a:lnTo>
                      <a:pt x="667" y="502"/>
                    </a:lnTo>
                    <a:lnTo>
                      <a:pt x="659" y="517"/>
                    </a:lnTo>
                    <a:lnTo>
                      <a:pt x="651" y="531"/>
                    </a:lnTo>
                    <a:lnTo>
                      <a:pt x="641" y="546"/>
                    </a:lnTo>
                    <a:lnTo>
                      <a:pt x="632" y="560"/>
                    </a:lnTo>
                    <a:lnTo>
                      <a:pt x="622" y="573"/>
                    </a:lnTo>
                    <a:lnTo>
                      <a:pt x="611" y="586"/>
                    </a:lnTo>
                    <a:lnTo>
                      <a:pt x="598" y="598"/>
                    </a:lnTo>
                    <a:lnTo>
                      <a:pt x="587" y="609"/>
                    </a:lnTo>
                    <a:lnTo>
                      <a:pt x="574" y="620"/>
                    </a:lnTo>
                    <a:lnTo>
                      <a:pt x="561" y="631"/>
                    </a:lnTo>
                    <a:lnTo>
                      <a:pt x="546" y="641"/>
                    </a:lnTo>
                    <a:lnTo>
                      <a:pt x="533" y="650"/>
                    </a:lnTo>
                    <a:lnTo>
                      <a:pt x="518" y="658"/>
                    </a:lnTo>
                    <a:lnTo>
                      <a:pt x="503" y="666"/>
                    </a:lnTo>
                    <a:lnTo>
                      <a:pt x="487" y="673"/>
                    </a:lnTo>
                    <a:lnTo>
                      <a:pt x="471" y="679"/>
                    </a:lnTo>
                    <a:lnTo>
                      <a:pt x="455" y="684"/>
                    </a:lnTo>
                    <a:lnTo>
                      <a:pt x="439" y="689"/>
                    </a:lnTo>
                    <a:lnTo>
                      <a:pt x="422" y="693"/>
                    </a:lnTo>
                    <a:lnTo>
                      <a:pt x="405" y="697"/>
                    </a:lnTo>
                    <a:lnTo>
                      <a:pt x="387" y="699"/>
                    </a:lnTo>
                    <a:lnTo>
                      <a:pt x="369" y="700"/>
                    </a:lnTo>
                    <a:lnTo>
                      <a:pt x="352" y="700"/>
                    </a:lnTo>
                    <a:lnTo>
                      <a:pt x="352" y="700"/>
                    </a:lnTo>
                    <a:close/>
                  </a:path>
                </a:pathLst>
              </a:custGeom>
              <a:solidFill>
                <a:srgbClr val="0091D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1" name="Freeform 61">
                <a:extLst>
                  <a:ext uri="{FF2B5EF4-FFF2-40B4-BE49-F238E27FC236}">
                    <a16:creationId xmlns:a16="http://schemas.microsoft.com/office/drawing/2014/main" id="{7C6C5397-7B55-71B3-C7DD-AECAFCE6BA28}"/>
                  </a:ext>
                </a:extLst>
              </p:cNvPr>
              <p:cNvSpPr>
                <a:spLocks/>
              </p:cNvSpPr>
              <p:nvPr/>
            </p:nvSpPr>
            <p:spPr bwMode="auto">
              <a:xfrm>
                <a:off x="5824134" y="3149968"/>
                <a:ext cx="410131" cy="539429"/>
              </a:xfrm>
              <a:custGeom>
                <a:avLst/>
                <a:gdLst>
                  <a:gd name="T0" fmla="*/ 0 w 287"/>
                  <a:gd name="T1" fmla="*/ 395 h 395"/>
                  <a:gd name="T2" fmla="*/ 0 w 287"/>
                  <a:gd name="T3" fmla="*/ 183 h 395"/>
                  <a:gd name="T4" fmla="*/ 0 w 287"/>
                  <a:gd name="T5" fmla="*/ 77 h 395"/>
                  <a:gd name="T6" fmla="*/ 75 w 287"/>
                  <a:gd name="T7" fmla="*/ 0 h 395"/>
                  <a:gd name="T8" fmla="*/ 287 w 287"/>
                  <a:gd name="T9" fmla="*/ 0 h 395"/>
                  <a:gd name="T10" fmla="*/ 287 w 287"/>
                  <a:gd name="T11" fmla="*/ 79 h 395"/>
                  <a:gd name="T12" fmla="*/ 287 w 287"/>
                  <a:gd name="T13" fmla="*/ 183 h 395"/>
                  <a:gd name="T14" fmla="*/ 287 w 287"/>
                  <a:gd name="T15" fmla="*/ 395 h 395"/>
                  <a:gd name="T16" fmla="*/ 0 w 287"/>
                  <a:gd name="T17" fmla="*/ 39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7" h="395">
                    <a:moveTo>
                      <a:pt x="0" y="395"/>
                    </a:moveTo>
                    <a:lnTo>
                      <a:pt x="0" y="183"/>
                    </a:lnTo>
                    <a:lnTo>
                      <a:pt x="0" y="77"/>
                    </a:lnTo>
                    <a:lnTo>
                      <a:pt x="75" y="0"/>
                    </a:lnTo>
                    <a:lnTo>
                      <a:pt x="287" y="0"/>
                    </a:lnTo>
                    <a:lnTo>
                      <a:pt x="287" y="79"/>
                    </a:lnTo>
                    <a:lnTo>
                      <a:pt x="287" y="183"/>
                    </a:lnTo>
                    <a:lnTo>
                      <a:pt x="287" y="395"/>
                    </a:lnTo>
                    <a:lnTo>
                      <a:pt x="0" y="3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sp>
          <p:nvSpPr>
            <p:cNvPr id="382" name="Freeform 62">
              <a:extLst>
                <a:ext uri="{FF2B5EF4-FFF2-40B4-BE49-F238E27FC236}">
                  <a16:creationId xmlns:a16="http://schemas.microsoft.com/office/drawing/2014/main" id="{6836A92B-0D4F-2B35-1F99-8F4EB7E6336C}"/>
                </a:ext>
              </a:extLst>
            </p:cNvPr>
            <p:cNvSpPr>
              <a:spLocks/>
            </p:cNvSpPr>
            <p:nvPr/>
          </p:nvSpPr>
          <p:spPr bwMode="auto">
            <a:xfrm>
              <a:off x="5824134" y="3149968"/>
              <a:ext cx="107177" cy="105155"/>
            </a:xfrm>
            <a:custGeom>
              <a:avLst/>
              <a:gdLst>
                <a:gd name="T0" fmla="*/ 75 w 75"/>
                <a:gd name="T1" fmla="*/ 77 h 77"/>
                <a:gd name="T2" fmla="*/ 0 w 75"/>
                <a:gd name="T3" fmla="*/ 77 h 77"/>
                <a:gd name="T4" fmla="*/ 75 w 75"/>
                <a:gd name="T5" fmla="*/ 0 h 77"/>
                <a:gd name="T6" fmla="*/ 75 w 75"/>
                <a:gd name="T7" fmla="*/ 77 h 77"/>
              </a:gdLst>
              <a:ahLst/>
              <a:cxnLst>
                <a:cxn ang="0">
                  <a:pos x="T0" y="T1"/>
                </a:cxn>
                <a:cxn ang="0">
                  <a:pos x="T2" y="T3"/>
                </a:cxn>
                <a:cxn ang="0">
                  <a:pos x="T4" y="T5"/>
                </a:cxn>
                <a:cxn ang="0">
                  <a:pos x="T6" y="T7"/>
                </a:cxn>
              </a:cxnLst>
              <a:rect l="0" t="0" r="r" b="b"/>
              <a:pathLst>
                <a:path w="75" h="77">
                  <a:moveTo>
                    <a:pt x="75" y="77"/>
                  </a:moveTo>
                  <a:lnTo>
                    <a:pt x="0" y="77"/>
                  </a:lnTo>
                  <a:lnTo>
                    <a:pt x="75" y="0"/>
                  </a:lnTo>
                  <a:lnTo>
                    <a:pt x="75" y="77"/>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3" name="Freeform 63">
              <a:extLst>
                <a:ext uri="{FF2B5EF4-FFF2-40B4-BE49-F238E27FC236}">
                  <a16:creationId xmlns:a16="http://schemas.microsoft.com/office/drawing/2014/main" id="{FE928E08-9172-AD02-AF25-9B5D47267D5A}"/>
                </a:ext>
              </a:extLst>
            </p:cNvPr>
            <p:cNvSpPr>
              <a:spLocks/>
            </p:cNvSpPr>
            <p:nvPr/>
          </p:nvSpPr>
          <p:spPr bwMode="auto">
            <a:xfrm>
              <a:off x="5824134" y="3255122"/>
              <a:ext cx="107177" cy="103789"/>
            </a:xfrm>
            <a:custGeom>
              <a:avLst/>
              <a:gdLst>
                <a:gd name="T0" fmla="*/ 0 w 75"/>
                <a:gd name="T1" fmla="*/ 0 h 76"/>
                <a:gd name="T2" fmla="*/ 75 w 75"/>
                <a:gd name="T3" fmla="*/ 0 h 76"/>
                <a:gd name="T4" fmla="*/ 0 w 75"/>
                <a:gd name="T5" fmla="*/ 76 h 76"/>
                <a:gd name="T6" fmla="*/ 0 w 75"/>
                <a:gd name="T7" fmla="*/ 0 h 76"/>
              </a:gdLst>
              <a:ahLst/>
              <a:cxnLst>
                <a:cxn ang="0">
                  <a:pos x="T0" y="T1"/>
                </a:cxn>
                <a:cxn ang="0">
                  <a:pos x="T2" y="T3"/>
                </a:cxn>
                <a:cxn ang="0">
                  <a:pos x="T4" y="T5"/>
                </a:cxn>
                <a:cxn ang="0">
                  <a:pos x="T6" y="T7"/>
                </a:cxn>
              </a:cxnLst>
              <a:rect l="0" t="0" r="r" b="b"/>
              <a:pathLst>
                <a:path w="75" h="76">
                  <a:moveTo>
                    <a:pt x="0" y="0"/>
                  </a:moveTo>
                  <a:lnTo>
                    <a:pt x="75" y="0"/>
                  </a:lnTo>
                  <a:lnTo>
                    <a:pt x="0" y="76"/>
                  </a:lnTo>
                  <a:lnTo>
                    <a:pt x="0" y="0"/>
                  </a:lnTo>
                  <a:close/>
                </a:path>
              </a:pathLst>
            </a:custGeom>
            <a:solidFill>
              <a:srgbClr val="D1E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4" name="Freeform 64">
              <a:extLst>
                <a:ext uri="{FF2B5EF4-FFF2-40B4-BE49-F238E27FC236}">
                  <a16:creationId xmlns:a16="http://schemas.microsoft.com/office/drawing/2014/main" id="{32D2778C-5DC7-BFE0-261B-E72F9A69330F}"/>
                </a:ext>
              </a:extLst>
            </p:cNvPr>
            <p:cNvSpPr>
              <a:spLocks/>
            </p:cNvSpPr>
            <p:nvPr/>
          </p:nvSpPr>
          <p:spPr bwMode="auto">
            <a:xfrm>
              <a:off x="5861289" y="3506400"/>
              <a:ext cx="134329" cy="127005"/>
            </a:xfrm>
            <a:custGeom>
              <a:avLst/>
              <a:gdLst>
                <a:gd name="T0" fmla="*/ 43 w 94"/>
                <a:gd name="T1" fmla="*/ 49 h 93"/>
                <a:gd name="T2" fmla="*/ 43 w 94"/>
                <a:gd name="T3" fmla="*/ 0 h 93"/>
                <a:gd name="T4" fmla="*/ 43 w 94"/>
                <a:gd name="T5" fmla="*/ 0 h 93"/>
                <a:gd name="T6" fmla="*/ 34 w 94"/>
                <a:gd name="T7" fmla="*/ 1 h 93"/>
                <a:gd name="T8" fmla="*/ 27 w 94"/>
                <a:gd name="T9" fmla="*/ 5 h 93"/>
                <a:gd name="T10" fmla="*/ 20 w 94"/>
                <a:gd name="T11" fmla="*/ 8 h 93"/>
                <a:gd name="T12" fmla="*/ 12 w 94"/>
                <a:gd name="T13" fmla="*/ 14 h 93"/>
                <a:gd name="T14" fmla="*/ 7 w 94"/>
                <a:gd name="T15" fmla="*/ 21 h 93"/>
                <a:gd name="T16" fmla="*/ 4 w 94"/>
                <a:gd name="T17" fmla="*/ 29 h 93"/>
                <a:gd name="T18" fmla="*/ 1 w 94"/>
                <a:gd name="T19" fmla="*/ 37 h 93"/>
                <a:gd name="T20" fmla="*/ 0 w 94"/>
                <a:gd name="T21" fmla="*/ 47 h 93"/>
                <a:gd name="T22" fmla="*/ 0 w 94"/>
                <a:gd name="T23" fmla="*/ 47 h 93"/>
                <a:gd name="T24" fmla="*/ 1 w 94"/>
                <a:gd name="T25" fmla="*/ 55 h 93"/>
                <a:gd name="T26" fmla="*/ 4 w 94"/>
                <a:gd name="T27" fmla="*/ 64 h 93"/>
                <a:gd name="T28" fmla="*/ 9 w 94"/>
                <a:gd name="T29" fmla="*/ 72 h 93"/>
                <a:gd name="T30" fmla="*/ 13 w 94"/>
                <a:gd name="T31" fmla="*/ 79 h 93"/>
                <a:gd name="T32" fmla="*/ 21 w 94"/>
                <a:gd name="T33" fmla="*/ 85 h 93"/>
                <a:gd name="T34" fmla="*/ 28 w 94"/>
                <a:gd name="T35" fmla="*/ 90 h 93"/>
                <a:gd name="T36" fmla="*/ 37 w 94"/>
                <a:gd name="T37" fmla="*/ 92 h 93"/>
                <a:gd name="T38" fmla="*/ 47 w 94"/>
                <a:gd name="T39" fmla="*/ 93 h 93"/>
                <a:gd name="T40" fmla="*/ 47 w 94"/>
                <a:gd name="T41" fmla="*/ 93 h 93"/>
                <a:gd name="T42" fmla="*/ 55 w 94"/>
                <a:gd name="T43" fmla="*/ 92 h 93"/>
                <a:gd name="T44" fmla="*/ 64 w 94"/>
                <a:gd name="T45" fmla="*/ 90 h 93"/>
                <a:gd name="T46" fmla="*/ 71 w 94"/>
                <a:gd name="T47" fmla="*/ 86 h 93"/>
                <a:gd name="T48" fmla="*/ 79 w 94"/>
                <a:gd name="T49" fmla="*/ 80 h 93"/>
                <a:gd name="T50" fmla="*/ 84 w 94"/>
                <a:gd name="T51" fmla="*/ 74 h 93"/>
                <a:gd name="T52" fmla="*/ 89 w 94"/>
                <a:gd name="T53" fmla="*/ 66 h 93"/>
                <a:gd name="T54" fmla="*/ 91 w 94"/>
                <a:gd name="T55" fmla="*/ 58 h 93"/>
                <a:gd name="T56" fmla="*/ 94 w 94"/>
                <a:gd name="T57" fmla="*/ 49 h 93"/>
                <a:gd name="T58" fmla="*/ 43 w 94"/>
                <a:gd name="T59" fmla="*/ 4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4" h="93">
                  <a:moveTo>
                    <a:pt x="43" y="49"/>
                  </a:moveTo>
                  <a:lnTo>
                    <a:pt x="43" y="0"/>
                  </a:lnTo>
                  <a:lnTo>
                    <a:pt x="43" y="0"/>
                  </a:lnTo>
                  <a:lnTo>
                    <a:pt x="34" y="1"/>
                  </a:lnTo>
                  <a:lnTo>
                    <a:pt x="27" y="5"/>
                  </a:lnTo>
                  <a:lnTo>
                    <a:pt x="20" y="8"/>
                  </a:lnTo>
                  <a:lnTo>
                    <a:pt x="12" y="14"/>
                  </a:lnTo>
                  <a:lnTo>
                    <a:pt x="7" y="21"/>
                  </a:lnTo>
                  <a:lnTo>
                    <a:pt x="4" y="29"/>
                  </a:lnTo>
                  <a:lnTo>
                    <a:pt x="1" y="37"/>
                  </a:lnTo>
                  <a:lnTo>
                    <a:pt x="0" y="47"/>
                  </a:lnTo>
                  <a:lnTo>
                    <a:pt x="0" y="47"/>
                  </a:lnTo>
                  <a:lnTo>
                    <a:pt x="1" y="55"/>
                  </a:lnTo>
                  <a:lnTo>
                    <a:pt x="4" y="64"/>
                  </a:lnTo>
                  <a:lnTo>
                    <a:pt x="9" y="72"/>
                  </a:lnTo>
                  <a:lnTo>
                    <a:pt x="13" y="79"/>
                  </a:lnTo>
                  <a:lnTo>
                    <a:pt x="21" y="85"/>
                  </a:lnTo>
                  <a:lnTo>
                    <a:pt x="28" y="90"/>
                  </a:lnTo>
                  <a:lnTo>
                    <a:pt x="37" y="92"/>
                  </a:lnTo>
                  <a:lnTo>
                    <a:pt x="47" y="93"/>
                  </a:lnTo>
                  <a:lnTo>
                    <a:pt x="47" y="93"/>
                  </a:lnTo>
                  <a:lnTo>
                    <a:pt x="55" y="92"/>
                  </a:lnTo>
                  <a:lnTo>
                    <a:pt x="64" y="90"/>
                  </a:lnTo>
                  <a:lnTo>
                    <a:pt x="71" y="86"/>
                  </a:lnTo>
                  <a:lnTo>
                    <a:pt x="79" y="80"/>
                  </a:lnTo>
                  <a:lnTo>
                    <a:pt x="84" y="74"/>
                  </a:lnTo>
                  <a:lnTo>
                    <a:pt x="89" y="66"/>
                  </a:lnTo>
                  <a:lnTo>
                    <a:pt x="91" y="58"/>
                  </a:lnTo>
                  <a:lnTo>
                    <a:pt x="94" y="49"/>
                  </a:lnTo>
                  <a:lnTo>
                    <a:pt x="43" y="49"/>
                  </a:lnTo>
                  <a:close/>
                </a:path>
              </a:pathLst>
            </a:custGeom>
            <a:solidFill>
              <a:srgbClr val="2C58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5" name="Freeform 65">
              <a:extLst>
                <a:ext uri="{FF2B5EF4-FFF2-40B4-BE49-F238E27FC236}">
                  <a16:creationId xmlns:a16="http://schemas.microsoft.com/office/drawing/2014/main" id="{C3C909CE-604F-4DF6-18BC-6CBC0E0C11CD}"/>
                </a:ext>
              </a:extLst>
            </p:cNvPr>
            <p:cNvSpPr>
              <a:spLocks/>
            </p:cNvSpPr>
            <p:nvPr/>
          </p:nvSpPr>
          <p:spPr bwMode="auto">
            <a:xfrm>
              <a:off x="5942744" y="3509131"/>
              <a:ext cx="48587" cy="49163"/>
            </a:xfrm>
            <a:custGeom>
              <a:avLst/>
              <a:gdLst>
                <a:gd name="T0" fmla="*/ 34 w 34"/>
                <a:gd name="T1" fmla="*/ 36 h 36"/>
                <a:gd name="T2" fmla="*/ 34 w 34"/>
                <a:gd name="T3" fmla="*/ 36 h 36"/>
                <a:gd name="T4" fmla="*/ 33 w 34"/>
                <a:gd name="T5" fmla="*/ 29 h 36"/>
                <a:gd name="T6" fmla="*/ 32 w 34"/>
                <a:gd name="T7" fmla="*/ 22 h 36"/>
                <a:gd name="T8" fmla="*/ 28 w 34"/>
                <a:gd name="T9" fmla="*/ 16 h 36"/>
                <a:gd name="T10" fmla="*/ 24 w 34"/>
                <a:gd name="T11" fmla="*/ 11 h 36"/>
                <a:gd name="T12" fmla="*/ 18 w 34"/>
                <a:gd name="T13" fmla="*/ 6 h 36"/>
                <a:gd name="T14" fmla="*/ 13 w 34"/>
                <a:gd name="T15" fmla="*/ 4 h 36"/>
                <a:gd name="T16" fmla="*/ 6 w 34"/>
                <a:gd name="T17" fmla="*/ 1 h 36"/>
                <a:gd name="T18" fmla="*/ 0 w 34"/>
                <a:gd name="T19" fmla="*/ 0 h 36"/>
                <a:gd name="T20" fmla="*/ 0 w 34"/>
                <a:gd name="T21" fmla="*/ 36 h 36"/>
                <a:gd name="T22" fmla="*/ 34 w 34"/>
                <a:gd name="T2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6">
                  <a:moveTo>
                    <a:pt x="34" y="36"/>
                  </a:moveTo>
                  <a:lnTo>
                    <a:pt x="34" y="36"/>
                  </a:lnTo>
                  <a:lnTo>
                    <a:pt x="33" y="29"/>
                  </a:lnTo>
                  <a:lnTo>
                    <a:pt x="32" y="22"/>
                  </a:lnTo>
                  <a:lnTo>
                    <a:pt x="28" y="16"/>
                  </a:lnTo>
                  <a:lnTo>
                    <a:pt x="24" y="11"/>
                  </a:lnTo>
                  <a:lnTo>
                    <a:pt x="18" y="6"/>
                  </a:lnTo>
                  <a:lnTo>
                    <a:pt x="13" y="4"/>
                  </a:lnTo>
                  <a:lnTo>
                    <a:pt x="6" y="1"/>
                  </a:lnTo>
                  <a:lnTo>
                    <a:pt x="0" y="0"/>
                  </a:lnTo>
                  <a:lnTo>
                    <a:pt x="0" y="36"/>
                  </a:lnTo>
                  <a:lnTo>
                    <a:pt x="34" y="36"/>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6" name="Freeform 66">
              <a:extLst>
                <a:ext uri="{FF2B5EF4-FFF2-40B4-BE49-F238E27FC236}">
                  <a16:creationId xmlns:a16="http://schemas.microsoft.com/office/drawing/2014/main" id="{A4C918D4-A62E-5F2D-8179-7A0DB9D0653D}"/>
                </a:ext>
              </a:extLst>
            </p:cNvPr>
            <p:cNvSpPr>
              <a:spLocks/>
            </p:cNvSpPr>
            <p:nvPr/>
          </p:nvSpPr>
          <p:spPr bwMode="auto">
            <a:xfrm>
              <a:off x="5949889" y="3376664"/>
              <a:ext cx="42871" cy="39604"/>
            </a:xfrm>
            <a:custGeom>
              <a:avLst/>
              <a:gdLst>
                <a:gd name="T0" fmla="*/ 4 w 30"/>
                <a:gd name="T1" fmla="*/ 0 h 29"/>
                <a:gd name="T2" fmla="*/ 4 w 30"/>
                <a:gd name="T3" fmla="*/ 0 h 29"/>
                <a:gd name="T4" fmla="*/ 2 w 30"/>
                <a:gd name="T5" fmla="*/ 5 h 29"/>
                <a:gd name="T6" fmla="*/ 0 w 30"/>
                <a:gd name="T7" fmla="*/ 8 h 29"/>
                <a:gd name="T8" fmla="*/ 16 w 30"/>
                <a:gd name="T9" fmla="*/ 29 h 29"/>
                <a:gd name="T10" fmla="*/ 16 w 30"/>
                <a:gd name="T11" fmla="*/ 29 h 29"/>
                <a:gd name="T12" fmla="*/ 21 w 30"/>
                <a:gd name="T13" fmla="*/ 23 h 29"/>
                <a:gd name="T14" fmla="*/ 24 w 30"/>
                <a:gd name="T15" fmla="*/ 17 h 29"/>
                <a:gd name="T16" fmla="*/ 28 w 30"/>
                <a:gd name="T17" fmla="*/ 11 h 29"/>
                <a:gd name="T18" fmla="*/ 30 w 30"/>
                <a:gd name="T19" fmla="*/ 3 h 29"/>
                <a:gd name="T20" fmla="*/ 4 w 30"/>
                <a:gd name="T2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29">
                  <a:moveTo>
                    <a:pt x="4" y="0"/>
                  </a:moveTo>
                  <a:lnTo>
                    <a:pt x="4" y="0"/>
                  </a:lnTo>
                  <a:lnTo>
                    <a:pt x="2" y="5"/>
                  </a:lnTo>
                  <a:lnTo>
                    <a:pt x="0" y="8"/>
                  </a:lnTo>
                  <a:lnTo>
                    <a:pt x="16" y="29"/>
                  </a:lnTo>
                  <a:lnTo>
                    <a:pt x="16" y="29"/>
                  </a:lnTo>
                  <a:lnTo>
                    <a:pt x="21" y="23"/>
                  </a:lnTo>
                  <a:lnTo>
                    <a:pt x="24" y="17"/>
                  </a:lnTo>
                  <a:lnTo>
                    <a:pt x="28" y="11"/>
                  </a:lnTo>
                  <a:lnTo>
                    <a:pt x="30" y="3"/>
                  </a:lnTo>
                  <a:lnTo>
                    <a:pt x="4" y="0"/>
                  </a:ln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7" name="Freeform 67">
              <a:extLst>
                <a:ext uri="{FF2B5EF4-FFF2-40B4-BE49-F238E27FC236}">
                  <a16:creationId xmlns:a16="http://schemas.microsoft.com/office/drawing/2014/main" id="{1AC0E4BE-4B02-05F1-C6EF-2C59C7C05246}"/>
                </a:ext>
              </a:extLst>
            </p:cNvPr>
            <p:cNvSpPr>
              <a:spLocks/>
            </p:cNvSpPr>
            <p:nvPr/>
          </p:nvSpPr>
          <p:spPr bwMode="auto">
            <a:xfrm>
              <a:off x="5932740" y="3304285"/>
              <a:ext cx="62877" cy="65551"/>
            </a:xfrm>
            <a:custGeom>
              <a:avLst/>
              <a:gdLst>
                <a:gd name="T0" fmla="*/ 0 w 44"/>
                <a:gd name="T1" fmla="*/ 27 h 48"/>
                <a:gd name="T2" fmla="*/ 0 w 44"/>
                <a:gd name="T3" fmla="*/ 27 h 48"/>
                <a:gd name="T4" fmla="*/ 7 w 44"/>
                <a:gd name="T5" fmla="*/ 28 h 48"/>
                <a:gd name="T6" fmla="*/ 12 w 44"/>
                <a:gd name="T7" fmla="*/ 33 h 48"/>
                <a:gd name="T8" fmla="*/ 15 w 44"/>
                <a:gd name="T9" fmla="*/ 38 h 48"/>
                <a:gd name="T10" fmla="*/ 18 w 44"/>
                <a:gd name="T11" fmla="*/ 44 h 48"/>
                <a:gd name="T12" fmla="*/ 44 w 44"/>
                <a:gd name="T13" fmla="*/ 48 h 48"/>
                <a:gd name="T14" fmla="*/ 44 w 44"/>
                <a:gd name="T15" fmla="*/ 48 h 48"/>
                <a:gd name="T16" fmla="*/ 44 w 44"/>
                <a:gd name="T17" fmla="*/ 47 h 48"/>
                <a:gd name="T18" fmla="*/ 44 w 44"/>
                <a:gd name="T19" fmla="*/ 47 h 48"/>
                <a:gd name="T20" fmla="*/ 42 w 44"/>
                <a:gd name="T21" fmla="*/ 38 h 48"/>
                <a:gd name="T22" fmla="*/ 40 w 44"/>
                <a:gd name="T23" fmla="*/ 29 h 48"/>
                <a:gd name="T24" fmla="*/ 36 w 44"/>
                <a:gd name="T25" fmla="*/ 22 h 48"/>
                <a:gd name="T26" fmla="*/ 31 w 44"/>
                <a:gd name="T27" fmla="*/ 16 h 48"/>
                <a:gd name="T28" fmla="*/ 25 w 44"/>
                <a:gd name="T29" fmla="*/ 10 h 48"/>
                <a:gd name="T30" fmla="*/ 18 w 44"/>
                <a:gd name="T31" fmla="*/ 5 h 48"/>
                <a:gd name="T32" fmla="*/ 9 w 44"/>
                <a:gd name="T33" fmla="*/ 2 h 48"/>
                <a:gd name="T34" fmla="*/ 0 w 44"/>
                <a:gd name="T35" fmla="*/ 0 h 48"/>
                <a:gd name="T36" fmla="*/ 0 w 44"/>
                <a:gd name="T37" fmla="*/ 2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 h="48">
                  <a:moveTo>
                    <a:pt x="0" y="27"/>
                  </a:moveTo>
                  <a:lnTo>
                    <a:pt x="0" y="27"/>
                  </a:lnTo>
                  <a:lnTo>
                    <a:pt x="7" y="28"/>
                  </a:lnTo>
                  <a:lnTo>
                    <a:pt x="12" y="33"/>
                  </a:lnTo>
                  <a:lnTo>
                    <a:pt x="15" y="38"/>
                  </a:lnTo>
                  <a:lnTo>
                    <a:pt x="18" y="44"/>
                  </a:lnTo>
                  <a:lnTo>
                    <a:pt x="44" y="48"/>
                  </a:lnTo>
                  <a:lnTo>
                    <a:pt x="44" y="48"/>
                  </a:lnTo>
                  <a:lnTo>
                    <a:pt x="44" y="47"/>
                  </a:lnTo>
                  <a:lnTo>
                    <a:pt x="44" y="47"/>
                  </a:lnTo>
                  <a:lnTo>
                    <a:pt x="42" y="38"/>
                  </a:lnTo>
                  <a:lnTo>
                    <a:pt x="40" y="29"/>
                  </a:lnTo>
                  <a:lnTo>
                    <a:pt x="36" y="22"/>
                  </a:lnTo>
                  <a:lnTo>
                    <a:pt x="31" y="16"/>
                  </a:lnTo>
                  <a:lnTo>
                    <a:pt x="25" y="10"/>
                  </a:lnTo>
                  <a:lnTo>
                    <a:pt x="18" y="5"/>
                  </a:lnTo>
                  <a:lnTo>
                    <a:pt x="9" y="2"/>
                  </a:lnTo>
                  <a:lnTo>
                    <a:pt x="0" y="0"/>
                  </a:lnTo>
                  <a:lnTo>
                    <a:pt x="0" y="27"/>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8" name="Freeform 68">
              <a:extLst>
                <a:ext uri="{FF2B5EF4-FFF2-40B4-BE49-F238E27FC236}">
                  <a16:creationId xmlns:a16="http://schemas.microsoft.com/office/drawing/2014/main" id="{1FC6C340-EC7A-7A2F-A6B7-D1A4F01820A1}"/>
                </a:ext>
              </a:extLst>
            </p:cNvPr>
            <p:cNvSpPr>
              <a:spLocks/>
            </p:cNvSpPr>
            <p:nvPr/>
          </p:nvSpPr>
          <p:spPr bwMode="auto">
            <a:xfrm>
              <a:off x="5874151" y="3304285"/>
              <a:ext cx="47158" cy="45067"/>
            </a:xfrm>
            <a:custGeom>
              <a:avLst/>
              <a:gdLst>
                <a:gd name="T0" fmla="*/ 22 w 33"/>
                <a:gd name="T1" fmla="*/ 33 h 33"/>
                <a:gd name="T2" fmla="*/ 22 w 33"/>
                <a:gd name="T3" fmla="*/ 33 h 33"/>
                <a:gd name="T4" fmla="*/ 27 w 33"/>
                <a:gd name="T5" fmla="*/ 28 h 33"/>
                <a:gd name="T6" fmla="*/ 33 w 33"/>
                <a:gd name="T7" fmla="*/ 27 h 33"/>
                <a:gd name="T8" fmla="*/ 33 w 33"/>
                <a:gd name="T9" fmla="*/ 0 h 33"/>
                <a:gd name="T10" fmla="*/ 33 w 33"/>
                <a:gd name="T11" fmla="*/ 0 h 33"/>
                <a:gd name="T12" fmla="*/ 23 w 33"/>
                <a:gd name="T13" fmla="*/ 2 h 33"/>
                <a:gd name="T14" fmla="*/ 14 w 33"/>
                <a:gd name="T15" fmla="*/ 6 h 33"/>
                <a:gd name="T16" fmla="*/ 7 w 33"/>
                <a:gd name="T17" fmla="*/ 12 h 33"/>
                <a:gd name="T18" fmla="*/ 0 w 33"/>
                <a:gd name="T19" fmla="*/ 19 h 33"/>
                <a:gd name="T20" fmla="*/ 22 w 33"/>
                <a:gd name="T21"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3">
                  <a:moveTo>
                    <a:pt x="22" y="33"/>
                  </a:moveTo>
                  <a:lnTo>
                    <a:pt x="22" y="33"/>
                  </a:lnTo>
                  <a:lnTo>
                    <a:pt x="27" y="28"/>
                  </a:lnTo>
                  <a:lnTo>
                    <a:pt x="33" y="27"/>
                  </a:lnTo>
                  <a:lnTo>
                    <a:pt x="33" y="0"/>
                  </a:lnTo>
                  <a:lnTo>
                    <a:pt x="33" y="0"/>
                  </a:lnTo>
                  <a:lnTo>
                    <a:pt x="23" y="2"/>
                  </a:lnTo>
                  <a:lnTo>
                    <a:pt x="14" y="6"/>
                  </a:lnTo>
                  <a:lnTo>
                    <a:pt x="7" y="12"/>
                  </a:lnTo>
                  <a:lnTo>
                    <a:pt x="0" y="19"/>
                  </a:lnTo>
                  <a:lnTo>
                    <a:pt x="22" y="33"/>
                  </a:lnTo>
                  <a:close/>
                </a:path>
              </a:pathLst>
            </a:custGeom>
            <a:solidFill>
              <a:srgbClr val="15B0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9" name="Freeform 69">
              <a:extLst>
                <a:ext uri="{FF2B5EF4-FFF2-40B4-BE49-F238E27FC236}">
                  <a16:creationId xmlns:a16="http://schemas.microsoft.com/office/drawing/2014/main" id="{1D1BC845-C7E8-577D-187A-844046C58903}"/>
                </a:ext>
              </a:extLst>
            </p:cNvPr>
            <p:cNvSpPr>
              <a:spLocks/>
            </p:cNvSpPr>
            <p:nvPr/>
          </p:nvSpPr>
          <p:spPr bwMode="auto">
            <a:xfrm>
              <a:off x="5861289" y="3341158"/>
              <a:ext cx="100032" cy="90132"/>
            </a:xfrm>
            <a:custGeom>
              <a:avLst/>
              <a:gdLst>
                <a:gd name="T0" fmla="*/ 55 w 70"/>
                <a:gd name="T1" fmla="*/ 39 h 66"/>
                <a:gd name="T2" fmla="*/ 55 w 70"/>
                <a:gd name="T3" fmla="*/ 39 h 66"/>
                <a:gd name="T4" fmla="*/ 50 w 70"/>
                <a:gd name="T5" fmla="*/ 40 h 66"/>
                <a:gd name="T6" fmla="*/ 47 w 70"/>
                <a:gd name="T7" fmla="*/ 40 h 66"/>
                <a:gd name="T8" fmla="*/ 47 w 70"/>
                <a:gd name="T9" fmla="*/ 40 h 66"/>
                <a:gd name="T10" fmla="*/ 42 w 70"/>
                <a:gd name="T11" fmla="*/ 40 h 66"/>
                <a:gd name="T12" fmla="*/ 38 w 70"/>
                <a:gd name="T13" fmla="*/ 39 h 66"/>
                <a:gd name="T14" fmla="*/ 34 w 70"/>
                <a:gd name="T15" fmla="*/ 37 h 66"/>
                <a:gd name="T16" fmla="*/ 32 w 70"/>
                <a:gd name="T17" fmla="*/ 34 h 66"/>
                <a:gd name="T18" fmla="*/ 29 w 70"/>
                <a:gd name="T19" fmla="*/ 32 h 66"/>
                <a:gd name="T20" fmla="*/ 27 w 70"/>
                <a:gd name="T21" fmla="*/ 28 h 66"/>
                <a:gd name="T22" fmla="*/ 26 w 70"/>
                <a:gd name="T23" fmla="*/ 24 h 66"/>
                <a:gd name="T24" fmla="*/ 26 w 70"/>
                <a:gd name="T25" fmla="*/ 20 h 66"/>
                <a:gd name="T26" fmla="*/ 26 w 70"/>
                <a:gd name="T27" fmla="*/ 20 h 66"/>
                <a:gd name="T28" fmla="*/ 27 w 70"/>
                <a:gd name="T29" fmla="*/ 13 h 66"/>
                <a:gd name="T30" fmla="*/ 5 w 70"/>
                <a:gd name="T31" fmla="*/ 0 h 66"/>
                <a:gd name="T32" fmla="*/ 5 w 70"/>
                <a:gd name="T33" fmla="*/ 0 h 66"/>
                <a:gd name="T34" fmla="*/ 1 w 70"/>
                <a:gd name="T35" fmla="*/ 10 h 66"/>
                <a:gd name="T36" fmla="*/ 0 w 70"/>
                <a:gd name="T37" fmla="*/ 20 h 66"/>
                <a:gd name="T38" fmla="*/ 0 w 70"/>
                <a:gd name="T39" fmla="*/ 20 h 66"/>
                <a:gd name="T40" fmla="*/ 1 w 70"/>
                <a:gd name="T41" fmla="*/ 29 h 66"/>
                <a:gd name="T42" fmla="*/ 4 w 70"/>
                <a:gd name="T43" fmla="*/ 38 h 66"/>
                <a:gd name="T44" fmla="*/ 9 w 70"/>
                <a:gd name="T45" fmla="*/ 45 h 66"/>
                <a:gd name="T46" fmla="*/ 13 w 70"/>
                <a:gd name="T47" fmla="*/ 53 h 66"/>
                <a:gd name="T48" fmla="*/ 21 w 70"/>
                <a:gd name="T49" fmla="*/ 58 h 66"/>
                <a:gd name="T50" fmla="*/ 28 w 70"/>
                <a:gd name="T51" fmla="*/ 63 h 66"/>
                <a:gd name="T52" fmla="*/ 37 w 70"/>
                <a:gd name="T53" fmla="*/ 65 h 66"/>
                <a:gd name="T54" fmla="*/ 47 w 70"/>
                <a:gd name="T55" fmla="*/ 66 h 66"/>
                <a:gd name="T56" fmla="*/ 47 w 70"/>
                <a:gd name="T57" fmla="*/ 66 h 66"/>
                <a:gd name="T58" fmla="*/ 53 w 70"/>
                <a:gd name="T59" fmla="*/ 66 h 66"/>
                <a:gd name="T60" fmla="*/ 59 w 70"/>
                <a:gd name="T61" fmla="*/ 65 h 66"/>
                <a:gd name="T62" fmla="*/ 65 w 70"/>
                <a:gd name="T63" fmla="*/ 63 h 66"/>
                <a:gd name="T64" fmla="*/ 70 w 70"/>
                <a:gd name="T65" fmla="*/ 60 h 66"/>
                <a:gd name="T66" fmla="*/ 55 w 70"/>
                <a:gd name="T67" fmla="*/ 3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0" h="66">
                  <a:moveTo>
                    <a:pt x="55" y="39"/>
                  </a:moveTo>
                  <a:lnTo>
                    <a:pt x="55" y="39"/>
                  </a:lnTo>
                  <a:lnTo>
                    <a:pt x="50" y="40"/>
                  </a:lnTo>
                  <a:lnTo>
                    <a:pt x="47" y="40"/>
                  </a:lnTo>
                  <a:lnTo>
                    <a:pt x="47" y="40"/>
                  </a:lnTo>
                  <a:lnTo>
                    <a:pt x="42" y="40"/>
                  </a:lnTo>
                  <a:lnTo>
                    <a:pt x="38" y="39"/>
                  </a:lnTo>
                  <a:lnTo>
                    <a:pt x="34" y="37"/>
                  </a:lnTo>
                  <a:lnTo>
                    <a:pt x="32" y="34"/>
                  </a:lnTo>
                  <a:lnTo>
                    <a:pt x="29" y="32"/>
                  </a:lnTo>
                  <a:lnTo>
                    <a:pt x="27" y="28"/>
                  </a:lnTo>
                  <a:lnTo>
                    <a:pt x="26" y="24"/>
                  </a:lnTo>
                  <a:lnTo>
                    <a:pt x="26" y="20"/>
                  </a:lnTo>
                  <a:lnTo>
                    <a:pt x="26" y="20"/>
                  </a:lnTo>
                  <a:lnTo>
                    <a:pt x="27" y="13"/>
                  </a:lnTo>
                  <a:lnTo>
                    <a:pt x="5" y="0"/>
                  </a:lnTo>
                  <a:lnTo>
                    <a:pt x="5" y="0"/>
                  </a:lnTo>
                  <a:lnTo>
                    <a:pt x="1" y="10"/>
                  </a:lnTo>
                  <a:lnTo>
                    <a:pt x="0" y="20"/>
                  </a:lnTo>
                  <a:lnTo>
                    <a:pt x="0" y="20"/>
                  </a:lnTo>
                  <a:lnTo>
                    <a:pt x="1" y="29"/>
                  </a:lnTo>
                  <a:lnTo>
                    <a:pt x="4" y="38"/>
                  </a:lnTo>
                  <a:lnTo>
                    <a:pt x="9" y="45"/>
                  </a:lnTo>
                  <a:lnTo>
                    <a:pt x="13" y="53"/>
                  </a:lnTo>
                  <a:lnTo>
                    <a:pt x="21" y="58"/>
                  </a:lnTo>
                  <a:lnTo>
                    <a:pt x="28" y="63"/>
                  </a:lnTo>
                  <a:lnTo>
                    <a:pt x="37" y="65"/>
                  </a:lnTo>
                  <a:lnTo>
                    <a:pt x="47" y="66"/>
                  </a:lnTo>
                  <a:lnTo>
                    <a:pt x="47" y="66"/>
                  </a:lnTo>
                  <a:lnTo>
                    <a:pt x="53" y="66"/>
                  </a:lnTo>
                  <a:lnTo>
                    <a:pt x="59" y="65"/>
                  </a:lnTo>
                  <a:lnTo>
                    <a:pt x="65" y="63"/>
                  </a:lnTo>
                  <a:lnTo>
                    <a:pt x="70" y="60"/>
                  </a:lnTo>
                  <a:lnTo>
                    <a:pt x="55" y="39"/>
                  </a:lnTo>
                  <a:close/>
                </a:path>
              </a:pathLst>
            </a:custGeom>
            <a:solidFill>
              <a:srgbClr val="2C58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0" name="Rectangle 70">
              <a:extLst>
                <a:ext uri="{FF2B5EF4-FFF2-40B4-BE49-F238E27FC236}">
                  <a16:creationId xmlns:a16="http://schemas.microsoft.com/office/drawing/2014/main" id="{574D496B-3BA6-A4CB-ECA7-3F23F401D2D2}"/>
                </a:ext>
              </a:extLst>
            </p:cNvPr>
            <p:cNvSpPr>
              <a:spLocks noChangeArrowheads="1"/>
            </p:cNvSpPr>
            <p:nvPr/>
          </p:nvSpPr>
          <p:spPr bwMode="auto">
            <a:xfrm>
              <a:off x="6025627" y="3304285"/>
              <a:ext cx="161481" cy="16388"/>
            </a:xfrm>
            <a:prstGeom prst="rect">
              <a:avLst/>
            </a:prstGeom>
            <a:solidFill>
              <a:srgbClr val="15B0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1" name="Rectangle 71">
              <a:extLst>
                <a:ext uri="{FF2B5EF4-FFF2-40B4-BE49-F238E27FC236}">
                  <a16:creationId xmlns:a16="http://schemas.microsoft.com/office/drawing/2014/main" id="{61602DA9-2EE2-C2F2-30F6-6F2CD3C419EA}"/>
                </a:ext>
              </a:extLst>
            </p:cNvPr>
            <p:cNvSpPr>
              <a:spLocks noChangeArrowheads="1"/>
            </p:cNvSpPr>
            <p:nvPr/>
          </p:nvSpPr>
          <p:spPr bwMode="auto">
            <a:xfrm>
              <a:off x="6025627" y="3354814"/>
              <a:ext cx="161481" cy="15023"/>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2" name="Rectangle 72">
              <a:extLst>
                <a:ext uri="{FF2B5EF4-FFF2-40B4-BE49-F238E27FC236}">
                  <a16:creationId xmlns:a16="http://schemas.microsoft.com/office/drawing/2014/main" id="{3345FDC7-598E-5A39-B5CD-D4006F5A5CC8}"/>
                </a:ext>
              </a:extLst>
            </p:cNvPr>
            <p:cNvSpPr>
              <a:spLocks noChangeArrowheads="1"/>
            </p:cNvSpPr>
            <p:nvPr/>
          </p:nvSpPr>
          <p:spPr bwMode="auto">
            <a:xfrm>
              <a:off x="6025627" y="3402611"/>
              <a:ext cx="161481" cy="17754"/>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3" name="Rectangle 73">
              <a:extLst>
                <a:ext uri="{FF2B5EF4-FFF2-40B4-BE49-F238E27FC236}">
                  <a16:creationId xmlns:a16="http://schemas.microsoft.com/office/drawing/2014/main" id="{0E3567C0-00EA-5F6A-10B6-7EA39BA076BE}"/>
                </a:ext>
              </a:extLst>
            </p:cNvPr>
            <p:cNvSpPr>
              <a:spLocks noChangeArrowheads="1"/>
            </p:cNvSpPr>
            <p:nvPr/>
          </p:nvSpPr>
          <p:spPr bwMode="auto">
            <a:xfrm>
              <a:off x="6025627" y="3506400"/>
              <a:ext cx="112894" cy="15023"/>
            </a:xfrm>
            <a:prstGeom prst="rect">
              <a:avLst/>
            </a:prstGeom>
            <a:solidFill>
              <a:srgbClr val="15B0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4" name="Rectangle 74">
              <a:extLst>
                <a:ext uri="{FF2B5EF4-FFF2-40B4-BE49-F238E27FC236}">
                  <a16:creationId xmlns:a16="http://schemas.microsoft.com/office/drawing/2014/main" id="{32B96A6A-9345-3108-3651-F71E1B6BE6FB}"/>
                </a:ext>
              </a:extLst>
            </p:cNvPr>
            <p:cNvSpPr>
              <a:spLocks noChangeArrowheads="1"/>
            </p:cNvSpPr>
            <p:nvPr/>
          </p:nvSpPr>
          <p:spPr bwMode="auto">
            <a:xfrm>
              <a:off x="6025627" y="3554198"/>
              <a:ext cx="161481" cy="17754"/>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5" name="Rectangle 75">
              <a:extLst>
                <a:ext uri="{FF2B5EF4-FFF2-40B4-BE49-F238E27FC236}">
                  <a16:creationId xmlns:a16="http://schemas.microsoft.com/office/drawing/2014/main" id="{42AC68A9-C596-D91E-ABF6-4CB084DC1356}"/>
                </a:ext>
              </a:extLst>
            </p:cNvPr>
            <p:cNvSpPr>
              <a:spLocks noChangeArrowheads="1"/>
            </p:cNvSpPr>
            <p:nvPr/>
          </p:nvSpPr>
          <p:spPr bwMode="auto">
            <a:xfrm>
              <a:off x="6025627" y="3604726"/>
              <a:ext cx="161481" cy="16388"/>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grpSp>
        <p:nvGrpSpPr>
          <p:cNvPr id="437" name="Group 436">
            <a:extLst>
              <a:ext uri="{FF2B5EF4-FFF2-40B4-BE49-F238E27FC236}">
                <a16:creationId xmlns:a16="http://schemas.microsoft.com/office/drawing/2014/main" id="{507244DB-2886-BE84-2B6C-6B9290B4305A}"/>
              </a:ext>
            </a:extLst>
          </p:cNvPr>
          <p:cNvGrpSpPr/>
          <p:nvPr/>
        </p:nvGrpSpPr>
        <p:grpSpPr>
          <a:xfrm>
            <a:off x="1581928" y="2594833"/>
            <a:ext cx="1326551" cy="1141859"/>
            <a:chOff x="2532615" y="2953500"/>
            <a:chExt cx="1061632" cy="937065"/>
          </a:xfrm>
        </p:grpSpPr>
        <p:sp>
          <p:nvSpPr>
            <p:cNvPr id="397" name="Freeform 13">
              <a:extLst>
                <a:ext uri="{FF2B5EF4-FFF2-40B4-BE49-F238E27FC236}">
                  <a16:creationId xmlns:a16="http://schemas.microsoft.com/office/drawing/2014/main" id="{90CC1C98-2886-4151-729F-65D2469BDD89}"/>
                </a:ext>
              </a:extLst>
            </p:cNvPr>
            <p:cNvSpPr>
              <a:spLocks/>
            </p:cNvSpPr>
            <p:nvPr/>
          </p:nvSpPr>
          <p:spPr bwMode="auto">
            <a:xfrm>
              <a:off x="2532615" y="2953500"/>
              <a:ext cx="1061632" cy="937065"/>
            </a:xfrm>
            <a:custGeom>
              <a:avLst/>
              <a:gdLst>
                <a:gd name="T0" fmla="*/ 368 w 701"/>
                <a:gd name="T1" fmla="*/ 0 h 701"/>
                <a:gd name="T2" fmla="*/ 421 w 701"/>
                <a:gd name="T3" fmla="*/ 7 h 701"/>
                <a:gd name="T4" fmla="*/ 470 w 701"/>
                <a:gd name="T5" fmla="*/ 21 h 701"/>
                <a:gd name="T6" fmla="*/ 517 w 701"/>
                <a:gd name="T7" fmla="*/ 42 h 701"/>
                <a:gd name="T8" fmla="*/ 560 w 701"/>
                <a:gd name="T9" fmla="*/ 70 h 701"/>
                <a:gd name="T10" fmla="*/ 599 w 701"/>
                <a:gd name="T11" fmla="*/ 103 h 701"/>
                <a:gd name="T12" fmla="*/ 631 w 701"/>
                <a:gd name="T13" fmla="*/ 141 h 701"/>
                <a:gd name="T14" fmla="*/ 659 w 701"/>
                <a:gd name="T15" fmla="*/ 183 h 701"/>
                <a:gd name="T16" fmla="*/ 680 w 701"/>
                <a:gd name="T17" fmla="*/ 230 h 701"/>
                <a:gd name="T18" fmla="*/ 693 w 701"/>
                <a:gd name="T19" fmla="*/ 280 h 701"/>
                <a:gd name="T20" fmla="*/ 701 w 701"/>
                <a:gd name="T21" fmla="*/ 332 h 701"/>
                <a:gd name="T22" fmla="*/ 701 w 701"/>
                <a:gd name="T23" fmla="*/ 368 h 701"/>
                <a:gd name="T24" fmla="*/ 693 w 701"/>
                <a:gd name="T25" fmla="*/ 421 h 701"/>
                <a:gd name="T26" fmla="*/ 680 w 701"/>
                <a:gd name="T27" fmla="*/ 470 h 701"/>
                <a:gd name="T28" fmla="*/ 659 w 701"/>
                <a:gd name="T29" fmla="*/ 517 h 701"/>
                <a:gd name="T30" fmla="*/ 631 w 701"/>
                <a:gd name="T31" fmla="*/ 560 h 701"/>
                <a:gd name="T32" fmla="*/ 599 w 701"/>
                <a:gd name="T33" fmla="*/ 599 h 701"/>
                <a:gd name="T34" fmla="*/ 560 w 701"/>
                <a:gd name="T35" fmla="*/ 631 h 701"/>
                <a:gd name="T36" fmla="*/ 517 w 701"/>
                <a:gd name="T37" fmla="*/ 659 h 701"/>
                <a:gd name="T38" fmla="*/ 470 w 701"/>
                <a:gd name="T39" fmla="*/ 680 h 701"/>
                <a:gd name="T40" fmla="*/ 421 w 701"/>
                <a:gd name="T41" fmla="*/ 694 h 701"/>
                <a:gd name="T42" fmla="*/ 368 w 701"/>
                <a:gd name="T43" fmla="*/ 701 h 701"/>
                <a:gd name="T44" fmla="*/ 332 w 701"/>
                <a:gd name="T45" fmla="*/ 701 h 701"/>
                <a:gd name="T46" fmla="*/ 280 w 701"/>
                <a:gd name="T47" fmla="*/ 694 h 701"/>
                <a:gd name="T48" fmla="*/ 230 w 701"/>
                <a:gd name="T49" fmla="*/ 680 h 701"/>
                <a:gd name="T50" fmla="*/ 183 w 701"/>
                <a:gd name="T51" fmla="*/ 659 h 701"/>
                <a:gd name="T52" fmla="*/ 141 w 701"/>
                <a:gd name="T53" fmla="*/ 631 h 701"/>
                <a:gd name="T54" fmla="*/ 103 w 701"/>
                <a:gd name="T55" fmla="*/ 599 h 701"/>
                <a:gd name="T56" fmla="*/ 69 w 701"/>
                <a:gd name="T57" fmla="*/ 560 h 701"/>
                <a:gd name="T58" fmla="*/ 42 w 701"/>
                <a:gd name="T59" fmla="*/ 517 h 701"/>
                <a:gd name="T60" fmla="*/ 21 w 701"/>
                <a:gd name="T61" fmla="*/ 470 h 701"/>
                <a:gd name="T62" fmla="*/ 7 w 701"/>
                <a:gd name="T63" fmla="*/ 421 h 701"/>
                <a:gd name="T64" fmla="*/ 0 w 701"/>
                <a:gd name="T65" fmla="*/ 368 h 701"/>
                <a:gd name="T66" fmla="*/ 0 w 701"/>
                <a:gd name="T67" fmla="*/ 332 h 701"/>
                <a:gd name="T68" fmla="*/ 7 w 701"/>
                <a:gd name="T69" fmla="*/ 280 h 701"/>
                <a:gd name="T70" fmla="*/ 21 w 701"/>
                <a:gd name="T71" fmla="*/ 230 h 701"/>
                <a:gd name="T72" fmla="*/ 42 w 701"/>
                <a:gd name="T73" fmla="*/ 183 h 701"/>
                <a:gd name="T74" fmla="*/ 69 w 701"/>
                <a:gd name="T75" fmla="*/ 141 h 701"/>
                <a:gd name="T76" fmla="*/ 103 w 701"/>
                <a:gd name="T77" fmla="*/ 103 h 701"/>
                <a:gd name="T78" fmla="*/ 141 w 701"/>
                <a:gd name="T79" fmla="*/ 70 h 701"/>
                <a:gd name="T80" fmla="*/ 183 w 701"/>
                <a:gd name="T81" fmla="*/ 42 h 701"/>
                <a:gd name="T82" fmla="*/ 230 w 701"/>
                <a:gd name="T83" fmla="*/ 21 h 701"/>
                <a:gd name="T84" fmla="*/ 280 w 701"/>
                <a:gd name="T85" fmla="*/ 7 h 701"/>
                <a:gd name="T86" fmla="*/ 332 w 701"/>
                <a:gd name="T87" fmla="*/ 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1">
                  <a:moveTo>
                    <a:pt x="351" y="0"/>
                  </a:moveTo>
                  <a:lnTo>
                    <a:pt x="351" y="0"/>
                  </a:lnTo>
                  <a:lnTo>
                    <a:pt x="368" y="0"/>
                  </a:lnTo>
                  <a:lnTo>
                    <a:pt x="386" y="2"/>
                  </a:lnTo>
                  <a:lnTo>
                    <a:pt x="404" y="4"/>
                  </a:lnTo>
                  <a:lnTo>
                    <a:pt x="421" y="7"/>
                  </a:lnTo>
                  <a:lnTo>
                    <a:pt x="438" y="12"/>
                  </a:lnTo>
                  <a:lnTo>
                    <a:pt x="454" y="15"/>
                  </a:lnTo>
                  <a:lnTo>
                    <a:pt x="470" y="21"/>
                  </a:lnTo>
                  <a:lnTo>
                    <a:pt x="486" y="28"/>
                  </a:lnTo>
                  <a:lnTo>
                    <a:pt x="502" y="35"/>
                  </a:lnTo>
                  <a:lnTo>
                    <a:pt x="517" y="42"/>
                  </a:lnTo>
                  <a:lnTo>
                    <a:pt x="532" y="51"/>
                  </a:lnTo>
                  <a:lnTo>
                    <a:pt x="547" y="60"/>
                  </a:lnTo>
                  <a:lnTo>
                    <a:pt x="560" y="70"/>
                  </a:lnTo>
                  <a:lnTo>
                    <a:pt x="574" y="81"/>
                  </a:lnTo>
                  <a:lnTo>
                    <a:pt x="586" y="90"/>
                  </a:lnTo>
                  <a:lnTo>
                    <a:pt x="599" y="103"/>
                  </a:lnTo>
                  <a:lnTo>
                    <a:pt x="610" y="115"/>
                  </a:lnTo>
                  <a:lnTo>
                    <a:pt x="621" y="128"/>
                  </a:lnTo>
                  <a:lnTo>
                    <a:pt x="631" y="141"/>
                  </a:lnTo>
                  <a:lnTo>
                    <a:pt x="640" y="155"/>
                  </a:lnTo>
                  <a:lnTo>
                    <a:pt x="650" y="168"/>
                  </a:lnTo>
                  <a:lnTo>
                    <a:pt x="659" y="183"/>
                  </a:lnTo>
                  <a:lnTo>
                    <a:pt x="666" y="199"/>
                  </a:lnTo>
                  <a:lnTo>
                    <a:pt x="674" y="214"/>
                  </a:lnTo>
                  <a:lnTo>
                    <a:pt x="680" y="230"/>
                  </a:lnTo>
                  <a:lnTo>
                    <a:pt x="685" y="246"/>
                  </a:lnTo>
                  <a:lnTo>
                    <a:pt x="690" y="263"/>
                  </a:lnTo>
                  <a:lnTo>
                    <a:pt x="693" y="280"/>
                  </a:lnTo>
                  <a:lnTo>
                    <a:pt x="697" y="298"/>
                  </a:lnTo>
                  <a:lnTo>
                    <a:pt x="698" y="315"/>
                  </a:lnTo>
                  <a:lnTo>
                    <a:pt x="701" y="332"/>
                  </a:lnTo>
                  <a:lnTo>
                    <a:pt x="701" y="351"/>
                  </a:lnTo>
                  <a:lnTo>
                    <a:pt x="701" y="351"/>
                  </a:lnTo>
                  <a:lnTo>
                    <a:pt x="701" y="368"/>
                  </a:lnTo>
                  <a:lnTo>
                    <a:pt x="698" y="387"/>
                  </a:lnTo>
                  <a:lnTo>
                    <a:pt x="697" y="404"/>
                  </a:lnTo>
                  <a:lnTo>
                    <a:pt x="693" y="421"/>
                  </a:lnTo>
                  <a:lnTo>
                    <a:pt x="690" y="438"/>
                  </a:lnTo>
                  <a:lnTo>
                    <a:pt x="685" y="454"/>
                  </a:lnTo>
                  <a:lnTo>
                    <a:pt x="680" y="470"/>
                  </a:lnTo>
                  <a:lnTo>
                    <a:pt x="674" y="486"/>
                  </a:lnTo>
                  <a:lnTo>
                    <a:pt x="666" y="503"/>
                  </a:lnTo>
                  <a:lnTo>
                    <a:pt x="659" y="517"/>
                  </a:lnTo>
                  <a:lnTo>
                    <a:pt x="650" y="532"/>
                  </a:lnTo>
                  <a:lnTo>
                    <a:pt x="640" y="547"/>
                  </a:lnTo>
                  <a:lnTo>
                    <a:pt x="631" y="560"/>
                  </a:lnTo>
                  <a:lnTo>
                    <a:pt x="621" y="574"/>
                  </a:lnTo>
                  <a:lnTo>
                    <a:pt x="610" y="586"/>
                  </a:lnTo>
                  <a:lnTo>
                    <a:pt x="599" y="599"/>
                  </a:lnTo>
                  <a:lnTo>
                    <a:pt x="586" y="610"/>
                  </a:lnTo>
                  <a:lnTo>
                    <a:pt x="574" y="621"/>
                  </a:lnTo>
                  <a:lnTo>
                    <a:pt x="560" y="631"/>
                  </a:lnTo>
                  <a:lnTo>
                    <a:pt x="547" y="641"/>
                  </a:lnTo>
                  <a:lnTo>
                    <a:pt x="532" y="651"/>
                  </a:lnTo>
                  <a:lnTo>
                    <a:pt x="517" y="659"/>
                  </a:lnTo>
                  <a:lnTo>
                    <a:pt x="502" y="667"/>
                  </a:lnTo>
                  <a:lnTo>
                    <a:pt x="486" y="674"/>
                  </a:lnTo>
                  <a:lnTo>
                    <a:pt x="470" y="680"/>
                  </a:lnTo>
                  <a:lnTo>
                    <a:pt x="454" y="685"/>
                  </a:lnTo>
                  <a:lnTo>
                    <a:pt x="438" y="690"/>
                  </a:lnTo>
                  <a:lnTo>
                    <a:pt x="421" y="694"/>
                  </a:lnTo>
                  <a:lnTo>
                    <a:pt x="404" y="697"/>
                  </a:lnTo>
                  <a:lnTo>
                    <a:pt x="386" y="699"/>
                  </a:lnTo>
                  <a:lnTo>
                    <a:pt x="368" y="701"/>
                  </a:lnTo>
                  <a:lnTo>
                    <a:pt x="351" y="701"/>
                  </a:lnTo>
                  <a:lnTo>
                    <a:pt x="351" y="701"/>
                  </a:lnTo>
                  <a:lnTo>
                    <a:pt x="332" y="701"/>
                  </a:lnTo>
                  <a:lnTo>
                    <a:pt x="315" y="699"/>
                  </a:lnTo>
                  <a:lnTo>
                    <a:pt x="298" y="697"/>
                  </a:lnTo>
                  <a:lnTo>
                    <a:pt x="280" y="694"/>
                  </a:lnTo>
                  <a:lnTo>
                    <a:pt x="263" y="690"/>
                  </a:lnTo>
                  <a:lnTo>
                    <a:pt x="246" y="685"/>
                  </a:lnTo>
                  <a:lnTo>
                    <a:pt x="230" y="680"/>
                  </a:lnTo>
                  <a:lnTo>
                    <a:pt x="214" y="674"/>
                  </a:lnTo>
                  <a:lnTo>
                    <a:pt x="199" y="667"/>
                  </a:lnTo>
                  <a:lnTo>
                    <a:pt x="183" y="659"/>
                  </a:lnTo>
                  <a:lnTo>
                    <a:pt x="168" y="651"/>
                  </a:lnTo>
                  <a:lnTo>
                    <a:pt x="155" y="641"/>
                  </a:lnTo>
                  <a:lnTo>
                    <a:pt x="141" y="631"/>
                  </a:lnTo>
                  <a:lnTo>
                    <a:pt x="127" y="621"/>
                  </a:lnTo>
                  <a:lnTo>
                    <a:pt x="115" y="610"/>
                  </a:lnTo>
                  <a:lnTo>
                    <a:pt x="103" y="599"/>
                  </a:lnTo>
                  <a:lnTo>
                    <a:pt x="90" y="586"/>
                  </a:lnTo>
                  <a:lnTo>
                    <a:pt x="81" y="574"/>
                  </a:lnTo>
                  <a:lnTo>
                    <a:pt x="69" y="560"/>
                  </a:lnTo>
                  <a:lnTo>
                    <a:pt x="60" y="547"/>
                  </a:lnTo>
                  <a:lnTo>
                    <a:pt x="51" y="532"/>
                  </a:lnTo>
                  <a:lnTo>
                    <a:pt x="42" y="517"/>
                  </a:lnTo>
                  <a:lnTo>
                    <a:pt x="35" y="503"/>
                  </a:lnTo>
                  <a:lnTo>
                    <a:pt x="27" y="486"/>
                  </a:lnTo>
                  <a:lnTo>
                    <a:pt x="21" y="470"/>
                  </a:lnTo>
                  <a:lnTo>
                    <a:pt x="15" y="454"/>
                  </a:lnTo>
                  <a:lnTo>
                    <a:pt x="11" y="438"/>
                  </a:lnTo>
                  <a:lnTo>
                    <a:pt x="7" y="421"/>
                  </a:lnTo>
                  <a:lnTo>
                    <a:pt x="4" y="404"/>
                  </a:lnTo>
                  <a:lnTo>
                    <a:pt x="2" y="387"/>
                  </a:lnTo>
                  <a:lnTo>
                    <a:pt x="0" y="368"/>
                  </a:lnTo>
                  <a:lnTo>
                    <a:pt x="0" y="351"/>
                  </a:lnTo>
                  <a:lnTo>
                    <a:pt x="0" y="351"/>
                  </a:lnTo>
                  <a:lnTo>
                    <a:pt x="0" y="332"/>
                  </a:lnTo>
                  <a:lnTo>
                    <a:pt x="2" y="315"/>
                  </a:lnTo>
                  <a:lnTo>
                    <a:pt x="4" y="298"/>
                  </a:lnTo>
                  <a:lnTo>
                    <a:pt x="7" y="280"/>
                  </a:lnTo>
                  <a:lnTo>
                    <a:pt x="11" y="263"/>
                  </a:lnTo>
                  <a:lnTo>
                    <a:pt x="15" y="246"/>
                  </a:lnTo>
                  <a:lnTo>
                    <a:pt x="21" y="230"/>
                  </a:lnTo>
                  <a:lnTo>
                    <a:pt x="27" y="214"/>
                  </a:lnTo>
                  <a:lnTo>
                    <a:pt x="35" y="199"/>
                  </a:lnTo>
                  <a:lnTo>
                    <a:pt x="42" y="183"/>
                  </a:lnTo>
                  <a:lnTo>
                    <a:pt x="51" y="168"/>
                  </a:lnTo>
                  <a:lnTo>
                    <a:pt x="60" y="155"/>
                  </a:lnTo>
                  <a:lnTo>
                    <a:pt x="69" y="141"/>
                  </a:lnTo>
                  <a:lnTo>
                    <a:pt x="81" y="128"/>
                  </a:lnTo>
                  <a:lnTo>
                    <a:pt x="90" y="115"/>
                  </a:lnTo>
                  <a:lnTo>
                    <a:pt x="103" y="103"/>
                  </a:lnTo>
                  <a:lnTo>
                    <a:pt x="115" y="90"/>
                  </a:lnTo>
                  <a:lnTo>
                    <a:pt x="127" y="81"/>
                  </a:lnTo>
                  <a:lnTo>
                    <a:pt x="141" y="70"/>
                  </a:lnTo>
                  <a:lnTo>
                    <a:pt x="155" y="60"/>
                  </a:lnTo>
                  <a:lnTo>
                    <a:pt x="168" y="51"/>
                  </a:lnTo>
                  <a:lnTo>
                    <a:pt x="183" y="42"/>
                  </a:lnTo>
                  <a:lnTo>
                    <a:pt x="199" y="35"/>
                  </a:lnTo>
                  <a:lnTo>
                    <a:pt x="214" y="28"/>
                  </a:lnTo>
                  <a:lnTo>
                    <a:pt x="230" y="21"/>
                  </a:lnTo>
                  <a:lnTo>
                    <a:pt x="246" y="15"/>
                  </a:lnTo>
                  <a:lnTo>
                    <a:pt x="263" y="12"/>
                  </a:lnTo>
                  <a:lnTo>
                    <a:pt x="280" y="7"/>
                  </a:lnTo>
                  <a:lnTo>
                    <a:pt x="298" y="4"/>
                  </a:lnTo>
                  <a:lnTo>
                    <a:pt x="315" y="2"/>
                  </a:lnTo>
                  <a:lnTo>
                    <a:pt x="332" y="0"/>
                  </a:lnTo>
                  <a:lnTo>
                    <a:pt x="351" y="0"/>
                  </a:lnTo>
                  <a:lnTo>
                    <a:pt x="351" y="0"/>
                  </a:ln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9" name="Freeform 114">
              <a:extLst>
                <a:ext uri="{FF2B5EF4-FFF2-40B4-BE49-F238E27FC236}">
                  <a16:creationId xmlns:a16="http://schemas.microsoft.com/office/drawing/2014/main" id="{7AACE63D-D17B-ED13-1E1A-96CFC7668898}"/>
                </a:ext>
              </a:extLst>
            </p:cNvPr>
            <p:cNvSpPr>
              <a:spLocks/>
            </p:cNvSpPr>
            <p:nvPr/>
          </p:nvSpPr>
          <p:spPr bwMode="auto">
            <a:xfrm>
              <a:off x="2862351" y="3466144"/>
              <a:ext cx="375730" cy="232313"/>
            </a:xfrm>
            <a:custGeom>
              <a:avLst/>
              <a:gdLst>
                <a:gd name="T0" fmla="*/ 126 w 252"/>
                <a:gd name="T1" fmla="*/ 92 h 172"/>
                <a:gd name="T2" fmla="*/ 146 w 252"/>
                <a:gd name="T3" fmla="*/ 93 h 172"/>
                <a:gd name="T4" fmla="*/ 164 w 252"/>
                <a:gd name="T5" fmla="*/ 98 h 172"/>
                <a:gd name="T6" fmla="*/ 198 w 252"/>
                <a:gd name="T7" fmla="*/ 114 h 172"/>
                <a:gd name="T8" fmla="*/ 225 w 252"/>
                <a:gd name="T9" fmla="*/ 140 h 172"/>
                <a:gd name="T10" fmla="*/ 243 w 252"/>
                <a:gd name="T11" fmla="*/ 172 h 172"/>
                <a:gd name="T12" fmla="*/ 247 w 252"/>
                <a:gd name="T13" fmla="*/ 161 h 172"/>
                <a:gd name="T14" fmla="*/ 251 w 252"/>
                <a:gd name="T15" fmla="*/ 137 h 172"/>
                <a:gd name="T16" fmla="*/ 252 w 252"/>
                <a:gd name="T17" fmla="*/ 126 h 172"/>
                <a:gd name="T18" fmla="*/ 249 w 252"/>
                <a:gd name="T19" fmla="*/ 100 h 172"/>
                <a:gd name="T20" fmla="*/ 242 w 252"/>
                <a:gd name="T21" fmla="*/ 77 h 172"/>
                <a:gd name="T22" fmla="*/ 230 w 252"/>
                <a:gd name="T23" fmla="*/ 56 h 172"/>
                <a:gd name="T24" fmla="*/ 215 w 252"/>
                <a:gd name="T25" fmla="*/ 37 h 172"/>
                <a:gd name="T26" fmla="*/ 196 w 252"/>
                <a:gd name="T27" fmla="*/ 21 h 172"/>
                <a:gd name="T28" fmla="*/ 174 w 252"/>
                <a:gd name="T29" fmla="*/ 10 h 172"/>
                <a:gd name="T30" fmla="*/ 151 w 252"/>
                <a:gd name="T31" fmla="*/ 3 h 172"/>
                <a:gd name="T32" fmla="*/ 126 w 252"/>
                <a:gd name="T33" fmla="*/ 0 h 172"/>
                <a:gd name="T34" fmla="*/ 114 w 252"/>
                <a:gd name="T35" fmla="*/ 2 h 172"/>
                <a:gd name="T36" fmla="*/ 89 w 252"/>
                <a:gd name="T37" fmla="*/ 7 h 172"/>
                <a:gd name="T38" fmla="*/ 66 w 252"/>
                <a:gd name="T39" fmla="*/ 15 h 172"/>
                <a:gd name="T40" fmla="*/ 46 w 252"/>
                <a:gd name="T41" fmla="*/ 29 h 172"/>
                <a:gd name="T42" fmla="*/ 29 w 252"/>
                <a:gd name="T43" fmla="*/ 46 h 172"/>
                <a:gd name="T44" fmla="*/ 15 w 252"/>
                <a:gd name="T45" fmla="*/ 66 h 172"/>
                <a:gd name="T46" fmla="*/ 6 w 252"/>
                <a:gd name="T47" fmla="*/ 88 h 172"/>
                <a:gd name="T48" fmla="*/ 1 w 252"/>
                <a:gd name="T49" fmla="*/ 113 h 172"/>
                <a:gd name="T50" fmla="*/ 0 w 252"/>
                <a:gd name="T51" fmla="*/ 126 h 172"/>
                <a:gd name="T52" fmla="*/ 3 w 252"/>
                <a:gd name="T53" fmla="*/ 150 h 172"/>
                <a:gd name="T54" fmla="*/ 9 w 252"/>
                <a:gd name="T55" fmla="*/ 172 h 172"/>
                <a:gd name="T56" fmla="*/ 18 w 252"/>
                <a:gd name="T57" fmla="*/ 155 h 172"/>
                <a:gd name="T58" fmla="*/ 40 w 252"/>
                <a:gd name="T59" fmla="*/ 126 h 172"/>
                <a:gd name="T60" fmla="*/ 71 w 252"/>
                <a:gd name="T61" fmla="*/ 104 h 172"/>
                <a:gd name="T62" fmla="*/ 96 w 252"/>
                <a:gd name="T63" fmla="*/ 95 h 172"/>
                <a:gd name="T64" fmla="*/ 116 w 252"/>
                <a:gd name="T65" fmla="*/ 92 h 172"/>
                <a:gd name="T66" fmla="*/ 126 w 252"/>
                <a:gd name="T67" fmla="*/ 9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2" h="172">
                  <a:moveTo>
                    <a:pt x="126" y="92"/>
                  </a:moveTo>
                  <a:lnTo>
                    <a:pt x="126" y="92"/>
                  </a:lnTo>
                  <a:lnTo>
                    <a:pt x="136" y="92"/>
                  </a:lnTo>
                  <a:lnTo>
                    <a:pt x="146" y="93"/>
                  </a:lnTo>
                  <a:lnTo>
                    <a:pt x="154" y="95"/>
                  </a:lnTo>
                  <a:lnTo>
                    <a:pt x="164" y="98"/>
                  </a:lnTo>
                  <a:lnTo>
                    <a:pt x="182" y="104"/>
                  </a:lnTo>
                  <a:lnTo>
                    <a:pt x="198" y="114"/>
                  </a:lnTo>
                  <a:lnTo>
                    <a:pt x="212" y="126"/>
                  </a:lnTo>
                  <a:lnTo>
                    <a:pt x="225" y="140"/>
                  </a:lnTo>
                  <a:lnTo>
                    <a:pt x="235" y="155"/>
                  </a:lnTo>
                  <a:lnTo>
                    <a:pt x="243" y="172"/>
                  </a:lnTo>
                  <a:lnTo>
                    <a:pt x="243" y="172"/>
                  </a:lnTo>
                  <a:lnTo>
                    <a:pt x="247" y="161"/>
                  </a:lnTo>
                  <a:lnTo>
                    <a:pt x="249" y="150"/>
                  </a:lnTo>
                  <a:lnTo>
                    <a:pt x="251" y="137"/>
                  </a:lnTo>
                  <a:lnTo>
                    <a:pt x="252" y="126"/>
                  </a:lnTo>
                  <a:lnTo>
                    <a:pt x="252" y="126"/>
                  </a:lnTo>
                  <a:lnTo>
                    <a:pt x="251" y="113"/>
                  </a:lnTo>
                  <a:lnTo>
                    <a:pt x="249" y="100"/>
                  </a:lnTo>
                  <a:lnTo>
                    <a:pt x="246" y="88"/>
                  </a:lnTo>
                  <a:lnTo>
                    <a:pt x="242" y="77"/>
                  </a:lnTo>
                  <a:lnTo>
                    <a:pt x="236" y="66"/>
                  </a:lnTo>
                  <a:lnTo>
                    <a:pt x="230" y="56"/>
                  </a:lnTo>
                  <a:lnTo>
                    <a:pt x="222" y="46"/>
                  </a:lnTo>
                  <a:lnTo>
                    <a:pt x="215" y="37"/>
                  </a:lnTo>
                  <a:lnTo>
                    <a:pt x="206" y="29"/>
                  </a:lnTo>
                  <a:lnTo>
                    <a:pt x="196" y="21"/>
                  </a:lnTo>
                  <a:lnTo>
                    <a:pt x="185" y="15"/>
                  </a:lnTo>
                  <a:lnTo>
                    <a:pt x="174" y="10"/>
                  </a:lnTo>
                  <a:lnTo>
                    <a:pt x="163" y="7"/>
                  </a:lnTo>
                  <a:lnTo>
                    <a:pt x="151" y="3"/>
                  </a:lnTo>
                  <a:lnTo>
                    <a:pt x="138" y="2"/>
                  </a:lnTo>
                  <a:lnTo>
                    <a:pt x="126" y="0"/>
                  </a:lnTo>
                  <a:lnTo>
                    <a:pt x="126" y="0"/>
                  </a:lnTo>
                  <a:lnTo>
                    <a:pt x="114" y="2"/>
                  </a:lnTo>
                  <a:lnTo>
                    <a:pt x="100" y="3"/>
                  </a:lnTo>
                  <a:lnTo>
                    <a:pt x="89" y="7"/>
                  </a:lnTo>
                  <a:lnTo>
                    <a:pt x="77" y="10"/>
                  </a:lnTo>
                  <a:lnTo>
                    <a:pt x="66" y="15"/>
                  </a:lnTo>
                  <a:lnTo>
                    <a:pt x="56" y="21"/>
                  </a:lnTo>
                  <a:lnTo>
                    <a:pt x="46" y="29"/>
                  </a:lnTo>
                  <a:lnTo>
                    <a:pt x="37" y="37"/>
                  </a:lnTo>
                  <a:lnTo>
                    <a:pt x="29" y="46"/>
                  </a:lnTo>
                  <a:lnTo>
                    <a:pt x="22" y="56"/>
                  </a:lnTo>
                  <a:lnTo>
                    <a:pt x="15" y="66"/>
                  </a:lnTo>
                  <a:lnTo>
                    <a:pt x="10" y="77"/>
                  </a:lnTo>
                  <a:lnTo>
                    <a:pt x="6" y="88"/>
                  </a:lnTo>
                  <a:lnTo>
                    <a:pt x="3" y="100"/>
                  </a:lnTo>
                  <a:lnTo>
                    <a:pt x="1" y="113"/>
                  </a:lnTo>
                  <a:lnTo>
                    <a:pt x="0" y="126"/>
                  </a:lnTo>
                  <a:lnTo>
                    <a:pt x="0" y="126"/>
                  </a:lnTo>
                  <a:lnTo>
                    <a:pt x="1" y="137"/>
                  </a:lnTo>
                  <a:lnTo>
                    <a:pt x="3" y="150"/>
                  </a:lnTo>
                  <a:lnTo>
                    <a:pt x="5" y="161"/>
                  </a:lnTo>
                  <a:lnTo>
                    <a:pt x="9" y="172"/>
                  </a:lnTo>
                  <a:lnTo>
                    <a:pt x="9" y="172"/>
                  </a:lnTo>
                  <a:lnTo>
                    <a:pt x="18" y="155"/>
                  </a:lnTo>
                  <a:lnTo>
                    <a:pt x="27" y="140"/>
                  </a:lnTo>
                  <a:lnTo>
                    <a:pt x="40" y="126"/>
                  </a:lnTo>
                  <a:lnTo>
                    <a:pt x="55" y="114"/>
                  </a:lnTo>
                  <a:lnTo>
                    <a:pt x="71" y="104"/>
                  </a:lnTo>
                  <a:lnTo>
                    <a:pt x="88" y="98"/>
                  </a:lnTo>
                  <a:lnTo>
                    <a:pt x="96" y="95"/>
                  </a:lnTo>
                  <a:lnTo>
                    <a:pt x="106" y="93"/>
                  </a:lnTo>
                  <a:lnTo>
                    <a:pt x="116" y="92"/>
                  </a:lnTo>
                  <a:lnTo>
                    <a:pt x="126" y="92"/>
                  </a:lnTo>
                  <a:lnTo>
                    <a:pt x="126" y="9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0" name="Freeform 115">
              <a:extLst>
                <a:ext uri="{FF2B5EF4-FFF2-40B4-BE49-F238E27FC236}">
                  <a16:creationId xmlns:a16="http://schemas.microsoft.com/office/drawing/2014/main" id="{B480D3F3-34EC-3D24-FE0B-5716C8D262E7}"/>
                </a:ext>
              </a:extLst>
            </p:cNvPr>
            <p:cNvSpPr>
              <a:spLocks/>
            </p:cNvSpPr>
            <p:nvPr/>
          </p:nvSpPr>
          <p:spPr bwMode="auto">
            <a:xfrm>
              <a:off x="3097932" y="3471546"/>
              <a:ext cx="140154" cy="226910"/>
            </a:xfrm>
            <a:custGeom>
              <a:avLst/>
              <a:gdLst>
                <a:gd name="T0" fmla="*/ 0 w 94"/>
                <a:gd name="T1" fmla="*/ 0 h 168"/>
                <a:gd name="T2" fmla="*/ 0 w 94"/>
                <a:gd name="T3" fmla="*/ 91 h 168"/>
                <a:gd name="T4" fmla="*/ 0 w 94"/>
                <a:gd name="T5" fmla="*/ 91 h 168"/>
                <a:gd name="T6" fmla="*/ 14 w 94"/>
                <a:gd name="T7" fmla="*/ 96 h 168"/>
                <a:gd name="T8" fmla="*/ 27 w 94"/>
                <a:gd name="T9" fmla="*/ 102 h 168"/>
                <a:gd name="T10" fmla="*/ 40 w 94"/>
                <a:gd name="T11" fmla="*/ 110 h 168"/>
                <a:gd name="T12" fmla="*/ 52 w 94"/>
                <a:gd name="T13" fmla="*/ 120 h 168"/>
                <a:gd name="T14" fmla="*/ 62 w 94"/>
                <a:gd name="T15" fmla="*/ 130 h 168"/>
                <a:gd name="T16" fmla="*/ 70 w 94"/>
                <a:gd name="T17" fmla="*/ 142 h 168"/>
                <a:gd name="T18" fmla="*/ 79 w 94"/>
                <a:gd name="T19" fmla="*/ 154 h 168"/>
                <a:gd name="T20" fmla="*/ 85 w 94"/>
                <a:gd name="T21" fmla="*/ 168 h 168"/>
                <a:gd name="T22" fmla="*/ 85 w 94"/>
                <a:gd name="T23" fmla="*/ 168 h 168"/>
                <a:gd name="T24" fmla="*/ 89 w 94"/>
                <a:gd name="T25" fmla="*/ 157 h 168"/>
                <a:gd name="T26" fmla="*/ 91 w 94"/>
                <a:gd name="T27" fmla="*/ 146 h 168"/>
                <a:gd name="T28" fmla="*/ 93 w 94"/>
                <a:gd name="T29" fmla="*/ 133 h 168"/>
                <a:gd name="T30" fmla="*/ 94 w 94"/>
                <a:gd name="T31" fmla="*/ 122 h 168"/>
                <a:gd name="T32" fmla="*/ 94 w 94"/>
                <a:gd name="T33" fmla="*/ 122 h 168"/>
                <a:gd name="T34" fmla="*/ 93 w 94"/>
                <a:gd name="T35" fmla="*/ 111 h 168"/>
                <a:gd name="T36" fmla="*/ 91 w 94"/>
                <a:gd name="T37" fmla="*/ 100 h 168"/>
                <a:gd name="T38" fmla="*/ 89 w 94"/>
                <a:gd name="T39" fmla="*/ 90 h 168"/>
                <a:gd name="T40" fmla="*/ 86 w 94"/>
                <a:gd name="T41" fmla="*/ 80 h 168"/>
                <a:gd name="T42" fmla="*/ 83 w 94"/>
                <a:gd name="T43" fmla="*/ 70 h 168"/>
                <a:gd name="T44" fmla="*/ 78 w 94"/>
                <a:gd name="T45" fmla="*/ 62 h 168"/>
                <a:gd name="T46" fmla="*/ 73 w 94"/>
                <a:gd name="T47" fmla="*/ 53 h 168"/>
                <a:gd name="T48" fmla="*/ 67 w 94"/>
                <a:gd name="T49" fmla="*/ 45 h 168"/>
                <a:gd name="T50" fmla="*/ 61 w 94"/>
                <a:gd name="T51" fmla="*/ 37 h 168"/>
                <a:gd name="T52" fmla="*/ 53 w 94"/>
                <a:gd name="T53" fmla="*/ 30 h 168"/>
                <a:gd name="T54" fmla="*/ 46 w 94"/>
                <a:gd name="T55" fmla="*/ 24 h 168"/>
                <a:gd name="T56" fmla="*/ 37 w 94"/>
                <a:gd name="T57" fmla="*/ 17 h 168"/>
                <a:gd name="T58" fmla="*/ 28 w 94"/>
                <a:gd name="T59" fmla="*/ 12 h 168"/>
                <a:gd name="T60" fmla="*/ 20 w 94"/>
                <a:gd name="T61" fmla="*/ 7 h 168"/>
                <a:gd name="T62" fmla="*/ 10 w 94"/>
                <a:gd name="T63" fmla="*/ 4 h 168"/>
                <a:gd name="T64" fmla="*/ 0 w 94"/>
                <a:gd name="T65" fmla="*/ 0 h 168"/>
                <a:gd name="T66" fmla="*/ 0 w 94"/>
                <a:gd name="T6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4" h="168">
                  <a:moveTo>
                    <a:pt x="0" y="0"/>
                  </a:moveTo>
                  <a:lnTo>
                    <a:pt x="0" y="91"/>
                  </a:lnTo>
                  <a:lnTo>
                    <a:pt x="0" y="91"/>
                  </a:lnTo>
                  <a:lnTo>
                    <a:pt x="14" y="96"/>
                  </a:lnTo>
                  <a:lnTo>
                    <a:pt x="27" y="102"/>
                  </a:lnTo>
                  <a:lnTo>
                    <a:pt x="40" y="110"/>
                  </a:lnTo>
                  <a:lnTo>
                    <a:pt x="52" y="120"/>
                  </a:lnTo>
                  <a:lnTo>
                    <a:pt x="62" y="130"/>
                  </a:lnTo>
                  <a:lnTo>
                    <a:pt x="70" y="142"/>
                  </a:lnTo>
                  <a:lnTo>
                    <a:pt x="79" y="154"/>
                  </a:lnTo>
                  <a:lnTo>
                    <a:pt x="85" y="168"/>
                  </a:lnTo>
                  <a:lnTo>
                    <a:pt x="85" y="168"/>
                  </a:lnTo>
                  <a:lnTo>
                    <a:pt x="89" y="157"/>
                  </a:lnTo>
                  <a:lnTo>
                    <a:pt x="91" y="146"/>
                  </a:lnTo>
                  <a:lnTo>
                    <a:pt x="93" y="133"/>
                  </a:lnTo>
                  <a:lnTo>
                    <a:pt x="94" y="122"/>
                  </a:lnTo>
                  <a:lnTo>
                    <a:pt x="94" y="122"/>
                  </a:lnTo>
                  <a:lnTo>
                    <a:pt x="93" y="111"/>
                  </a:lnTo>
                  <a:lnTo>
                    <a:pt x="91" y="100"/>
                  </a:lnTo>
                  <a:lnTo>
                    <a:pt x="89" y="90"/>
                  </a:lnTo>
                  <a:lnTo>
                    <a:pt x="86" y="80"/>
                  </a:lnTo>
                  <a:lnTo>
                    <a:pt x="83" y="70"/>
                  </a:lnTo>
                  <a:lnTo>
                    <a:pt x="78" y="62"/>
                  </a:lnTo>
                  <a:lnTo>
                    <a:pt x="73" y="53"/>
                  </a:lnTo>
                  <a:lnTo>
                    <a:pt x="67" y="45"/>
                  </a:lnTo>
                  <a:lnTo>
                    <a:pt x="61" y="37"/>
                  </a:lnTo>
                  <a:lnTo>
                    <a:pt x="53" y="30"/>
                  </a:lnTo>
                  <a:lnTo>
                    <a:pt x="46" y="24"/>
                  </a:lnTo>
                  <a:lnTo>
                    <a:pt x="37" y="17"/>
                  </a:lnTo>
                  <a:lnTo>
                    <a:pt x="28" y="12"/>
                  </a:lnTo>
                  <a:lnTo>
                    <a:pt x="20" y="7"/>
                  </a:lnTo>
                  <a:lnTo>
                    <a:pt x="10" y="4"/>
                  </a:lnTo>
                  <a:lnTo>
                    <a:pt x="0" y="0"/>
                  </a:lnTo>
                  <a:lnTo>
                    <a:pt x="0"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1" name="Freeform 116">
              <a:extLst>
                <a:ext uri="{FF2B5EF4-FFF2-40B4-BE49-F238E27FC236}">
                  <a16:creationId xmlns:a16="http://schemas.microsoft.com/office/drawing/2014/main" id="{56BEFEC5-0486-F5C5-6B06-AA7B1AAEE956}"/>
                </a:ext>
              </a:extLst>
            </p:cNvPr>
            <p:cNvSpPr>
              <a:spLocks/>
            </p:cNvSpPr>
            <p:nvPr/>
          </p:nvSpPr>
          <p:spPr bwMode="auto">
            <a:xfrm>
              <a:off x="2933924" y="3120376"/>
              <a:ext cx="232595" cy="501093"/>
            </a:xfrm>
            <a:custGeom>
              <a:avLst/>
              <a:gdLst>
                <a:gd name="T0" fmla="*/ 78 w 156"/>
                <a:gd name="T1" fmla="*/ 364 h 371"/>
                <a:gd name="T2" fmla="*/ 78 w 156"/>
                <a:gd name="T3" fmla="*/ 364 h 371"/>
                <a:gd name="T4" fmla="*/ 89 w 156"/>
                <a:gd name="T5" fmla="*/ 365 h 371"/>
                <a:gd name="T6" fmla="*/ 100 w 156"/>
                <a:gd name="T7" fmla="*/ 366 h 371"/>
                <a:gd name="T8" fmla="*/ 111 w 156"/>
                <a:gd name="T9" fmla="*/ 367 h 371"/>
                <a:gd name="T10" fmla="*/ 122 w 156"/>
                <a:gd name="T11" fmla="*/ 371 h 371"/>
                <a:gd name="T12" fmla="*/ 122 w 156"/>
                <a:gd name="T13" fmla="*/ 371 h 371"/>
                <a:gd name="T14" fmla="*/ 130 w 156"/>
                <a:gd name="T15" fmla="*/ 354 h 371"/>
                <a:gd name="T16" fmla="*/ 136 w 156"/>
                <a:gd name="T17" fmla="*/ 337 h 371"/>
                <a:gd name="T18" fmla="*/ 142 w 156"/>
                <a:gd name="T19" fmla="*/ 319 h 371"/>
                <a:gd name="T20" fmla="*/ 147 w 156"/>
                <a:gd name="T21" fmla="*/ 300 h 371"/>
                <a:gd name="T22" fmla="*/ 151 w 156"/>
                <a:gd name="T23" fmla="*/ 280 h 371"/>
                <a:gd name="T24" fmla="*/ 153 w 156"/>
                <a:gd name="T25" fmla="*/ 259 h 371"/>
                <a:gd name="T26" fmla="*/ 155 w 156"/>
                <a:gd name="T27" fmla="*/ 238 h 371"/>
                <a:gd name="T28" fmla="*/ 156 w 156"/>
                <a:gd name="T29" fmla="*/ 216 h 371"/>
                <a:gd name="T30" fmla="*/ 156 w 156"/>
                <a:gd name="T31" fmla="*/ 216 h 371"/>
                <a:gd name="T32" fmla="*/ 155 w 156"/>
                <a:gd name="T33" fmla="*/ 181 h 371"/>
                <a:gd name="T34" fmla="*/ 150 w 156"/>
                <a:gd name="T35" fmla="*/ 148 h 371"/>
                <a:gd name="T36" fmla="*/ 143 w 156"/>
                <a:gd name="T37" fmla="*/ 117 h 371"/>
                <a:gd name="T38" fmla="*/ 134 w 156"/>
                <a:gd name="T39" fmla="*/ 87 h 371"/>
                <a:gd name="T40" fmla="*/ 122 w 156"/>
                <a:gd name="T41" fmla="*/ 61 h 371"/>
                <a:gd name="T42" fmla="*/ 116 w 156"/>
                <a:gd name="T43" fmla="*/ 49 h 371"/>
                <a:gd name="T44" fmla="*/ 109 w 156"/>
                <a:gd name="T45" fmla="*/ 38 h 371"/>
                <a:gd name="T46" fmla="*/ 103 w 156"/>
                <a:gd name="T47" fmla="*/ 27 h 371"/>
                <a:gd name="T48" fmla="*/ 94 w 156"/>
                <a:gd name="T49" fmla="*/ 17 h 371"/>
                <a:gd name="T50" fmla="*/ 87 w 156"/>
                <a:gd name="T51" fmla="*/ 8 h 371"/>
                <a:gd name="T52" fmla="*/ 78 w 156"/>
                <a:gd name="T53" fmla="*/ 0 h 371"/>
                <a:gd name="T54" fmla="*/ 78 w 156"/>
                <a:gd name="T55" fmla="*/ 0 h 371"/>
                <a:gd name="T56" fmla="*/ 69 w 156"/>
                <a:gd name="T57" fmla="*/ 8 h 371"/>
                <a:gd name="T58" fmla="*/ 62 w 156"/>
                <a:gd name="T59" fmla="*/ 17 h 371"/>
                <a:gd name="T60" fmla="*/ 53 w 156"/>
                <a:gd name="T61" fmla="*/ 27 h 371"/>
                <a:gd name="T62" fmla="*/ 46 w 156"/>
                <a:gd name="T63" fmla="*/ 38 h 371"/>
                <a:gd name="T64" fmla="*/ 40 w 156"/>
                <a:gd name="T65" fmla="*/ 49 h 371"/>
                <a:gd name="T66" fmla="*/ 34 w 156"/>
                <a:gd name="T67" fmla="*/ 61 h 371"/>
                <a:gd name="T68" fmla="*/ 23 w 156"/>
                <a:gd name="T69" fmla="*/ 87 h 371"/>
                <a:gd name="T70" fmla="*/ 13 w 156"/>
                <a:gd name="T71" fmla="*/ 117 h 371"/>
                <a:gd name="T72" fmla="*/ 7 w 156"/>
                <a:gd name="T73" fmla="*/ 148 h 371"/>
                <a:gd name="T74" fmla="*/ 2 w 156"/>
                <a:gd name="T75" fmla="*/ 181 h 371"/>
                <a:gd name="T76" fmla="*/ 0 w 156"/>
                <a:gd name="T77" fmla="*/ 216 h 371"/>
                <a:gd name="T78" fmla="*/ 0 w 156"/>
                <a:gd name="T79" fmla="*/ 216 h 371"/>
                <a:gd name="T80" fmla="*/ 2 w 156"/>
                <a:gd name="T81" fmla="*/ 238 h 371"/>
                <a:gd name="T82" fmla="*/ 3 w 156"/>
                <a:gd name="T83" fmla="*/ 259 h 371"/>
                <a:gd name="T84" fmla="*/ 5 w 156"/>
                <a:gd name="T85" fmla="*/ 280 h 371"/>
                <a:gd name="T86" fmla="*/ 9 w 156"/>
                <a:gd name="T87" fmla="*/ 300 h 371"/>
                <a:gd name="T88" fmla="*/ 14 w 156"/>
                <a:gd name="T89" fmla="*/ 319 h 371"/>
                <a:gd name="T90" fmla="*/ 20 w 156"/>
                <a:gd name="T91" fmla="*/ 337 h 371"/>
                <a:gd name="T92" fmla="*/ 26 w 156"/>
                <a:gd name="T93" fmla="*/ 354 h 371"/>
                <a:gd name="T94" fmla="*/ 34 w 156"/>
                <a:gd name="T95" fmla="*/ 371 h 371"/>
                <a:gd name="T96" fmla="*/ 34 w 156"/>
                <a:gd name="T97" fmla="*/ 371 h 371"/>
                <a:gd name="T98" fmla="*/ 45 w 156"/>
                <a:gd name="T99" fmla="*/ 367 h 371"/>
                <a:gd name="T100" fmla="*/ 56 w 156"/>
                <a:gd name="T101" fmla="*/ 366 h 371"/>
                <a:gd name="T102" fmla="*/ 67 w 156"/>
                <a:gd name="T103" fmla="*/ 365 h 371"/>
                <a:gd name="T104" fmla="*/ 78 w 156"/>
                <a:gd name="T105" fmla="*/ 364 h 371"/>
                <a:gd name="T106" fmla="*/ 78 w 156"/>
                <a:gd name="T107" fmla="*/ 364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 h="371">
                  <a:moveTo>
                    <a:pt x="78" y="364"/>
                  </a:moveTo>
                  <a:lnTo>
                    <a:pt x="78" y="364"/>
                  </a:lnTo>
                  <a:lnTo>
                    <a:pt x="89" y="365"/>
                  </a:lnTo>
                  <a:lnTo>
                    <a:pt x="100" y="366"/>
                  </a:lnTo>
                  <a:lnTo>
                    <a:pt x="111" y="367"/>
                  </a:lnTo>
                  <a:lnTo>
                    <a:pt x="122" y="371"/>
                  </a:lnTo>
                  <a:lnTo>
                    <a:pt x="122" y="371"/>
                  </a:lnTo>
                  <a:lnTo>
                    <a:pt x="130" y="354"/>
                  </a:lnTo>
                  <a:lnTo>
                    <a:pt x="136" y="337"/>
                  </a:lnTo>
                  <a:lnTo>
                    <a:pt x="142" y="319"/>
                  </a:lnTo>
                  <a:lnTo>
                    <a:pt x="147" y="300"/>
                  </a:lnTo>
                  <a:lnTo>
                    <a:pt x="151" y="280"/>
                  </a:lnTo>
                  <a:lnTo>
                    <a:pt x="153" y="259"/>
                  </a:lnTo>
                  <a:lnTo>
                    <a:pt x="155" y="238"/>
                  </a:lnTo>
                  <a:lnTo>
                    <a:pt x="156" y="216"/>
                  </a:lnTo>
                  <a:lnTo>
                    <a:pt x="156" y="216"/>
                  </a:lnTo>
                  <a:lnTo>
                    <a:pt x="155" y="181"/>
                  </a:lnTo>
                  <a:lnTo>
                    <a:pt x="150" y="148"/>
                  </a:lnTo>
                  <a:lnTo>
                    <a:pt x="143" y="117"/>
                  </a:lnTo>
                  <a:lnTo>
                    <a:pt x="134" y="87"/>
                  </a:lnTo>
                  <a:lnTo>
                    <a:pt x="122" y="61"/>
                  </a:lnTo>
                  <a:lnTo>
                    <a:pt x="116" y="49"/>
                  </a:lnTo>
                  <a:lnTo>
                    <a:pt x="109" y="38"/>
                  </a:lnTo>
                  <a:lnTo>
                    <a:pt x="103" y="27"/>
                  </a:lnTo>
                  <a:lnTo>
                    <a:pt x="94" y="17"/>
                  </a:lnTo>
                  <a:lnTo>
                    <a:pt x="87" y="8"/>
                  </a:lnTo>
                  <a:lnTo>
                    <a:pt x="78" y="0"/>
                  </a:lnTo>
                  <a:lnTo>
                    <a:pt x="78" y="0"/>
                  </a:lnTo>
                  <a:lnTo>
                    <a:pt x="69" y="8"/>
                  </a:lnTo>
                  <a:lnTo>
                    <a:pt x="62" y="17"/>
                  </a:lnTo>
                  <a:lnTo>
                    <a:pt x="53" y="27"/>
                  </a:lnTo>
                  <a:lnTo>
                    <a:pt x="46" y="38"/>
                  </a:lnTo>
                  <a:lnTo>
                    <a:pt x="40" y="49"/>
                  </a:lnTo>
                  <a:lnTo>
                    <a:pt x="34" y="61"/>
                  </a:lnTo>
                  <a:lnTo>
                    <a:pt x="23" y="87"/>
                  </a:lnTo>
                  <a:lnTo>
                    <a:pt x="13" y="117"/>
                  </a:lnTo>
                  <a:lnTo>
                    <a:pt x="7" y="148"/>
                  </a:lnTo>
                  <a:lnTo>
                    <a:pt x="2" y="181"/>
                  </a:lnTo>
                  <a:lnTo>
                    <a:pt x="0" y="216"/>
                  </a:lnTo>
                  <a:lnTo>
                    <a:pt x="0" y="216"/>
                  </a:lnTo>
                  <a:lnTo>
                    <a:pt x="2" y="238"/>
                  </a:lnTo>
                  <a:lnTo>
                    <a:pt x="3" y="259"/>
                  </a:lnTo>
                  <a:lnTo>
                    <a:pt x="5" y="280"/>
                  </a:lnTo>
                  <a:lnTo>
                    <a:pt x="9" y="300"/>
                  </a:lnTo>
                  <a:lnTo>
                    <a:pt x="14" y="319"/>
                  </a:lnTo>
                  <a:lnTo>
                    <a:pt x="20" y="337"/>
                  </a:lnTo>
                  <a:lnTo>
                    <a:pt x="26" y="354"/>
                  </a:lnTo>
                  <a:lnTo>
                    <a:pt x="34" y="371"/>
                  </a:lnTo>
                  <a:lnTo>
                    <a:pt x="34" y="371"/>
                  </a:lnTo>
                  <a:lnTo>
                    <a:pt x="45" y="367"/>
                  </a:lnTo>
                  <a:lnTo>
                    <a:pt x="56" y="366"/>
                  </a:lnTo>
                  <a:lnTo>
                    <a:pt x="67" y="365"/>
                  </a:lnTo>
                  <a:lnTo>
                    <a:pt x="78" y="364"/>
                  </a:lnTo>
                  <a:lnTo>
                    <a:pt x="78" y="364"/>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2" name="Freeform 117">
              <a:extLst>
                <a:ext uri="{FF2B5EF4-FFF2-40B4-BE49-F238E27FC236}">
                  <a16:creationId xmlns:a16="http://schemas.microsoft.com/office/drawing/2014/main" id="{C35C3F66-9A04-8296-75C8-58390A0FEB33}"/>
                </a:ext>
              </a:extLst>
            </p:cNvPr>
            <p:cNvSpPr>
              <a:spLocks/>
            </p:cNvSpPr>
            <p:nvPr/>
          </p:nvSpPr>
          <p:spPr bwMode="auto">
            <a:xfrm>
              <a:off x="3050214" y="3120376"/>
              <a:ext cx="116298" cy="501093"/>
            </a:xfrm>
            <a:custGeom>
              <a:avLst/>
              <a:gdLst>
                <a:gd name="T0" fmla="*/ 0 w 78"/>
                <a:gd name="T1" fmla="*/ 0 h 371"/>
                <a:gd name="T2" fmla="*/ 0 w 78"/>
                <a:gd name="T3" fmla="*/ 0 h 371"/>
                <a:gd name="T4" fmla="*/ 0 w 78"/>
                <a:gd name="T5" fmla="*/ 1 h 371"/>
                <a:gd name="T6" fmla="*/ 0 w 78"/>
                <a:gd name="T7" fmla="*/ 364 h 371"/>
                <a:gd name="T8" fmla="*/ 0 w 78"/>
                <a:gd name="T9" fmla="*/ 364 h 371"/>
                <a:gd name="T10" fmla="*/ 0 w 78"/>
                <a:gd name="T11" fmla="*/ 364 h 371"/>
                <a:gd name="T12" fmla="*/ 0 w 78"/>
                <a:gd name="T13" fmla="*/ 364 h 371"/>
                <a:gd name="T14" fmla="*/ 11 w 78"/>
                <a:gd name="T15" fmla="*/ 365 h 371"/>
                <a:gd name="T16" fmla="*/ 22 w 78"/>
                <a:gd name="T17" fmla="*/ 366 h 371"/>
                <a:gd name="T18" fmla="*/ 33 w 78"/>
                <a:gd name="T19" fmla="*/ 367 h 371"/>
                <a:gd name="T20" fmla="*/ 44 w 78"/>
                <a:gd name="T21" fmla="*/ 371 h 371"/>
                <a:gd name="T22" fmla="*/ 44 w 78"/>
                <a:gd name="T23" fmla="*/ 371 h 371"/>
                <a:gd name="T24" fmla="*/ 52 w 78"/>
                <a:gd name="T25" fmla="*/ 354 h 371"/>
                <a:gd name="T26" fmla="*/ 58 w 78"/>
                <a:gd name="T27" fmla="*/ 337 h 371"/>
                <a:gd name="T28" fmla="*/ 64 w 78"/>
                <a:gd name="T29" fmla="*/ 319 h 371"/>
                <a:gd name="T30" fmla="*/ 69 w 78"/>
                <a:gd name="T31" fmla="*/ 300 h 371"/>
                <a:gd name="T32" fmla="*/ 73 w 78"/>
                <a:gd name="T33" fmla="*/ 280 h 371"/>
                <a:gd name="T34" fmla="*/ 75 w 78"/>
                <a:gd name="T35" fmla="*/ 259 h 371"/>
                <a:gd name="T36" fmla="*/ 77 w 78"/>
                <a:gd name="T37" fmla="*/ 238 h 371"/>
                <a:gd name="T38" fmla="*/ 78 w 78"/>
                <a:gd name="T39" fmla="*/ 216 h 371"/>
                <a:gd name="T40" fmla="*/ 78 w 78"/>
                <a:gd name="T41" fmla="*/ 216 h 371"/>
                <a:gd name="T42" fmla="*/ 77 w 78"/>
                <a:gd name="T43" fmla="*/ 181 h 371"/>
                <a:gd name="T44" fmla="*/ 72 w 78"/>
                <a:gd name="T45" fmla="*/ 148 h 371"/>
                <a:gd name="T46" fmla="*/ 65 w 78"/>
                <a:gd name="T47" fmla="*/ 117 h 371"/>
                <a:gd name="T48" fmla="*/ 56 w 78"/>
                <a:gd name="T49" fmla="*/ 87 h 371"/>
                <a:gd name="T50" fmla="*/ 44 w 78"/>
                <a:gd name="T51" fmla="*/ 61 h 371"/>
                <a:gd name="T52" fmla="*/ 38 w 78"/>
                <a:gd name="T53" fmla="*/ 49 h 371"/>
                <a:gd name="T54" fmla="*/ 31 w 78"/>
                <a:gd name="T55" fmla="*/ 38 h 371"/>
                <a:gd name="T56" fmla="*/ 25 w 78"/>
                <a:gd name="T57" fmla="*/ 27 h 371"/>
                <a:gd name="T58" fmla="*/ 16 w 78"/>
                <a:gd name="T59" fmla="*/ 17 h 371"/>
                <a:gd name="T60" fmla="*/ 9 w 78"/>
                <a:gd name="T61" fmla="*/ 8 h 371"/>
                <a:gd name="T62" fmla="*/ 0 w 78"/>
                <a:gd name="T63" fmla="*/ 0 h 371"/>
                <a:gd name="T64" fmla="*/ 0 w 78"/>
                <a:gd name="T65"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371">
                  <a:moveTo>
                    <a:pt x="0" y="0"/>
                  </a:moveTo>
                  <a:lnTo>
                    <a:pt x="0" y="0"/>
                  </a:lnTo>
                  <a:lnTo>
                    <a:pt x="0" y="1"/>
                  </a:lnTo>
                  <a:lnTo>
                    <a:pt x="0" y="364"/>
                  </a:lnTo>
                  <a:lnTo>
                    <a:pt x="0" y="364"/>
                  </a:lnTo>
                  <a:lnTo>
                    <a:pt x="0" y="364"/>
                  </a:lnTo>
                  <a:lnTo>
                    <a:pt x="0" y="364"/>
                  </a:lnTo>
                  <a:lnTo>
                    <a:pt x="11" y="365"/>
                  </a:lnTo>
                  <a:lnTo>
                    <a:pt x="22" y="366"/>
                  </a:lnTo>
                  <a:lnTo>
                    <a:pt x="33" y="367"/>
                  </a:lnTo>
                  <a:lnTo>
                    <a:pt x="44" y="371"/>
                  </a:lnTo>
                  <a:lnTo>
                    <a:pt x="44" y="371"/>
                  </a:lnTo>
                  <a:lnTo>
                    <a:pt x="52" y="354"/>
                  </a:lnTo>
                  <a:lnTo>
                    <a:pt x="58" y="337"/>
                  </a:lnTo>
                  <a:lnTo>
                    <a:pt x="64" y="319"/>
                  </a:lnTo>
                  <a:lnTo>
                    <a:pt x="69" y="300"/>
                  </a:lnTo>
                  <a:lnTo>
                    <a:pt x="73" y="280"/>
                  </a:lnTo>
                  <a:lnTo>
                    <a:pt x="75" y="259"/>
                  </a:lnTo>
                  <a:lnTo>
                    <a:pt x="77" y="238"/>
                  </a:lnTo>
                  <a:lnTo>
                    <a:pt x="78" y="216"/>
                  </a:lnTo>
                  <a:lnTo>
                    <a:pt x="78" y="216"/>
                  </a:lnTo>
                  <a:lnTo>
                    <a:pt x="77" y="181"/>
                  </a:lnTo>
                  <a:lnTo>
                    <a:pt x="72" y="148"/>
                  </a:lnTo>
                  <a:lnTo>
                    <a:pt x="65" y="117"/>
                  </a:lnTo>
                  <a:lnTo>
                    <a:pt x="56" y="87"/>
                  </a:lnTo>
                  <a:lnTo>
                    <a:pt x="44" y="61"/>
                  </a:lnTo>
                  <a:lnTo>
                    <a:pt x="38" y="49"/>
                  </a:lnTo>
                  <a:lnTo>
                    <a:pt x="31" y="38"/>
                  </a:lnTo>
                  <a:lnTo>
                    <a:pt x="25" y="27"/>
                  </a:lnTo>
                  <a:lnTo>
                    <a:pt x="16" y="17"/>
                  </a:lnTo>
                  <a:lnTo>
                    <a:pt x="9" y="8"/>
                  </a:lnTo>
                  <a:lnTo>
                    <a:pt x="0"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3" name="Freeform 118">
              <a:extLst>
                <a:ext uri="{FF2B5EF4-FFF2-40B4-BE49-F238E27FC236}">
                  <a16:creationId xmlns:a16="http://schemas.microsoft.com/office/drawing/2014/main" id="{70870EA4-0FE3-C959-7C6E-8C119C494AEC}"/>
                </a:ext>
              </a:extLst>
            </p:cNvPr>
            <p:cNvSpPr>
              <a:spLocks/>
            </p:cNvSpPr>
            <p:nvPr/>
          </p:nvSpPr>
          <p:spPr bwMode="auto">
            <a:xfrm>
              <a:off x="2965235" y="3120376"/>
              <a:ext cx="169973" cy="122910"/>
            </a:xfrm>
            <a:custGeom>
              <a:avLst/>
              <a:gdLst>
                <a:gd name="T0" fmla="*/ 57 w 114"/>
                <a:gd name="T1" fmla="*/ 90 h 91"/>
                <a:gd name="T2" fmla="*/ 57 w 114"/>
                <a:gd name="T3" fmla="*/ 90 h 91"/>
                <a:gd name="T4" fmla="*/ 85 w 114"/>
                <a:gd name="T5" fmla="*/ 90 h 91"/>
                <a:gd name="T6" fmla="*/ 114 w 114"/>
                <a:gd name="T7" fmla="*/ 91 h 91"/>
                <a:gd name="T8" fmla="*/ 114 w 114"/>
                <a:gd name="T9" fmla="*/ 91 h 91"/>
                <a:gd name="T10" fmla="*/ 109 w 114"/>
                <a:gd name="T11" fmla="*/ 78 h 91"/>
                <a:gd name="T12" fmla="*/ 103 w 114"/>
                <a:gd name="T13" fmla="*/ 64 h 91"/>
                <a:gd name="T14" fmla="*/ 97 w 114"/>
                <a:gd name="T15" fmla="*/ 50 h 91"/>
                <a:gd name="T16" fmla="*/ 89 w 114"/>
                <a:gd name="T17" fmla="*/ 39 h 91"/>
                <a:gd name="T18" fmla="*/ 82 w 114"/>
                <a:gd name="T19" fmla="*/ 28 h 91"/>
                <a:gd name="T20" fmla="*/ 74 w 114"/>
                <a:gd name="T21" fmla="*/ 18 h 91"/>
                <a:gd name="T22" fmla="*/ 66 w 114"/>
                <a:gd name="T23" fmla="*/ 8 h 91"/>
                <a:gd name="T24" fmla="*/ 57 w 114"/>
                <a:gd name="T25" fmla="*/ 0 h 91"/>
                <a:gd name="T26" fmla="*/ 57 w 114"/>
                <a:gd name="T27" fmla="*/ 0 h 91"/>
                <a:gd name="T28" fmla="*/ 48 w 114"/>
                <a:gd name="T29" fmla="*/ 8 h 91"/>
                <a:gd name="T30" fmla="*/ 40 w 114"/>
                <a:gd name="T31" fmla="*/ 18 h 91"/>
                <a:gd name="T32" fmla="*/ 32 w 114"/>
                <a:gd name="T33" fmla="*/ 28 h 91"/>
                <a:gd name="T34" fmla="*/ 25 w 114"/>
                <a:gd name="T35" fmla="*/ 39 h 91"/>
                <a:gd name="T36" fmla="*/ 18 w 114"/>
                <a:gd name="T37" fmla="*/ 50 h 91"/>
                <a:gd name="T38" fmla="*/ 11 w 114"/>
                <a:gd name="T39" fmla="*/ 64 h 91"/>
                <a:gd name="T40" fmla="*/ 5 w 114"/>
                <a:gd name="T41" fmla="*/ 78 h 91"/>
                <a:gd name="T42" fmla="*/ 0 w 114"/>
                <a:gd name="T43" fmla="*/ 91 h 91"/>
                <a:gd name="T44" fmla="*/ 0 w 114"/>
                <a:gd name="T45" fmla="*/ 91 h 91"/>
                <a:gd name="T46" fmla="*/ 27 w 114"/>
                <a:gd name="T47" fmla="*/ 90 h 91"/>
                <a:gd name="T48" fmla="*/ 57 w 114"/>
                <a:gd name="T49" fmla="*/ 90 h 91"/>
                <a:gd name="T50" fmla="*/ 57 w 114"/>
                <a:gd name="T51" fmla="*/ 9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4" h="91">
                  <a:moveTo>
                    <a:pt x="57" y="90"/>
                  </a:moveTo>
                  <a:lnTo>
                    <a:pt x="57" y="90"/>
                  </a:lnTo>
                  <a:lnTo>
                    <a:pt x="85" y="90"/>
                  </a:lnTo>
                  <a:lnTo>
                    <a:pt x="114" y="91"/>
                  </a:lnTo>
                  <a:lnTo>
                    <a:pt x="114" y="91"/>
                  </a:lnTo>
                  <a:lnTo>
                    <a:pt x="109" y="78"/>
                  </a:lnTo>
                  <a:lnTo>
                    <a:pt x="103" y="64"/>
                  </a:lnTo>
                  <a:lnTo>
                    <a:pt x="97" y="50"/>
                  </a:lnTo>
                  <a:lnTo>
                    <a:pt x="89" y="39"/>
                  </a:lnTo>
                  <a:lnTo>
                    <a:pt x="82" y="28"/>
                  </a:lnTo>
                  <a:lnTo>
                    <a:pt x="74" y="18"/>
                  </a:lnTo>
                  <a:lnTo>
                    <a:pt x="66" y="8"/>
                  </a:lnTo>
                  <a:lnTo>
                    <a:pt x="57" y="0"/>
                  </a:lnTo>
                  <a:lnTo>
                    <a:pt x="57" y="0"/>
                  </a:lnTo>
                  <a:lnTo>
                    <a:pt x="48" y="8"/>
                  </a:lnTo>
                  <a:lnTo>
                    <a:pt x="40" y="18"/>
                  </a:lnTo>
                  <a:lnTo>
                    <a:pt x="32" y="28"/>
                  </a:lnTo>
                  <a:lnTo>
                    <a:pt x="25" y="39"/>
                  </a:lnTo>
                  <a:lnTo>
                    <a:pt x="18" y="50"/>
                  </a:lnTo>
                  <a:lnTo>
                    <a:pt x="11" y="64"/>
                  </a:lnTo>
                  <a:lnTo>
                    <a:pt x="5" y="78"/>
                  </a:lnTo>
                  <a:lnTo>
                    <a:pt x="0" y="91"/>
                  </a:lnTo>
                  <a:lnTo>
                    <a:pt x="0" y="91"/>
                  </a:lnTo>
                  <a:lnTo>
                    <a:pt x="27" y="90"/>
                  </a:lnTo>
                  <a:lnTo>
                    <a:pt x="57" y="90"/>
                  </a:lnTo>
                  <a:lnTo>
                    <a:pt x="57" y="9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4" name="Freeform 119">
              <a:extLst>
                <a:ext uri="{FF2B5EF4-FFF2-40B4-BE49-F238E27FC236}">
                  <a16:creationId xmlns:a16="http://schemas.microsoft.com/office/drawing/2014/main" id="{63CFA789-91F2-CBFF-A2B6-F136364B97D5}"/>
                </a:ext>
              </a:extLst>
            </p:cNvPr>
            <p:cNvSpPr>
              <a:spLocks/>
            </p:cNvSpPr>
            <p:nvPr/>
          </p:nvSpPr>
          <p:spPr bwMode="auto">
            <a:xfrm>
              <a:off x="3050230" y="3120376"/>
              <a:ext cx="84987" cy="122910"/>
            </a:xfrm>
            <a:custGeom>
              <a:avLst/>
              <a:gdLst>
                <a:gd name="T0" fmla="*/ 0 w 57"/>
                <a:gd name="T1" fmla="*/ 1 h 91"/>
                <a:gd name="T2" fmla="*/ 0 w 57"/>
                <a:gd name="T3" fmla="*/ 90 h 91"/>
                <a:gd name="T4" fmla="*/ 0 w 57"/>
                <a:gd name="T5" fmla="*/ 90 h 91"/>
                <a:gd name="T6" fmla="*/ 0 w 57"/>
                <a:gd name="T7" fmla="*/ 90 h 91"/>
                <a:gd name="T8" fmla="*/ 0 w 57"/>
                <a:gd name="T9" fmla="*/ 90 h 91"/>
                <a:gd name="T10" fmla="*/ 28 w 57"/>
                <a:gd name="T11" fmla="*/ 90 h 91"/>
                <a:gd name="T12" fmla="*/ 57 w 57"/>
                <a:gd name="T13" fmla="*/ 91 h 91"/>
                <a:gd name="T14" fmla="*/ 57 w 57"/>
                <a:gd name="T15" fmla="*/ 91 h 91"/>
                <a:gd name="T16" fmla="*/ 52 w 57"/>
                <a:gd name="T17" fmla="*/ 78 h 91"/>
                <a:gd name="T18" fmla="*/ 46 w 57"/>
                <a:gd name="T19" fmla="*/ 64 h 91"/>
                <a:gd name="T20" fmla="*/ 40 w 57"/>
                <a:gd name="T21" fmla="*/ 50 h 91"/>
                <a:gd name="T22" fmla="*/ 32 w 57"/>
                <a:gd name="T23" fmla="*/ 39 h 91"/>
                <a:gd name="T24" fmla="*/ 25 w 57"/>
                <a:gd name="T25" fmla="*/ 28 h 91"/>
                <a:gd name="T26" fmla="*/ 17 w 57"/>
                <a:gd name="T27" fmla="*/ 18 h 91"/>
                <a:gd name="T28" fmla="*/ 9 w 57"/>
                <a:gd name="T29" fmla="*/ 8 h 91"/>
                <a:gd name="T30" fmla="*/ 0 w 57"/>
                <a:gd name="T31" fmla="*/ 0 h 91"/>
                <a:gd name="T32" fmla="*/ 0 w 57"/>
                <a:gd name="T33" fmla="*/ 0 h 91"/>
                <a:gd name="T34" fmla="*/ 0 w 57"/>
                <a:gd name="T35" fmla="*/ 1 h 91"/>
                <a:gd name="T36" fmla="*/ 0 w 57"/>
                <a:gd name="T3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91">
                  <a:moveTo>
                    <a:pt x="0" y="1"/>
                  </a:moveTo>
                  <a:lnTo>
                    <a:pt x="0" y="90"/>
                  </a:lnTo>
                  <a:lnTo>
                    <a:pt x="0" y="90"/>
                  </a:lnTo>
                  <a:lnTo>
                    <a:pt x="0" y="90"/>
                  </a:lnTo>
                  <a:lnTo>
                    <a:pt x="0" y="90"/>
                  </a:lnTo>
                  <a:lnTo>
                    <a:pt x="28" y="90"/>
                  </a:lnTo>
                  <a:lnTo>
                    <a:pt x="57" y="91"/>
                  </a:lnTo>
                  <a:lnTo>
                    <a:pt x="57" y="91"/>
                  </a:lnTo>
                  <a:lnTo>
                    <a:pt x="52" y="78"/>
                  </a:lnTo>
                  <a:lnTo>
                    <a:pt x="46" y="64"/>
                  </a:lnTo>
                  <a:lnTo>
                    <a:pt x="40" y="50"/>
                  </a:lnTo>
                  <a:lnTo>
                    <a:pt x="32" y="39"/>
                  </a:lnTo>
                  <a:lnTo>
                    <a:pt x="25" y="28"/>
                  </a:lnTo>
                  <a:lnTo>
                    <a:pt x="17" y="18"/>
                  </a:lnTo>
                  <a:lnTo>
                    <a:pt x="9" y="8"/>
                  </a:lnTo>
                  <a:lnTo>
                    <a:pt x="0" y="0"/>
                  </a:lnTo>
                  <a:lnTo>
                    <a:pt x="0" y="0"/>
                  </a:lnTo>
                  <a:lnTo>
                    <a:pt x="0" y="1"/>
                  </a:lnTo>
                  <a:lnTo>
                    <a:pt x="0" y="1"/>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5" name="Freeform 120">
              <a:extLst>
                <a:ext uri="{FF2B5EF4-FFF2-40B4-BE49-F238E27FC236}">
                  <a16:creationId xmlns:a16="http://schemas.microsoft.com/office/drawing/2014/main" id="{77CCB424-7EC5-4561-4087-DA4748FEEACA}"/>
                </a:ext>
              </a:extLst>
            </p:cNvPr>
            <p:cNvSpPr>
              <a:spLocks/>
            </p:cNvSpPr>
            <p:nvPr/>
          </p:nvSpPr>
          <p:spPr bwMode="auto">
            <a:xfrm>
              <a:off x="3024883" y="3456690"/>
              <a:ext cx="49203" cy="241768"/>
            </a:xfrm>
            <a:custGeom>
              <a:avLst/>
              <a:gdLst>
                <a:gd name="T0" fmla="*/ 17 w 33"/>
                <a:gd name="T1" fmla="*/ 0 h 179"/>
                <a:gd name="T2" fmla="*/ 17 w 33"/>
                <a:gd name="T3" fmla="*/ 0 h 179"/>
                <a:gd name="T4" fmla="*/ 13 w 33"/>
                <a:gd name="T5" fmla="*/ 6 h 179"/>
                <a:gd name="T6" fmla="*/ 10 w 33"/>
                <a:gd name="T7" fmla="*/ 15 h 179"/>
                <a:gd name="T8" fmla="*/ 5 w 33"/>
                <a:gd name="T9" fmla="*/ 36 h 179"/>
                <a:gd name="T10" fmla="*/ 1 w 33"/>
                <a:gd name="T11" fmla="*/ 62 h 179"/>
                <a:gd name="T12" fmla="*/ 0 w 33"/>
                <a:gd name="T13" fmla="*/ 89 h 179"/>
                <a:gd name="T14" fmla="*/ 0 w 33"/>
                <a:gd name="T15" fmla="*/ 89 h 179"/>
                <a:gd name="T16" fmla="*/ 1 w 33"/>
                <a:gd name="T17" fmla="*/ 117 h 179"/>
                <a:gd name="T18" fmla="*/ 5 w 33"/>
                <a:gd name="T19" fmla="*/ 142 h 179"/>
                <a:gd name="T20" fmla="*/ 10 w 33"/>
                <a:gd name="T21" fmla="*/ 163 h 179"/>
                <a:gd name="T22" fmla="*/ 13 w 33"/>
                <a:gd name="T23" fmla="*/ 171 h 179"/>
                <a:gd name="T24" fmla="*/ 17 w 33"/>
                <a:gd name="T25" fmla="*/ 179 h 179"/>
                <a:gd name="T26" fmla="*/ 17 w 33"/>
                <a:gd name="T27" fmla="*/ 179 h 179"/>
                <a:gd name="T28" fmla="*/ 21 w 33"/>
                <a:gd name="T29" fmla="*/ 171 h 179"/>
                <a:gd name="T30" fmla="*/ 23 w 33"/>
                <a:gd name="T31" fmla="*/ 163 h 179"/>
                <a:gd name="T32" fmla="*/ 29 w 33"/>
                <a:gd name="T33" fmla="*/ 142 h 179"/>
                <a:gd name="T34" fmla="*/ 32 w 33"/>
                <a:gd name="T35" fmla="*/ 117 h 179"/>
                <a:gd name="T36" fmla="*/ 33 w 33"/>
                <a:gd name="T37" fmla="*/ 89 h 179"/>
                <a:gd name="T38" fmla="*/ 33 w 33"/>
                <a:gd name="T39" fmla="*/ 89 h 179"/>
                <a:gd name="T40" fmla="*/ 32 w 33"/>
                <a:gd name="T41" fmla="*/ 62 h 179"/>
                <a:gd name="T42" fmla="*/ 29 w 33"/>
                <a:gd name="T43" fmla="*/ 36 h 179"/>
                <a:gd name="T44" fmla="*/ 23 w 33"/>
                <a:gd name="T45" fmla="*/ 15 h 179"/>
                <a:gd name="T46" fmla="*/ 21 w 33"/>
                <a:gd name="T47" fmla="*/ 6 h 179"/>
                <a:gd name="T48" fmla="*/ 17 w 33"/>
                <a:gd name="T49" fmla="*/ 0 h 179"/>
                <a:gd name="T50" fmla="*/ 17 w 33"/>
                <a:gd name="T51"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 h="179">
                  <a:moveTo>
                    <a:pt x="17" y="0"/>
                  </a:moveTo>
                  <a:lnTo>
                    <a:pt x="17" y="0"/>
                  </a:lnTo>
                  <a:lnTo>
                    <a:pt x="13" y="6"/>
                  </a:lnTo>
                  <a:lnTo>
                    <a:pt x="10" y="15"/>
                  </a:lnTo>
                  <a:lnTo>
                    <a:pt x="5" y="36"/>
                  </a:lnTo>
                  <a:lnTo>
                    <a:pt x="1" y="62"/>
                  </a:lnTo>
                  <a:lnTo>
                    <a:pt x="0" y="89"/>
                  </a:lnTo>
                  <a:lnTo>
                    <a:pt x="0" y="89"/>
                  </a:lnTo>
                  <a:lnTo>
                    <a:pt x="1" y="117"/>
                  </a:lnTo>
                  <a:lnTo>
                    <a:pt x="5" y="142"/>
                  </a:lnTo>
                  <a:lnTo>
                    <a:pt x="10" y="163"/>
                  </a:lnTo>
                  <a:lnTo>
                    <a:pt x="13" y="171"/>
                  </a:lnTo>
                  <a:lnTo>
                    <a:pt x="17" y="179"/>
                  </a:lnTo>
                  <a:lnTo>
                    <a:pt x="17" y="179"/>
                  </a:lnTo>
                  <a:lnTo>
                    <a:pt x="21" y="171"/>
                  </a:lnTo>
                  <a:lnTo>
                    <a:pt x="23" y="163"/>
                  </a:lnTo>
                  <a:lnTo>
                    <a:pt x="29" y="142"/>
                  </a:lnTo>
                  <a:lnTo>
                    <a:pt x="32" y="117"/>
                  </a:lnTo>
                  <a:lnTo>
                    <a:pt x="33" y="89"/>
                  </a:lnTo>
                  <a:lnTo>
                    <a:pt x="33" y="89"/>
                  </a:lnTo>
                  <a:lnTo>
                    <a:pt x="32" y="62"/>
                  </a:lnTo>
                  <a:lnTo>
                    <a:pt x="29" y="36"/>
                  </a:lnTo>
                  <a:lnTo>
                    <a:pt x="23" y="15"/>
                  </a:lnTo>
                  <a:lnTo>
                    <a:pt x="21" y="6"/>
                  </a:lnTo>
                  <a:lnTo>
                    <a:pt x="17" y="0"/>
                  </a:lnTo>
                  <a:lnTo>
                    <a:pt x="17"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6" name="Freeform 121">
              <a:extLst>
                <a:ext uri="{FF2B5EF4-FFF2-40B4-BE49-F238E27FC236}">
                  <a16:creationId xmlns:a16="http://schemas.microsoft.com/office/drawing/2014/main" id="{8CBC38B7-664F-6C54-AC0A-77BECF2D10E6}"/>
                </a:ext>
              </a:extLst>
            </p:cNvPr>
            <p:cNvSpPr>
              <a:spLocks/>
            </p:cNvSpPr>
            <p:nvPr/>
          </p:nvSpPr>
          <p:spPr bwMode="auto">
            <a:xfrm>
              <a:off x="3050230" y="3456689"/>
              <a:ext cx="23856" cy="241768"/>
            </a:xfrm>
            <a:custGeom>
              <a:avLst/>
              <a:gdLst>
                <a:gd name="T0" fmla="*/ 0 w 16"/>
                <a:gd name="T1" fmla="*/ 0 h 179"/>
                <a:gd name="T2" fmla="*/ 0 w 16"/>
                <a:gd name="T3" fmla="*/ 178 h 179"/>
                <a:gd name="T4" fmla="*/ 0 w 16"/>
                <a:gd name="T5" fmla="*/ 178 h 179"/>
                <a:gd name="T6" fmla="*/ 0 w 16"/>
                <a:gd name="T7" fmla="*/ 179 h 179"/>
                <a:gd name="T8" fmla="*/ 0 w 16"/>
                <a:gd name="T9" fmla="*/ 179 h 179"/>
                <a:gd name="T10" fmla="*/ 4 w 16"/>
                <a:gd name="T11" fmla="*/ 171 h 179"/>
                <a:gd name="T12" fmla="*/ 6 w 16"/>
                <a:gd name="T13" fmla="*/ 163 h 179"/>
                <a:gd name="T14" fmla="*/ 12 w 16"/>
                <a:gd name="T15" fmla="*/ 142 h 179"/>
                <a:gd name="T16" fmla="*/ 15 w 16"/>
                <a:gd name="T17" fmla="*/ 117 h 179"/>
                <a:gd name="T18" fmla="*/ 16 w 16"/>
                <a:gd name="T19" fmla="*/ 89 h 179"/>
                <a:gd name="T20" fmla="*/ 16 w 16"/>
                <a:gd name="T21" fmla="*/ 89 h 179"/>
                <a:gd name="T22" fmla="*/ 15 w 16"/>
                <a:gd name="T23" fmla="*/ 62 h 179"/>
                <a:gd name="T24" fmla="*/ 12 w 16"/>
                <a:gd name="T25" fmla="*/ 36 h 179"/>
                <a:gd name="T26" fmla="*/ 6 w 16"/>
                <a:gd name="T27" fmla="*/ 15 h 179"/>
                <a:gd name="T28" fmla="*/ 4 w 16"/>
                <a:gd name="T29" fmla="*/ 6 h 179"/>
                <a:gd name="T30" fmla="*/ 0 w 16"/>
                <a:gd name="T31" fmla="*/ 0 h 179"/>
                <a:gd name="T32" fmla="*/ 0 w 16"/>
                <a:gd name="T33" fmla="*/ 0 h 179"/>
                <a:gd name="T34" fmla="*/ 0 w 16"/>
                <a:gd name="T35" fmla="*/ 0 h 179"/>
                <a:gd name="T36" fmla="*/ 0 w 16"/>
                <a:gd name="T37"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179">
                  <a:moveTo>
                    <a:pt x="0" y="0"/>
                  </a:moveTo>
                  <a:lnTo>
                    <a:pt x="0" y="178"/>
                  </a:lnTo>
                  <a:lnTo>
                    <a:pt x="0" y="178"/>
                  </a:lnTo>
                  <a:lnTo>
                    <a:pt x="0" y="179"/>
                  </a:lnTo>
                  <a:lnTo>
                    <a:pt x="0" y="179"/>
                  </a:lnTo>
                  <a:lnTo>
                    <a:pt x="4" y="171"/>
                  </a:lnTo>
                  <a:lnTo>
                    <a:pt x="6" y="163"/>
                  </a:lnTo>
                  <a:lnTo>
                    <a:pt x="12" y="142"/>
                  </a:lnTo>
                  <a:lnTo>
                    <a:pt x="15" y="117"/>
                  </a:lnTo>
                  <a:lnTo>
                    <a:pt x="16" y="89"/>
                  </a:lnTo>
                  <a:lnTo>
                    <a:pt x="16" y="89"/>
                  </a:lnTo>
                  <a:lnTo>
                    <a:pt x="15" y="62"/>
                  </a:lnTo>
                  <a:lnTo>
                    <a:pt x="12" y="36"/>
                  </a:lnTo>
                  <a:lnTo>
                    <a:pt x="6" y="15"/>
                  </a:lnTo>
                  <a:lnTo>
                    <a:pt x="4" y="6"/>
                  </a:lnTo>
                  <a:lnTo>
                    <a:pt x="0" y="0"/>
                  </a:lnTo>
                  <a:lnTo>
                    <a:pt x="0" y="0"/>
                  </a:lnTo>
                  <a:lnTo>
                    <a:pt x="0" y="0"/>
                  </a:lnTo>
                  <a:lnTo>
                    <a:pt x="0"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7" name="Freeform 122">
              <a:extLst>
                <a:ext uri="{FF2B5EF4-FFF2-40B4-BE49-F238E27FC236}">
                  <a16:creationId xmlns:a16="http://schemas.microsoft.com/office/drawing/2014/main" id="{7A0141EF-4118-5B3A-1690-5896519DEED5}"/>
                </a:ext>
              </a:extLst>
            </p:cNvPr>
            <p:cNvSpPr>
              <a:spLocks/>
            </p:cNvSpPr>
            <p:nvPr/>
          </p:nvSpPr>
          <p:spPr bwMode="auto">
            <a:xfrm>
              <a:off x="2986113" y="3293261"/>
              <a:ext cx="128226" cy="118858"/>
            </a:xfrm>
            <a:custGeom>
              <a:avLst/>
              <a:gdLst>
                <a:gd name="T0" fmla="*/ 43 w 86"/>
                <a:gd name="T1" fmla="*/ 88 h 88"/>
                <a:gd name="T2" fmla="*/ 43 w 86"/>
                <a:gd name="T3" fmla="*/ 88 h 88"/>
                <a:gd name="T4" fmla="*/ 34 w 86"/>
                <a:gd name="T5" fmla="*/ 86 h 88"/>
                <a:gd name="T6" fmla="*/ 26 w 86"/>
                <a:gd name="T7" fmla="*/ 84 h 88"/>
                <a:gd name="T8" fmla="*/ 18 w 86"/>
                <a:gd name="T9" fmla="*/ 80 h 88"/>
                <a:gd name="T10" fmla="*/ 12 w 86"/>
                <a:gd name="T11" fmla="*/ 75 h 88"/>
                <a:gd name="T12" fmla="*/ 7 w 86"/>
                <a:gd name="T13" fmla="*/ 68 h 88"/>
                <a:gd name="T14" fmla="*/ 2 w 86"/>
                <a:gd name="T15" fmla="*/ 61 h 88"/>
                <a:gd name="T16" fmla="*/ 0 w 86"/>
                <a:gd name="T17" fmla="*/ 53 h 88"/>
                <a:gd name="T18" fmla="*/ 0 w 86"/>
                <a:gd name="T19" fmla="*/ 45 h 88"/>
                <a:gd name="T20" fmla="*/ 0 w 86"/>
                <a:gd name="T21" fmla="*/ 45 h 88"/>
                <a:gd name="T22" fmla="*/ 0 w 86"/>
                <a:gd name="T23" fmla="*/ 35 h 88"/>
                <a:gd name="T24" fmla="*/ 2 w 86"/>
                <a:gd name="T25" fmla="*/ 27 h 88"/>
                <a:gd name="T26" fmla="*/ 7 w 86"/>
                <a:gd name="T27" fmla="*/ 20 h 88"/>
                <a:gd name="T28" fmla="*/ 12 w 86"/>
                <a:gd name="T29" fmla="*/ 14 h 88"/>
                <a:gd name="T30" fmla="*/ 18 w 86"/>
                <a:gd name="T31" fmla="*/ 8 h 88"/>
                <a:gd name="T32" fmla="*/ 26 w 86"/>
                <a:gd name="T33" fmla="*/ 4 h 88"/>
                <a:gd name="T34" fmla="*/ 34 w 86"/>
                <a:gd name="T35" fmla="*/ 1 h 88"/>
                <a:gd name="T36" fmla="*/ 43 w 86"/>
                <a:gd name="T37" fmla="*/ 0 h 88"/>
                <a:gd name="T38" fmla="*/ 43 w 86"/>
                <a:gd name="T39" fmla="*/ 0 h 88"/>
                <a:gd name="T40" fmla="*/ 52 w 86"/>
                <a:gd name="T41" fmla="*/ 1 h 88"/>
                <a:gd name="T42" fmla="*/ 60 w 86"/>
                <a:gd name="T43" fmla="*/ 4 h 88"/>
                <a:gd name="T44" fmla="*/ 68 w 86"/>
                <a:gd name="T45" fmla="*/ 8 h 88"/>
                <a:gd name="T46" fmla="*/ 74 w 86"/>
                <a:gd name="T47" fmla="*/ 14 h 88"/>
                <a:gd name="T48" fmla="*/ 79 w 86"/>
                <a:gd name="T49" fmla="*/ 20 h 88"/>
                <a:gd name="T50" fmla="*/ 83 w 86"/>
                <a:gd name="T51" fmla="*/ 27 h 88"/>
                <a:gd name="T52" fmla="*/ 85 w 86"/>
                <a:gd name="T53" fmla="*/ 35 h 88"/>
                <a:gd name="T54" fmla="*/ 86 w 86"/>
                <a:gd name="T55" fmla="*/ 45 h 88"/>
                <a:gd name="T56" fmla="*/ 86 w 86"/>
                <a:gd name="T57" fmla="*/ 45 h 88"/>
                <a:gd name="T58" fmla="*/ 85 w 86"/>
                <a:gd name="T59" fmla="*/ 53 h 88"/>
                <a:gd name="T60" fmla="*/ 83 w 86"/>
                <a:gd name="T61" fmla="*/ 61 h 88"/>
                <a:gd name="T62" fmla="*/ 79 w 86"/>
                <a:gd name="T63" fmla="*/ 68 h 88"/>
                <a:gd name="T64" fmla="*/ 74 w 86"/>
                <a:gd name="T65" fmla="*/ 75 h 88"/>
                <a:gd name="T66" fmla="*/ 68 w 86"/>
                <a:gd name="T67" fmla="*/ 80 h 88"/>
                <a:gd name="T68" fmla="*/ 60 w 86"/>
                <a:gd name="T69" fmla="*/ 84 h 88"/>
                <a:gd name="T70" fmla="*/ 52 w 86"/>
                <a:gd name="T71" fmla="*/ 86 h 88"/>
                <a:gd name="T72" fmla="*/ 43 w 86"/>
                <a:gd name="T73" fmla="*/ 88 h 88"/>
                <a:gd name="T74" fmla="*/ 43 w 86"/>
                <a:gd name="T7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6" h="88">
                  <a:moveTo>
                    <a:pt x="43" y="88"/>
                  </a:moveTo>
                  <a:lnTo>
                    <a:pt x="43" y="88"/>
                  </a:lnTo>
                  <a:lnTo>
                    <a:pt x="34" y="86"/>
                  </a:lnTo>
                  <a:lnTo>
                    <a:pt x="26" y="84"/>
                  </a:lnTo>
                  <a:lnTo>
                    <a:pt x="18" y="80"/>
                  </a:lnTo>
                  <a:lnTo>
                    <a:pt x="12" y="75"/>
                  </a:lnTo>
                  <a:lnTo>
                    <a:pt x="7" y="68"/>
                  </a:lnTo>
                  <a:lnTo>
                    <a:pt x="2" y="61"/>
                  </a:lnTo>
                  <a:lnTo>
                    <a:pt x="0" y="53"/>
                  </a:lnTo>
                  <a:lnTo>
                    <a:pt x="0" y="45"/>
                  </a:lnTo>
                  <a:lnTo>
                    <a:pt x="0" y="45"/>
                  </a:lnTo>
                  <a:lnTo>
                    <a:pt x="0" y="35"/>
                  </a:lnTo>
                  <a:lnTo>
                    <a:pt x="2" y="27"/>
                  </a:lnTo>
                  <a:lnTo>
                    <a:pt x="7" y="20"/>
                  </a:lnTo>
                  <a:lnTo>
                    <a:pt x="12" y="14"/>
                  </a:lnTo>
                  <a:lnTo>
                    <a:pt x="18" y="8"/>
                  </a:lnTo>
                  <a:lnTo>
                    <a:pt x="26" y="4"/>
                  </a:lnTo>
                  <a:lnTo>
                    <a:pt x="34" y="1"/>
                  </a:lnTo>
                  <a:lnTo>
                    <a:pt x="43" y="0"/>
                  </a:lnTo>
                  <a:lnTo>
                    <a:pt x="43" y="0"/>
                  </a:lnTo>
                  <a:lnTo>
                    <a:pt x="52" y="1"/>
                  </a:lnTo>
                  <a:lnTo>
                    <a:pt x="60" y="4"/>
                  </a:lnTo>
                  <a:lnTo>
                    <a:pt x="68" y="8"/>
                  </a:lnTo>
                  <a:lnTo>
                    <a:pt x="74" y="14"/>
                  </a:lnTo>
                  <a:lnTo>
                    <a:pt x="79" y="20"/>
                  </a:lnTo>
                  <a:lnTo>
                    <a:pt x="83" y="27"/>
                  </a:lnTo>
                  <a:lnTo>
                    <a:pt x="85" y="35"/>
                  </a:lnTo>
                  <a:lnTo>
                    <a:pt x="86" y="45"/>
                  </a:lnTo>
                  <a:lnTo>
                    <a:pt x="86" y="45"/>
                  </a:lnTo>
                  <a:lnTo>
                    <a:pt x="85" y="53"/>
                  </a:lnTo>
                  <a:lnTo>
                    <a:pt x="83" y="61"/>
                  </a:lnTo>
                  <a:lnTo>
                    <a:pt x="79" y="68"/>
                  </a:lnTo>
                  <a:lnTo>
                    <a:pt x="74" y="75"/>
                  </a:lnTo>
                  <a:lnTo>
                    <a:pt x="68" y="80"/>
                  </a:lnTo>
                  <a:lnTo>
                    <a:pt x="60" y="84"/>
                  </a:lnTo>
                  <a:lnTo>
                    <a:pt x="52" y="86"/>
                  </a:lnTo>
                  <a:lnTo>
                    <a:pt x="43" y="88"/>
                  </a:lnTo>
                  <a:lnTo>
                    <a:pt x="43" y="88"/>
                  </a:lnTo>
                  <a:close/>
                </a:path>
              </a:pathLst>
            </a:custGeom>
            <a:solidFill>
              <a:srgbClr val="174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8" name="Freeform 123">
              <a:extLst>
                <a:ext uri="{FF2B5EF4-FFF2-40B4-BE49-F238E27FC236}">
                  <a16:creationId xmlns:a16="http://schemas.microsoft.com/office/drawing/2014/main" id="{A3A8572A-80AB-2F5A-60E9-E9955D76F0FC}"/>
                </a:ext>
              </a:extLst>
            </p:cNvPr>
            <p:cNvSpPr>
              <a:spLocks/>
            </p:cNvSpPr>
            <p:nvPr/>
          </p:nvSpPr>
          <p:spPr bwMode="auto">
            <a:xfrm>
              <a:off x="3004009" y="3312171"/>
              <a:ext cx="90951" cy="81039"/>
            </a:xfrm>
            <a:custGeom>
              <a:avLst/>
              <a:gdLst>
                <a:gd name="T0" fmla="*/ 31 w 61"/>
                <a:gd name="T1" fmla="*/ 0 h 60"/>
                <a:gd name="T2" fmla="*/ 31 w 61"/>
                <a:gd name="T3" fmla="*/ 0 h 60"/>
                <a:gd name="T4" fmla="*/ 25 w 61"/>
                <a:gd name="T5" fmla="*/ 1 h 60"/>
                <a:gd name="T6" fmla="*/ 19 w 61"/>
                <a:gd name="T7" fmla="*/ 2 h 60"/>
                <a:gd name="T8" fmla="*/ 14 w 61"/>
                <a:gd name="T9" fmla="*/ 5 h 60"/>
                <a:gd name="T10" fmla="*/ 10 w 61"/>
                <a:gd name="T11" fmla="*/ 8 h 60"/>
                <a:gd name="T12" fmla="*/ 6 w 61"/>
                <a:gd name="T13" fmla="*/ 13 h 60"/>
                <a:gd name="T14" fmla="*/ 3 w 61"/>
                <a:gd name="T15" fmla="*/ 18 h 60"/>
                <a:gd name="T16" fmla="*/ 1 w 61"/>
                <a:gd name="T17" fmla="*/ 24 h 60"/>
                <a:gd name="T18" fmla="*/ 0 w 61"/>
                <a:gd name="T19" fmla="*/ 31 h 60"/>
                <a:gd name="T20" fmla="*/ 0 w 61"/>
                <a:gd name="T21" fmla="*/ 31 h 60"/>
                <a:gd name="T22" fmla="*/ 1 w 61"/>
                <a:gd name="T23" fmla="*/ 37 h 60"/>
                <a:gd name="T24" fmla="*/ 3 w 61"/>
                <a:gd name="T25" fmla="*/ 42 h 60"/>
                <a:gd name="T26" fmla="*/ 6 w 61"/>
                <a:gd name="T27" fmla="*/ 47 h 60"/>
                <a:gd name="T28" fmla="*/ 10 w 61"/>
                <a:gd name="T29" fmla="*/ 51 h 60"/>
                <a:gd name="T30" fmla="*/ 14 w 61"/>
                <a:gd name="T31" fmla="*/ 55 h 60"/>
                <a:gd name="T32" fmla="*/ 19 w 61"/>
                <a:gd name="T33" fmla="*/ 58 h 60"/>
                <a:gd name="T34" fmla="*/ 25 w 61"/>
                <a:gd name="T35" fmla="*/ 60 h 60"/>
                <a:gd name="T36" fmla="*/ 31 w 61"/>
                <a:gd name="T37" fmla="*/ 60 h 60"/>
                <a:gd name="T38" fmla="*/ 31 w 61"/>
                <a:gd name="T39" fmla="*/ 60 h 60"/>
                <a:gd name="T40" fmla="*/ 37 w 61"/>
                <a:gd name="T41" fmla="*/ 60 h 60"/>
                <a:gd name="T42" fmla="*/ 42 w 61"/>
                <a:gd name="T43" fmla="*/ 58 h 60"/>
                <a:gd name="T44" fmla="*/ 48 w 61"/>
                <a:gd name="T45" fmla="*/ 55 h 60"/>
                <a:gd name="T46" fmla="*/ 52 w 61"/>
                <a:gd name="T47" fmla="*/ 51 h 60"/>
                <a:gd name="T48" fmla="*/ 56 w 61"/>
                <a:gd name="T49" fmla="*/ 47 h 60"/>
                <a:gd name="T50" fmla="*/ 59 w 61"/>
                <a:gd name="T51" fmla="*/ 42 h 60"/>
                <a:gd name="T52" fmla="*/ 61 w 61"/>
                <a:gd name="T53" fmla="*/ 37 h 60"/>
                <a:gd name="T54" fmla="*/ 61 w 61"/>
                <a:gd name="T55" fmla="*/ 31 h 60"/>
                <a:gd name="T56" fmla="*/ 61 w 61"/>
                <a:gd name="T57" fmla="*/ 31 h 60"/>
                <a:gd name="T58" fmla="*/ 61 w 61"/>
                <a:gd name="T59" fmla="*/ 24 h 60"/>
                <a:gd name="T60" fmla="*/ 59 w 61"/>
                <a:gd name="T61" fmla="*/ 18 h 60"/>
                <a:gd name="T62" fmla="*/ 56 w 61"/>
                <a:gd name="T63" fmla="*/ 13 h 60"/>
                <a:gd name="T64" fmla="*/ 52 w 61"/>
                <a:gd name="T65" fmla="*/ 8 h 60"/>
                <a:gd name="T66" fmla="*/ 48 w 61"/>
                <a:gd name="T67" fmla="*/ 5 h 60"/>
                <a:gd name="T68" fmla="*/ 42 w 61"/>
                <a:gd name="T69" fmla="*/ 2 h 60"/>
                <a:gd name="T70" fmla="*/ 37 w 61"/>
                <a:gd name="T71" fmla="*/ 1 h 60"/>
                <a:gd name="T72" fmla="*/ 31 w 61"/>
                <a:gd name="T73" fmla="*/ 0 h 60"/>
                <a:gd name="T74" fmla="*/ 31 w 61"/>
                <a:gd name="T7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 h="60">
                  <a:moveTo>
                    <a:pt x="31" y="0"/>
                  </a:moveTo>
                  <a:lnTo>
                    <a:pt x="31" y="0"/>
                  </a:lnTo>
                  <a:lnTo>
                    <a:pt x="25" y="1"/>
                  </a:lnTo>
                  <a:lnTo>
                    <a:pt x="19" y="2"/>
                  </a:lnTo>
                  <a:lnTo>
                    <a:pt x="14" y="5"/>
                  </a:lnTo>
                  <a:lnTo>
                    <a:pt x="10" y="8"/>
                  </a:lnTo>
                  <a:lnTo>
                    <a:pt x="6" y="13"/>
                  </a:lnTo>
                  <a:lnTo>
                    <a:pt x="3" y="18"/>
                  </a:lnTo>
                  <a:lnTo>
                    <a:pt x="1" y="24"/>
                  </a:lnTo>
                  <a:lnTo>
                    <a:pt x="0" y="31"/>
                  </a:lnTo>
                  <a:lnTo>
                    <a:pt x="0" y="31"/>
                  </a:lnTo>
                  <a:lnTo>
                    <a:pt x="1" y="37"/>
                  </a:lnTo>
                  <a:lnTo>
                    <a:pt x="3" y="42"/>
                  </a:lnTo>
                  <a:lnTo>
                    <a:pt x="6" y="47"/>
                  </a:lnTo>
                  <a:lnTo>
                    <a:pt x="10" y="51"/>
                  </a:lnTo>
                  <a:lnTo>
                    <a:pt x="14" y="55"/>
                  </a:lnTo>
                  <a:lnTo>
                    <a:pt x="19" y="58"/>
                  </a:lnTo>
                  <a:lnTo>
                    <a:pt x="25" y="60"/>
                  </a:lnTo>
                  <a:lnTo>
                    <a:pt x="31" y="60"/>
                  </a:lnTo>
                  <a:lnTo>
                    <a:pt x="31" y="60"/>
                  </a:lnTo>
                  <a:lnTo>
                    <a:pt x="37" y="60"/>
                  </a:lnTo>
                  <a:lnTo>
                    <a:pt x="42" y="58"/>
                  </a:lnTo>
                  <a:lnTo>
                    <a:pt x="48" y="55"/>
                  </a:lnTo>
                  <a:lnTo>
                    <a:pt x="52" y="51"/>
                  </a:lnTo>
                  <a:lnTo>
                    <a:pt x="56" y="47"/>
                  </a:lnTo>
                  <a:lnTo>
                    <a:pt x="59" y="42"/>
                  </a:lnTo>
                  <a:lnTo>
                    <a:pt x="61" y="37"/>
                  </a:lnTo>
                  <a:lnTo>
                    <a:pt x="61" y="31"/>
                  </a:lnTo>
                  <a:lnTo>
                    <a:pt x="61" y="31"/>
                  </a:lnTo>
                  <a:lnTo>
                    <a:pt x="61" y="24"/>
                  </a:lnTo>
                  <a:lnTo>
                    <a:pt x="59" y="18"/>
                  </a:lnTo>
                  <a:lnTo>
                    <a:pt x="56" y="13"/>
                  </a:lnTo>
                  <a:lnTo>
                    <a:pt x="52" y="8"/>
                  </a:lnTo>
                  <a:lnTo>
                    <a:pt x="48" y="5"/>
                  </a:lnTo>
                  <a:lnTo>
                    <a:pt x="42" y="2"/>
                  </a:lnTo>
                  <a:lnTo>
                    <a:pt x="37" y="1"/>
                  </a:lnTo>
                  <a:lnTo>
                    <a:pt x="31" y="0"/>
                  </a:lnTo>
                  <a:lnTo>
                    <a:pt x="3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9" name="Freeform 124">
              <a:extLst>
                <a:ext uri="{FF2B5EF4-FFF2-40B4-BE49-F238E27FC236}">
                  <a16:creationId xmlns:a16="http://schemas.microsoft.com/office/drawing/2014/main" id="{68985CAD-2244-5904-0EA8-D4FCFE51AD54}"/>
                </a:ext>
              </a:extLst>
            </p:cNvPr>
            <p:cNvSpPr>
              <a:spLocks/>
            </p:cNvSpPr>
            <p:nvPr/>
          </p:nvSpPr>
          <p:spPr bwMode="auto">
            <a:xfrm>
              <a:off x="3050204" y="3293261"/>
              <a:ext cx="64113" cy="118858"/>
            </a:xfrm>
            <a:custGeom>
              <a:avLst/>
              <a:gdLst>
                <a:gd name="T0" fmla="*/ 0 w 43"/>
                <a:gd name="T1" fmla="*/ 0 h 88"/>
                <a:gd name="T2" fmla="*/ 0 w 43"/>
                <a:gd name="T3" fmla="*/ 0 h 88"/>
                <a:gd name="T4" fmla="*/ 0 w 43"/>
                <a:gd name="T5" fmla="*/ 0 h 88"/>
                <a:gd name="T6" fmla="*/ 0 w 43"/>
                <a:gd name="T7" fmla="*/ 14 h 88"/>
                <a:gd name="T8" fmla="*/ 0 w 43"/>
                <a:gd name="T9" fmla="*/ 14 h 88"/>
                <a:gd name="T10" fmla="*/ 0 w 43"/>
                <a:gd name="T11" fmla="*/ 14 h 88"/>
                <a:gd name="T12" fmla="*/ 0 w 43"/>
                <a:gd name="T13" fmla="*/ 14 h 88"/>
                <a:gd name="T14" fmla="*/ 6 w 43"/>
                <a:gd name="T15" fmla="*/ 15 h 88"/>
                <a:gd name="T16" fmla="*/ 11 w 43"/>
                <a:gd name="T17" fmla="*/ 16 h 88"/>
                <a:gd name="T18" fmla="*/ 17 w 43"/>
                <a:gd name="T19" fmla="*/ 19 h 88"/>
                <a:gd name="T20" fmla="*/ 21 w 43"/>
                <a:gd name="T21" fmla="*/ 22 h 88"/>
                <a:gd name="T22" fmla="*/ 25 w 43"/>
                <a:gd name="T23" fmla="*/ 27 h 88"/>
                <a:gd name="T24" fmla="*/ 28 w 43"/>
                <a:gd name="T25" fmla="*/ 32 h 88"/>
                <a:gd name="T26" fmla="*/ 30 w 43"/>
                <a:gd name="T27" fmla="*/ 38 h 88"/>
                <a:gd name="T28" fmla="*/ 30 w 43"/>
                <a:gd name="T29" fmla="*/ 45 h 88"/>
                <a:gd name="T30" fmla="*/ 30 w 43"/>
                <a:gd name="T31" fmla="*/ 45 h 88"/>
                <a:gd name="T32" fmla="*/ 30 w 43"/>
                <a:gd name="T33" fmla="*/ 51 h 88"/>
                <a:gd name="T34" fmla="*/ 28 w 43"/>
                <a:gd name="T35" fmla="*/ 56 h 88"/>
                <a:gd name="T36" fmla="*/ 25 w 43"/>
                <a:gd name="T37" fmla="*/ 61 h 88"/>
                <a:gd name="T38" fmla="*/ 21 w 43"/>
                <a:gd name="T39" fmla="*/ 65 h 88"/>
                <a:gd name="T40" fmla="*/ 17 w 43"/>
                <a:gd name="T41" fmla="*/ 69 h 88"/>
                <a:gd name="T42" fmla="*/ 11 w 43"/>
                <a:gd name="T43" fmla="*/ 72 h 88"/>
                <a:gd name="T44" fmla="*/ 6 w 43"/>
                <a:gd name="T45" fmla="*/ 74 h 88"/>
                <a:gd name="T46" fmla="*/ 0 w 43"/>
                <a:gd name="T47" fmla="*/ 74 h 88"/>
                <a:gd name="T48" fmla="*/ 0 w 43"/>
                <a:gd name="T49" fmla="*/ 74 h 88"/>
                <a:gd name="T50" fmla="*/ 0 w 43"/>
                <a:gd name="T51" fmla="*/ 74 h 88"/>
                <a:gd name="T52" fmla="*/ 0 w 43"/>
                <a:gd name="T53" fmla="*/ 88 h 88"/>
                <a:gd name="T54" fmla="*/ 0 w 43"/>
                <a:gd name="T55" fmla="*/ 88 h 88"/>
                <a:gd name="T56" fmla="*/ 0 w 43"/>
                <a:gd name="T57" fmla="*/ 88 h 88"/>
                <a:gd name="T58" fmla="*/ 0 w 43"/>
                <a:gd name="T59" fmla="*/ 88 h 88"/>
                <a:gd name="T60" fmla="*/ 9 w 43"/>
                <a:gd name="T61" fmla="*/ 86 h 88"/>
                <a:gd name="T62" fmla="*/ 17 w 43"/>
                <a:gd name="T63" fmla="*/ 84 h 88"/>
                <a:gd name="T64" fmla="*/ 25 w 43"/>
                <a:gd name="T65" fmla="*/ 80 h 88"/>
                <a:gd name="T66" fmla="*/ 31 w 43"/>
                <a:gd name="T67" fmla="*/ 75 h 88"/>
                <a:gd name="T68" fmla="*/ 36 w 43"/>
                <a:gd name="T69" fmla="*/ 68 h 88"/>
                <a:gd name="T70" fmla="*/ 40 w 43"/>
                <a:gd name="T71" fmla="*/ 61 h 88"/>
                <a:gd name="T72" fmla="*/ 42 w 43"/>
                <a:gd name="T73" fmla="*/ 53 h 88"/>
                <a:gd name="T74" fmla="*/ 43 w 43"/>
                <a:gd name="T75" fmla="*/ 45 h 88"/>
                <a:gd name="T76" fmla="*/ 43 w 43"/>
                <a:gd name="T77" fmla="*/ 45 h 88"/>
                <a:gd name="T78" fmla="*/ 42 w 43"/>
                <a:gd name="T79" fmla="*/ 35 h 88"/>
                <a:gd name="T80" fmla="*/ 40 w 43"/>
                <a:gd name="T81" fmla="*/ 27 h 88"/>
                <a:gd name="T82" fmla="*/ 36 w 43"/>
                <a:gd name="T83" fmla="*/ 20 h 88"/>
                <a:gd name="T84" fmla="*/ 31 w 43"/>
                <a:gd name="T85" fmla="*/ 14 h 88"/>
                <a:gd name="T86" fmla="*/ 25 w 43"/>
                <a:gd name="T87" fmla="*/ 8 h 88"/>
                <a:gd name="T88" fmla="*/ 17 w 43"/>
                <a:gd name="T89" fmla="*/ 4 h 88"/>
                <a:gd name="T90" fmla="*/ 9 w 43"/>
                <a:gd name="T91" fmla="*/ 1 h 88"/>
                <a:gd name="T92" fmla="*/ 0 w 43"/>
                <a:gd name="T93" fmla="*/ 0 h 88"/>
                <a:gd name="T94" fmla="*/ 0 w 43"/>
                <a:gd name="T9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 h="88">
                  <a:moveTo>
                    <a:pt x="0" y="0"/>
                  </a:moveTo>
                  <a:lnTo>
                    <a:pt x="0" y="0"/>
                  </a:lnTo>
                  <a:lnTo>
                    <a:pt x="0" y="0"/>
                  </a:lnTo>
                  <a:lnTo>
                    <a:pt x="0" y="14"/>
                  </a:lnTo>
                  <a:lnTo>
                    <a:pt x="0" y="14"/>
                  </a:lnTo>
                  <a:lnTo>
                    <a:pt x="0" y="14"/>
                  </a:lnTo>
                  <a:lnTo>
                    <a:pt x="0" y="14"/>
                  </a:lnTo>
                  <a:lnTo>
                    <a:pt x="6" y="15"/>
                  </a:lnTo>
                  <a:lnTo>
                    <a:pt x="11" y="16"/>
                  </a:lnTo>
                  <a:lnTo>
                    <a:pt x="17" y="19"/>
                  </a:lnTo>
                  <a:lnTo>
                    <a:pt x="21" y="22"/>
                  </a:lnTo>
                  <a:lnTo>
                    <a:pt x="25" y="27"/>
                  </a:lnTo>
                  <a:lnTo>
                    <a:pt x="28" y="32"/>
                  </a:lnTo>
                  <a:lnTo>
                    <a:pt x="30" y="38"/>
                  </a:lnTo>
                  <a:lnTo>
                    <a:pt x="30" y="45"/>
                  </a:lnTo>
                  <a:lnTo>
                    <a:pt x="30" y="45"/>
                  </a:lnTo>
                  <a:lnTo>
                    <a:pt x="30" y="51"/>
                  </a:lnTo>
                  <a:lnTo>
                    <a:pt x="28" y="56"/>
                  </a:lnTo>
                  <a:lnTo>
                    <a:pt x="25" y="61"/>
                  </a:lnTo>
                  <a:lnTo>
                    <a:pt x="21" y="65"/>
                  </a:lnTo>
                  <a:lnTo>
                    <a:pt x="17" y="69"/>
                  </a:lnTo>
                  <a:lnTo>
                    <a:pt x="11" y="72"/>
                  </a:lnTo>
                  <a:lnTo>
                    <a:pt x="6" y="74"/>
                  </a:lnTo>
                  <a:lnTo>
                    <a:pt x="0" y="74"/>
                  </a:lnTo>
                  <a:lnTo>
                    <a:pt x="0" y="74"/>
                  </a:lnTo>
                  <a:lnTo>
                    <a:pt x="0" y="74"/>
                  </a:lnTo>
                  <a:lnTo>
                    <a:pt x="0" y="88"/>
                  </a:lnTo>
                  <a:lnTo>
                    <a:pt x="0" y="88"/>
                  </a:lnTo>
                  <a:lnTo>
                    <a:pt x="0" y="88"/>
                  </a:lnTo>
                  <a:lnTo>
                    <a:pt x="0" y="88"/>
                  </a:lnTo>
                  <a:lnTo>
                    <a:pt x="9" y="86"/>
                  </a:lnTo>
                  <a:lnTo>
                    <a:pt x="17" y="84"/>
                  </a:lnTo>
                  <a:lnTo>
                    <a:pt x="25" y="80"/>
                  </a:lnTo>
                  <a:lnTo>
                    <a:pt x="31" y="75"/>
                  </a:lnTo>
                  <a:lnTo>
                    <a:pt x="36" y="68"/>
                  </a:lnTo>
                  <a:lnTo>
                    <a:pt x="40" y="61"/>
                  </a:lnTo>
                  <a:lnTo>
                    <a:pt x="42" y="53"/>
                  </a:lnTo>
                  <a:lnTo>
                    <a:pt x="43" y="45"/>
                  </a:lnTo>
                  <a:lnTo>
                    <a:pt x="43" y="45"/>
                  </a:lnTo>
                  <a:lnTo>
                    <a:pt x="42" y="35"/>
                  </a:lnTo>
                  <a:lnTo>
                    <a:pt x="40" y="27"/>
                  </a:lnTo>
                  <a:lnTo>
                    <a:pt x="36" y="20"/>
                  </a:lnTo>
                  <a:lnTo>
                    <a:pt x="31" y="14"/>
                  </a:lnTo>
                  <a:lnTo>
                    <a:pt x="25" y="8"/>
                  </a:lnTo>
                  <a:lnTo>
                    <a:pt x="17" y="4"/>
                  </a:lnTo>
                  <a:lnTo>
                    <a:pt x="9" y="1"/>
                  </a:lnTo>
                  <a:lnTo>
                    <a:pt x="0" y="0"/>
                  </a:lnTo>
                  <a:lnTo>
                    <a:pt x="0" y="0"/>
                  </a:lnTo>
                  <a:close/>
                </a:path>
              </a:pathLst>
            </a:custGeom>
            <a:solidFill>
              <a:srgbClr val="1037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0" name="Freeform 125">
              <a:extLst>
                <a:ext uri="{FF2B5EF4-FFF2-40B4-BE49-F238E27FC236}">
                  <a16:creationId xmlns:a16="http://schemas.microsoft.com/office/drawing/2014/main" id="{3E5343A2-BE24-4246-97CE-95B7E78581F9}"/>
                </a:ext>
              </a:extLst>
            </p:cNvPr>
            <p:cNvSpPr>
              <a:spLocks/>
            </p:cNvSpPr>
            <p:nvPr/>
          </p:nvSpPr>
          <p:spPr bwMode="auto">
            <a:xfrm>
              <a:off x="3050215" y="3312165"/>
              <a:ext cx="44730" cy="81039"/>
            </a:xfrm>
            <a:custGeom>
              <a:avLst/>
              <a:gdLst>
                <a:gd name="T0" fmla="*/ 30 w 30"/>
                <a:gd name="T1" fmla="*/ 31 h 60"/>
                <a:gd name="T2" fmla="*/ 30 w 30"/>
                <a:gd name="T3" fmla="*/ 31 h 60"/>
                <a:gd name="T4" fmla="*/ 30 w 30"/>
                <a:gd name="T5" fmla="*/ 24 h 60"/>
                <a:gd name="T6" fmla="*/ 28 w 30"/>
                <a:gd name="T7" fmla="*/ 18 h 60"/>
                <a:gd name="T8" fmla="*/ 25 w 30"/>
                <a:gd name="T9" fmla="*/ 13 h 60"/>
                <a:gd name="T10" fmla="*/ 21 w 30"/>
                <a:gd name="T11" fmla="*/ 8 h 60"/>
                <a:gd name="T12" fmla="*/ 17 w 30"/>
                <a:gd name="T13" fmla="*/ 5 h 60"/>
                <a:gd name="T14" fmla="*/ 11 w 30"/>
                <a:gd name="T15" fmla="*/ 2 h 60"/>
                <a:gd name="T16" fmla="*/ 6 w 30"/>
                <a:gd name="T17" fmla="*/ 1 h 60"/>
                <a:gd name="T18" fmla="*/ 0 w 30"/>
                <a:gd name="T19" fmla="*/ 0 h 60"/>
                <a:gd name="T20" fmla="*/ 0 w 30"/>
                <a:gd name="T21" fmla="*/ 0 h 60"/>
                <a:gd name="T22" fmla="*/ 0 w 30"/>
                <a:gd name="T23" fmla="*/ 0 h 60"/>
                <a:gd name="T24" fmla="*/ 0 w 30"/>
                <a:gd name="T25" fmla="*/ 60 h 60"/>
                <a:gd name="T26" fmla="*/ 0 w 30"/>
                <a:gd name="T27" fmla="*/ 60 h 60"/>
                <a:gd name="T28" fmla="*/ 0 w 30"/>
                <a:gd name="T29" fmla="*/ 60 h 60"/>
                <a:gd name="T30" fmla="*/ 0 w 30"/>
                <a:gd name="T31" fmla="*/ 60 h 60"/>
                <a:gd name="T32" fmla="*/ 6 w 30"/>
                <a:gd name="T33" fmla="*/ 60 h 60"/>
                <a:gd name="T34" fmla="*/ 11 w 30"/>
                <a:gd name="T35" fmla="*/ 58 h 60"/>
                <a:gd name="T36" fmla="*/ 17 w 30"/>
                <a:gd name="T37" fmla="*/ 55 h 60"/>
                <a:gd name="T38" fmla="*/ 21 w 30"/>
                <a:gd name="T39" fmla="*/ 51 h 60"/>
                <a:gd name="T40" fmla="*/ 25 w 30"/>
                <a:gd name="T41" fmla="*/ 47 h 60"/>
                <a:gd name="T42" fmla="*/ 28 w 30"/>
                <a:gd name="T43" fmla="*/ 42 h 60"/>
                <a:gd name="T44" fmla="*/ 30 w 30"/>
                <a:gd name="T45" fmla="*/ 37 h 60"/>
                <a:gd name="T46" fmla="*/ 30 w 30"/>
                <a:gd name="T47" fmla="*/ 31 h 60"/>
                <a:gd name="T48" fmla="*/ 30 w 30"/>
                <a:gd name="T49" fmla="*/ 3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 h="60">
                  <a:moveTo>
                    <a:pt x="30" y="31"/>
                  </a:moveTo>
                  <a:lnTo>
                    <a:pt x="30" y="31"/>
                  </a:lnTo>
                  <a:lnTo>
                    <a:pt x="30" y="24"/>
                  </a:lnTo>
                  <a:lnTo>
                    <a:pt x="28" y="18"/>
                  </a:lnTo>
                  <a:lnTo>
                    <a:pt x="25" y="13"/>
                  </a:lnTo>
                  <a:lnTo>
                    <a:pt x="21" y="8"/>
                  </a:lnTo>
                  <a:lnTo>
                    <a:pt x="17" y="5"/>
                  </a:lnTo>
                  <a:lnTo>
                    <a:pt x="11" y="2"/>
                  </a:lnTo>
                  <a:lnTo>
                    <a:pt x="6" y="1"/>
                  </a:lnTo>
                  <a:lnTo>
                    <a:pt x="0" y="0"/>
                  </a:lnTo>
                  <a:lnTo>
                    <a:pt x="0" y="0"/>
                  </a:lnTo>
                  <a:lnTo>
                    <a:pt x="0" y="0"/>
                  </a:lnTo>
                  <a:lnTo>
                    <a:pt x="0" y="60"/>
                  </a:lnTo>
                  <a:lnTo>
                    <a:pt x="0" y="60"/>
                  </a:lnTo>
                  <a:lnTo>
                    <a:pt x="0" y="60"/>
                  </a:lnTo>
                  <a:lnTo>
                    <a:pt x="0" y="60"/>
                  </a:lnTo>
                  <a:lnTo>
                    <a:pt x="6" y="60"/>
                  </a:lnTo>
                  <a:lnTo>
                    <a:pt x="11" y="58"/>
                  </a:lnTo>
                  <a:lnTo>
                    <a:pt x="17" y="55"/>
                  </a:lnTo>
                  <a:lnTo>
                    <a:pt x="21" y="51"/>
                  </a:lnTo>
                  <a:lnTo>
                    <a:pt x="25" y="47"/>
                  </a:lnTo>
                  <a:lnTo>
                    <a:pt x="28" y="42"/>
                  </a:lnTo>
                  <a:lnTo>
                    <a:pt x="30" y="37"/>
                  </a:lnTo>
                  <a:lnTo>
                    <a:pt x="30" y="31"/>
                  </a:lnTo>
                  <a:lnTo>
                    <a:pt x="30" y="31"/>
                  </a:lnTo>
                  <a:close/>
                </a:path>
              </a:pathLst>
            </a:custGeom>
            <a:solidFill>
              <a:srgbClr val="D1E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grpSp>
        <p:nvGrpSpPr>
          <p:cNvPr id="464" name="Group 463">
            <a:extLst>
              <a:ext uri="{FF2B5EF4-FFF2-40B4-BE49-F238E27FC236}">
                <a16:creationId xmlns:a16="http://schemas.microsoft.com/office/drawing/2014/main" id="{FE0DFA2D-9405-9AB9-A215-F4C6AB844558}"/>
              </a:ext>
            </a:extLst>
          </p:cNvPr>
          <p:cNvGrpSpPr/>
          <p:nvPr/>
        </p:nvGrpSpPr>
        <p:grpSpPr>
          <a:xfrm>
            <a:off x="7506200" y="2635887"/>
            <a:ext cx="1289347" cy="1139420"/>
            <a:chOff x="7087417" y="2952895"/>
            <a:chExt cx="1035028" cy="946809"/>
          </a:xfrm>
        </p:grpSpPr>
        <p:sp>
          <p:nvSpPr>
            <p:cNvPr id="412" name="Freeform 25">
              <a:extLst>
                <a:ext uri="{FF2B5EF4-FFF2-40B4-BE49-F238E27FC236}">
                  <a16:creationId xmlns:a16="http://schemas.microsoft.com/office/drawing/2014/main" id="{67012AA4-984B-DC2B-EC60-EB807F159439}"/>
                </a:ext>
              </a:extLst>
            </p:cNvPr>
            <p:cNvSpPr>
              <a:spLocks/>
            </p:cNvSpPr>
            <p:nvPr/>
          </p:nvSpPr>
          <p:spPr bwMode="auto">
            <a:xfrm>
              <a:off x="7087417" y="2952895"/>
              <a:ext cx="1035028" cy="946809"/>
            </a:xfrm>
            <a:custGeom>
              <a:avLst/>
              <a:gdLst>
                <a:gd name="T0" fmla="*/ 333 w 701"/>
                <a:gd name="T1" fmla="*/ 701 h 702"/>
                <a:gd name="T2" fmla="*/ 280 w 701"/>
                <a:gd name="T3" fmla="*/ 695 h 702"/>
                <a:gd name="T4" fmla="*/ 231 w 701"/>
                <a:gd name="T5" fmla="*/ 680 h 702"/>
                <a:gd name="T6" fmla="*/ 184 w 701"/>
                <a:gd name="T7" fmla="*/ 659 h 702"/>
                <a:gd name="T8" fmla="*/ 141 w 701"/>
                <a:gd name="T9" fmla="*/ 632 h 702"/>
                <a:gd name="T10" fmla="*/ 102 w 701"/>
                <a:gd name="T11" fmla="*/ 598 h 702"/>
                <a:gd name="T12" fmla="*/ 70 w 701"/>
                <a:gd name="T13" fmla="*/ 560 h 702"/>
                <a:gd name="T14" fmla="*/ 43 w 701"/>
                <a:gd name="T15" fmla="*/ 518 h 702"/>
                <a:gd name="T16" fmla="*/ 21 w 701"/>
                <a:gd name="T17" fmla="*/ 471 h 702"/>
                <a:gd name="T18" fmla="*/ 7 w 701"/>
                <a:gd name="T19" fmla="*/ 422 h 702"/>
                <a:gd name="T20" fmla="*/ 1 w 701"/>
                <a:gd name="T21" fmla="*/ 369 h 702"/>
                <a:gd name="T22" fmla="*/ 1 w 701"/>
                <a:gd name="T23" fmla="*/ 333 h 702"/>
                <a:gd name="T24" fmla="*/ 7 w 701"/>
                <a:gd name="T25" fmla="*/ 280 h 702"/>
                <a:gd name="T26" fmla="*/ 21 w 701"/>
                <a:gd name="T27" fmla="*/ 231 h 702"/>
                <a:gd name="T28" fmla="*/ 43 w 701"/>
                <a:gd name="T29" fmla="*/ 184 h 702"/>
                <a:gd name="T30" fmla="*/ 70 w 701"/>
                <a:gd name="T31" fmla="*/ 141 h 702"/>
                <a:gd name="T32" fmla="*/ 102 w 701"/>
                <a:gd name="T33" fmla="*/ 104 h 702"/>
                <a:gd name="T34" fmla="*/ 141 w 701"/>
                <a:gd name="T35" fmla="*/ 70 h 702"/>
                <a:gd name="T36" fmla="*/ 184 w 701"/>
                <a:gd name="T37" fmla="*/ 43 h 702"/>
                <a:gd name="T38" fmla="*/ 231 w 701"/>
                <a:gd name="T39" fmla="*/ 22 h 702"/>
                <a:gd name="T40" fmla="*/ 280 w 701"/>
                <a:gd name="T41" fmla="*/ 7 h 702"/>
                <a:gd name="T42" fmla="*/ 333 w 701"/>
                <a:gd name="T43" fmla="*/ 1 h 702"/>
                <a:gd name="T44" fmla="*/ 369 w 701"/>
                <a:gd name="T45" fmla="*/ 1 h 702"/>
                <a:gd name="T46" fmla="*/ 422 w 701"/>
                <a:gd name="T47" fmla="*/ 7 h 702"/>
                <a:gd name="T48" fmla="*/ 471 w 701"/>
                <a:gd name="T49" fmla="*/ 22 h 702"/>
                <a:gd name="T50" fmla="*/ 518 w 701"/>
                <a:gd name="T51" fmla="*/ 43 h 702"/>
                <a:gd name="T52" fmla="*/ 560 w 701"/>
                <a:gd name="T53" fmla="*/ 70 h 702"/>
                <a:gd name="T54" fmla="*/ 598 w 701"/>
                <a:gd name="T55" fmla="*/ 104 h 702"/>
                <a:gd name="T56" fmla="*/ 631 w 701"/>
                <a:gd name="T57" fmla="*/ 141 h 702"/>
                <a:gd name="T58" fmla="*/ 659 w 701"/>
                <a:gd name="T59" fmla="*/ 184 h 702"/>
                <a:gd name="T60" fmla="*/ 680 w 701"/>
                <a:gd name="T61" fmla="*/ 231 h 702"/>
                <a:gd name="T62" fmla="*/ 694 w 701"/>
                <a:gd name="T63" fmla="*/ 280 h 702"/>
                <a:gd name="T64" fmla="*/ 701 w 701"/>
                <a:gd name="T65" fmla="*/ 333 h 702"/>
                <a:gd name="T66" fmla="*/ 701 w 701"/>
                <a:gd name="T67" fmla="*/ 369 h 702"/>
                <a:gd name="T68" fmla="*/ 694 w 701"/>
                <a:gd name="T69" fmla="*/ 422 h 702"/>
                <a:gd name="T70" fmla="*/ 680 w 701"/>
                <a:gd name="T71" fmla="*/ 471 h 702"/>
                <a:gd name="T72" fmla="*/ 659 w 701"/>
                <a:gd name="T73" fmla="*/ 518 h 702"/>
                <a:gd name="T74" fmla="*/ 631 w 701"/>
                <a:gd name="T75" fmla="*/ 560 h 702"/>
                <a:gd name="T76" fmla="*/ 598 w 701"/>
                <a:gd name="T77" fmla="*/ 598 h 702"/>
                <a:gd name="T78" fmla="*/ 560 w 701"/>
                <a:gd name="T79" fmla="*/ 632 h 702"/>
                <a:gd name="T80" fmla="*/ 518 w 701"/>
                <a:gd name="T81" fmla="*/ 659 h 702"/>
                <a:gd name="T82" fmla="*/ 471 w 701"/>
                <a:gd name="T83" fmla="*/ 680 h 702"/>
                <a:gd name="T84" fmla="*/ 422 w 701"/>
                <a:gd name="T85" fmla="*/ 695 h 702"/>
                <a:gd name="T86" fmla="*/ 369 w 701"/>
                <a:gd name="T87" fmla="*/ 70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2">
                  <a:moveTo>
                    <a:pt x="350" y="702"/>
                  </a:moveTo>
                  <a:lnTo>
                    <a:pt x="350" y="702"/>
                  </a:lnTo>
                  <a:lnTo>
                    <a:pt x="333" y="701"/>
                  </a:lnTo>
                  <a:lnTo>
                    <a:pt x="315" y="700"/>
                  </a:lnTo>
                  <a:lnTo>
                    <a:pt x="297" y="697"/>
                  </a:lnTo>
                  <a:lnTo>
                    <a:pt x="280" y="695"/>
                  </a:lnTo>
                  <a:lnTo>
                    <a:pt x="263" y="691"/>
                  </a:lnTo>
                  <a:lnTo>
                    <a:pt x="247" y="686"/>
                  </a:lnTo>
                  <a:lnTo>
                    <a:pt x="231" y="680"/>
                  </a:lnTo>
                  <a:lnTo>
                    <a:pt x="215" y="674"/>
                  </a:lnTo>
                  <a:lnTo>
                    <a:pt x="199" y="667"/>
                  </a:lnTo>
                  <a:lnTo>
                    <a:pt x="184" y="659"/>
                  </a:lnTo>
                  <a:lnTo>
                    <a:pt x="169" y="650"/>
                  </a:lnTo>
                  <a:lnTo>
                    <a:pt x="155" y="642"/>
                  </a:lnTo>
                  <a:lnTo>
                    <a:pt x="141" y="632"/>
                  </a:lnTo>
                  <a:lnTo>
                    <a:pt x="128" y="622"/>
                  </a:lnTo>
                  <a:lnTo>
                    <a:pt x="115" y="611"/>
                  </a:lnTo>
                  <a:lnTo>
                    <a:pt x="102" y="598"/>
                  </a:lnTo>
                  <a:lnTo>
                    <a:pt x="91" y="586"/>
                  </a:lnTo>
                  <a:lnTo>
                    <a:pt x="80" y="574"/>
                  </a:lnTo>
                  <a:lnTo>
                    <a:pt x="70" y="560"/>
                  </a:lnTo>
                  <a:lnTo>
                    <a:pt x="60" y="547"/>
                  </a:lnTo>
                  <a:lnTo>
                    <a:pt x="51" y="533"/>
                  </a:lnTo>
                  <a:lnTo>
                    <a:pt x="43" y="518"/>
                  </a:lnTo>
                  <a:lnTo>
                    <a:pt x="35" y="503"/>
                  </a:lnTo>
                  <a:lnTo>
                    <a:pt x="28" y="487"/>
                  </a:lnTo>
                  <a:lnTo>
                    <a:pt x="21" y="471"/>
                  </a:lnTo>
                  <a:lnTo>
                    <a:pt x="16" y="455"/>
                  </a:lnTo>
                  <a:lnTo>
                    <a:pt x="11" y="438"/>
                  </a:lnTo>
                  <a:lnTo>
                    <a:pt x="7" y="422"/>
                  </a:lnTo>
                  <a:lnTo>
                    <a:pt x="5" y="405"/>
                  </a:lnTo>
                  <a:lnTo>
                    <a:pt x="2" y="386"/>
                  </a:lnTo>
                  <a:lnTo>
                    <a:pt x="1" y="369"/>
                  </a:lnTo>
                  <a:lnTo>
                    <a:pt x="0" y="350"/>
                  </a:lnTo>
                  <a:lnTo>
                    <a:pt x="0" y="350"/>
                  </a:lnTo>
                  <a:lnTo>
                    <a:pt x="1" y="333"/>
                  </a:lnTo>
                  <a:lnTo>
                    <a:pt x="2" y="315"/>
                  </a:lnTo>
                  <a:lnTo>
                    <a:pt x="5" y="297"/>
                  </a:lnTo>
                  <a:lnTo>
                    <a:pt x="7" y="280"/>
                  </a:lnTo>
                  <a:lnTo>
                    <a:pt x="11" y="263"/>
                  </a:lnTo>
                  <a:lnTo>
                    <a:pt x="16" y="247"/>
                  </a:lnTo>
                  <a:lnTo>
                    <a:pt x="21" y="231"/>
                  </a:lnTo>
                  <a:lnTo>
                    <a:pt x="28" y="215"/>
                  </a:lnTo>
                  <a:lnTo>
                    <a:pt x="35" y="199"/>
                  </a:lnTo>
                  <a:lnTo>
                    <a:pt x="43" y="184"/>
                  </a:lnTo>
                  <a:lnTo>
                    <a:pt x="51" y="169"/>
                  </a:lnTo>
                  <a:lnTo>
                    <a:pt x="60" y="156"/>
                  </a:lnTo>
                  <a:lnTo>
                    <a:pt x="70" y="141"/>
                  </a:lnTo>
                  <a:lnTo>
                    <a:pt x="80" y="128"/>
                  </a:lnTo>
                  <a:lnTo>
                    <a:pt x="91" y="115"/>
                  </a:lnTo>
                  <a:lnTo>
                    <a:pt x="102" y="104"/>
                  </a:lnTo>
                  <a:lnTo>
                    <a:pt x="115" y="91"/>
                  </a:lnTo>
                  <a:lnTo>
                    <a:pt x="128" y="80"/>
                  </a:lnTo>
                  <a:lnTo>
                    <a:pt x="141" y="70"/>
                  </a:lnTo>
                  <a:lnTo>
                    <a:pt x="155" y="61"/>
                  </a:lnTo>
                  <a:lnTo>
                    <a:pt x="169" y="51"/>
                  </a:lnTo>
                  <a:lnTo>
                    <a:pt x="184" y="43"/>
                  </a:lnTo>
                  <a:lnTo>
                    <a:pt x="199" y="35"/>
                  </a:lnTo>
                  <a:lnTo>
                    <a:pt x="215" y="28"/>
                  </a:lnTo>
                  <a:lnTo>
                    <a:pt x="231" y="22"/>
                  </a:lnTo>
                  <a:lnTo>
                    <a:pt x="247" y="16"/>
                  </a:lnTo>
                  <a:lnTo>
                    <a:pt x="263" y="11"/>
                  </a:lnTo>
                  <a:lnTo>
                    <a:pt x="280" y="7"/>
                  </a:lnTo>
                  <a:lnTo>
                    <a:pt x="297" y="5"/>
                  </a:lnTo>
                  <a:lnTo>
                    <a:pt x="315" y="3"/>
                  </a:lnTo>
                  <a:lnTo>
                    <a:pt x="333" y="1"/>
                  </a:lnTo>
                  <a:lnTo>
                    <a:pt x="350" y="0"/>
                  </a:lnTo>
                  <a:lnTo>
                    <a:pt x="350" y="0"/>
                  </a:lnTo>
                  <a:lnTo>
                    <a:pt x="369" y="1"/>
                  </a:lnTo>
                  <a:lnTo>
                    <a:pt x="386" y="3"/>
                  </a:lnTo>
                  <a:lnTo>
                    <a:pt x="405" y="5"/>
                  </a:lnTo>
                  <a:lnTo>
                    <a:pt x="422" y="7"/>
                  </a:lnTo>
                  <a:lnTo>
                    <a:pt x="438" y="11"/>
                  </a:lnTo>
                  <a:lnTo>
                    <a:pt x="455" y="16"/>
                  </a:lnTo>
                  <a:lnTo>
                    <a:pt x="471" y="22"/>
                  </a:lnTo>
                  <a:lnTo>
                    <a:pt x="487" y="28"/>
                  </a:lnTo>
                  <a:lnTo>
                    <a:pt x="503" y="35"/>
                  </a:lnTo>
                  <a:lnTo>
                    <a:pt x="518" y="43"/>
                  </a:lnTo>
                  <a:lnTo>
                    <a:pt x="533" y="51"/>
                  </a:lnTo>
                  <a:lnTo>
                    <a:pt x="546" y="61"/>
                  </a:lnTo>
                  <a:lnTo>
                    <a:pt x="560" y="70"/>
                  </a:lnTo>
                  <a:lnTo>
                    <a:pt x="574" y="80"/>
                  </a:lnTo>
                  <a:lnTo>
                    <a:pt x="586" y="91"/>
                  </a:lnTo>
                  <a:lnTo>
                    <a:pt x="598" y="104"/>
                  </a:lnTo>
                  <a:lnTo>
                    <a:pt x="611" y="115"/>
                  </a:lnTo>
                  <a:lnTo>
                    <a:pt x="622" y="128"/>
                  </a:lnTo>
                  <a:lnTo>
                    <a:pt x="631" y="141"/>
                  </a:lnTo>
                  <a:lnTo>
                    <a:pt x="641" y="156"/>
                  </a:lnTo>
                  <a:lnTo>
                    <a:pt x="650" y="169"/>
                  </a:lnTo>
                  <a:lnTo>
                    <a:pt x="659" y="184"/>
                  </a:lnTo>
                  <a:lnTo>
                    <a:pt x="666" y="199"/>
                  </a:lnTo>
                  <a:lnTo>
                    <a:pt x="673" y="215"/>
                  </a:lnTo>
                  <a:lnTo>
                    <a:pt x="680" y="231"/>
                  </a:lnTo>
                  <a:lnTo>
                    <a:pt x="686" y="247"/>
                  </a:lnTo>
                  <a:lnTo>
                    <a:pt x="691" y="263"/>
                  </a:lnTo>
                  <a:lnTo>
                    <a:pt x="694" y="280"/>
                  </a:lnTo>
                  <a:lnTo>
                    <a:pt x="697" y="297"/>
                  </a:lnTo>
                  <a:lnTo>
                    <a:pt x="699" y="315"/>
                  </a:lnTo>
                  <a:lnTo>
                    <a:pt x="701" y="333"/>
                  </a:lnTo>
                  <a:lnTo>
                    <a:pt x="701" y="350"/>
                  </a:lnTo>
                  <a:lnTo>
                    <a:pt x="701" y="350"/>
                  </a:lnTo>
                  <a:lnTo>
                    <a:pt x="701" y="369"/>
                  </a:lnTo>
                  <a:lnTo>
                    <a:pt x="699" y="386"/>
                  </a:lnTo>
                  <a:lnTo>
                    <a:pt x="697" y="405"/>
                  </a:lnTo>
                  <a:lnTo>
                    <a:pt x="694" y="422"/>
                  </a:lnTo>
                  <a:lnTo>
                    <a:pt x="691" y="438"/>
                  </a:lnTo>
                  <a:lnTo>
                    <a:pt x="686" y="455"/>
                  </a:lnTo>
                  <a:lnTo>
                    <a:pt x="680" y="471"/>
                  </a:lnTo>
                  <a:lnTo>
                    <a:pt x="673" y="487"/>
                  </a:lnTo>
                  <a:lnTo>
                    <a:pt x="666" y="503"/>
                  </a:lnTo>
                  <a:lnTo>
                    <a:pt x="659" y="518"/>
                  </a:lnTo>
                  <a:lnTo>
                    <a:pt x="650" y="533"/>
                  </a:lnTo>
                  <a:lnTo>
                    <a:pt x="641" y="547"/>
                  </a:lnTo>
                  <a:lnTo>
                    <a:pt x="631" y="560"/>
                  </a:lnTo>
                  <a:lnTo>
                    <a:pt x="622" y="574"/>
                  </a:lnTo>
                  <a:lnTo>
                    <a:pt x="611" y="586"/>
                  </a:lnTo>
                  <a:lnTo>
                    <a:pt x="598" y="598"/>
                  </a:lnTo>
                  <a:lnTo>
                    <a:pt x="586" y="611"/>
                  </a:lnTo>
                  <a:lnTo>
                    <a:pt x="574" y="622"/>
                  </a:lnTo>
                  <a:lnTo>
                    <a:pt x="560" y="632"/>
                  </a:lnTo>
                  <a:lnTo>
                    <a:pt x="546" y="642"/>
                  </a:lnTo>
                  <a:lnTo>
                    <a:pt x="533" y="650"/>
                  </a:lnTo>
                  <a:lnTo>
                    <a:pt x="518" y="659"/>
                  </a:lnTo>
                  <a:lnTo>
                    <a:pt x="503" y="667"/>
                  </a:lnTo>
                  <a:lnTo>
                    <a:pt x="487" y="674"/>
                  </a:lnTo>
                  <a:lnTo>
                    <a:pt x="471" y="680"/>
                  </a:lnTo>
                  <a:lnTo>
                    <a:pt x="455" y="686"/>
                  </a:lnTo>
                  <a:lnTo>
                    <a:pt x="438" y="691"/>
                  </a:lnTo>
                  <a:lnTo>
                    <a:pt x="422" y="695"/>
                  </a:lnTo>
                  <a:lnTo>
                    <a:pt x="405" y="697"/>
                  </a:lnTo>
                  <a:lnTo>
                    <a:pt x="386" y="700"/>
                  </a:lnTo>
                  <a:lnTo>
                    <a:pt x="369" y="701"/>
                  </a:lnTo>
                  <a:lnTo>
                    <a:pt x="350" y="702"/>
                  </a:lnTo>
                  <a:lnTo>
                    <a:pt x="350" y="702"/>
                  </a:lnTo>
                  <a:close/>
                </a:path>
              </a:pathLst>
            </a:custGeom>
            <a:solidFill>
              <a:srgbClr val="48369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4" name="Freeform 252">
              <a:extLst>
                <a:ext uri="{FF2B5EF4-FFF2-40B4-BE49-F238E27FC236}">
                  <a16:creationId xmlns:a16="http://schemas.microsoft.com/office/drawing/2014/main" id="{2EDA4A66-1811-C470-DDBD-2B0A3D09D89D}"/>
                </a:ext>
              </a:extLst>
            </p:cNvPr>
            <p:cNvSpPr>
              <a:spLocks/>
            </p:cNvSpPr>
            <p:nvPr/>
          </p:nvSpPr>
          <p:spPr bwMode="auto">
            <a:xfrm>
              <a:off x="7319228" y="3223990"/>
              <a:ext cx="484292" cy="370901"/>
            </a:xfrm>
            <a:custGeom>
              <a:avLst/>
              <a:gdLst>
                <a:gd name="T0" fmla="*/ 14 w 328"/>
                <a:gd name="T1" fmla="*/ 275 h 275"/>
                <a:gd name="T2" fmla="*/ 14 w 328"/>
                <a:gd name="T3" fmla="*/ 275 h 275"/>
                <a:gd name="T4" fmla="*/ 8 w 328"/>
                <a:gd name="T5" fmla="*/ 274 h 275"/>
                <a:gd name="T6" fmla="*/ 5 w 328"/>
                <a:gd name="T7" fmla="*/ 272 h 275"/>
                <a:gd name="T8" fmla="*/ 1 w 328"/>
                <a:gd name="T9" fmla="*/ 267 h 275"/>
                <a:gd name="T10" fmla="*/ 0 w 328"/>
                <a:gd name="T11" fmla="*/ 262 h 275"/>
                <a:gd name="T12" fmla="*/ 0 w 328"/>
                <a:gd name="T13" fmla="*/ 14 h 275"/>
                <a:gd name="T14" fmla="*/ 0 w 328"/>
                <a:gd name="T15" fmla="*/ 14 h 275"/>
                <a:gd name="T16" fmla="*/ 1 w 328"/>
                <a:gd name="T17" fmla="*/ 9 h 275"/>
                <a:gd name="T18" fmla="*/ 5 w 328"/>
                <a:gd name="T19" fmla="*/ 4 h 275"/>
                <a:gd name="T20" fmla="*/ 8 w 328"/>
                <a:gd name="T21" fmla="*/ 1 h 275"/>
                <a:gd name="T22" fmla="*/ 14 w 328"/>
                <a:gd name="T23" fmla="*/ 0 h 275"/>
                <a:gd name="T24" fmla="*/ 313 w 328"/>
                <a:gd name="T25" fmla="*/ 0 h 275"/>
                <a:gd name="T26" fmla="*/ 313 w 328"/>
                <a:gd name="T27" fmla="*/ 0 h 275"/>
                <a:gd name="T28" fmla="*/ 319 w 328"/>
                <a:gd name="T29" fmla="*/ 1 h 275"/>
                <a:gd name="T30" fmla="*/ 323 w 328"/>
                <a:gd name="T31" fmla="*/ 4 h 275"/>
                <a:gd name="T32" fmla="*/ 326 w 328"/>
                <a:gd name="T33" fmla="*/ 9 h 275"/>
                <a:gd name="T34" fmla="*/ 328 w 328"/>
                <a:gd name="T35" fmla="*/ 14 h 275"/>
                <a:gd name="T36" fmla="*/ 328 w 328"/>
                <a:gd name="T37" fmla="*/ 262 h 275"/>
                <a:gd name="T38" fmla="*/ 328 w 328"/>
                <a:gd name="T39" fmla="*/ 262 h 275"/>
                <a:gd name="T40" fmla="*/ 326 w 328"/>
                <a:gd name="T41" fmla="*/ 267 h 275"/>
                <a:gd name="T42" fmla="*/ 323 w 328"/>
                <a:gd name="T43" fmla="*/ 272 h 275"/>
                <a:gd name="T44" fmla="*/ 319 w 328"/>
                <a:gd name="T45" fmla="*/ 274 h 275"/>
                <a:gd name="T46" fmla="*/ 313 w 328"/>
                <a:gd name="T47" fmla="*/ 275 h 275"/>
                <a:gd name="T48" fmla="*/ 14 w 328"/>
                <a:gd name="T49" fmla="*/ 27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8" h="275">
                  <a:moveTo>
                    <a:pt x="14" y="275"/>
                  </a:moveTo>
                  <a:lnTo>
                    <a:pt x="14" y="275"/>
                  </a:lnTo>
                  <a:lnTo>
                    <a:pt x="8" y="274"/>
                  </a:lnTo>
                  <a:lnTo>
                    <a:pt x="5" y="272"/>
                  </a:lnTo>
                  <a:lnTo>
                    <a:pt x="1" y="267"/>
                  </a:lnTo>
                  <a:lnTo>
                    <a:pt x="0" y="262"/>
                  </a:lnTo>
                  <a:lnTo>
                    <a:pt x="0" y="14"/>
                  </a:lnTo>
                  <a:lnTo>
                    <a:pt x="0" y="14"/>
                  </a:lnTo>
                  <a:lnTo>
                    <a:pt x="1" y="9"/>
                  </a:lnTo>
                  <a:lnTo>
                    <a:pt x="5" y="4"/>
                  </a:lnTo>
                  <a:lnTo>
                    <a:pt x="8" y="1"/>
                  </a:lnTo>
                  <a:lnTo>
                    <a:pt x="14" y="0"/>
                  </a:lnTo>
                  <a:lnTo>
                    <a:pt x="313" y="0"/>
                  </a:lnTo>
                  <a:lnTo>
                    <a:pt x="313" y="0"/>
                  </a:lnTo>
                  <a:lnTo>
                    <a:pt x="319" y="1"/>
                  </a:lnTo>
                  <a:lnTo>
                    <a:pt x="323" y="4"/>
                  </a:lnTo>
                  <a:lnTo>
                    <a:pt x="326" y="9"/>
                  </a:lnTo>
                  <a:lnTo>
                    <a:pt x="328" y="14"/>
                  </a:lnTo>
                  <a:lnTo>
                    <a:pt x="328" y="262"/>
                  </a:lnTo>
                  <a:lnTo>
                    <a:pt x="328" y="262"/>
                  </a:lnTo>
                  <a:lnTo>
                    <a:pt x="326" y="267"/>
                  </a:lnTo>
                  <a:lnTo>
                    <a:pt x="323" y="272"/>
                  </a:lnTo>
                  <a:lnTo>
                    <a:pt x="319" y="274"/>
                  </a:lnTo>
                  <a:lnTo>
                    <a:pt x="313" y="275"/>
                  </a:lnTo>
                  <a:lnTo>
                    <a:pt x="14" y="2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5" name="Freeform 253">
              <a:extLst>
                <a:ext uri="{FF2B5EF4-FFF2-40B4-BE49-F238E27FC236}">
                  <a16:creationId xmlns:a16="http://schemas.microsoft.com/office/drawing/2014/main" id="{545F975C-EE1F-2C54-B841-C371A1887B14}"/>
                </a:ext>
              </a:extLst>
            </p:cNvPr>
            <p:cNvSpPr>
              <a:spLocks noEditPoints="1"/>
            </p:cNvSpPr>
            <p:nvPr/>
          </p:nvSpPr>
          <p:spPr bwMode="auto">
            <a:xfrm>
              <a:off x="7316275" y="3221293"/>
              <a:ext cx="488722" cy="377645"/>
            </a:xfrm>
            <a:custGeom>
              <a:avLst/>
              <a:gdLst>
                <a:gd name="T0" fmla="*/ 315 w 331"/>
                <a:gd name="T1" fmla="*/ 3 h 280"/>
                <a:gd name="T2" fmla="*/ 315 w 331"/>
                <a:gd name="T3" fmla="*/ 3 h 280"/>
                <a:gd name="T4" fmla="*/ 320 w 331"/>
                <a:gd name="T5" fmla="*/ 5 h 280"/>
                <a:gd name="T6" fmla="*/ 324 w 331"/>
                <a:gd name="T7" fmla="*/ 7 h 280"/>
                <a:gd name="T8" fmla="*/ 327 w 331"/>
                <a:gd name="T9" fmla="*/ 11 h 280"/>
                <a:gd name="T10" fmla="*/ 327 w 331"/>
                <a:gd name="T11" fmla="*/ 16 h 280"/>
                <a:gd name="T12" fmla="*/ 327 w 331"/>
                <a:gd name="T13" fmla="*/ 264 h 280"/>
                <a:gd name="T14" fmla="*/ 327 w 331"/>
                <a:gd name="T15" fmla="*/ 264 h 280"/>
                <a:gd name="T16" fmla="*/ 327 w 331"/>
                <a:gd name="T17" fmla="*/ 269 h 280"/>
                <a:gd name="T18" fmla="*/ 324 w 331"/>
                <a:gd name="T19" fmla="*/ 272 h 280"/>
                <a:gd name="T20" fmla="*/ 320 w 331"/>
                <a:gd name="T21" fmla="*/ 275 h 280"/>
                <a:gd name="T22" fmla="*/ 315 w 331"/>
                <a:gd name="T23" fmla="*/ 276 h 280"/>
                <a:gd name="T24" fmla="*/ 16 w 331"/>
                <a:gd name="T25" fmla="*/ 276 h 280"/>
                <a:gd name="T26" fmla="*/ 16 w 331"/>
                <a:gd name="T27" fmla="*/ 276 h 280"/>
                <a:gd name="T28" fmla="*/ 12 w 331"/>
                <a:gd name="T29" fmla="*/ 275 h 280"/>
                <a:gd name="T30" fmla="*/ 8 w 331"/>
                <a:gd name="T31" fmla="*/ 272 h 280"/>
                <a:gd name="T32" fmla="*/ 5 w 331"/>
                <a:gd name="T33" fmla="*/ 269 h 280"/>
                <a:gd name="T34" fmla="*/ 4 w 331"/>
                <a:gd name="T35" fmla="*/ 264 h 280"/>
                <a:gd name="T36" fmla="*/ 4 w 331"/>
                <a:gd name="T37" fmla="*/ 16 h 280"/>
                <a:gd name="T38" fmla="*/ 4 w 331"/>
                <a:gd name="T39" fmla="*/ 16 h 280"/>
                <a:gd name="T40" fmla="*/ 5 w 331"/>
                <a:gd name="T41" fmla="*/ 11 h 280"/>
                <a:gd name="T42" fmla="*/ 8 w 331"/>
                <a:gd name="T43" fmla="*/ 7 h 280"/>
                <a:gd name="T44" fmla="*/ 12 w 331"/>
                <a:gd name="T45" fmla="*/ 5 h 280"/>
                <a:gd name="T46" fmla="*/ 16 w 331"/>
                <a:gd name="T47" fmla="*/ 3 h 280"/>
                <a:gd name="T48" fmla="*/ 315 w 331"/>
                <a:gd name="T49" fmla="*/ 3 h 280"/>
                <a:gd name="T50" fmla="*/ 315 w 331"/>
                <a:gd name="T51" fmla="*/ 0 h 280"/>
                <a:gd name="T52" fmla="*/ 16 w 331"/>
                <a:gd name="T53" fmla="*/ 0 h 280"/>
                <a:gd name="T54" fmla="*/ 16 w 331"/>
                <a:gd name="T55" fmla="*/ 0 h 280"/>
                <a:gd name="T56" fmla="*/ 10 w 331"/>
                <a:gd name="T57" fmla="*/ 1 h 280"/>
                <a:gd name="T58" fmla="*/ 5 w 331"/>
                <a:gd name="T59" fmla="*/ 5 h 280"/>
                <a:gd name="T60" fmla="*/ 2 w 331"/>
                <a:gd name="T61" fmla="*/ 10 h 280"/>
                <a:gd name="T62" fmla="*/ 0 w 331"/>
                <a:gd name="T63" fmla="*/ 16 h 280"/>
                <a:gd name="T64" fmla="*/ 0 w 331"/>
                <a:gd name="T65" fmla="*/ 264 h 280"/>
                <a:gd name="T66" fmla="*/ 0 w 331"/>
                <a:gd name="T67" fmla="*/ 264 h 280"/>
                <a:gd name="T68" fmla="*/ 2 w 331"/>
                <a:gd name="T69" fmla="*/ 270 h 280"/>
                <a:gd name="T70" fmla="*/ 5 w 331"/>
                <a:gd name="T71" fmla="*/ 275 h 280"/>
                <a:gd name="T72" fmla="*/ 10 w 331"/>
                <a:gd name="T73" fmla="*/ 278 h 280"/>
                <a:gd name="T74" fmla="*/ 16 w 331"/>
                <a:gd name="T75" fmla="*/ 280 h 280"/>
                <a:gd name="T76" fmla="*/ 315 w 331"/>
                <a:gd name="T77" fmla="*/ 280 h 280"/>
                <a:gd name="T78" fmla="*/ 315 w 331"/>
                <a:gd name="T79" fmla="*/ 280 h 280"/>
                <a:gd name="T80" fmla="*/ 321 w 331"/>
                <a:gd name="T81" fmla="*/ 278 h 280"/>
                <a:gd name="T82" fmla="*/ 326 w 331"/>
                <a:gd name="T83" fmla="*/ 275 h 280"/>
                <a:gd name="T84" fmla="*/ 330 w 331"/>
                <a:gd name="T85" fmla="*/ 270 h 280"/>
                <a:gd name="T86" fmla="*/ 331 w 331"/>
                <a:gd name="T87" fmla="*/ 264 h 280"/>
                <a:gd name="T88" fmla="*/ 331 w 331"/>
                <a:gd name="T89" fmla="*/ 16 h 280"/>
                <a:gd name="T90" fmla="*/ 331 w 331"/>
                <a:gd name="T91" fmla="*/ 16 h 280"/>
                <a:gd name="T92" fmla="*/ 330 w 331"/>
                <a:gd name="T93" fmla="*/ 10 h 280"/>
                <a:gd name="T94" fmla="*/ 326 w 331"/>
                <a:gd name="T95" fmla="*/ 5 h 280"/>
                <a:gd name="T96" fmla="*/ 321 w 331"/>
                <a:gd name="T97" fmla="*/ 1 h 280"/>
                <a:gd name="T98" fmla="*/ 315 w 331"/>
                <a:gd name="T99" fmla="*/ 0 h 280"/>
                <a:gd name="T100" fmla="*/ 315 w 331"/>
                <a:gd name="T101"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1" h="280">
                  <a:moveTo>
                    <a:pt x="315" y="3"/>
                  </a:moveTo>
                  <a:lnTo>
                    <a:pt x="315" y="3"/>
                  </a:lnTo>
                  <a:lnTo>
                    <a:pt x="320" y="5"/>
                  </a:lnTo>
                  <a:lnTo>
                    <a:pt x="324" y="7"/>
                  </a:lnTo>
                  <a:lnTo>
                    <a:pt x="327" y="11"/>
                  </a:lnTo>
                  <a:lnTo>
                    <a:pt x="327" y="16"/>
                  </a:lnTo>
                  <a:lnTo>
                    <a:pt x="327" y="264"/>
                  </a:lnTo>
                  <a:lnTo>
                    <a:pt x="327" y="264"/>
                  </a:lnTo>
                  <a:lnTo>
                    <a:pt x="327" y="269"/>
                  </a:lnTo>
                  <a:lnTo>
                    <a:pt x="324" y="272"/>
                  </a:lnTo>
                  <a:lnTo>
                    <a:pt x="320" y="275"/>
                  </a:lnTo>
                  <a:lnTo>
                    <a:pt x="315" y="276"/>
                  </a:lnTo>
                  <a:lnTo>
                    <a:pt x="16" y="276"/>
                  </a:lnTo>
                  <a:lnTo>
                    <a:pt x="16" y="276"/>
                  </a:lnTo>
                  <a:lnTo>
                    <a:pt x="12" y="275"/>
                  </a:lnTo>
                  <a:lnTo>
                    <a:pt x="8" y="272"/>
                  </a:lnTo>
                  <a:lnTo>
                    <a:pt x="5" y="269"/>
                  </a:lnTo>
                  <a:lnTo>
                    <a:pt x="4" y="264"/>
                  </a:lnTo>
                  <a:lnTo>
                    <a:pt x="4" y="16"/>
                  </a:lnTo>
                  <a:lnTo>
                    <a:pt x="4" y="16"/>
                  </a:lnTo>
                  <a:lnTo>
                    <a:pt x="5" y="11"/>
                  </a:lnTo>
                  <a:lnTo>
                    <a:pt x="8" y="7"/>
                  </a:lnTo>
                  <a:lnTo>
                    <a:pt x="12" y="5"/>
                  </a:lnTo>
                  <a:lnTo>
                    <a:pt x="16" y="3"/>
                  </a:lnTo>
                  <a:lnTo>
                    <a:pt x="315" y="3"/>
                  </a:lnTo>
                  <a:close/>
                  <a:moveTo>
                    <a:pt x="315" y="0"/>
                  </a:moveTo>
                  <a:lnTo>
                    <a:pt x="16" y="0"/>
                  </a:lnTo>
                  <a:lnTo>
                    <a:pt x="16" y="0"/>
                  </a:lnTo>
                  <a:lnTo>
                    <a:pt x="10" y="1"/>
                  </a:lnTo>
                  <a:lnTo>
                    <a:pt x="5" y="5"/>
                  </a:lnTo>
                  <a:lnTo>
                    <a:pt x="2" y="10"/>
                  </a:lnTo>
                  <a:lnTo>
                    <a:pt x="0" y="16"/>
                  </a:lnTo>
                  <a:lnTo>
                    <a:pt x="0" y="264"/>
                  </a:lnTo>
                  <a:lnTo>
                    <a:pt x="0" y="264"/>
                  </a:lnTo>
                  <a:lnTo>
                    <a:pt x="2" y="270"/>
                  </a:lnTo>
                  <a:lnTo>
                    <a:pt x="5" y="275"/>
                  </a:lnTo>
                  <a:lnTo>
                    <a:pt x="10" y="278"/>
                  </a:lnTo>
                  <a:lnTo>
                    <a:pt x="16" y="280"/>
                  </a:lnTo>
                  <a:lnTo>
                    <a:pt x="315" y="280"/>
                  </a:lnTo>
                  <a:lnTo>
                    <a:pt x="315" y="280"/>
                  </a:lnTo>
                  <a:lnTo>
                    <a:pt x="321" y="278"/>
                  </a:lnTo>
                  <a:lnTo>
                    <a:pt x="326" y="275"/>
                  </a:lnTo>
                  <a:lnTo>
                    <a:pt x="330" y="270"/>
                  </a:lnTo>
                  <a:lnTo>
                    <a:pt x="331" y="264"/>
                  </a:lnTo>
                  <a:lnTo>
                    <a:pt x="331" y="16"/>
                  </a:lnTo>
                  <a:lnTo>
                    <a:pt x="331" y="16"/>
                  </a:lnTo>
                  <a:lnTo>
                    <a:pt x="330" y="10"/>
                  </a:lnTo>
                  <a:lnTo>
                    <a:pt x="326" y="5"/>
                  </a:lnTo>
                  <a:lnTo>
                    <a:pt x="321" y="1"/>
                  </a:lnTo>
                  <a:lnTo>
                    <a:pt x="315" y="0"/>
                  </a:lnTo>
                  <a:lnTo>
                    <a:pt x="315" y="0"/>
                  </a:lnTo>
                  <a:close/>
                </a:path>
              </a:pathLst>
            </a:custGeom>
            <a:solidFill>
              <a:srgbClr val="8FC4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6" name="Freeform 254">
              <a:extLst>
                <a:ext uri="{FF2B5EF4-FFF2-40B4-BE49-F238E27FC236}">
                  <a16:creationId xmlns:a16="http://schemas.microsoft.com/office/drawing/2014/main" id="{C51F8C8B-F5CE-1D13-D78C-F734C1E5802E}"/>
                </a:ext>
              </a:extLst>
            </p:cNvPr>
            <p:cNvSpPr>
              <a:spLocks/>
            </p:cNvSpPr>
            <p:nvPr/>
          </p:nvSpPr>
          <p:spPr bwMode="auto">
            <a:xfrm>
              <a:off x="7322181" y="3225339"/>
              <a:ext cx="476910" cy="368204"/>
            </a:xfrm>
            <a:custGeom>
              <a:avLst/>
              <a:gdLst>
                <a:gd name="T0" fmla="*/ 311 w 323"/>
                <a:gd name="T1" fmla="*/ 0 h 273"/>
                <a:gd name="T2" fmla="*/ 311 w 323"/>
                <a:gd name="T3" fmla="*/ 0 h 273"/>
                <a:gd name="T4" fmla="*/ 316 w 323"/>
                <a:gd name="T5" fmla="*/ 2 h 273"/>
                <a:gd name="T6" fmla="*/ 320 w 323"/>
                <a:gd name="T7" fmla="*/ 4 h 273"/>
                <a:gd name="T8" fmla="*/ 323 w 323"/>
                <a:gd name="T9" fmla="*/ 8 h 273"/>
                <a:gd name="T10" fmla="*/ 323 w 323"/>
                <a:gd name="T11" fmla="*/ 13 h 273"/>
                <a:gd name="T12" fmla="*/ 323 w 323"/>
                <a:gd name="T13" fmla="*/ 261 h 273"/>
                <a:gd name="T14" fmla="*/ 323 w 323"/>
                <a:gd name="T15" fmla="*/ 261 h 273"/>
                <a:gd name="T16" fmla="*/ 323 w 323"/>
                <a:gd name="T17" fmla="*/ 266 h 273"/>
                <a:gd name="T18" fmla="*/ 320 w 323"/>
                <a:gd name="T19" fmla="*/ 269 h 273"/>
                <a:gd name="T20" fmla="*/ 316 w 323"/>
                <a:gd name="T21" fmla="*/ 272 h 273"/>
                <a:gd name="T22" fmla="*/ 311 w 323"/>
                <a:gd name="T23" fmla="*/ 273 h 273"/>
                <a:gd name="T24" fmla="*/ 12 w 323"/>
                <a:gd name="T25" fmla="*/ 273 h 273"/>
                <a:gd name="T26" fmla="*/ 12 w 323"/>
                <a:gd name="T27" fmla="*/ 273 h 273"/>
                <a:gd name="T28" fmla="*/ 8 w 323"/>
                <a:gd name="T29" fmla="*/ 272 h 273"/>
                <a:gd name="T30" fmla="*/ 4 w 323"/>
                <a:gd name="T31" fmla="*/ 269 h 273"/>
                <a:gd name="T32" fmla="*/ 1 w 323"/>
                <a:gd name="T33" fmla="*/ 266 h 273"/>
                <a:gd name="T34" fmla="*/ 0 w 323"/>
                <a:gd name="T35" fmla="*/ 261 h 273"/>
                <a:gd name="T36" fmla="*/ 0 w 323"/>
                <a:gd name="T37" fmla="*/ 13 h 273"/>
                <a:gd name="T38" fmla="*/ 0 w 323"/>
                <a:gd name="T39" fmla="*/ 13 h 273"/>
                <a:gd name="T40" fmla="*/ 1 w 323"/>
                <a:gd name="T41" fmla="*/ 8 h 273"/>
                <a:gd name="T42" fmla="*/ 4 w 323"/>
                <a:gd name="T43" fmla="*/ 4 h 273"/>
                <a:gd name="T44" fmla="*/ 8 w 323"/>
                <a:gd name="T45" fmla="*/ 2 h 273"/>
                <a:gd name="T46" fmla="*/ 12 w 323"/>
                <a:gd name="T47" fmla="*/ 0 h 273"/>
                <a:gd name="T48" fmla="*/ 311 w 323"/>
                <a:gd name="T49"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3" h="273">
                  <a:moveTo>
                    <a:pt x="311" y="0"/>
                  </a:moveTo>
                  <a:lnTo>
                    <a:pt x="311" y="0"/>
                  </a:lnTo>
                  <a:lnTo>
                    <a:pt x="316" y="2"/>
                  </a:lnTo>
                  <a:lnTo>
                    <a:pt x="320" y="4"/>
                  </a:lnTo>
                  <a:lnTo>
                    <a:pt x="323" y="8"/>
                  </a:lnTo>
                  <a:lnTo>
                    <a:pt x="323" y="13"/>
                  </a:lnTo>
                  <a:lnTo>
                    <a:pt x="323" y="261"/>
                  </a:lnTo>
                  <a:lnTo>
                    <a:pt x="323" y="261"/>
                  </a:lnTo>
                  <a:lnTo>
                    <a:pt x="323" y="266"/>
                  </a:lnTo>
                  <a:lnTo>
                    <a:pt x="320" y="269"/>
                  </a:lnTo>
                  <a:lnTo>
                    <a:pt x="316" y="272"/>
                  </a:lnTo>
                  <a:lnTo>
                    <a:pt x="311" y="273"/>
                  </a:lnTo>
                  <a:lnTo>
                    <a:pt x="12" y="273"/>
                  </a:lnTo>
                  <a:lnTo>
                    <a:pt x="12" y="273"/>
                  </a:lnTo>
                  <a:lnTo>
                    <a:pt x="8" y="272"/>
                  </a:lnTo>
                  <a:lnTo>
                    <a:pt x="4" y="269"/>
                  </a:lnTo>
                  <a:lnTo>
                    <a:pt x="1" y="266"/>
                  </a:lnTo>
                  <a:lnTo>
                    <a:pt x="0" y="261"/>
                  </a:lnTo>
                  <a:lnTo>
                    <a:pt x="0" y="13"/>
                  </a:lnTo>
                  <a:lnTo>
                    <a:pt x="0" y="13"/>
                  </a:lnTo>
                  <a:lnTo>
                    <a:pt x="1" y="8"/>
                  </a:lnTo>
                  <a:lnTo>
                    <a:pt x="4" y="4"/>
                  </a:lnTo>
                  <a:lnTo>
                    <a:pt x="8" y="2"/>
                  </a:lnTo>
                  <a:lnTo>
                    <a:pt x="12" y="0"/>
                  </a:lnTo>
                  <a:lnTo>
                    <a:pt x="3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7" name="Freeform 255">
              <a:extLst>
                <a:ext uri="{FF2B5EF4-FFF2-40B4-BE49-F238E27FC236}">
                  <a16:creationId xmlns:a16="http://schemas.microsoft.com/office/drawing/2014/main" id="{3A9743F8-C682-FA5A-980F-B08F3E776EDC}"/>
                </a:ext>
              </a:extLst>
            </p:cNvPr>
            <p:cNvSpPr>
              <a:spLocks/>
            </p:cNvSpPr>
            <p:nvPr/>
          </p:nvSpPr>
          <p:spPr bwMode="auto">
            <a:xfrm>
              <a:off x="7316275" y="3221293"/>
              <a:ext cx="488722" cy="377645"/>
            </a:xfrm>
            <a:custGeom>
              <a:avLst/>
              <a:gdLst>
                <a:gd name="T0" fmla="*/ 315 w 331"/>
                <a:gd name="T1" fmla="*/ 0 h 280"/>
                <a:gd name="T2" fmla="*/ 16 w 331"/>
                <a:gd name="T3" fmla="*/ 0 h 280"/>
                <a:gd name="T4" fmla="*/ 16 w 331"/>
                <a:gd name="T5" fmla="*/ 0 h 280"/>
                <a:gd name="T6" fmla="*/ 10 w 331"/>
                <a:gd name="T7" fmla="*/ 1 h 280"/>
                <a:gd name="T8" fmla="*/ 5 w 331"/>
                <a:gd name="T9" fmla="*/ 5 h 280"/>
                <a:gd name="T10" fmla="*/ 2 w 331"/>
                <a:gd name="T11" fmla="*/ 10 h 280"/>
                <a:gd name="T12" fmla="*/ 0 w 331"/>
                <a:gd name="T13" fmla="*/ 16 h 280"/>
                <a:gd name="T14" fmla="*/ 0 w 331"/>
                <a:gd name="T15" fmla="*/ 264 h 280"/>
                <a:gd name="T16" fmla="*/ 0 w 331"/>
                <a:gd name="T17" fmla="*/ 264 h 280"/>
                <a:gd name="T18" fmla="*/ 2 w 331"/>
                <a:gd name="T19" fmla="*/ 270 h 280"/>
                <a:gd name="T20" fmla="*/ 5 w 331"/>
                <a:gd name="T21" fmla="*/ 275 h 280"/>
                <a:gd name="T22" fmla="*/ 10 w 331"/>
                <a:gd name="T23" fmla="*/ 278 h 280"/>
                <a:gd name="T24" fmla="*/ 16 w 331"/>
                <a:gd name="T25" fmla="*/ 280 h 280"/>
                <a:gd name="T26" fmla="*/ 315 w 331"/>
                <a:gd name="T27" fmla="*/ 280 h 280"/>
                <a:gd name="T28" fmla="*/ 315 w 331"/>
                <a:gd name="T29" fmla="*/ 280 h 280"/>
                <a:gd name="T30" fmla="*/ 321 w 331"/>
                <a:gd name="T31" fmla="*/ 278 h 280"/>
                <a:gd name="T32" fmla="*/ 326 w 331"/>
                <a:gd name="T33" fmla="*/ 275 h 280"/>
                <a:gd name="T34" fmla="*/ 330 w 331"/>
                <a:gd name="T35" fmla="*/ 270 h 280"/>
                <a:gd name="T36" fmla="*/ 331 w 331"/>
                <a:gd name="T37" fmla="*/ 264 h 280"/>
                <a:gd name="T38" fmla="*/ 331 w 331"/>
                <a:gd name="T39" fmla="*/ 16 h 280"/>
                <a:gd name="T40" fmla="*/ 331 w 331"/>
                <a:gd name="T41" fmla="*/ 16 h 280"/>
                <a:gd name="T42" fmla="*/ 330 w 331"/>
                <a:gd name="T43" fmla="*/ 10 h 280"/>
                <a:gd name="T44" fmla="*/ 326 w 331"/>
                <a:gd name="T45" fmla="*/ 5 h 280"/>
                <a:gd name="T46" fmla="*/ 321 w 331"/>
                <a:gd name="T47" fmla="*/ 1 h 280"/>
                <a:gd name="T48" fmla="*/ 315 w 331"/>
                <a:gd name="T49" fmla="*/ 0 h 280"/>
                <a:gd name="T50" fmla="*/ 315 w 331"/>
                <a:gd name="T51"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1" h="280">
                  <a:moveTo>
                    <a:pt x="315" y="0"/>
                  </a:moveTo>
                  <a:lnTo>
                    <a:pt x="16" y="0"/>
                  </a:lnTo>
                  <a:lnTo>
                    <a:pt x="16" y="0"/>
                  </a:lnTo>
                  <a:lnTo>
                    <a:pt x="10" y="1"/>
                  </a:lnTo>
                  <a:lnTo>
                    <a:pt x="5" y="5"/>
                  </a:lnTo>
                  <a:lnTo>
                    <a:pt x="2" y="10"/>
                  </a:lnTo>
                  <a:lnTo>
                    <a:pt x="0" y="16"/>
                  </a:lnTo>
                  <a:lnTo>
                    <a:pt x="0" y="264"/>
                  </a:lnTo>
                  <a:lnTo>
                    <a:pt x="0" y="264"/>
                  </a:lnTo>
                  <a:lnTo>
                    <a:pt x="2" y="270"/>
                  </a:lnTo>
                  <a:lnTo>
                    <a:pt x="5" y="275"/>
                  </a:lnTo>
                  <a:lnTo>
                    <a:pt x="10" y="278"/>
                  </a:lnTo>
                  <a:lnTo>
                    <a:pt x="16" y="280"/>
                  </a:lnTo>
                  <a:lnTo>
                    <a:pt x="315" y="280"/>
                  </a:lnTo>
                  <a:lnTo>
                    <a:pt x="315" y="280"/>
                  </a:lnTo>
                  <a:lnTo>
                    <a:pt x="321" y="278"/>
                  </a:lnTo>
                  <a:lnTo>
                    <a:pt x="326" y="275"/>
                  </a:lnTo>
                  <a:lnTo>
                    <a:pt x="330" y="270"/>
                  </a:lnTo>
                  <a:lnTo>
                    <a:pt x="331" y="264"/>
                  </a:lnTo>
                  <a:lnTo>
                    <a:pt x="331" y="16"/>
                  </a:lnTo>
                  <a:lnTo>
                    <a:pt x="331" y="16"/>
                  </a:lnTo>
                  <a:lnTo>
                    <a:pt x="330" y="10"/>
                  </a:lnTo>
                  <a:lnTo>
                    <a:pt x="326" y="5"/>
                  </a:lnTo>
                  <a:lnTo>
                    <a:pt x="321" y="1"/>
                  </a:lnTo>
                  <a:lnTo>
                    <a:pt x="315" y="0"/>
                  </a:lnTo>
                  <a:lnTo>
                    <a:pt x="3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8" name="Freeform 256">
              <a:extLst>
                <a:ext uri="{FF2B5EF4-FFF2-40B4-BE49-F238E27FC236}">
                  <a16:creationId xmlns:a16="http://schemas.microsoft.com/office/drawing/2014/main" id="{14E79A11-601C-6043-0604-58135D4D8746}"/>
                </a:ext>
              </a:extLst>
            </p:cNvPr>
            <p:cNvSpPr>
              <a:spLocks/>
            </p:cNvSpPr>
            <p:nvPr/>
          </p:nvSpPr>
          <p:spPr bwMode="auto">
            <a:xfrm>
              <a:off x="7316275" y="3221293"/>
              <a:ext cx="488722" cy="60693"/>
            </a:xfrm>
            <a:custGeom>
              <a:avLst/>
              <a:gdLst>
                <a:gd name="T0" fmla="*/ 315 w 331"/>
                <a:gd name="T1" fmla="*/ 0 h 45"/>
                <a:gd name="T2" fmla="*/ 16 w 331"/>
                <a:gd name="T3" fmla="*/ 0 h 45"/>
                <a:gd name="T4" fmla="*/ 16 w 331"/>
                <a:gd name="T5" fmla="*/ 0 h 45"/>
                <a:gd name="T6" fmla="*/ 10 w 331"/>
                <a:gd name="T7" fmla="*/ 1 h 45"/>
                <a:gd name="T8" fmla="*/ 5 w 331"/>
                <a:gd name="T9" fmla="*/ 5 h 45"/>
                <a:gd name="T10" fmla="*/ 2 w 331"/>
                <a:gd name="T11" fmla="*/ 10 h 45"/>
                <a:gd name="T12" fmla="*/ 0 w 331"/>
                <a:gd name="T13" fmla="*/ 16 h 45"/>
                <a:gd name="T14" fmla="*/ 0 w 331"/>
                <a:gd name="T15" fmla="*/ 45 h 45"/>
                <a:gd name="T16" fmla="*/ 331 w 331"/>
                <a:gd name="T17" fmla="*/ 45 h 45"/>
                <a:gd name="T18" fmla="*/ 331 w 331"/>
                <a:gd name="T19" fmla="*/ 16 h 45"/>
                <a:gd name="T20" fmla="*/ 331 w 331"/>
                <a:gd name="T21" fmla="*/ 16 h 45"/>
                <a:gd name="T22" fmla="*/ 330 w 331"/>
                <a:gd name="T23" fmla="*/ 10 h 45"/>
                <a:gd name="T24" fmla="*/ 326 w 331"/>
                <a:gd name="T25" fmla="*/ 5 h 45"/>
                <a:gd name="T26" fmla="*/ 321 w 331"/>
                <a:gd name="T27" fmla="*/ 1 h 45"/>
                <a:gd name="T28" fmla="*/ 315 w 331"/>
                <a:gd name="T29" fmla="*/ 0 h 45"/>
                <a:gd name="T30" fmla="*/ 315 w 331"/>
                <a:gd name="T3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1" h="45">
                  <a:moveTo>
                    <a:pt x="315" y="0"/>
                  </a:moveTo>
                  <a:lnTo>
                    <a:pt x="16" y="0"/>
                  </a:lnTo>
                  <a:lnTo>
                    <a:pt x="16" y="0"/>
                  </a:lnTo>
                  <a:lnTo>
                    <a:pt x="10" y="1"/>
                  </a:lnTo>
                  <a:lnTo>
                    <a:pt x="5" y="5"/>
                  </a:lnTo>
                  <a:lnTo>
                    <a:pt x="2" y="10"/>
                  </a:lnTo>
                  <a:lnTo>
                    <a:pt x="0" y="16"/>
                  </a:lnTo>
                  <a:lnTo>
                    <a:pt x="0" y="45"/>
                  </a:lnTo>
                  <a:lnTo>
                    <a:pt x="331" y="45"/>
                  </a:lnTo>
                  <a:lnTo>
                    <a:pt x="331" y="16"/>
                  </a:lnTo>
                  <a:lnTo>
                    <a:pt x="331" y="16"/>
                  </a:lnTo>
                  <a:lnTo>
                    <a:pt x="330" y="10"/>
                  </a:lnTo>
                  <a:lnTo>
                    <a:pt x="326" y="5"/>
                  </a:lnTo>
                  <a:lnTo>
                    <a:pt x="321" y="1"/>
                  </a:lnTo>
                  <a:lnTo>
                    <a:pt x="315" y="0"/>
                  </a:lnTo>
                  <a:lnTo>
                    <a:pt x="315" y="0"/>
                  </a:lnTo>
                  <a:close/>
                </a:path>
              </a:pathLst>
            </a:custGeom>
            <a:solidFill>
              <a:srgbClr val="8FC4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9" name="Freeform 257">
              <a:extLst>
                <a:ext uri="{FF2B5EF4-FFF2-40B4-BE49-F238E27FC236}">
                  <a16:creationId xmlns:a16="http://schemas.microsoft.com/office/drawing/2014/main" id="{BF88815A-4841-00BE-0982-965529F791AF}"/>
                </a:ext>
              </a:extLst>
            </p:cNvPr>
            <p:cNvSpPr>
              <a:spLocks/>
            </p:cNvSpPr>
            <p:nvPr/>
          </p:nvSpPr>
          <p:spPr bwMode="auto">
            <a:xfrm>
              <a:off x="7338422" y="3241523"/>
              <a:ext cx="25101" cy="22929"/>
            </a:xfrm>
            <a:custGeom>
              <a:avLst/>
              <a:gdLst>
                <a:gd name="T0" fmla="*/ 17 w 17"/>
                <a:gd name="T1" fmla="*/ 8 h 17"/>
                <a:gd name="T2" fmla="*/ 17 w 17"/>
                <a:gd name="T3" fmla="*/ 8 h 17"/>
                <a:gd name="T4" fmla="*/ 16 w 17"/>
                <a:gd name="T5" fmla="*/ 12 h 17"/>
                <a:gd name="T6" fmla="*/ 15 w 17"/>
                <a:gd name="T7" fmla="*/ 14 h 17"/>
                <a:gd name="T8" fmla="*/ 13 w 17"/>
                <a:gd name="T9" fmla="*/ 17 h 17"/>
                <a:gd name="T10" fmla="*/ 9 w 17"/>
                <a:gd name="T11" fmla="*/ 17 h 17"/>
                <a:gd name="T12" fmla="*/ 9 w 17"/>
                <a:gd name="T13" fmla="*/ 17 h 17"/>
                <a:gd name="T14" fmla="*/ 5 w 17"/>
                <a:gd name="T15" fmla="*/ 17 h 17"/>
                <a:gd name="T16" fmla="*/ 3 w 17"/>
                <a:gd name="T17" fmla="*/ 14 h 17"/>
                <a:gd name="T18" fmla="*/ 0 w 17"/>
                <a:gd name="T19" fmla="*/ 12 h 17"/>
                <a:gd name="T20" fmla="*/ 0 w 17"/>
                <a:gd name="T21" fmla="*/ 8 h 17"/>
                <a:gd name="T22" fmla="*/ 0 w 17"/>
                <a:gd name="T23" fmla="*/ 8 h 17"/>
                <a:gd name="T24" fmla="*/ 0 w 17"/>
                <a:gd name="T25" fmla="*/ 4 h 17"/>
                <a:gd name="T26" fmla="*/ 3 w 17"/>
                <a:gd name="T27" fmla="*/ 2 h 17"/>
                <a:gd name="T28" fmla="*/ 5 w 17"/>
                <a:gd name="T29" fmla="*/ 1 h 17"/>
                <a:gd name="T30" fmla="*/ 9 w 17"/>
                <a:gd name="T31" fmla="*/ 0 h 17"/>
                <a:gd name="T32" fmla="*/ 9 w 17"/>
                <a:gd name="T33" fmla="*/ 0 h 17"/>
                <a:gd name="T34" fmla="*/ 13 w 17"/>
                <a:gd name="T35" fmla="*/ 1 h 17"/>
                <a:gd name="T36" fmla="*/ 15 w 17"/>
                <a:gd name="T37" fmla="*/ 2 h 17"/>
                <a:gd name="T38" fmla="*/ 16 w 17"/>
                <a:gd name="T39" fmla="*/ 4 h 17"/>
                <a:gd name="T40" fmla="*/ 17 w 17"/>
                <a:gd name="T41" fmla="*/ 8 h 17"/>
                <a:gd name="T42" fmla="*/ 17 w 17"/>
                <a:gd name="T43"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7">
                  <a:moveTo>
                    <a:pt x="17" y="8"/>
                  </a:moveTo>
                  <a:lnTo>
                    <a:pt x="17" y="8"/>
                  </a:lnTo>
                  <a:lnTo>
                    <a:pt x="16" y="12"/>
                  </a:lnTo>
                  <a:lnTo>
                    <a:pt x="15" y="14"/>
                  </a:lnTo>
                  <a:lnTo>
                    <a:pt x="13" y="17"/>
                  </a:lnTo>
                  <a:lnTo>
                    <a:pt x="9" y="17"/>
                  </a:lnTo>
                  <a:lnTo>
                    <a:pt x="9" y="17"/>
                  </a:lnTo>
                  <a:lnTo>
                    <a:pt x="5" y="17"/>
                  </a:lnTo>
                  <a:lnTo>
                    <a:pt x="3" y="14"/>
                  </a:lnTo>
                  <a:lnTo>
                    <a:pt x="0" y="12"/>
                  </a:lnTo>
                  <a:lnTo>
                    <a:pt x="0" y="8"/>
                  </a:lnTo>
                  <a:lnTo>
                    <a:pt x="0" y="8"/>
                  </a:lnTo>
                  <a:lnTo>
                    <a:pt x="0" y="4"/>
                  </a:lnTo>
                  <a:lnTo>
                    <a:pt x="3" y="2"/>
                  </a:lnTo>
                  <a:lnTo>
                    <a:pt x="5" y="1"/>
                  </a:lnTo>
                  <a:lnTo>
                    <a:pt x="9" y="0"/>
                  </a:lnTo>
                  <a:lnTo>
                    <a:pt x="9" y="0"/>
                  </a:lnTo>
                  <a:lnTo>
                    <a:pt x="13" y="1"/>
                  </a:lnTo>
                  <a:lnTo>
                    <a:pt x="15" y="2"/>
                  </a:lnTo>
                  <a:lnTo>
                    <a:pt x="16" y="4"/>
                  </a:lnTo>
                  <a:lnTo>
                    <a:pt x="17" y="8"/>
                  </a:lnTo>
                  <a:lnTo>
                    <a:pt x="17"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0" name="Freeform 258">
              <a:extLst>
                <a:ext uri="{FF2B5EF4-FFF2-40B4-BE49-F238E27FC236}">
                  <a16:creationId xmlns:a16="http://schemas.microsoft.com/office/drawing/2014/main" id="{180F1048-8DA3-D46D-D568-BCA591819AF2}"/>
                </a:ext>
              </a:extLst>
            </p:cNvPr>
            <p:cNvSpPr>
              <a:spLocks/>
            </p:cNvSpPr>
            <p:nvPr/>
          </p:nvSpPr>
          <p:spPr bwMode="auto">
            <a:xfrm>
              <a:off x="7375335" y="3241523"/>
              <a:ext cx="25101" cy="22929"/>
            </a:xfrm>
            <a:custGeom>
              <a:avLst/>
              <a:gdLst>
                <a:gd name="T0" fmla="*/ 17 w 17"/>
                <a:gd name="T1" fmla="*/ 8 h 17"/>
                <a:gd name="T2" fmla="*/ 17 w 17"/>
                <a:gd name="T3" fmla="*/ 8 h 17"/>
                <a:gd name="T4" fmla="*/ 16 w 17"/>
                <a:gd name="T5" fmla="*/ 12 h 17"/>
                <a:gd name="T6" fmla="*/ 15 w 17"/>
                <a:gd name="T7" fmla="*/ 14 h 17"/>
                <a:gd name="T8" fmla="*/ 11 w 17"/>
                <a:gd name="T9" fmla="*/ 17 h 17"/>
                <a:gd name="T10" fmla="*/ 9 w 17"/>
                <a:gd name="T11" fmla="*/ 17 h 17"/>
                <a:gd name="T12" fmla="*/ 9 w 17"/>
                <a:gd name="T13" fmla="*/ 17 h 17"/>
                <a:gd name="T14" fmla="*/ 5 w 17"/>
                <a:gd name="T15" fmla="*/ 17 h 17"/>
                <a:gd name="T16" fmla="*/ 2 w 17"/>
                <a:gd name="T17" fmla="*/ 14 h 17"/>
                <a:gd name="T18" fmla="*/ 0 w 17"/>
                <a:gd name="T19" fmla="*/ 12 h 17"/>
                <a:gd name="T20" fmla="*/ 0 w 17"/>
                <a:gd name="T21" fmla="*/ 8 h 17"/>
                <a:gd name="T22" fmla="*/ 0 w 17"/>
                <a:gd name="T23" fmla="*/ 8 h 17"/>
                <a:gd name="T24" fmla="*/ 0 w 17"/>
                <a:gd name="T25" fmla="*/ 4 h 17"/>
                <a:gd name="T26" fmla="*/ 2 w 17"/>
                <a:gd name="T27" fmla="*/ 2 h 17"/>
                <a:gd name="T28" fmla="*/ 5 w 17"/>
                <a:gd name="T29" fmla="*/ 1 h 17"/>
                <a:gd name="T30" fmla="*/ 9 w 17"/>
                <a:gd name="T31" fmla="*/ 0 h 17"/>
                <a:gd name="T32" fmla="*/ 9 w 17"/>
                <a:gd name="T33" fmla="*/ 0 h 17"/>
                <a:gd name="T34" fmla="*/ 11 w 17"/>
                <a:gd name="T35" fmla="*/ 1 h 17"/>
                <a:gd name="T36" fmla="*/ 15 w 17"/>
                <a:gd name="T37" fmla="*/ 2 h 17"/>
                <a:gd name="T38" fmla="*/ 16 w 17"/>
                <a:gd name="T39" fmla="*/ 4 h 17"/>
                <a:gd name="T40" fmla="*/ 17 w 17"/>
                <a:gd name="T41" fmla="*/ 8 h 17"/>
                <a:gd name="T42" fmla="*/ 17 w 17"/>
                <a:gd name="T43"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7">
                  <a:moveTo>
                    <a:pt x="17" y="8"/>
                  </a:moveTo>
                  <a:lnTo>
                    <a:pt x="17" y="8"/>
                  </a:lnTo>
                  <a:lnTo>
                    <a:pt x="16" y="12"/>
                  </a:lnTo>
                  <a:lnTo>
                    <a:pt x="15" y="14"/>
                  </a:lnTo>
                  <a:lnTo>
                    <a:pt x="11" y="17"/>
                  </a:lnTo>
                  <a:lnTo>
                    <a:pt x="9" y="17"/>
                  </a:lnTo>
                  <a:lnTo>
                    <a:pt x="9" y="17"/>
                  </a:lnTo>
                  <a:lnTo>
                    <a:pt x="5" y="17"/>
                  </a:lnTo>
                  <a:lnTo>
                    <a:pt x="2" y="14"/>
                  </a:lnTo>
                  <a:lnTo>
                    <a:pt x="0" y="12"/>
                  </a:lnTo>
                  <a:lnTo>
                    <a:pt x="0" y="8"/>
                  </a:lnTo>
                  <a:lnTo>
                    <a:pt x="0" y="8"/>
                  </a:lnTo>
                  <a:lnTo>
                    <a:pt x="0" y="4"/>
                  </a:lnTo>
                  <a:lnTo>
                    <a:pt x="2" y="2"/>
                  </a:lnTo>
                  <a:lnTo>
                    <a:pt x="5" y="1"/>
                  </a:lnTo>
                  <a:lnTo>
                    <a:pt x="9" y="0"/>
                  </a:lnTo>
                  <a:lnTo>
                    <a:pt x="9" y="0"/>
                  </a:lnTo>
                  <a:lnTo>
                    <a:pt x="11" y="1"/>
                  </a:lnTo>
                  <a:lnTo>
                    <a:pt x="15" y="2"/>
                  </a:lnTo>
                  <a:lnTo>
                    <a:pt x="16" y="4"/>
                  </a:lnTo>
                  <a:lnTo>
                    <a:pt x="17" y="8"/>
                  </a:lnTo>
                  <a:lnTo>
                    <a:pt x="17"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1" name="Freeform 259">
              <a:extLst>
                <a:ext uri="{FF2B5EF4-FFF2-40B4-BE49-F238E27FC236}">
                  <a16:creationId xmlns:a16="http://schemas.microsoft.com/office/drawing/2014/main" id="{15B36E3A-B814-B3B6-10A0-E5695EB053E8}"/>
                </a:ext>
              </a:extLst>
            </p:cNvPr>
            <p:cNvSpPr>
              <a:spLocks/>
            </p:cNvSpPr>
            <p:nvPr/>
          </p:nvSpPr>
          <p:spPr bwMode="auto">
            <a:xfrm>
              <a:off x="7409294" y="3241523"/>
              <a:ext cx="28054" cy="22929"/>
            </a:xfrm>
            <a:custGeom>
              <a:avLst/>
              <a:gdLst>
                <a:gd name="T0" fmla="*/ 19 w 19"/>
                <a:gd name="T1" fmla="*/ 8 h 17"/>
                <a:gd name="T2" fmla="*/ 19 w 19"/>
                <a:gd name="T3" fmla="*/ 8 h 17"/>
                <a:gd name="T4" fmla="*/ 18 w 19"/>
                <a:gd name="T5" fmla="*/ 12 h 17"/>
                <a:gd name="T6" fmla="*/ 16 w 19"/>
                <a:gd name="T7" fmla="*/ 14 h 17"/>
                <a:gd name="T8" fmla="*/ 13 w 19"/>
                <a:gd name="T9" fmla="*/ 17 h 17"/>
                <a:gd name="T10" fmla="*/ 10 w 19"/>
                <a:gd name="T11" fmla="*/ 17 h 17"/>
                <a:gd name="T12" fmla="*/ 10 w 19"/>
                <a:gd name="T13" fmla="*/ 17 h 17"/>
                <a:gd name="T14" fmla="*/ 6 w 19"/>
                <a:gd name="T15" fmla="*/ 17 h 17"/>
                <a:gd name="T16" fmla="*/ 4 w 19"/>
                <a:gd name="T17" fmla="*/ 14 h 17"/>
                <a:gd name="T18" fmla="*/ 2 w 19"/>
                <a:gd name="T19" fmla="*/ 12 h 17"/>
                <a:gd name="T20" fmla="*/ 0 w 19"/>
                <a:gd name="T21" fmla="*/ 8 h 17"/>
                <a:gd name="T22" fmla="*/ 0 w 19"/>
                <a:gd name="T23" fmla="*/ 8 h 17"/>
                <a:gd name="T24" fmla="*/ 2 w 19"/>
                <a:gd name="T25" fmla="*/ 4 h 17"/>
                <a:gd name="T26" fmla="*/ 4 w 19"/>
                <a:gd name="T27" fmla="*/ 2 h 17"/>
                <a:gd name="T28" fmla="*/ 6 w 19"/>
                <a:gd name="T29" fmla="*/ 1 h 17"/>
                <a:gd name="T30" fmla="*/ 10 w 19"/>
                <a:gd name="T31" fmla="*/ 0 h 17"/>
                <a:gd name="T32" fmla="*/ 10 w 19"/>
                <a:gd name="T33" fmla="*/ 0 h 17"/>
                <a:gd name="T34" fmla="*/ 13 w 19"/>
                <a:gd name="T35" fmla="*/ 1 h 17"/>
                <a:gd name="T36" fmla="*/ 16 w 19"/>
                <a:gd name="T37" fmla="*/ 2 h 17"/>
                <a:gd name="T38" fmla="*/ 18 w 19"/>
                <a:gd name="T39" fmla="*/ 4 h 17"/>
                <a:gd name="T40" fmla="*/ 19 w 19"/>
                <a:gd name="T41" fmla="*/ 8 h 17"/>
                <a:gd name="T42" fmla="*/ 19 w 19"/>
                <a:gd name="T43"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17">
                  <a:moveTo>
                    <a:pt x="19" y="8"/>
                  </a:moveTo>
                  <a:lnTo>
                    <a:pt x="19" y="8"/>
                  </a:lnTo>
                  <a:lnTo>
                    <a:pt x="18" y="12"/>
                  </a:lnTo>
                  <a:lnTo>
                    <a:pt x="16" y="14"/>
                  </a:lnTo>
                  <a:lnTo>
                    <a:pt x="13" y="17"/>
                  </a:lnTo>
                  <a:lnTo>
                    <a:pt x="10" y="17"/>
                  </a:lnTo>
                  <a:lnTo>
                    <a:pt x="10" y="17"/>
                  </a:lnTo>
                  <a:lnTo>
                    <a:pt x="6" y="17"/>
                  </a:lnTo>
                  <a:lnTo>
                    <a:pt x="4" y="14"/>
                  </a:lnTo>
                  <a:lnTo>
                    <a:pt x="2" y="12"/>
                  </a:lnTo>
                  <a:lnTo>
                    <a:pt x="0" y="8"/>
                  </a:lnTo>
                  <a:lnTo>
                    <a:pt x="0" y="8"/>
                  </a:lnTo>
                  <a:lnTo>
                    <a:pt x="2" y="4"/>
                  </a:lnTo>
                  <a:lnTo>
                    <a:pt x="4" y="2"/>
                  </a:lnTo>
                  <a:lnTo>
                    <a:pt x="6" y="1"/>
                  </a:lnTo>
                  <a:lnTo>
                    <a:pt x="10" y="0"/>
                  </a:lnTo>
                  <a:lnTo>
                    <a:pt x="10" y="0"/>
                  </a:lnTo>
                  <a:lnTo>
                    <a:pt x="13" y="1"/>
                  </a:lnTo>
                  <a:lnTo>
                    <a:pt x="16" y="2"/>
                  </a:lnTo>
                  <a:lnTo>
                    <a:pt x="18" y="4"/>
                  </a:lnTo>
                  <a:lnTo>
                    <a:pt x="19" y="8"/>
                  </a:lnTo>
                  <a:lnTo>
                    <a:pt x="1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2" name="Rectangle 260">
              <a:extLst>
                <a:ext uri="{FF2B5EF4-FFF2-40B4-BE49-F238E27FC236}">
                  <a16:creationId xmlns:a16="http://schemas.microsoft.com/office/drawing/2014/main" id="{512CAE42-4F72-99E1-DF54-1507D94F46C2}"/>
                </a:ext>
              </a:extLst>
            </p:cNvPr>
            <p:cNvSpPr>
              <a:spLocks noChangeArrowheads="1"/>
            </p:cNvSpPr>
            <p:nvPr/>
          </p:nvSpPr>
          <p:spPr bwMode="auto">
            <a:xfrm>
              <a:off x="7471307" y="3242873"/>
              <a:ext cx="301206" cy="2023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3" name="Rectangle 261">
              <a:extLst>
                <a:ext uri="{FF2B5EF4-FFF2-40B4-BE49-F238E27FC236}">
                  <a16:creationId xmlns:a16="http://schemas.microsoft.com/office/drawing/2014/main" id="{CD7A0892-DB42-5906-D049-0269D8FC3183}"/>
                </a:ext>
              </a:extLst>
            </p:cNvPr>
            <p:cNvSpPr>
              <a:spLocks noChangeArrowheads="1"/>
            </p:cNvSpPr>
            <p:nvPr/>
          </p:nvSpPr>
          <p:spPr bwMode="auto">
            <a:xfrm>
              <a:off x="7342852" y="3315704"/>
              <a:ext cx="106308" cy="8092"/>
            </a:xfrm>
            <a:prstGeom prst="rect">
              <a:avLst/>
            </a:prstGeom>
            <a:solidFill>
              <a:srgbClr val="8FC4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4" name="Rectangle 262">
              <a:extLst>
                <a:ext uri="{FF2B5EF4-FFF2-40B4-BE49-F238E27FC236}">
                  <a16:creationId xmlns:a16="http://schemas.microsoft.com/office/drawing/2014/main" id="{C48240DC-3520-6475-55C1-34CBA51C382B}"/>
                </a:ext>
              </a:extLst>
            </p:cNvPr>
            <p:cNvSpPr>
              <a:spLocks noChangeArrowheads="1"/>
            </p:cNvSpPr>
            <p:nvPr/>
          </p:nvSpPr>
          <p:spPr bwMode="auto">
            <a:xfrm>
              <a:off x="7342852" y="3500480"/>
              <a:ext cx="113691" cy="8092"/>
            </a:xfrm>
            <a:prstGeom prst="rect">
              <a:avLst/>
            </a:prstGeom>
            <a:solidFill>
              <a:srgbClr val="8FC4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5" name="Rectangle 263">
              <a:extLst>
                <a:ext uri="{FF2B5EF4-FFF2-40B4-BE49-F238E27FC236}">
                  <a16:creationId xmlns:a16="http://schemas.microsoft.com/office/drawing/2014/main" id="{29810933-DB3D-07E4-2CC6-0F3FE9CD90E8}"/>
                </a:ext>
              </a:extLst>
            </p:cNvPr>
            <p:cNvSpPr>
              <a:spLocks noChangeArrowheads="1"/>
            </p:cNvSpPr>
            <p:nvPr/>
          </p:nvSpPr>
          <p:spPr bwMode="auto">
            <a:xfrm>
              <a:off x="7342852" y="3524757"/>
              <a:ext cx="423756" cy="9442"/>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6" name="Rectangle 264">
              <a:extLst>
                <a:ext uri="{FF2B5EF4-FFF2-40B4-BE49-F238E27FC236}">
                  <a16:creationId xmlns:a16="http://schemas.microsoft.com/office/drawing/2014/main" id="{5AE5B2AF-9867-2AF4-7E1B-45F61846D763}"/>
                </a:ext>
              </a:extLst>
            </p:cNvPr>
            <p:cNvSpPr>
              <a:spLocks noChangeArrowheads="1"/>
            </p:cNvSpPr>
            <p:nvPr/>
          </p:nvSpPr>
          <p:spPr bwMode="auto">
            <a:xfrm>
              <a:off x="7342852" y="3550383"/>
              <a:ext cx="423756" cy="9442"/>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7" name="Rectangle 265">
              <a:extLst>
                <a:ext uri="{FF2B5EF4-FFF2-40B4-BE49-F238E27FC236}">
                  <a16:creationId xmlns:a16="http://schemas.microsoft.com/office/drawing/2014/main" id="{829E2D73-5C94-695E-D73C-7D9DE9B8C3C4}"/>
                </a:ext>
              </a:extLst>
            </p:cNvPr>
            <p:cNvSpPr>
              <a:spLocks noChangeArrowheads="1"/>
            </p:cNvSpPr>
            <p:nvPr/>
          </p:nvSpPr>
          <p:spPr bwMode="auto">
            <a:xfrm>
              <a:off x="7701642" y="3315704"/>
              <a:ext cx="66443" cy="8092"/>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8" name="Rectangle 266">
              <a:extLst>
                <a:ext uri="{FF2B5EF4-FFF2-40B4-BE49-F238E27FC236}">
                  <a16:creationId xmlns:a16="http://schemas.microsoft.com/office/drawing/2014/main" id="{99A41246-B1AC-C1C3-6123-106F3BAF61EF}"/>
                </a:ext>
              </a:extLst>
            </p:cNvPr>
            <p:cNvSpPr>
              <a:spLocks noChangeArrowheads="1"/>
            </p:cNvSpPr>
            <p:nvPr/>
          </p:nvSpPr>
          <p:spPr bwMode="auto">
            <a:xfrm>
              <a:off x="7617481" y="3315704"/>
              <a:ext cx="67919" cy="8092"/>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9" name="Rectangle 267">
              <a:extLst>
                <a:ext uri="{FF2B5EF4-FFF2-40B4-BE49-F238E27FC236}">
                  <a16:creationId xmlns:a16="http://schemas.microsoft.com/office/drawing/2014/main" id="{0428A5DC-0B07-8E34-6175-6E693CBE3FF1}"/>
                </a:ext>
              </a:extLst>
            </p:cNvPr>
            <p:cNvSpPr>
              <a:spLocks noChangeArrowheads="1"/>
            </p:cNvSpPr>
            <p:nvPr/>
          </p:nvSpPr>
          <p:spPr bwMode="auto">
            <a:xfrm>
              <a:off x="7531844" y="3315704"/>
              <a:ext cx="67919" cy="8092"/>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0" name="Rectangle 268">
              <a:extLst>
                <a:ext uri="{FF2B5EF4-FFF2-40B4-BE49-F238E27FC236}">
                  <a16:creationId xmlns:a16="http://schemas.microsoft.com/office/drawing/2014/main" id="{6EFFDFC4-EA00-99E4-0118-F94332D269FD}"/>
                </a:ext>
              </a:extLst>
            </p:cNvPr>
            <p:cNvSpPr>
              <a:spLocks noChangeArrowheads="1"/>
            </p:cNvSpPr>
            <p:nvPr/>
          </p:nvSpPr>
          <p:spPr bwMode="auto">
            <a:xfrm>
              <a:off x="7342852" y="3357514"/>
              <a:ext cx="425232" cy="115991"/>
            </a:xfrm>
            <a:prstGeom prst="rect">
              <a:avLst/>
            </a:prstGeom>
            <a:solidFill>
              <a:srgbClr val="15B0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1" name="Freeform 269">
              <a:extLst>
                <a:ext uri="{FF2B5EF4-FFF2-40B4-BE49-F238E27FC236}">
                  <a16:creationId xmlns:a16="http://schemas.microsoft.com/office/drawing/2014/main" id="{4E57AD99-34DA-8BC2-594C-CD0D698CB96A}"/>
                </a:ext>
              </a:extLst>
            </p:cNvPr>
            <p:cNvSpPr>
              <a:spLocks/>
            </p:cNvSpPr>
            <p:nvPr/>
          </p:nvSpPr>
          <p:spPr bwMode="auto">
            <a:xfrm>
              <a:off x="7415200" y="3357514"/>
              <a:ext cx="352884" cy="115991"/>
            </a:xfrm>
            <a:custGeom>
              <a:avLst/>
              <a:gdLst>
                <a:gd name="T0" fmla="*/ 0 w 239"/>
                <a:gd name="T1" fmla="*/ 86 h 86"/>
                <a:gd name="T2" fmla="*/ 239 w 239"/>
                <a:gd name="T3" fmla="*/ 86 h 86"/>
                <a:gd name="T4" fmla="*/ 239 w 239"/>
                <a:gd name="T5" fmla="*/ 0 h 86"/>
                <a:gd name="T6" fmla="*/ 142 w 239"/>
                <a:gd name="T7" fmla="*/ 0 h 86"/>
                <a:gd name="T8" fmla="*/ 0 w 239"/>
                <a:gd name="T9" fmla="*/ 86 h 86"/>
              </a:gdLst>
              <a:ahLst/>
              <a:cxnLst>
                <a:cxn ang="0">
                  <a:pos x="T0" y="T1"/>
                </a:cxn>
                <a:cxn ang="0">
                  <a:pos x="T2" y="T3"/>
                </a:cxn>
                <a:cxn ang="0">
                  <a:pos x="T4" y="T5"/>
                </a:cxn>
                <a:cxn ang="0">
                  <a:pos x="T6" y="T7"/>
                </a:cxn>
                <a:cxn ang="0">
                  <a:pos x="T8" y="T9"/>
                </a:cxn>
              </a:cxnLst>
              <a:rect l="0" t="0" r="r" b="b"/>
              <a:pathLst>
                <a:path w="239" h="86">
                  <a:moveTo>
                    <a:pt x="0" y="86"/>
                  </a:moveTo>
                  <a:lnTo>
                    <a:pt x="239" y="86"/>
                  </a:lnTo>
                  <a:lnTo>
                    <a:pt x="239" y="0"/>
                  </a:lnTo>
                  <a:lnTo>
                    <a:pt x="142" y="0"/>
                  </a:lnTo>
                  <a:lnTo>
                    <a:pt x="0" y="86"/>
                  </a:lnTo>
                  <a:close/>
                </a:path>
              </a:pathLst>
            </a:custGeom>
            <a:solidFill>
              <a:srgbClr val="1695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2" name="Freeform 270">
              <a:extLst>
                <a:ext uri="{FF2B5EF4-FFF2-40B4-BE49-F238E27FC236}">
                  <a16:creationId xmlns:a16="http://schemas.microsoft.com/office/drawing/2014/main" id="{05A6DA3E-DC83-90D5-ABFA-D770D2646822}"/>
                </a:ext>
              </a:extLst>
            </p:cNvPr>
            <p:cNvSpPr>
              <a:spLocks noEditPoints="1"/>
            </p:cNvSpPr>
            <p:nvPr/>
          </p:nvSpPr>
          <p:spPr bwMode="auto">
            <a:xfrm>
              <a:off x="7531844" y="3344027"/>
              <a:ext cx="367649" cy="334485"/>
            </a:xfrm>
            <a:custGeom>
              <a:avLst/>
              <a:gdLst>
                <a:gd name="T0" fmla="*/ 223 w 249"/>
                <a:gd name="T1" fmla="*/ 88 h 248"/>
                <a:gd name="T2" fmla="*/ 238 w 249"/>
                <a:gd name="T3" fmla="*/ 76 h 248"/>
                <a:gd name="T4" fmla="*/ 224 w 249"/>
                <a:gd name="T5" fmla="*/ 49 h 248"/>
                <a:gd name="T6" fmla="*/ 216 w 249"/>
                <a:gd name="T7" fmla="*/ 47 h 248"/>
                <a:gd name="T8" fmla="*/ 199 w 249"/>
                <a:gd name="T9" fmla="*/ 31 h 248"/>
                <a:gd name="T10" fmla="*/ 199 w 249"/>
                <a:gd name="T11" fmla="*/ 23 h 248"/>
                <a:gd name="T12" fmla="*/ 171 w 249"/>
                <a:gd name="T13" fmla="*/ 9 h 248"/>
                <a:gd name="T14" fmla="*/ 158 w 249"/>
                <a:gd name="T15" fmla="*/ 25 h 248"/>
                <a:gd name="T16" fmla="*/ 142 w 249"/>
                <a:gd name="T17" fmla="*/ 6 h 248"/>
                <a:gd name="T18" fmla="*/ 136 w 249"/>
                <a:gd name="T19" fmla="*/ 0 h 248"/>
                <a:gd name="T20" fmla="*/ 106 w 249"/>
                <a:gd name="T21" fmla="*/ 1 h 248"/>
                <a:gd name="T22" fmla="*/ 104 w 249"/>
                <a:gd name="T23" fmla="*/ 21 h 248"/>
                <a:gd name="T24" fmla="*/ 79 w 249"/>
                <a:gd name="T25" fmla="*/ 11 h 248"/>
                <a:gd name="T26" fmla="*/ 49 w 249"/>
                <a:gd name="T27" fmla="*/ 23 h 248"/>
                <a:gd name="T28" fmla="*/ 47 w 249"/>
                <a:gd name="T29" fmla="*/ 30 h 248"/>
                <a:gd name="T30" fmla="*/ 43 w 249"/>
                <a:gd name="T31" fmla="*/ 57 h 248"/>
                <a:gd name="T32" fmla="*/ 26 w 249"/>
                <a:gd name="T33" fmla="*/ 49 h 248"/>
                <a:gd name="T34" fmla="*/ 10 w 249"/>
                <a:gd name="T35" fmla="*/ 74 h 248"/>
                <a:gd name="T36" fmla="*/ 11 w 249"/>
                <a:gd name="T37" fmla="*/ 83 h 248"/>
                <a:gd name="T38" fmla="*/ 6 w 249"/>
                <a:gd name="T39" fmla="*/ 106 h 248"/>
                <a:gd name="T40" fmla="*/ 0 w 249"/>
                <a:gd name="T41" fmla="*/ 110 h 248"/>
                <a:gd name="T42" fmla="*/ 0 w 249"/>
                <a:gd name="T43" fmla="*/ 141 h 248"/>
                <a:gd name="T44" fmla="*/ 21 w 249"/>
                <a:gd name="T45" fmla="*/ 144 h 248"/>
                <a:gd name="T46" fmla="*/ 14 w 249"/>
                <a:gd name="T47" fmla="*/ 168 h 248"/>
                <a:gd name="T48" fmla="*/ 11 w 249"/>
                <a:gd name="T49" fmla="*/ 176 h 248"/>
                <a:gd name="T50" fmla="*/ 27 w 249"/>
                <a:gd name="T51" fmla="*/ 201 h 248"/>
                <a:gd name="T52" fmla="*/ 46 w 249"/>
                <a:gd name="T53" fmla="*/ 194 h 248"/>
                <a:gd name="T54" fmla="*/ 49 w 249"/>
                <a:gd name="T55" fmla="*/ 220 h 248"/>
                <a:gd name="T56" fmla="*/ 74 w 249"/>
                <a:gd name="T57" fmla="*/ 239 h 248"/>
                <a:gd name="T58" fmla="*/ 81 w 249"/>
                <a:gd name="T59" fmla="*/ 238 h 248"/>
                <a:gd name="T60" fmla="*/ 106 w 249"/>
                <a:gd name="T61" fmla="*/ 227 h 248"/>
                <a:gd name="T62" fmla="*/ 108 w 249"/>
                <a:gd name="T63" fmla="*/ 247 h 248"/>
                <a:gd name="T64" fmla="*/ 138 w 249"/>
                <a:gd name="T65" fmla="*/ 248 h 248"/>
                <a:gd name="T66" fmla="*/ 145 w 249"/>
                <a:gd name="T67" fmla="*/ 242 h 248"/>
                <a:gd name="T68" fmla="*/ 168 w 249"/>
                <a:gd name="T69" fmla="*/ 236 h 248"/>
                <a:gd name="T70" fmla="*/ 174 w 249"/>
                <a:gd name="T71" fmla="*/ 238 h 248"/>
                <a:gd name="T72" fmla="*/ 201 w 249"/>
                <a:gd name="T73" fmla="*/ 223 h 248"/>
                <a:gd name="T74" fmla="*/ 194 w 249"/>
                <a:gd name="T75" fmla="*/ 202 h 248"/>
                <a:gd name="T76" fmla="*/ 218 w 249"/>
                <a:gd name="T77" fmla="*/ 199 h 248"/>
                <a:gd name="T78" fmla="*/ 227 w 249"/>
                <a:gd name="T79" fmla="*/ 196 h 248"/>
                <a:gd name="T80" fmla="*/ 240 w 249"/>
                <a:gd name="T81" fmla="*/ 169 h 248"/>
                <a:gd name="T82" fmla="*/ 223 w 249"/>
                <a:gd name="T83" fmla="*/ 158 h 248"/>
                <a:gd name="T84" fmla="*/ 245 w 249"/>
                <a:gd name="T85" fmla="*/ 142 h 248"/>
                <a:gd name="T86" fmla="*/ 249 w 249"/>
                <a:gd name="T87" fmla="*/ 110 h 248"/>
                <a:gd name="T88" fmla="*/ 245 w 249"/>
                <a:gd name="T89" fmla="*/ 104 h 248"/>
                <a:gd name="T90" fmla="*/ 125 w 249"/>
                <a:gd name="T91" fmla="*/ 175 h 248"/>
                <a:gd name="T92" fmla="*/ 88 w 249"/>
                <a:gd name="T93" fmla="*/ 160 h 248"/>
                <a:gd name="T94" fmla="*/ 73 w 249"/>
                <a:gd name="T95" fmla="*/ 123 h 248"/>
                <a:gd name="T96" fmla="*/ 81 w 249"/>
                <a:gd name="T97" fmla="*/ 95 h 248"/>
                <a:gd name="T98" fmla="*/ 113 w 249"/>
                <a:gd name="T99" fmla="*/ 74 h 248"/>
                <a:gd name="T100" fmla="*/ 144 w 249"/>
                <a:gd name="T101" fmla="*/ 76 h 248"/>
                <a:gd name="T102" fmla="*/ 171 w 249"/>
                <a:gd name="T103" fmla="*/ 104 h 248"/>
                <a:gd name="T104" fmla="*/ 174 w 249"/>
                <a:gd name="T105" fmla="*/ 134 h 248"/>
                <a:gd name="T106" fmla="*/ 153 w 249"/>
                <a:gd name="T107" fmla="*/ 167 h 248"/>
                <a:gd name="T108" fmla="*/ 125 w 249"/>
                <a:gd name="T109" fmla="*/ 17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9" h="248">
                  <a:moveTo>
                    <a:pt x="243" y="104"/>
                  </a:moveTo>
                  <a:lnTo>
                    <a:pt x="227" y="104"/>
                  </a:lnTo>
                  <a:lnTo>
                    <a:pt x="227" y="104"/>
                  </a:lnTo>
                  <a:lnTo>
                    <a:pt x="223" y="88"/>
                  </a:lnTo>
                  <a:lnTo>
                    <a:pt x="236" y="80"/>
                  </a:lnTo>
                  <a:lnTo>
                    <a:pt x="236" y="80"/>
                  </a:lnTo>
                  <a:lnTo>
                    <a:pt x="237" y="79"/>
                  </a:lnTo>
                  <a:lnTo>
                    <a:pt x="238" y="76"/>
                  </a:lnTo>
                  <a:lnTo>
                    <a:pt x="238" y="74"/>
                  </a:lnTo>
                  <a:lnTo>
                    <a:pt x="238" y="72"/>
                  </a:lnTo>
                  <a:lnTo>
                    <a:pt x="224" y="49"/>
                  </a:lnTo>
                  <a:lnTo>
                    <a:pt x="224" y="49"/>
                  </a:lnTo>
                  <a:lnTo>
                    <a:pt x="223" y="47"/>
                  </a:lnTo>
                  <a:lnTo>
                    <a:pt x="221" y="47"/>
                  </a:lnTo>
                  <a:lnTo>
                    <a:pt x="218" y="46"/>
                  </a:lnTo>
                  <a:lnTo>
                    <a:pt x="216" y="47"/>
                  </a:lnTo>
                  <a:lnTo>
                    <a:pt x="203" y="54"/>
                  </a:lnTo>
                  <a:lnTo>
                    <a:pt x="203" y="54"/>
                  </a:lnTo>
                  <a:lnTo>
                    <a:pt x="191" y="43"/>
                  </a:lnTo>
                  <a:lnTo>
                    <a:pt x="199" y="31"/>
                  </a:lnTo>
                  <a:lnTo>
                    <a:pt x="199" y="31"/>
                  </a:lnTo>
                  <a:lnTo>
                    <a:pt x="200" y="28"/>
                  </a:lnTo>
                  <a:lnTo>
                    <a:pt x="200" y="26"/>
                  </a:lnTo>
                  <a:lnTo>
                    <a:pt x="199" y="23"/>
                  </a:lnTo>
                  <a:lnTo>
                    <a:pt x="196" y="22"/>
                  </a:lnTo>
                  <a:lnTo>
                    <a:pt x="174" y="9"/>
                  </a:lnTo>
                  <a:lnTo>
                    <a:pt x="174" y="9"/>
                  </a:lnTo>
                  <a:lnTo>
                    <a:pt x="171" y="9"/>
                  </a:lnTo>
                  <a:lnTo>
                    <a:pt x="169" y="9"/>
                  </a:lnTo>
                  <a:lnTo>
                    <a:pt x="168" y="10"/>
                  </a:lnTo>
                  <a:lnTo>
                    <a:pt x="165" y="11"/>
                  </a:lnTo>
                  <a:lnTo>
                    <a:pt x="158" y="25"/>
                  </a:lnTo>
                  <a:lnTo>
                    <a:pt x="158" y="25"/>
                  </a:lnTo>
                  <a:lnTo>
                    <a:pt x="142" y="21"/>
                  </a:lnTo>
                  <a:lnTo>
                    <a:pt x="142" y="6"/>
                  </a:lnTo>
                  <a:lnTo>
                    <a:pt x="142" y="6"/>
                  </a:lnTo>
                  <a:lnTo>
                    <a:pt x="142" y="4"/>
                  </a:lnTo>
                  <a:lnTo>
                    <a:pt x="141" y="1"/>
                  </a:lnTo>
                  <a:lnTo>
                    <a:pt x="138" y="0"/>
                  </a:lnTo>
                  <a:lnTo>
                    <a:pt x="136" y="0"/>
                  </a:lnTo>
                  <a:lnTo>
                    <a:pt x="110" y="0"/>
                  </a:lnTo>
                  <a:lnTo>
                    <a:pt x="110" y="0"/>
                  </a:lnTo>
                  <a:lnTo>
                    <a:pt x="107" y="0"/>
                  </a:lnTo>
                  <a:lnTo>
                    <a:pt x="106" y="1"/>
                  </a:lnTo>
                  <a:lnTo>
                    <a:pt x="104" y="4"/>
                  </a:lnTo>
                  <a:lnTo>
                    <a:pt x="104" y="6"/>
                  </a:lnTo>
                  <a:lnTo>
                    <a:pt x="104" y="21"/>
                  </a:lnTo>
                  <a:lnTo>
                    <a:pt x="104" y="21"/>
                  </a:lnTo>
                  <a:lnTo>
                    <a:pt x="88" y="26"/>
                  </a:lnTo>
                  <a:lnTo>
                    <a:pt x="80" y="12"/>
                  </a:lnTo>
                  <a:lnTo>
                    <a:pt x="80" y="12"/>
                  </a:lnTo>
                  <a:lnTo>
                    <a:pt x="79" y="11"/>
                  </a:lnTo>
                  <a:lnTo>
                    <a:pt x="76" y="10"/>
                  </a:lnTo>
                  <a:lnTo>
                    <a:pt x="74" y="10"/>
                  </a:lnTo>
                  <a:lnTo>
                    <a:pt x="71" y="10"/>
                  </a:lnTo>
                  <a:lnTo>
                    <a:pt x="49" y="23"/>
                  </a:lnTo>
                  <a:lnTo>
                    <a:pt x="49" y="23"/>
                  </a:lnTo>
                  <a:lnTo>
                    <a:pt x="48" y="25"/>
                  </a:lnTo>
                  <a:lnTo>
                    <a:pt x="47" y="27"/>
                  </a:lnTo>
                  <a:lnTo>
                    <a:pt x="47" y="30"/>
                  </a:lnTo>
                  <a:lnTo>
                    <a:pt x="47" y="32"/>
                  </a:lnTo>
                  <a:lnTo>
                    <a:pt x="55" y="46"/>
                  </a:lnTo>
                  <a:lnTo>
                    <a:pt x="55" y="46"/>
                  </a:lnTo>
                  <a:lnTo>
                    <a:pt x="43" y="57"/>
                  </a:lnTo>
                  <a:lnTo>
                    <a:pt x="31" y="49"/>
                  </a:lnTo>
                  <a:lnTo>
                    <a:pt x="31" y="49"/>
                  </a:lnTo>
                  <a:lnTo>
                    <a:pt x="28" y="48"/>
                  </a:lnTo>
                  <a:lnTo>
                    <a:pt x="26" y="49"/>
                  </a:lnTo>
                  <a:lnTo>
                    <a:pt x="23" y="49"/>
                  </a:lnTo>
                  <a:lnTo>
                    <a:pt x="22" y="52"/>
                  </a:lnTo>
                  <a:lnTo>
                    <a:pt x="10" y="74"/>
                  </a:lnTo>
                  <a:lnTo>
                    <a:pt x="10" y="74"/>
                  </a:lnTo>
                  <a:lnTo>
                    <a:pt x="9" y="76"/>
                  </a:lnTo>
                  <a:lnTo>
                    <a:pt x="9" y="79"/>
                  </a:lnTo>
                  <a:lnTo>
                    <a:pt x="10" y="81"/>
                  </a:lnTo>
                  <a:lnTo>
                    <a:pt x="11" y="83"/>
                  </a:lnTo>
                  <a:lnTo>
                    <a:pt x="25" y="90"/>
                  </a:lnTo>
                  <a:lnTo>
                    <a:pt x="25" y="90"/>
                  </a:lnTo>
                  <a:lnTo>
                    <a:pt x="21" y="106"/>
                  </a:lnTo>
                  <a:lnTo>
                    <a:pt x="6" y="106"/>
                  </a:lnTo>
                  <a:lnTo>
                    <a:pt x="6" y="106"/>
                  </a:lnTo>
                  <a:lnTo>
                    <a:pt x="4" y="106"/>
                  </a:lnTo>
                  <a:lnTo>
                    <a:pt x="1" y="109"/>
                  </a:lnTo>
                  <a:lnTo>
                    <a:pt x="0" y="110"/>
                  </a:lnTo>
                  <a:lnTo>
                    <a:pt x="0" y="112"/>
                  </a:lnTo>
                  <a:lnTo>
                    <a:pt x="0" y="138"/>
                  </a:lnTo>
                  <a:lnTo>
                    <a:pt x="0" y="138"/>
                  </a:lnTo>
                  <a:lnTo>
                    <a:pt x="0" y="141"/>
                  </a:lnTo>
                  <a:lnTo>
                    <a:pt x="1" y="143"/>
                  </a:lnTo>
                  <a:lnTo>
                    <a:pt x="4" y="144"/>
                  </a:lnTo>
                  <a:lnTo>
                    <a:pt x="6" y="144"/>
                  </a:lnTo>
                  <a:lnTo>
                    <a:pt x="21" y="144"/>
                  </a:lnTo>
                  <a:lnTo>
                    <a:pt x="21" y="144"/>
                  </a:lnTo>
                  <a:lnTo>
                    <a:pt x="26" y="160"/>
                  </a:lnTo>
                  <a:lnTo>
                    <a:pt x="14" y="168"/>
                  </a:lnTo>
                  <a:lnTo>
                    <a:pt x="14" y="168"/>
                  </a:lnTo>
                  <a:lnTo>
                    <a:pt x="11" y="169"/>
                  </a:lnTo>
                  <a:lnTo>
                    <a:pt x="10" y="171"/>
                  </a:lnTo>
                  <a:lnTo>
                    <a:pt x="10" y="174"/>
                  </a:lnTo>
                  <a:lnTo>
                    <a:pt x="11" y="176"/>
                  </a:lnTo>
                  <a:lnTo>
                    <a:pt x="23" y="199"/>
                  </a:lnTo>
                  <a:lnTo>
                    <a:pt x="23" y="199"/>
                  </a:lnTo>
                  <a:lnTo>
                    <a:pt x="25" y="201"/>
                  </a:lnTo>
                  <a:lnTo>
                    <a:pt x="27" y="201"/>
                  </a:lnTo>
                  <a:lnTo>
                    <a:pt x="30" y="202"/>
                  </a:lnTo>
                  <a:lnTo>
                    <a:pt x="32" y="201"/>
                  </a:lnTo>
                  <a:lnTo>
                    <a:pt x="46" y="194"/>
                  </a:lnTo>
                  <a:lnTo>
                    <a:pt x="46" y="194"/>
                  </a:lnTo>
                  <a:lnTo>
                    <a:pt x="57" y="205"/>
                  </a:lnTo>
                  <a:lnTo>
                    <a:pt x="49" y="217"/>
                  </a:lnTo>
                  <a:lnTo>
                    <a:pt x="49" y="217"/>
                  </a:lnTo>
                  <a:lnTo>
                    <a:pt x="49" y="220"/>
                  </a:lnTo>
                  <a:lnTo>
                    <a:pt x="49" y="222"/>
                  </a:lnTo>
                  <a:lnTo>
                    <a:pt x="51" y="224"/>
                  </a:lnTo>
                  <a:lnTo>
                    <a:pt x="52" y="226"/>
                  </a:lnTo>
                  <a:lnTo>
                    <a:pt x="74" y="239"/>
                  </a:lnTo>
                  <a:lnTo>
                    <a:pt x="74" y="239"/>
                  </a:lnTo>
                  <a:lnTo>
                    <a:pt x="76" y="239"/>
                  </a:lnTo>
                  <a:lnTo>
                    <a:pt x="79" y="239"/>
                  </a:lnTo>
                  <a:lnTo>
                    <a:pt x="81" y="238"/>
                  </a:lnTo>
                  <a:lnTo>
                    <a:pt x="83" y="237"/>
                  </a:lnTo>
                  <a:lnTo>
                    <a:pt x="91" y="223"/>
                  </a:lnTo>
                  <a:lnTo>
                    <a:pt x="91" y="223"/>
                  </a:lnTo>
                  <a:lnTo>
                    <a:pt x="106" y="227"/>
                  </a:lnTo>
                  <a:lnTo>
                    <a:pt x="106" y="242"/>
                  </a:lnTo>
                  <a:lnTo>
                    <a:pt x="106" y="242"/>
                  </a:lnTo>
                  <a:lnTo>
                    <a:pt x="107" y="244"/>
                  </a:lnTo>
                  <a:lnTo>
                    <a:pt x="108" y="247"/>
                  </a:lnTo>
                  <a:lnTo>
                    <a:pt x="111" y="248"/>
                  </a:lnTo>
                  <a:lnTo>
                    <a:pt x="113" y="248"/>
                  </a:lnTo>
                  <a:lnTo>
                    <a:pt x="138" y="248"/>
                  </a:lnTo>
                  <a:lnTo>
                    <a:pt x="138" y="248"/>
                  </a:lnTo>
                  <a:lnTo>
                    <a:pt x="141" y="248"/>
                  </a:lnTo>
                  <a:lnTo>
                    <a:pt x="143" y="247"/>
                  </a:lnTo>
                  <a:lnTo>
                    <a:pt x="144" y="244"/>
                  </a:lnTo>
                  <a:lnTo>
                    <a:pt x="145" y="242"/>
                  </a:lnTo>
                  <a:lnTo>
                    <a:pt x="145" y="227"/>
                  </a:lnTo>
                  <a:lnTo>
                    <a:pt x="145" y="227"/>
                  </a:lnTo>
                  <a:lnTo>
                    <a:pt x="160" y="222"/>
                  </a:lnTo>
                  <a:lnTo>
                    <a:pt x="168" y="236"/>
                  </a:lnTo>
                  <a:lnTo>
                    <a:pt x="168" y="236"/>
                  </a:lnTo>
                  <a:lnTo>
                    <a:pt x="170" y="237"/>
                  </a:lnTo>
                  <a:lnTo>
                    <a:pt x="171" y="238"/>
                  </a:lnTo>
                  <a:lnTo>
                    <a:pt x="174" y="238"/>
                  </a:lnTo>
                  <a:lnTo>
                    <a:pt x="176" y="238"/>
                  </a:lnTo>
                  <a:lnTo>
                    <a:pt x="199" y="224"/>
                  </a:lnTo>
                  <a:lnTo>
                    <a:pt x="199" y="224"/>
                  </a:lnTo>
                  <a:lnTo>
                    <a:pt x="201" y="223"/>
                  </a:lnTo>
                  <a:lnTo>
                    <a:pt x="202" y="221"/>
                  </a:lnTo>
                  <a:lnTo>
                    <a:pt x="202" y="218"/>
                  </a:lnTo>
                  <a:lnTo>
                    <a:pt x="201" y="216"/>
                  </a:lnTo>
                  <a:lnTo>
                    <a:pt x="194" y="202"/>
                  </a:lnTo>
                  <a:lnTo>
                    <a:pt x="194" y="202"/>
                  </a:lnTo>
                  <a:lnTo>
                    <a:pt x="205" y="191"/>
                  </a:lnTo>
                  <a:lnTo>
                    <a:pt x="218" y="199"/>
                  </a:lnTo>
                  <a:lnTo>
                    <a:pt x="218" y="199"/>
                  </a:lnTo>
                  <a:lnTo>
                    <a:pt x="219" y="200"/>
                  </a:lnTo>
                  <a:lnTo>
                    <a:pt x="222" y="199"/>
                  </a:lnTo>
                  <a:lnTo>
                    <a:pt x="224" y="199"/>
                  </a:lnTo>
                  <a:lnTo>
                    <a:pt x="227" y="196"/>
                  </a:lnTo>
                  <a:lnTo>
                    <a:pt x="239" y="174"/>
                  </a:lnTo>
                  <a:lnTo>
                    <a:pt x="239" y="174"/>
                  </a:lnTo>
                  <a:lnTo>
                    <a:pt x="240" y="171"/>
                  </a:lnTo>
                  <a:lnTo>
                    <a:pt x="240" y="169"/>
                  </a:lnTo>
                  <a:lnTo>
                    <a:pt x="239" y="167"/>
                  </a:lnTo>
                  <a:lnTo>
                    <a:pt x="237" y="165"/>
                  </a:lnTo>
                  <a:lnTo>
                    <a:pt x="223" y="158"/>
                  </a:lnTo>
                  <a:lnTo>
                    <a:pt x="223" y="158"/>
                  </a:lnTo>
                  <a:lnTo>
                    <a:pt x="228" y="142"/>
                  </a:lnTo>
                  <a:lnTo>
                    <a:pt x="243" y="142"/>
                  </a:lnTo>
                  <a:lnTo>
                    <a:pt x="243" y="142"/>
                  </a:lnTo>
                  <a:lnTo>
                    <a:pt x="245" y="142"/>
                  </a:lnTo>
                  <a:lnTo>
                    <a:pt x="247" y="139"/>
                  </a:lnTo>
                  <a:lnTo>
                    <a:pt x="248" y="138"/>
                  </a:lnTo>
                  <a:lnTo>
                    <a:pt x="249" y="136"/>
                  </a:lnTo>
                  <a:lnTo>
                    <a:pt x="249" y="110"/>
                  </a:lnTo>
                  <a:lnTo>
                    <a:pt x="249" y="110"/>
                  </a:lnTo>
                  <a:lnTo>
                    <a:pt x="248" y="107"/>
                  </a:lnTo>
                  <a:lnTo>
                    <a:pt x="247" y="105"/>
                  </a:lnTo>
                  <a:lnTo>
                    <a:pt x="245" y="104"/>
                  </a:lnTo>
                  <a:lnTo>
                    <a:pt x="243" y="104"/>
                  </a:lnTo>
                  <a:lnTo>
                    <a:pt x="243" y="104"/>
                  </a:lnTo>
                  <a:close/>
                  <a:moveTo>
                    <a:pt x="125" y="175"/>
                  </a:moveTo>
                  <a:lnTo>
                    <a:pt x="125" y="175"/>
                  </a:lnTo>
                  <a:lnTo>
                    <a:pt x="113" y="174"/>
                  </a:lnTo>
                  <a:lnTo>
                    <a:pt x="105" y="171"/>
                  </a:lnTo>
                  <a:lnTo>
                    <a:pt x="96" y="167"/>
                  </a:lnTo>
                  <a:lnTo>
                    <a:pt x="88" y="160"/>
                  </a:lnTo>
                  <a:lnTo>
                    <a:pt x="81" y="153"/>
                  </a:lnTo>
                  <a:lnTo>
                    <a:pt x="78" y="144"/>
                  </a:lnTo>
                  <a:lnTo>
                    <a:pt x="74" y="134"/>
                  </a:lnTo>
                  <a:lnTo>
                    <a:pt x="73" y="123"/>
                  </a:lnTo>
                  <a:lnTo>
                    <a:pt x="73" y="123"/>
                  </a:lnTo>
                  <a:lnTo>
                    <a:pt x="74" y="113"/>
                  </a:lnTo>
                  <a:lnTo>
                    <a:pt x="78" y="104"/>
                  </a:lnTo>
                  <a:lnTo>
                    <a:pt x="81" y="95"/>
                  </a:lnTo>
                  <a:lnTo>
                    <a:pt x="88" y="88"/>
                  </a:lnTo>
                  <a:lnTo>
                    <a:pt x="96" y="81"/>
                  </a:lnTo>
                  <a:lnTo>
                    <a:pt x="105" y="76"/>
                  </a:lnTo>
                  <a:lnTo>
                    <a:pt x="113" y="74"/>
                  </a:lnTo>
                  <a:lnTo>
                    <a:pt x="125" y="73"/>
                  </a:lnTo>
                  <a:lnTo>
                    <a:pt x="125" y="73"/>
                  </a:lnTo>
                  <a:lnTo>
                    <a:pt x="134" y="74"/>
                  </a:lnTo>
                  <a:lnTo>
                    <a:pt x="144" y="76"/>
                  </a:lnTo>
                  <a:lnTo>
                    <a:pt x="153" y="81"/>
                  </a:lnTo>
                  <a:lnTo>
                    <a:pt x="160" y="88"/>
                  </a:lnTo>
                  <a:lnTo>
                    <a:pt x="166" y="95"/>
                  </a:lnTo>
                  <a:lnTo>
                    <a:pt x="171" y="104"/>
                  </a:lnTo>
                  <a:lnTo>
                    <a:pt x="174" y="113"/>
                  </a:lnTo>
                  <a:lnTo>
                    <a:pt x="175" y="123"/>
                  </a:lnTo>
                  <a:lnTo>
                    <a:pt x="175" y="123"/>
                  </a:lnTo>
                  <a:lnTo>
                    <a:pt x="174" y="134"/>
                  </a:lnTo>
                  <a:lnTo>
                    <a:pt x="171" y="144"/>
                  </a:lnTo>
                  <a:lnTo>
                    <a:pt x="166" y="153"/>
                  </a:lnTo>
                  <a:lnTo>
                    <a:pt x="160" y="160"/>
                  </a:lnTo>
                  <a:lnTo>
                    <a:pt x="153" y="167"/>
                  </a:lnTo>
                  <a:lnTo>
                    <a:pt x="144" y="171"/>
                  </a:lnTo>
                  <a:lnTo>
                    <a:pt x="134" y="174"/>
                  </a:lnTo>
                  <a:lnTo>
                    <a:pt x="125" y="175"/>
                  </a:lnTo>
                  <a:lnTo>
                    <a:pt x="125" y="175"/>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3" name="Freeform 271">
              <a:extLst>
                <a:ext uri="{FF2B5EF4-FFF2-40B4-BE49-F238E27FC236}">
                  <a16:creationId xmlns:a16="http://schemas.microsoft.com/office/drawing/2014/main" id="{B71EB9B3-279F-CE36-DA0A-BC391A2E9EE9}"/>
                </a:ext>
              </a:extLst>
            </p:cNvPr>
            <p:cNvSpPr>
              <a:spLocks/>
            </p:cNvSpPr>
            <p:nvPr/>
          </p:nvSpPr>
          <p:spPr bwMode="auto">
            <a:xfrm>
              <a:off x="7531844" y="3344027"/>
              <a:ext cx="180133" cy="334485"/>
            </a:xfrm>
            <a:custGeom>
              <a:avLst/>
              <a:gdLst>
                <a:gd name="T0" fmla="*/ 122 w 122"/>
                <a:gd name="T1" fmla="*/ 190 h 248"/>
                <a:gd name="T2" fmla="*/ 97 w 122"/>
                <a:gd name="T3" fmla="*/ 185 h 248"/>
                <a:gd name="T4" fmla="*/ 76 w 122"/>
                <a:gd name="T5" fmla="*/ 170 h 248"/>
                <a:gd name="T6" fmla="*/ 63 w 122"/>
                <a:gd name="T7" fmla="*/ 149 h 248"/>
                <a:gd name="T8" fmla="*/ 58 w 122"/>
                <a:gd name="T9" fmla="*/ 123 h 248"/>
                <a:gd name="T10" fmla="*/ 59 w 122"/>
                <a:gd name="T11" fmla="*/ 111 h 248"/>
                <a:gd name="T12" fmla="*/ 69 w 122"/>
                <a:gd name="T13" fmla="*/ 88 h 248"/>
                <a:gd name="T14" fmla="*/ 86 w 122"/>
                <a:gd name="T15" fmla="*/ 69 h 248"/>
                <a:gd name="T16" fmla="*/ 108 w 122"/>
                <a:gd name="T17" fmla="*/ 59 h 248"/>
                <a:gd name="T18" fmla="*/ 122 w 122"/>
                <a:gd name="T19" fmla="*/ 0 h 248"/>
                <a:gd name="T20" fmla="*/ 110 w 122"/>
                <a:gd name="T21" fmla="*/ 0 h 248"/>
                <a:gd name="T22" fmla="*/ 106 w 122"/>
                <a:gd name="T23" fmla="*/ 1 h 248"/>
                <a:gd name="T24" fmla="*/ 104 w 122"/>
                <a:gd name="T25" fmla="*/ 6 h 248"/>
                <a:gd name="T26" fmla="*/ 104 w 122"/>
                <a:gd name="T27" fmla="*/ 21 h 248"/>
                <a:gd name="T28" fmla="*/ 80 w 122"/>
                <a:gd name="T29" fmla="*/ 12 h 248"/>
                <a:gd name="T30" fmla="*/ 79 w 122"/>
                <a:gd name="T31" fmla="*/ 11 h 248"/>
                <a:gd name="T32" fmla="*/ 74 w 122"/>
                <a:gd name="T33" fmla="*/ 10 h 248"/>
                <a:gd name="T34" fmla="*/ 49 w 122"/>
                <a:gd name="T35" fmla="*/ 23 h 248"/>
                <a:gd name="T36" fmla="*/ 48 w 122"/>
                <a:gd name="T37" fmla="*/ 25 h 248"/>
                <a:gd name="T38" fmla="*/ 47 w 122"/>
                <a:gd name="T39" fmla="*/ 30 h 248"/>
                <a:gd name="T40" fmla="*/ 55 w 122"/>
                <a:gd name="T41" fmla="*/ 46 h 248"/>
                <a:gd name="T42" fmla="*/ 43 w 122"/>
                <a:gd name="T43" fmla="*/ 57 h 248"/>
                <a:gd name="T44" fmla="*/ 31 w 122"/>
                <a:gd name="T45" fmla="*/ 49 h 248"/>
                <a:gd name="T46" fmla="*/ 26 w 122"/>
                <a:gd name="T47" fmla="*/ 49 h 248"/>
                <a:gd name="T48" fmla="*/ 22 w 122"/>
                <a:gd name="T49" fmla="*/ 52 h 248"/>
                <a:gd name="T50" fmla="*/ 10 w 122"/>
                <a:gd name="T51" fmla="*/ 74 h 248"/>
                <a:gd name="T52" fmla="*/ 9 w 122"/>
                <a:gd name="T53" fmla="*/ 79 h 248"/>
                <a:gd name="T54" fmla="*/ 11 w 122"/>
                <a:gd name="T55" fmla="*/ 83 h 248"/>
                <a:gd name="T56" fmla="*/ 25 w 122"/>
                <a:gd name="T57" fmla="*/ 90 h 248"/>
                <a:gd name="T58" fmla="*/ 6 w 122"/>
                <a:gd name="T59" fmla="*/ 106 h 248"/>
                <a:gd name="T60" fmla="*/ 4 w 122"/>
                <a:gd name="T61" fmla="*/ 106 h 248"/>
                <a:gd name="T62" fmla="*/ 0 w 122"/>
                <a:gd name="T63" fmla="*/ 110 h 248"/>
                <a:gd name="T64" fmla="*/ 0 w 122"/>
                <a:gd name="T65" fmla="*/ 138 h 248"/>
                <a:gd name="T66" fmla="*/ 0 w 122"/>
                <a:gd name="T67" fmla="*/ 141 h 248"/>
                <a:gd name="T68" fmla="*/ 4 w 122"/>
                <a:gd name="T69" fmla="*/ 144 h 248"/>
                <a:gd name="T70" fmla="*/ 21 w 122"/>
                <a:gd name="T71" fmla="*/ 144 h 248"/>
                <a:gd name="T72" fmla="*/ 26 w 122"/>
                <a:gd name="T73" fmla="*/ 160 h 248"/>
                <a:gd name="T74" fmla="*/ 14 w 122"/>
                <a:gd name="T75" fmla="*/ 168 h 248"/>
                <a:gd name="T76" fmla="*/ 10 w 122"/>
                <a:gd name="T77" fmla="*/ 171 h 248"/>
                <a:gd name="T78" fmla="*/ 11 w 122"/>
                <a:gd name="T79" fmla="*/ 176 h 248"/>
                <a:gd name="T80" fmla="*/ 23 w 122"/>
                <a:gd name="T81" fmla="*/ 199 h 248"/>
                <a:gd name="T82" fmla="*/ 27 w 122"/>
                <a:gd name="T83" fmla="*/ 201 h 248"/>
                <a:gd name="T84" fmla="*/ 32 w 122"/>
                <a:gd name="T85" fmla="*/ 201 h 248"/>
                <a:gd name="T86" fmla="*/ 46 w 122"/>
                <a:gd name="T87" fmla="*/ 194 h 248"/>
                <a:gd name="T88" fmla="*/ 49 w 122"/>
                <a:gd name="T89" fmla="*/ 217 h 248"/>
                <a:gd name="T90" fmla="*/ 49 w 122"/>
                <a:gd name="T91" fmla="*/ 220 h 248"/>
                <a:gd name="T92" fmla="*/ 51 w 122"/>
                <a:gd name="T93" fmla="*/ 224 h 248"/>
                <a:gd name="T94" fmla="*/ 74 w 122"/>
                <a:gd name="T95" fmla="*/ 239 h 248"/>
                <a:gd name="T96" fmla="*/ 76 w 122"/>
                <a:gd name="T97" fmla="*/ 239 h 248"/>
                <a:gd name="T98" fmla="*/ 81 w 122"/>
                <a:gd name="T99" fmla="*/ 238 h 248"/>
                <a:gd name="T100" fmla="*/ 91 w 122"/>
                <a:gd name="T101" fmla="*/ 223 h 248"/>
                <a:gd name="T102" fmla="*/ 106 w 122"/>
                <a:gd name="T103" fmla="*/ 227 h 248"/>
                <a:gd name="T104" fmla="*/ 106 w 122"/>
                <a:gd name="T105" fmla="*/ 242 h 248"/>
                <a:gd name="T106" fmla="*/ 108 w 122"/>
                <a:gd name="T107" fmla="*/ 247 h 248"/>
                <a:gd name="T108" fmla="*/ 113 w 122"/>
                <a:gd name="T109" fmla="*/ 248 h 248"/>
                <a:gd name="T110" fmla="*/ 122 w 122"/>
                <a:gd name="T111" fmla="*/ 19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2" h="248">
                  <a:moveTo>
                    <a:pt x="122" y="190"/>
                  </a:moveTo>
                  <a:lnTo>
                    <a:pt x="122" y="190"/>
                  </a:lnTo>
                  <a:lnTo>
                    <a:pt x="108" y="189"/>
                  </a:lnTo>
                  <a:lnTo>
                    <a:pt x="97" y="185"/>
                  </a:lnTo>
                  <a:lnTo>
                    <a:pt x="86" y="179"/>
                  </a:lnTo>
                  <a:lnTo>
                    <a:pt x="76" y="170"/>
                  </a:lnTo>
                  <a:lnTo>
                    <a:pt x="69" y="160"/>
                  </a:lnTo>
                  <a:lnTo>
                    <a:pt x="63" y="149"/>
                  </a:lnTo>
                  <a:lnTo>
                    <a:pt x="59" y="137"/>
                  </a:lnTo>
                  <a:lnTo>
                    <a:pt x="58" y="123"/>
                  </a:lnTo>
                  <a:lnTo>
                    <a:pt x="58" y="123"/>
                  </a:lnTo>
                  <a:lnTo>
                    <a:pt x="59" y="111"/>
                  </a:lnTo>
                  <a:lnTo>
                    <a:pt x="63" y="99"/>
                  </a:lnTo>
                  <a:lnTo>
                    <a:pt x="69" y="88"/>
                  </a:lnTo>
                  <a:lnTo>
                    <a:pt x="76" y="78"/>
                  </a:lnTo>
                  <a:lnTo>
                    <a:pt x="86" y="69"/>
                  </a:lnTo>
                  <a:lnTo>
                    <a:pt x="97" y="63"/>
                  </a:lnTo>
                  <a:lnTo>
                    <a:pt x="108" y="59"/>
                  </a:lnTo>
                  <a:lnTo>
                    <a:pt x="122" y="58"/>
                  </a:lnTo>
                  <a:lnTo>
                    <a:pt x="122" y="0"/>
                  </a:lnTo>
                  <a:lnTo>
                    <a:pt x="110" y="0"/>
                  </a:lnTo>
                  <a:lnTo>
                    <a:pt x="110" y="0"/>
                  </a:lnTo>
                  <a:lnTo>
                    <a:pt x="107" y="0"/>
                  </a:lnTo>
                  <a:lnTo>
                    <a:pt x="106" y="1"/>
                  </a:lnTo>
                  <a:lnTo>
                    <a:pt x="104" y="4"/>
                  </a:lnTo>
                  <a:lnTo>
                    <a:pt x="104" y="6"/>
                  </a:lnTo>
                  <a:lnTo>
                    <a:pt x="104" y="21"/>
                  </a:lnTo>
                  <a:lnTo>
                    <a:pt x="104" y="21"/>
                  </a:lnTo>
                  <a:lnTo>
                    <a:pt x="88" y="26"/>
                  </a:lnTo>
                  <a:lnTo>
                    <a:pt x="80" y="12"/>
                  </a:lnTo>
                  <a:lnTo>
                    <a:pt x="80" y="12"/>
                  </a:lnTo>
                  <a:lnTo>
                    <a:pt x="79" y="11"/>
                  </a:lnTo>
                  <a:lnTo>
                    <a:pt x="76" y="10"/>
                  </a:lnTo>
                  <a:lnTo>
                    <a:pt x="74" y="10"/>
                  </a:lnTo>
                  <a:lnTo>
                    <a:pt x="71" y="10"/>
                  </a:lnTo>
                  <a:lnTo>
                    <a:pt x="49" y="23"/>
                  </a:lnTo>
                  <a:lnTo>
                    <a:pt x="49" y="23"/>
                  </a:lnTo>
                  <a:lnTo>
                    <a:pt x="48" y="25"/>
                  </a:lnTo>
                  <a:lnTo>
                    <a:pt x="47" y="27"/>
                  </a:lnTo>
                  <a:lnTo>
                    <a:pt x="47" y="30"/>
                  </a:lnTo>
                  <a:lnTo>
                    <a:pt x="47" y="32"/>
                  </a:lnTo>
                  <a:lnTo>
                    <a:pt x="55" y="46"/>
                  </a:lnTo>
                  <a:lnTo>
                    <a:pt x="55" y="46"/>
                  </a:lnTo>
                  <a:lnTo>
                    <a:pt x="43" y="57"/>
                  </a:lnTo>
                  <a:lnTo>
                    <a:pt x="31" y="49"/>
                  </a:lnTo>
                  <a:lnTo>
                    <a:pt x="31" y="49"/>
                  </a:lnTo>
                  <a:lnTo>
                    <a:pt x="28" y="48"/>
                  </a:lnTo>
                  <a:lnTo>
                    <a:pt x="26" y="49"/>
                  </a:lnTo>
                  <a:lnTo>
                    <a:pt x="23" y="49"/>
                  </a:lnTo>
                  <a:lnTo>
                    <a:pt x="22" y="52"/>
                  </a:lnTo>
                  <a:lnTo>
                    <a:pt x="10" y="74"/>
                  </a:lnTo>
                  <a:lnTo>
                    <a:pt x="10" y="74"/>
                  </a:lnTo>
                  <a:lnTo>
                    <a:pt x="9" y="76"/>
                  </a:lnTo>
                  <a:lnTo>
                    <a:pt x="9" y="79"/>
                  </a:lnTo>
                  <a:lnTo>
                    <a:pt x="10" y="81"/>
                  </a:lnTo>
                  <a:lnTo>
                    <a:pt x="11" y="83"/>
                  </a:lnTo>
                  <a:lnTo>
                    <a:pt x="25" y="90"/>
                  </a:lnTo>
                  <a:lnTo>
                    <a:pt x="25" y="90"/>
                  </a:lnTo>
                  <a:lnTo>
                    <a:pt x="21" y="106"/>
                  </a:lnTo>
                  <a:lnTo>
                    <a:pt x="6" y="106"/>
                  </a:lnTo>
                  <a:lnTo>
                    <a:pt x="6" y="106"/>
                  </a:lnTo>
                  <a:lnTo>
                    <a:pt x="4" y="106"/>
                  </a:lnTo>
                  <a:lnTo>
                    <a:pt x="1" y="109"/>
                  </a:lnTo>
                  <a:lnTo>
                    <a:pt x="0" y="110"/>
                  </a:lnTo>
                  <a:lnTo>
                    <a:pt x="0" y="112"/>
                  </a:lnTo>
                  <a:lnTo>
                    <a:pt x="0" y="138"/>
                  </a:lnTo>
                  <a:lnTo>
                    <a:pt x="0" y="138"/>
                  </a:lnTo>
                  <a:lnTo>
                    <a:pt x="0" y="141"/>
                  </a:lnTo>
                  <a:lnTo>
                    <a:pt x="1" y="143"/>
                  </a:lnTo>
                  <a:lnTo>
                    <a:pt x="4" y="144"/>
                  </a:lnTo>
                  <a:lnTo>
                    <a:pt x="6" y="144"/>
                  </a:lnTo>
                  <a:lnTo>
                    <a:pt x="21" y="144"/>
                  </a:lnTo>
                  <a:lnTo>
                    <a:pt x="21" y="144"/>
                  </a:lnTo>
                  <a:lnTo>
                    <a:pt x="26" y="160"/>
                  </a:lnTo>
                  <a:lnTo>
                    <a:pt x="14" y="168"/>
                  </a:lnTo>
                  <a:lnTo>
                    <a:pt x="14" y="168"/>
                  </a:lnTo>
                  <a:lnTo>
                    <a:pt x="11" y="169"/>
                  </a:lnTo>
                  <a:lnTo>
                    <a:pt x="10" y="171"/>
                  </a:lnTo>
                  <a:lnTo>
                    <a:pt x="10" y="174"/>
                  </a:lnTo>
                  <a:lnTo>
                    <a:pt x="11" y="176"/>
                  </a:lnTo>
                  <a:lnTo>
                    <a:pt x="23" y="199"/>
                  </a:lnTo>
                  <a:lnTo>
                    <a:pt x="23" y="199"/>
                  </a:lnTo>
                  <a:lnTo>
                    <a:pt x="25" y="201"/>
                  </a:lnTo>
                  <a:lnTo>
                    <a:pt x="27" y="201"/>
                  </a:lnTo>
                  <a:lnTo>
                    <a:pt x="30" y="202"/>
                  </a:lnTo>
                  <a:lnTo>
                    <a:pt x="32" y="201"/>
                  </a:lnTo>
                  <a:lnTo>
                    <a:pt x="46" y="194"/>
                  </a:lnTo>
                  <a:lnTo>
                    <a:pt x="46" y="194"/>
                  </a:lnTo>
                  <a:lnTo>
                    <a:pt x="57" y="205"/>
                  </a:lnTo>
                  <a:lnTo>
                    <a:pt x="49" y="217"/>
                  </a:lnTo>
                  <a:lnTo>
                    <a:pt x="49" y="217"/>
                  </a:lnTo>
                  <a:lnTo>
                    <a:pt x="49" y="220"/>
                  </a:lnTo>
                  <a:lnTo>
                    <a:pt x="49" y="222"/>
                  </a:lnTo>
                  <a:lnTo>
                    <a:pt x="51" y="224"/>
                  </a:lnTo>
                  <a:lnTo>
                    <a:pt x="52" y="226"/>
                  </a:lnTo>
                  <a:lnTo>
                    <a:pt x="74" y="239"/>
                  </a:lnTo>
                  <a:lnTo>
                    <a:pt x="74" y="239"/>
                  </a:lnTo>
                  <a:lnTo>
                    <a:pt x="76" y="239"/>
                  </a:lnTo>
                  <a:lnTo>
                    <a:pt x="79" y="239"/>
                  </a:lnTo>
                  <a:lnTo>
                    <a:pt x="81" y="238"/>
                  </a:lnTo>
                  <a:lnTo>
                    <a:pt x="83" y="237"/>
                  </a:lnTo>
                  <a:lnTo>
                    <a:pt x="91" y="223"/>
                  </a:lnTo>
                  <a:lnTo>
                    <a:pt x="91" y="223"/>
                  </a:lnTo>
                  <a:lnTo>
                    <a:pt x="106" y="227"/>
                  </a:lnTo>
                  <a:lnTo>
                    <a:pt x="106" y="242"/>
                  </a:lnTo>
                  <a:lnTo>
                    <a:pt x="106" y="242"/>
                  </a:lnTo>
                  <a:lnTo>
                    <a:pt x="107" y="244"/>
                  </a:lnTo>
                  <a:lnTo>
                    <a:pt x="108" y="247"/>
                  </a:lnTo>
                  <a:lnTo>
                    <a:pt x="111" y="248"/>
                  </a:lnTo>
                  <a:lnTo>
                    <a:pt x="113" y="248"/>
                  </a:lnTo>
                  <a:lnTo>
                    <a:pt x="122" y="248"/>
                  </a:lnTo>
                  <a:lnTo>
                    <a:pt x="122" y="190"/>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4" name="Freeform 272">
              <a:extLst>
                <a:ext uri="{FF2B5EF4-FFF2-40B4-BE49-F238E27FC236}">
                  <a16:creationId xmlns:a16="http://schemas.microsoft.com/office/drawing/2014/main" id="{C170E87F-9CAF-9586-6C3A-631ADEBB1B0B}"/>
                </a:ext>
              </a:extLst>
            </p:cNvPr>
            <p:cNvSpPr>
              <a:spLocks noEditPoints="1"/>
            </p:cNvSpPr>
            <p:nvPr/>
          </p:nvSpPr>
          <p:spPr bwMode="auto">
            <a:xfrm>
              <a:off x="7595334" y="3402023"/>
              <a:ext cx="239193" cy="218494"/>
            </a:xfrm>
            <a:custGeom>
              <a:avLst/>
              <a:gdLst>
                <a:gd name="T0" fmla="*/ 82 w 162"/>
                <a:gd name="T1" fmla="*/ 0 h 162"/>
                <a:gd name="T2" fmla="*/ 65 w 162"/>
                <a:gd name="T3" fmla="*/ 1 h 162"/>
                <a:gd name="T4" fmla="*/ 49 w 162"/>
                <a:gd name="T5" fmla="*/ 6 h 162"/>
                <a:gd name="T6" fmla="*/ 36 w 162"/>
                <a:gd name="T7" fmla="*/ 14 h 162"/>
                <a:gd name="T8" fmla="*/ 24 w 162"/>
                <a:gd name="T9" fmla="*/ 24 h 162"/>
                <a:gd name="T10" fmla="*/ 14 w 162"/>
                <a:gd name="T11" fmla="*/ 36 h 162"/>
                <a:gd name="T12" fmla="*/ 6 w 162"/>
                <a:gd name="T13" fmla="*/ 50 h 162"/>
                <a:gd name="T14" fmla="*/ 3 w 162"/>
                <a:gd name="T15" fmla="*/ 64 h 162"/>
                <a:gd name="T16" fmla="*/ 0 w 162"/>
                <a:gd name="T17" fmla="*/ 82 h 162"/>
                <a:gd name="T18" fmla="*/ 1 w 162"/>
                <a:gd name="T19" fmla="*/ 89 h 162"/>
                <a:gd name="T20" fmla="*/ 4 w 162"/>
                <a:gd name="T21" fmla="*/ 105 h 162"/>
                <a:gd name="T22" fmla="*/ 10 w 162"/>
                <a:gd name="T23" fmla="*/ 120 h 162"/>
                <a:gd name="T24" fmla="*/ 19 w 162"/>
                <a:gd name="T25" fmla="*/ 132 h 162"/>
                <a:gd name="T26" fmla="*/ 30 w 162"/>
                <a:gd name="T27" fmla="*/ 143 h 162"/>
                <a:gd name="T28" fmla="*/ 43 w 162"/>
                <a:gd name="T29" fmla="*/ 152 h 162"/>
                <a:gd name="T30" fmla="*/ 57 w 162"/>
                <a:gd name="T31" fmla="*/ 158 h 162"/>
                <a:gd name="T32" fmla="*/ 73 w 162"/>
                <a:gd name="T33" fmla="*/ 162 h 162"/>
                <a:gd name="T34" fmla="*/ 82 w 162"/>
                <a:gd name="T35" fmla="*/ 162 h 162"/>
                <a:gd name="T36" fmla="*/ 98 w 162"/>
                <a:gd name="T37" fmla="*/ 161 h 162"/>
                <a:gd name="T38" fmla="*/ 112 w 162"/>
                <a:gd name="T39" fmla="*/ 156 h 162"/>
                <a:gd name="T40" fmla="*/ 126 w 162"/>
                <a:gd name="T41" fmla="*/ 148 h 162"/>
                <a:gd name="T42" fmla="*/ 138 w 162"/>
                <a:gd name="T43" fmla="*/ 138 h 162"/>
                <a:gd name="T44" fmla="*/ 148 w 162"/>
                <a:gd name="T45" fmla="*/ 126 h 162"/>
                <a:gd name="T46" fmla="*/ 156 w 162"/>
                <a:gd name="T47" fmla="*/ 112 h 162"/>
                <a:gd name="T48" fmla="*/ 160 w 162"/>
                <a:gd name="T49" fmla="*/ 98 h 162"/>
                <a:gd name="T50" fmla="*/ 162 w 162"/>
                <a:gd name="T51" fmla="*/ 82 h 162"/>
                <a:gd name="T52" fmla="*/ 162 w 162"/>
                <a:gd name="T53" fmla="*/ 73 h 162"/>
                <a:gd name="T54" fmla="*/ 158 w 162"/>
                <a:gd name="T55" fmla="*/ 57 h 162"/>
                <a:gd name="T56" fmla="*/ 152 w 162"/>
                <a:gd name="T57" fmla="*/ 42 h 162"/>
                <a:gd name="T58" fmla="*/ 143 w 162"/>
                <a:gd name="T59" fmla="*/ 30 h 162"/>
                <a:gd name="T60" fmla="*/ 133 w 162"/>
                <a:gd name="T61" fmla="*/ 19 h 162"/>
                <a:gd name="T62" fmla="*/ 120 w 162"/>
                <a:gd name="T63" fmla="*/ 10 h 162"/>
                <a:gd name="T64" fmla="*/ 105 w 162"/>
                <a:gd name="T65" fmla="*/ 4 h 162"/>
                <a:gd name="T66" fmla="*/ 89 w 162"/>
                <a:gd name="T67" fmla="*/ 0 h 162"/>
                <a:gd name="T68" fmla="*/ 82 w 162"/>
                <a:gd name="T69" fmla="*/ 0 h 162"/>
                <a:gd name="T70" fmla="*/ 82 w 162"/>
                <a:gd name="T71" fmla="*/ 147 h 162"/>
                <a:gd name="T72" fmla="*/ 56 w 162"/>
                <a:gd name="T73" fmla="*/ 142 h 162"/>
                <a:gd name="T74" fmla="*/ 35 w 162"/>
                <a:gd name="T75" fmla="*/ 128 h 162"/>
                <a:gd name="T76" fmla="*/ 20 w 162"/>
                <a:gd name="T77" fmla="*/ 106 h 162"/>
                <a:gd name="T78" fmla="*/ 15 w 162"/>
                <a:gd name="T79" fmla="*/ 80 h 162"/>
                <a:gd name="T80" fmla="*/ 16 w 162"/>
                <a:gd name="T81" fmla="*/ 68 h 162"/>
                <a:gd name="T82" fmla="*/ 26 w 162"/>
                <a:gd name="T83" fmla="*/ 43 h 162"/>
                <a:gd name="T84" fmla="*/ 45 w 162"/>
                <a:gd name="T85" fmla="*/ 26 h 162"/>
                <a:gd name="T86" fmla="*/ 68 w 162"/>
                <a:gd name="T87" fmla="*/ 16 h 162"/>
                <a:gd name="T88" fmla="*/ 82 w 162"/>
                <a:gd name="T89" fmla="*/ 15 h 162"/>
                <a:gd name="T90" fmla="*/ 107 w 162"/>
                <a:gd name="T91" fmla="*/ 20 h 162"/>
                <a:gd name="T92" fmla="*/ 128 w 162"/>
                <a:gd name="T93" fmla="*/ 33 h 162"/>
                <a:gd name="T94" fmla="*/ 142 w 162"/>
                <a:gd name="T95" fmla="*/ 56 h 162"/>
                <a:gd name="T96" fmla="*/ 148 w 162"/>
                <a:gd name="T97" fmla="*/ 80 h 162"/>
                <a:gd name="T98" fmla="*/ 147 w 162"/>
                <a:gd name="T99" fmla="*/ 94 h 162"/>
                <a:gd name="T100" fmla="*/ 136 w 162"/>
                <a:gd name="T101" fmla="*/ 119 h 162"/>
                <a:gd name="T102" fmla="*/ 119 w 162"/>
                <a:gd name="T103" fmla="*/ 136 h 162"/>
                <a:gd name="T104" fmla="*/ 95 w 162"/>
                <a:gd name="T105" fmla="*/ 146 h 162"/>
                <a:gd name="T106" fmla="*/ 82 w 162"/>
                <a:gd name="T107" fmla="*/ 147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2" h="162">
                  <a:moveTo>
                    <a:pt x="82" y="0"/>
                  </a:moveTo>
                  <a:lnTo>
                    <a:pt x="82" y="0"/>
                  </a:lnTo>
                  <a:lnTo>
                    <a:pt x="73" y="0"/>
                  </a:lnTo>
                  <a:lnTo>
                    <a:pt x="65" y="1"/>
                  </a:lnTo>
                  <a:lnTo>
                    <a:pt x="57" y="4"/>
                  </a:lnTo>
                  <a:lnTo>
                    <a:pt x="49" y="6"/>
                  </a:lnTo>
                  <a:lnTo>
                    <a:pt x="43" y="10"/>
                  </a:lnTo>
                  <a:lnTo>
                    <a:pt x="36" y="14"/>
                  </a:lnTo>
                  <a:lnTo>
                    <a:pt x="30" y="19"/>
                  </a:lnTo>
                  <a:lnTo>
                    <a:pt x="24" y="24"/>
                  </a:lnTo>
                  <a:lnTo>
                    <a:pt x="19" y="30"/>
                  </a:lnTo>
                  <a:lnTo>
                    <a:pt x="14" y="36"/>
                  </a:lnTo>
                  <a:lnTo>
                    <a:pt x="10" y="42"/>
                  </a:lnTo>
                  <a:lnTo>
                    <a:pt x="6" y="50"/>
                  </a:lnTo>
                  <a:lnTo>
                    <a:pt x="4" y="57"/>
                  </a:lnTo>
                  <a:lnTo>
                    <a:pt x="3" y="64"/>
                  </a:lnTo>
                  <a:lnTo>
                    <a:pt x="1" y="73"/>
                  </a:lnTo>
                  <a:lnTo>
                    <a:pt x="0" y="82"/>
                  </a:lnTo>
                  <a:lnTo>
                    <a:pt x="0" y="82"/>
                  </a:lnTo>
                  <a:lnTo>
                    <a:pt x="1" y="89"/>
                  </a:lnTo>
                  <a:lnTo>
                    <a:pt x="3" y="98"/>
                  </a:lnTo>
                  <a:lnTo>
                    <a:pt x="4" y="105"/>
                  </a:lnTo>
                  <a:lnTo>
                    <a:pt x="6" y="112"/>
                  </a:lnTo>
                  <a:lnTo>
                    <a:pt x="10" y="120"/>
                  </a:lnTo>
                  <a:lnTo>
                    <a:pt x="14" y="126"/>
                  </a:lnTo>
                  <a:lnTo>
                    <a:pt x="19" y="132"/>
                  </a:lnTo>
                  <a:lnTo>
                    <a:pt x="24" y="138"/>
                  </a:lnTo>
                  <a:lnTo>
                    <a:pt x="30" y="143"/>
                  </a:lnTo>
                  <a:lnTo>
                    <a:pt x="36" y="148"/>
                  </a:lnTo>
                  <a:lnTo>
                    <a:pt x="43" y="152"/>
                  </a:lnTo>
                  <a:lnTo>
                    <a:pt x="49" y="156"/>
                  </a:lnTo>
                  <a:lnTo>
                    <a:pt x="57" y="158"/>
                  </a:lnTo>
                  <a:lnTo>
                    <a:pt x="65" y="161"/>
                  </a:lnTo>
                  <a:lnTo>
                    <a:pt x="73" y="162"/>
                  </a:lnTo>
                  <a:lnTo>
                    <a:pt x="82" y="162"/>
                  </a:lnTo>
                  <a:lnTo>
                    <a:pt x="82" y="162"/>
                  </a:lnTo>
                  <a:lnTo>
                    <a:pt x="89" y="162"/>
                  </a:lnTo>
                  <a:lnTo>
                    <a:pt x="98" y="161"/>
                  </a:lnTo>
                  <a:lnTo>
                    <a:pt x="105" y="158"/>
                  </a:lnTo>
                  <a:lnTo>
                    <a:pt x="112" y="156"/>
                  </a:lnTo>
                  <a:lnTo>
                    <a:pt x="120" y="152"/>
                  </a:lnTo>
                  <a:lnTo>
                    <a:pt x="126" y="148"/>
                  </a:lnTo>
                  <a:lnTo>
                    <a:pt x="133" y="143"/>
                  </a:lnTo>
                  <a:lnTo>
                    <a:pt x="138" y="138"/>
                  </a:lnTo>
                  <a:lnTo>
                    <a:pt x="143" y="132"/>
                  </a:lnTo>
                  <a:lnTo>
                    <a:pt x="148" y="126"/>
                  </a:lnTo>
                  <a:lnTo>
                    <a:pt x="152" y="120"/>
                  </a:lnTo>
                  <a:lnTo>
                    <a:pt x="156" y="112"/>
                  </a:lnTo>
                  <a:lnTo>
                    <a:pt x="158" y="105"/>
                  </a:lnTo>
                  <a:lnTo>
                    <a:pt x="160" y="98"/>
                  </a:lnTo>
                  <a:lnTo>
                    <a:pt x="162" y="89"/>
                  </a:lnTo>
                  <a:lnTo>
                    <a:pt x="162" y="82"/>
                  </a:lnTo>
                  <a:lnTo>
                    <a:pt x="162" y="82"/>
                  </a:lnTo>
                  <a:lnTo>
                    <a:pt x="162" y="73"/>
                  </a:lnTo>
                  <a:lnTo>
                    <a:pt x="160" y="64"/>
                  </a:lnTo>
                  <a:lnTo>
                    <a:pt x="158" y="57"/>
                  </a:lnTo>
                  <a:lnTo>
                    <a:pt x="156" y="50"/>
                  </a:lnTo>
                  <a:lnTo>
                    <a:pt x="152" y="42"/>
                  </a:lnTo>
                  <a:lnTo>
                    <a:pt x="148" y="36"/>
                  </a:lnTo>
                  <a:lnTo>
                    <a:pt x="143" y="30"/>
                  </a:lnTo>
                  <a:lnTo>
                    <a:pt x="138" y="24"/>
                  </a:lnTo>
                  <a:lnTo>
                    <a:pt x="133" y="19"/>
                  </a:lnTo>
                  <a:lnTo>
                    <a:pt x="126" y="14"/>
                  </a:lnTo>
                  <a:lnTo>
                    <a:pt x="120" y="10"/>
                  </a:lnTo>
                  <a:lnTo>
                    <a:pt x="112" y="6"/>
                  </a:lnTo>
                  <a:lnTo>
                    <a:pt x="105" y="4"/>
                  </a:lnTo>
                  <a:lnTo>
                    <a:pt x="98" y="1"/>
                  </a:lnTo>
                  <a:lnTo>
                    <a:pt x="89" y="0"/>
                  </a:lnTo>
                  <a:lnTo>
                    <a:pt x="82" y="0"/>
                  </a:lnTo>
                  <a:lnTo>
                    <a:pt x="82" y="0"/>
                  </a:lnTo>
                  <a:close/>
                  <a:moveTo>
                    <a:pt x="82" y="147"/>
                  </a:moveTo>
                  <a:lnTo>
                    <a:pt x="82" y="147"/>
                  </a:lnTo>
                  <a:lnTo>
                    <a:pt x="68" y="146"/>
                  </a:lnTo>
                  <a:lnTo>
                    <a:pt x="56" y="142"/>
                  </a:lnTo>
                  <a:lnTo>
                    <a:pt x="45" y="136"/>
                  </a:lnTo>
                  <a:lnTo>
                    <a:pt x="35" y="128"/>
                  </a:lnTo>
                  <a:lnTo>
                    <a:pt x="26" y="119"/>
                  </a:lnTo>
                  <a:lnTo>
                    <a:pt x="20" y="106"/>
                  </a:lnTo>
                  <a:lnTo>
                    <a:pt x="16" y="94"/>
                  </a:lnTo>
                  <a:lnTo>
                    <a:pt x="15" y="80"/>
                  </a:lnTo>
                  <a:lnTo>
                    <a:pt x="15" y="80"/>
                  </a:lnTo>
                  <a:lnTo>
                    <a:pt x="16" y="68"/>
                  </a:lnTo>
                  <a:lnTo>
                    <a:pt x="20" y="56"/>
                  </a:lnTo>
                  <a:lnTo>
                    <a:pt x="26" y="43"/>
                  </a:lnTo>
                  <a:lnTo>
                    <a:pt x="35" y="33"/>
                  </a:lnTo>
                  <a:lnTo>
                    <a:pt x="45" y="26"/>
                  </a:lnTo>
                  <a:lnTo>
                    <a:pt x="56" y="20"/>
                  </a:lnTo>
                  <a:lnTo>
                    <a:pt x="68" y="16"/>
                  </a:lnTo>
                  <a:lnTo>
                    <a:pt x="82" y="15"/>
                  </a:lnTo>
                  <a:lnTo>
                    <a:pt x="82" y="15"/>
                  </a:lnTo>
                  <a:lnTo>
                    <a:pt x="95" y="16"/>
                  </a:lnTo>
                  <a:lnTo>
                    <a:pt x="107" y="20"/>
                  </a:lnTo>
                  <a:lnTo>
                    <a:pt x="119" y="26"/>
                  </a:lnTo>
                  <a:lnTo>
                    <a:pt x="128" y="33"/>
                  </a:lnTo>
                  <a:lnTo>
                    <a:pt x="136" y="43"/>
                  </a:lnTo>
                  <a:lnTo>
                    <a:pt x="142" y="56"/>
                  </a:lnTo>
                  <a:lnTo>
                    <a:pt x="147" y="68"/>
                  </a:lnTo>
                  <a:lnTo>
                    <a:pt x="148" y="80"/>
                  </a:lnTo>
                  <a:lnTo>
                    <a:pt x="148" y="80"/>
                  </a:lnTo>
                  <a:lnTo>
                    <a:pt x="147" y="94"/>
                  </a:lnTo>
                  <a:lnTo>
                    <a:pt x="142" y="106"/>
                  </a:lnTo>
                  <a:lnTo>
                    <a:pt x="136" y="119"/>
                  </a:lnTo>
                  <a:lnTo>
                    <a:pt x="128" y="128"/>
                  </a:lnTo>
                  <a:lnTo>
                    <a:pt x="119" y="136"/>
                  </a:lnTo>
                  <a:lnTo>
                    <a:pt x="107" y="142"/>
                  </a:lnTo>
                  <a:lnTo>
                    <a:pt x="95" y="146"/>
                  </a:lnTo>
                  <a:lnTo>
                    <a:pt x="82" y="147"/>
                  </a:lnTo>
                  <a:lnTo>
                    <a:pt x="82" y="147"/>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5" name="Freeform 273">
              <a:extLst>
                <a:ext uri="{FF2B5EF4-FFF2-40B4-BE49-F238E27FC236}">
                  <a16:creationId xmlns:a16="http://schemas.microsoft.com/office/drawing/2014/main" id="{BE8517B8-2A5B-0151-E4B1-F64B276D4AB2}"/>
                </a:ext>
              </a:extLst>
            </p:cNvPr>
            <p:cNvSpPr>
              <a:spLocks/>
            </p:cNvSpPr>
            <p:nvPr/>
          </p:nvSpPr>
          <p:spPr bwMode="auto">
            <a:xfrm>
              <a:off x="7711978" y="3402023"/>
              <a:ext cx="122550" cy="218494"/>
            </a:xfrm>
            <a:custGeom>
              <a:avLst/>
              <a:gdLst>
                <a:gd name="T0" fmla="*/ 3 w 83"/>
                <a:gd name="T1" fmla="*/ 0 h 162"/>
                <a:gd name="T2" fmla="*/ 0 w 83"/>
                <a:gd name="T3" fmla="*/ 15 h 162"/>
                <a:gd name="T4" fmla="*/ 3 w 83"/>
                <a:gd name="T5" fmla="*/ 15 h 162"/>
                <a:gd name="T6" fmla="*/ 16 w 83"/>
                <a:gd name="T7" fmla="*/ 16 h 162"/>
                <a:gd name="T8" fmla="*/ 40 w 83"/>
                <a:gd name="T9" fmla="*/ 26 h 162"/>
                <a:gd name="T10" fmla="*/ 57 w 83"/>
                <a:gd name="T11" fmla="*/ 43 h 162"/>
                <a:gd name="T12" fmla="*/ 68 w 83"/>
                <a:gd name="T13" fmla="*/ 68 h 162"/>
                <a:gd name="T14" fmla="*/ 69 w 83"/>
                <a:gd name="T15" fmla="*/ 80 h 162"/>
                <a:gd name="T16" fmla="*/ 63 w 83"/>
                <a:gd name="T17" fmla="*/ 106 h 162"/>
                <a:gd name="T18" fmla="*/ 49 w 83"/>
                <a:gd name="T19" fmla="*/ 128 h 162"/>
                <a:gd name="T20" fmla="*/ 28 w 83"/>
                <a:gd name="T21" fmla="*/ 142 h 162"/>
                <a:gd name="T22" fmla="*/ 3 w 83"/>
                <a:gd name="T23" fmla="*/ 147 h 162"/>
                <a:gd name="T24" fmla="*/ 0 w 83"/>
                <a:gd name="T25" fmla="*/ 147 h 162"/>
                <a:gd name="T26" fmla="*/ 0 w 83"/>
                <a:gd name="T27" fmla="*/ 162 h 162"/>
                <a:gd name="T28" fmla="*/ 3 w 83"/>
                <a:gd name="T29" fmla="*/ 162 h 162"/>
                <a:gd name="T30" fmla="*/ 19 w 83"/>
                <a:gd name="T31" fmla="*/ 161 h 162"/>
                <a:gd name="T32" fmla="*/ 33 w 83"/>
                <a:gd name="T33" fmla="*/ 156 h 162"/>
                <a:gd name="T34" fmla="*/ 47 w 83"/>
                <a:gd name="T35" fmla="*/ 148 h 162"/>
                <a:gd name="T36" fmla="*/ 59 w 83"/>
                <a:gd name="T37" fmla="*/ 138 h 162"/>
                <a:gd name="T38" fmla="*/ 69 w 83"/>
                <a:gd name="T39" fmla="*/ 126 h 162"/>
                <a:gd name="T40" fmla="*/ 77 w 83"/>
                <a:gd name="T41" fmla="*/ 112 h 162"/>
                <a:gd name="T42" fmla="*/ 81 w 83"/>
                <a:gd name="T43" fmla="*/ 98 h 162"/>
                <a:gd name="T44" fmla="*/ 83 w 83"/>
                <a:gd name="T45" fmla="*/ 82 h 162"/>
                <a:gd name="T46" fmla="*/ 83 w 83"/>
                <a:gd name="T47" fmla="*/ 73 h 162"/>
                <a:gd name="T48" fmla="*/ 79 w 83"/>
                <a:gd name="T49" fmla="*/ 57 h 162"/>
                <a:gd name="T50" fmla="*/ 73 w 83"/>
                <a:gd name="T51" fmla="*/ 42 h 162"/>
                <a:gd name="T52" fmla="*/ 64 w 83"/>
                <a:gd name="T53" fmla="*/ 30 h 162"/>
                <a:gd name="T54" fmla="*/ 54 w 83"/>
                <a:gd name="T55" fmla="*/ 19 h 162"/>
                <a:gd name="T56" fmla="*/ 41 w 83"/>
                <a:gd name="T57" fmla="*/ 10 h 162"/>
                <a:gd name="T58" fmla="*/ 26 w 83"/>
                <a:gd name="T59" fmla="*/ 4 h 162"/>
                <a:gd name="T60" fmla="*/ 10 w 83"/>
                <a:gd name="T61" fmla="*/ 0 h 162"/>
                <a:gd name="T62" fmla="*/ 3 w 83"/>
                <a:gd name="T63"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 h="162">
                  <a:moveTo>
                    <a:pt x="3" y="0"/>
                  </a:moveTo>
                  <a:lnTo>
                    <a:pt x="3" y="0"/>
                  </a:lnTo>
                  <a:lnTo>
                    <a:pt x="0" y="0"/>
                  </a:lnTo>
                  <a:lnTo>
                    <a:pt x="0" y="15"/>
                  </a:lnTo>
                  <a:lnTo>
                    <a:pt x="0" y="15"/>
                  </a:lnTo>
                  <a:lnTo>
                    <a:pt x="3" y="15"/>
                  </a:lnTo>
                  <a:lnTo>
                    <a:pt x="3" y="15"/>
                  </a:lnTo>
                  <a:lnTo>
                    <a:pt x="16" y="16"/>
                  </a:lnTo>
                  <a:lnTo>
                    <a:pt x="28" y="20"/>
                  </a:lnTo>
                  <a:lnTo>
                    <a:pt x="40" y="26"/>
                  </a:lnTo>
                  <a:lnTo>
                    <a:pt x="49" y="33"/>
                  </a:lnTo>
                  <a:lnTo>
                    <a:pt x="57" y="43"/>
                  </a:lnTo>
                  <a:lnTo>
                    <a:pt x="63" y="56"/>
                  </a:lnTo>
                  <a:lnTo>
                    <a:pt x="68" y="68"/>
                  </a:lnTo>
                  <a:lnTo>
                    <a:pt x="69" y="80"/>
                  </a:lnTo>
                  <a:lnTo>
                    <a:pt x="69" y="80"/>
                  </a:lnTo>
                  <a:lnTo>
                    <a:pt x="68" y="94"/>
                  </a:lnTo>
                  <a:lnTo>
                    <a:pt x="63" y="106"/>
                  </a:lnTo>
                  <a:lnTo>
                    <a:pt x="57" y="119"/>
                  </a:lnTo>
                  <a:lnTo>
                    <a:pt x="49" y="128"/>
                  </a:lnTo>
                  <a:lnTo>
                    <a:pt x="40" y="136"/>
                  </a:lnTo>
                  <a:lnTo>
                    <a:pt x="28" y="142"/>
                  </a:lnTo>
                  <a:lnTo>
                    <a:pt x="16" y="146"/>
                  </a:lnTo>
                  <a:lnTo>
                    <a:pt x="3" y="147"/>
                  </a:lnTo>
                  <a:lnTo>
                    <a:pt x="3" y="147"/>
                  </a:lnTo>
                  <a:lnTo>
                    <a:pt x="0" y="147"/>
                  </a:lnTo>
                  <a:lnTo>
                    <a:pt x="0" y="162"/>
                  </a:lnTo>
                  <a:lnTo>
                    <a:pt x="0" y="162"/>
                  </a:lnTo>
                  <a:lnTo>
                    <a:pt x="3" y="162"/>
                  </a:lnTo>
                  <a:lnTo>
                    <a:pt x="3" y="162"/>
                  </a:lnTo>
                  <a:lnTo>
                    <a:pt x="10" y="162"/>
                  </a:lnTo>
                  <a:lnTo>
                    <a:pt x="19" y="161"/>
                  </a:lnTo>
                  <a:lnTo>
                    <a:pt x="26" y="158"/>
                  </a:lnTo>
                  <a:lnTo>
                    <a:pt x="33" y="156"/>
                  </a:lnTo>
                  <a:lnTo>
                    <a:pt x="41" y="152"/>
                  </a:lnTo>
                  <a:lnTo>
                    <a:pt x="47" y="148"/>
                  </a:lnTo>
                  <a:lnTo>
                    <a:pt x="54" y="143"/>
                  </a:lnTo>
                  <a:lnTo>
                    <a:pt x="59" y="138"/>
                  </a:lnTo>
                  <a:lnTo>
                    <a:pt x="64" y="132"/>
                  </a:lnTo>
                  <a:lnTo>
                    <a:pt x="69" y="126"/>
                  </a:lnTo>
                  <a:lnTo>
                    <a:pt x="73" y="120"/>
                  </a:lnTo>
                  <a:lnTo>
                    <a:pt x="77" y="112"/>
                  </a:lnTo>
                  <a:lnTo>
                    <a:pt x="79" y="105"/>
                  </a:lnTo>
                  <a:lnTo>
                    <a:pt x="81" y="98"/>
                  </a:lnTo>
                  <a:lnTo>
                    <a:pt x="83" y="89"/>
                  </a:lnTo>
                  <a:lnTo>
                    <a:pt x="83" y="82"/>
                  </a:lnTo>
                  <a:lnTo>
                    <a:pt x="83" y="82"/>
                  </a:lnTo>
                  <a:lnTo>
                    <a:pt x="83" y="73"/>
                  </a:lnTo>
                  <a:lnTo>
                    <a:pt x="81" y="64"/>
                  </a:lnTo>
                  <a:lnTo>
                    <a:pt x="79" y="57"/>
                  </a:lnTo>
                  <a:lnTo>
                    <a:pt x="77" y="50"/>
                  </a:lnTo>
                  <a:lnTo>
                    <a:pt x="73" y="42"/>
                  </a:lnTo>
                  <a:lnTo>
                    <a:pt x="69" y="36"/>
                  </a:lnTo>
                  <a:lnTo>
                    <a:pt x="64" y="30"/>
                  </a:lnTo>
                  <a:lnTo>
                    <a:pt x="59" y="24"/>
                  </a:lnTo>
                  <a:lnTo>
                    <a:pt x="54" y="19"/>
                  </a:lnTo>
                  <a:lnTo>
                    <a:pt x="47" y="14"/>
                  </a:lnTo>
                  <a:lnTo>
                    <a:pt x="41" y="10"/>
                  </a:lnTo>
                  <a:lnTo>
                    <a:pt x="33" y="6"/>
                  </a:lnTo>
                  <a:lnTo>
                    <a:pt x="26" y="4"/>
                  </a:lnTo>
                  <a:lnTo>
                    <a:pt x="19" y="1"/>
                  </a:lnTo>
                  <a:lnTo>
                    <a:pt x="10" y="0"/>
                  </a:lnTo>
                  <a:lnTo>
                    <a:pt x="3" y="0"/>
                  </a:lnTo>
                  <a:lnTo>
                    <a:pt x="3" y="0"/>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6" name="Freeform 274">
              <a:extLst>
                <a:ext uri="{FF2B5EF4-FFF2-40B4-BE49-F238E27FC236}">
                  <a16:creationId xmlns:a16="http://schemas.microsoft.com/office/drawing/2014/main" id="{E9BE0CEE-FB80-F49F-1EB5-C7385CCFFB8D}"/>
                </a:ext>
              </a:extLst>
            </p:cNvPr>
            <p:cNvSpPr>
              <a:spLocks/>
            </p:cNvSpPr>
            <p:nvPr/>
          </p:nvSpPr>
          <p:spPr bwMode="auto">
            <a:xfrm>
              <a:off x="7711978" y="3420905"/>
              <a:ext cx="103355" cy="180730"/>
            </a:xfrm>
            <a:custGeom>
              <a:avLst/>
              <a:gdLst>
                <a:gd name="T0" fmla="*/ 3 w 70"/>
                <a:gd name="T1" fmla="*/ 0 h 134"/>
                <a:gd name="T2" fmla="*/ 3 w 70"/>
                <a:gd name="T3" fmla="*/ 0 h 134"/>
                <a:gd name="T4" fmla="*/ 0 w 70"/>
                <a:gd name="T5" fmla="*/ 0 h 134"/>
                <a:gd name="T6" fmla="*/ 0 w 70"/>
                <a:gd name="T7" fmla="*/ 11 h 134"/>
                <a:gd name="T8" fmla="*/ 0 w 70"/>
                <a:gd name="T9" fmla="*/ 11 h 134"/>
                <a:gd name="T10" fmla="*/ 3 w 70"/>
                <a:gd name="T11" fmla="*/ 11 h 134"/>
                <a:gd name="T12" fmla="*/ 3 w 70"/>
                <a:gd name="T13" fmla="*/ 11 h 134"/>
                <a:gd name="T14" fmla="*/ 14 w 70"/>
                <a:gd name="T15" fmla="*/ 12 h 134"/>
                <a:gd name="T16" fmla="*/ 23 w 70"/>
                <a:gd name="T17" fmla="*/ 16 h 134"/>
                <a:gd name="T18" fmla="*/ 33 w 70"/>
                <a:gd name="T19" fmla="*/ 21 h 134"/>
                <a:gd name="T20" fmla="*/ 42 w 70"/>
                <a:gd name="T21" fmla="*/ 28 h 134"/>
                <a:gd name="T22" fmla="*/ 48 w 70"/>
                <a:gd name="T23" fmla="*/ 36 h 134"/>
                <a:gd name="T24" fmla="*/ 53 w 70"/>
                <a:gd name="T25" fmla="*/ 45 h 134"/>
                <a:gd name="T26" fmla="*/ 57 w 70"/>
                <a:gd name="T27" fmla="*/ 55 h 134"/>
                <a:gd name="T28" fmla="*/ 58 w 70"/>
                <a:gd name="T29" fmla="*/ 66 h 134"/>
                <a:gd name="T30" fmla="*/ 58 w 70"/>
                <a:gd name="T31" fmla="*/ 66 h 134"/>
                <a:gd name="T32" fmla="*/ 57 w 70"/>
                <a:gd name="T33" fmla="*/ 79 h 134"/>
                <a:gd name="T34" fmla="*/ 53 w 70"/>
                <a:gd name="T35" fmla="*/ 89 h 134"/>
                <a:gd name="T36" fmla="*/ 48 w 70"/>
                <a:gd name="T37" fmla="*/ 98 h 134"/>
                <a:gd name="T38" fmla="*/ 42 w 70"/>
                <a:gd name="T39" fmla="*/ 106 h 134"/>
                <a:gd name="T40" fmla="*/ 33 w 70"/>
                <a:gd name="T41" fmla="*/ 113 h 134"/>
                <a:gd name="T42" fmla="*/ 23 w 70"/>
                <a:gd name="T43" fmla="*/ 118 h 134"/>
                <a:gd name="T44" fmla="*/ 14 w 70"/>
                <a:gd name="T45" fmla="*/ 122 h 134"/>
                <a:gd name="T46" fmla="*/ 3 w 70"/>
                <a:gd name="T47" fmla="*/ 123 h 134"/>
                <a:gd name="T48" fmla="*/ 3 w 70"/>
                <a:gd name="T49" fmla="*/ 123 h 134"/>
                <a:gd name="T50" fmla="*/ 0 w 70"/>
                <a:gd name="T51" fmla="*/ 123 h 134"/>
                <a:gd name="T52" fmla="*/ 0 w 70"/>
                <a:gd name="T53" fmla="*/ 134 h 134"/>
                <a:gd name="T54" fmla="*/ 0 w 70"/>
                <a:gd name="T55" fmla="*/ 134 h 134"/>
                <a:gd name="T56" fmla="*/ 3 w 70"/>
                <a:gd name="T57" fmla="*/ 134 h 134"/>
                <a:gd name="T58" fmla="*/ 3 w 70"/>
                <a:gd name="T59" fmla="*/ 134 h 134"/>
                <a:gd name="T60" fmla="*/ 16 w 70"/>
                <a:gd name="T61" fmla="*/ 133 h 134"/>
                <a:gd name="T62" fmla="*/ 28 w 70"/>
                <a:gd name="T63" fmla="*/ 129 h 134"/>
                <a:gd name="T64" fmla="*/ 41 w 70"/>
                <a:gd name="T65" fmla="*/ 123 h 134"/>
                <a:gd name="T66" fmla="*/ 51 w 70"/>
                <a:gd name="T67" fmla="*/ 114 h 134"/>
                <a:gd name="T68" fmla="*/ 58 w 70"/>
                <a:gd name="T69" fmla="*/ 105 h 134"/>
                <a:gd name="T70" fmla="*/ 64 w 70"/>
                <a:gd name="T71" fmla="*/ 93 h 134"/>
                <a:gd name="T72" fmla="*/ 69 w 70"/>
                <a:gd name="T73" fmla="*/ 81 h 134"/>
                <a:gd name="T74" fmla="*/ 70 w 70"/>
                <a:gd name="T75" fmla="*/ 68 h 134"/>
                <a:gd name="T76" fmla="*/ 70 w 70"/>
                <a:gd name="T77" fmla="*/ 68 h 134"/>
                <a:gd name="T78" fmla="*/ 69 w 70"/>
                <a:gd name="T79" fmla="*/ 53 h 134"/>
                <a:gd name="T80" fmla="*/ 64 w 70"/>
                <a:gd name="T81" fmla="*/ 40 h 134"/>
                <a:gd name="T82" fmla="*/ 58 w 70"/>
                <a:gd name="T83" fmla="*/ 29 h 134"/>
                <a:gd name="T84" fmla="*/ 51 w 70"/>
                <a:gd name="T85" fmla="*/ 19 h 134"/>
                <a:gd name="T86" fmla="*/ 41 w 70"/>
                <a:gd name="T87" fmla="*/ 11 h 134"/>
                <a:gd name="T88" fmla="*/ 28 w 70"/>
                <a:gd name="T89" fmla="*/ 5 h 134"/>
                <a:gd name="T90" fmla="*/ 16 w 70"/>
                <a:gd name="T91" fmla="*/ 1 h 134"/>
                <a:gd name="T92" fmla="*/ 3 w 70"/>
                <a:gd name="T93" fmla="*/ 0 h 134"/>
                <a:gd name="T94" fmla="*/ 3 w 70"/>
                <a:gd name="T95"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0" h="134">
                  <a:moveTo>
                    <a:pt x="3" y="0"/>
                  </a:moveTo>
                  <a:lnTo>
                    <a:pt x="3" y="0"/>
                  </a:lnTo>
                  <a:lnTo>
                    <a:pt x="0" y="0"/>
                  </a:lnTo>
                  <a:lnTo>
                    <a:pt x="0" y="11"/>
                  </a:lnTo>
                  <a:lnTo>
                    <a:pt x="0" y="11"/>
                  </a:lnTo>
                  <a:lnTo>
                    <a:pt x="3" y="11"/>
                  </a:lnTo>
                  <a:lnTo>
                    <a:pt x="3" y="11"/>
                  </a:lnTo>
                  <a:lnTo>
                    <a:pt x="14" y="12"/>
                  </a:lnTo>
                  <a:lnTo>
                    <a:pt x="23" y="16"/>
                  </a:lnTo>
                  <a:lnTo>
                    <a:pt x="33" y="21"/>
                  </a:lnTo>
                  <a:lnTo>
                    <a:pt x="42" y="28"/>
                  </a:lnTo>
                  <a:lnTo>
                    <a:pt x="48" y="36"/>
                  </a:lnTo>
                  <a:lnTo>
                    <a:pt x="53" y="45"/>
                  </a:lnTo>
                  <a:lnTo>
                    <a:pt x="57" y="55"/>
                  </a:lnTo>
                  <a:lnTo>
                    <a:pt x="58" y="66"/>
                  </a:lnTo>
                  <a:lnTo>
                    <a:pt x="58" y="66"/>
                  </a:lnTo>
                  <a:lnTo>
                    <a:pt x="57" y="79"/>
                  </a:lnTo>
                  <a:lnTo>
                    <a:pt x="53" y="89"/>
                  </a:lnTo>
                  <a:lnTo>
                    <a:pt x="48" y="98"/>
                  </a:lnTo>
                  <a:lnTo>
                    <a:pt x="42" y="106"/>
                  </a:lnTo>
                  <a:lnTo>
                    <a:pt x="33" y="113"/>
                  </a:lnTo>
                  <a:lnTo>
                    <a:pt x="23" y="118"/>
                  </a:lnTo>
                  <a:lnTo>
                    <a:pt x="14" y="122"/>
                  </a:lnTo>
                  <a:lnTo>
                    <a:pt x="3" y="123"/>
                  </a:lnTo>
                  <a:lnTo>
                    <a:pt x="3" y="123"/>
                  </a:lnTo>
                  <a:lnTo>
                    <a:pt x="0" y="123"/>
                  </a:lnTo>
                  <a:lnTo>
                    <a:pt x="0" y="134"/>
                  </a:lnTo>
                  <a:lnTo>
                    <a:pt x="0" y="134"/>
                  </a:lnTo>
                  <a:lnTo>
                    <a:pt x="3" y="134"/>
                  </a:lnTo>
                  <a:lnTo>
                    <a:pt x="3" y="134"/>
                  </a:lnTo>
                  <a:lnTo>
                    <a:pt x="16" y="133"/>
                  </a:lnTo>
                  <a:lnTo>
                    <a:pt x="28" y="129"/>
                  </a:lnTo>
                  <a:lnTo>
                    <a:pt x="41" y="123"/>
                  </a:lnTo>
                  <a:lnTo>
                    <a:pt x="51" y="114"/>
                  </a:lnTo>
                  <a:lnTo>
                    <a:pt x="58" y="105"/>
                  </a:lnTo>
                  <a:lnTo>
                    <a:pt x="64" y="93"/>
                  </a:lnTo>
                  <a:lnTo>
                    <a:pt x="69" y="81"/>
                  </a:lnTo>
                  <a:lnTo>
                    <a:pt x="70" y="68"/>
                  </a:lnTo>
                  <a:lnTo>
                    <a:pt x="70" y="68"/>
                  </a:lnTo>
                  <a:lnTo>
                    <a:pt x="69" y="53"/>
                  </a:lnTo>
                  <a:lnTo>
                    <a:pt x="64" y="40"/>
                  </a:lnTo>
                  <a:lnTo>
                    <a:pt x="58" y="29"/>
                  </a:lnTo>
                  <a:lnTo>
                    <a:pt x="51" y="19"/>
                  </a:lnTo>
                  <a:lnTo>
                    <a:pt x="41" y="11"/>
                  </a:lnTo>
                  <a:lnTo>
                    <a:pt x="28" y="5"/>
                  </a:lnTo>
                  <a:lnTo>
                    <a:pt x="16" y="1"/>
                  </a:lnTo>
                  <a:lnTo>
                    <a:pt x="3" y="0"/>
                  </a:lnTo>
                  <a:lnTo>
                    <a:pt x="3" y="0"/>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grpSp>
        <p:nvGrpSpPr>
          <p:cNvPr id="455" name="Group 454">
            <a:extLst>
              <a:ext uri="{FF2B5EF4-FFF2-40B4-BE49-F238E27FC236}">
                <a16:creationId xmlns:a16="http://schemas.microsoft.com/office/drawing/2014/main" id="{93549622-0A9F-8A24-238D-AE2CA8EA3BB2}"/>
              </a:ext>
            </a:extLst>
          </p:cNvPr>
          <p:cNvGrpSpPr/>
          <p:nvPr/>
        </p:nvGrpSpPr>
        <p:grpSpPr>
          <a:xfrm>
            <a:off x="9501686" y="2629395"/>
            <a:ext cx="1285115" cy="1139420"/>
            <a:chOff x="8933974" y="1324350"/>
            <a:chExt cx="1112838" cy="1114425"/>
          </a:xfrm>
        </p:grpSpPr>
        <p:sp>
          <p:nvSpPr>
            <p:cNvPr id="442" name="Freeform 5">
              <a:extLst>
                <a:ext uri="{FF2B5EF4-FFF2-40B4-BE49-F238E27FC236}">
                  <a16:creationId xmlns:a16="http://schemas.microsoft.com/office/drawing/2014/main" id="{E45B3AFF-8726-4CF6-A6FF-E0F07C7E1A5E}"/>
                </a:ext>
              </a:extLst>
            </p:cNvPr>
            <p:cNvSpPr>
              <a:spLocks/>
            </p:cNvSpPr>
            <p:nvPr/>
          </p:nvSpPr>
          <p:spPr bwMode="auto">
            <a:xfrm>
              <a:off x="8933974" y="1324350"/>
              <a:ext cx="1112838" cy="1114425"/>
            </a:xfrm>
            <a:custGeom>
              <a:avLst/>
              <a:gdLst>
                <a:gd name="T0" fmla="*/ 333 w 701"/>
                <a:gd name="T1" fmla="*/ 701 h 702"/>
                <a:gd name="T2" fmla="*/ 280 w 701"/>
                <a:gd name="T3" fmla="*/ 695 h 702"/>
                <a:gd name="T4" fmla="*/ 231 w 701"/>
                <a:gd name="T5" fmla="*/ 680 h 702"/>
                <a:gd name="T6" fmla="*/ 184 w 701"/>
                <a:gd name="T7" fmla="*/ 659 h 702"/>
                <a:gd name="T8" fmla="*/ 141 w 701"/>
                <a:gd name="T9" fmla="*/ 632 h 702"/>
                <a:gd name="T10" fmla="*/ 102 w 701"/>
                <a:gd name="T11" fmla="*/ 598 h 702"/>
                <a:gd name="T12" fmla="*/ 70 w 701"/>
                <a:gd name="T13" fmla="*/ 561 h 702"/>
                <a:gd name="T14" fmla="*/ 43 w 701"/>
                <a:gd name="T15" fmla="*/ 518 h 702"/>
                <a:gd name="T16" fmla="*/ 21 w 701"/>
                <a:gd name="T17" fmla="*/ 471 h 702"/>
                <a:gd name="T18" fmla="*/ 7 w 701"/>
                <a:gd name="T19" fmla="*/ 422 h 702"/>
                <a:gd name="T20" fmla="*/ 1 w 701"/>
                <a:gd name="T21" fmla="*/ 369 h 702"/>
                <a:gd name="T22" fmla="*/ 1 w 701"/>
                <a:gd name="T23" fmla="*/ 333 h 702"/>
                <a:gd name="T24" fmla="*/ 7 w 701"/>
                <a:gd name="T25" fmla="*/ 280 h 702"/>
                <a:gd name="T26" fmla="*/ 21 w 701"/>
                <a:gd name="T27" fmla="*/ 231 h 702"/>
                <a:gd name="T28" fmla="*/ 43 w 701"/>
                <a:gd name="T29" fmla="*/ 184 h 702"/>
                <a:gd name="T30" fmla="*/ 70 w 701"/>
                <a:gd name="T31" fmla="*/ 142 h 702"/>
                <a:gd name="T32" fmla="*/ 102 w 701"/>
                <a:gd name="T33" fmla="*/ 104 h 702"/>
                <a:gd name="T34" fmla="*/ 141 w 701"/>
                <a:gd name="T35" fmla="*/ 70 h 702"/>
                <a:gd name="T36" fmla="*/ 184 w 701"/>
                <a:gd name="T37" fmla="*/ 43 h 702"/>
                <a:gd name="T38" fmla="*/ 231 w 701"/>
                <a:gd name="T39" fmla="*/ 22 h 702"/>
                <a:gd name="T40" fmla="*/ 280 w 701"/>
                <a:gd name="T41" fmla="*/ 7 h 702"/>
                <a:gd name="T42" fmla="*/ 333 w 701"/>
                <a:gd name="T43" fmla="*/ 1 h 702"/>
                <a:gd name="T44" fmla="*/ 369 w 701"/>
                <a:gd name="T45" fmla="*/ 1 h 702"/>
                <a:gd name="T46" fmla="*/ 422 w 701"/>
                <a:gd name="T47" fmla="*/ 7 h 702"/>
                <a:gd name="T48" fmla="*/ 471 w 701"/>
                <a:gd name="T49" fmla="*/ 22 h 702"/>
                <a:gd name="T50" fmla="*/ 518 w 701"/>
                <a:gd name="T51" fmla="*/ 43 h 702"/>
                <a:gd name="T52" fmla="*/ 560 w 701"/>
                <a:gd name="T53" fmla="*/ 70 h 702"/>
                <a:gd name="T54" fmla="*/ 598 w 701"/>
                <a:gd name="T55" fmla="*/ 104 h 702"/>
                <a:gd name="T56" fmla="*/ 631 w 701"/>
                <a:gd name="T57" fmla="*/ 142 h 702"/>
                <a:gd name="T58" fmla="*/ 659 w 701"/>
                <a:gd name="T59" fmla="*/ 184 h 702"/>
                <a:gd name="T60" fmla="*/ 680 w 701"/>
                <a:gd name="T61" fmla="*/ 231 h 702"/>
                <a:gd name="T62" fmla="*/ 694 w 701"/>
                <a:gd name="T63" fmla="*/ 280 h 702"/>
                <a:gd name="T64" fmla="*/ 701 w 701"/>
                <a:gd name="T65" fmla="*/ 333 h 702"/>
                <a:gd name="T66" fmla="*/ 701 w 701"/>
                <a:gd name="T67" fmla="*/ 369 h 702"/>
                <a:gd name="T68" fmla="*/ 694 w 701"/>
                <a:gd name="T69" fmla="*/ 422 h 702"/>
                <a:gd name="T70" fmla="*/ 680 w 701"/>
                <a:gd name="T71" fmla="*/ 471 h 702"/>
                <a:gd name="T72" fmla="*/ 659 w 701"/>
                <a:gd name="T73" fmla="*/ 518 h 702"/>
                <a:gd name="T74" fmla="*/ 631 w 701"/>
                <a:gd name="T75" fmla="*/ 561 h 702"/>
                <a:gd name="T76" fmla="*/ 598 w 701"/>
                <a:gd name="T77" fmla="*/ 598 h 702"/>
                <a:gd name="T78" fmla="*/ 560 w 701"/>
                <a:gd name="T79" fmla="*/ 632 h 702"/>
                <a:gd name="T80" fmla="*/ 518 w 701"/>
                <a:gd name="T81" fmla="*/ 659 h 702"/>
                <a:gd name="T82" fmla="*/ 471 w 701"/>
                <a:gd name="T83" fmla="*/ 680 h 702"/>
                <a:gd name="T84" fmla="*/ 422 w 701"/>
                <a:gd name="T85" fmla="*/ 695 h 702"/>
                <a:gd name="T86" fmla="*/ 369 w 701"/>
                <a:gd name="T87" fmla="*/ 70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2">
                  <a:moveTo>
                    <a:pt x="350" y="702"/>
                  </a:moveTo>
                  <a:lnTo>
                    <a:pt x="350" y="702"/>
                  </a:lnTo>
                  <a:lnTo>
                    <a:pt x="333" y="701"/>
                  </a:lnTo>
                  <a:lnTo>
                    <a:pt x="315" y="699"/>
                  </a:lnTo>
                  <a:lnTo>
                    <a:pt x="297" y="697"/>
                  </a:lnTo>
                  <a:lnTo>
                    <a:pt x="280" y="695"/>
                  </a:lnTo>
                  <a:lnTo>
                    <a:pt x="263" y="691"/>
                  </a:lnTo>
                  <a:lnTo>
                    <a:pt x="247" y="686"/>
                  </a:lnTo>
                  <a:lnTo>
                    <a:pt x="231" y="680"/>
                  </a:lnTo>
                  <a:lnTo>
                    <a:pt x="215" y="674"/>
                  </a:lnTo>
                  <a:lnTo>
                    <a:pt x="199" y="667"/>
                  </a:lnTo>
                  <a:lnTo>
                    <a:pt x="184" y="659"/>
                  </a:lnTo>
                  <a:lnTo>
                    <a:pt x="169" y="651"/>
                  </a:lnTo>
                  <a:lnTo>
                    <a:pt x="155" y="641"/>
                  </a:lnTo>
                  <a:lnTo>
                    <a:pt x="141" y="632"/>
                  </a:lnTo>
                  <a:lnTo>
                    <a:pt x="128" y="622"/>
                  </a:lnTo>
                  <a:lnTo>
                    <a:pt x="115" y="611"/>
                  </a:lnTo>
                  <a:lnTo>
                    <a:pt x="102" y="598"/>
                  </a:lnTo>
                  <a:lnTo>
                    <a:pt x="91" y="587"/>
                  </a:lnTo>
                  <a:lnTo>
                    <a:pt x="80" y="574"/>
                  </a:lnTo>
                  <a:lnTo>
                    <a:pt x="70" y="561"/>
                  </a:lnTo>
                  <a:lnTo>
                    <a:pt x="60" y="546"/>
                  </a:lnTo>
                  <a:lnTo>
                    <a:pt x="51" y="533"/>
                  </a:lnTo>
                  <a:lnTo>
                    <a:pt x="43" y="518"/>
                  </a:lnTo>
                  <a:lnTo>
                    <a:pt x="35" y="503"/>
                  </a:lnTo>
                  <a:lnTo>
                    <a:pt x="28" y="487"/>
                  </a:lnTo>
                  <a:lnTo>
                    <a:pt x="21" y="471"/>
                  </a:lnTo>
                  <a:lnTo>
                    <a:pt x="16" y="455"/>
                  </a:lnTo>
                  <a:lnTo>
                    <a:pt x="11" y="439"/>
                  </a:lnTo>
                  <a:lnTo>
                    <a:pt x="7" y="422"/>
                  </a:lnTo>
                  <a:lnTo>
                    <a:pt x="5" y="405"/>
                  </a:lnTo>
                  <a:lnTo>
                    <a:pt x="2" y="387"/>
                  </a:lnTo>
                  <a:lnTo>
                    <a:pt x="1" y="369"/>
                  </a:lnTo>
                  <a:lnTo>
                    <a:pt x="0" y="352"/>
                  </a:lnTo>
                  <a:lnTo>
                    <a:pt x="0" y="352"/>
                  </a:lnTo>
                  <a:lnTo>
                    <a:pt x="1" y="333"/>
                  </a:lnTo>
                  <a:lnTo>
                    <a:pt x="2" y="316"/>
                  </a:lnTo>
                  <a:lnTo>
                    <a:pt x="5" y="297"/>
                  </a:lnTo>
                  <a:lnTo>
                    <a:pt x="7" y="280"/>
                  </a:lnTo>
                  <a:lnTo>
                    <a:pt x="11" y="264"/>
                  </a:lnTo>
                  <a:lnTo>
                    <a:pt x="16" y="247"/>
                  </a:lnTo>
                  <a:lnTo>
                    <a:pt x="21" y="231"/>
                  </a:lnTo>
                  <a:lnTo>
                    <a:pt x="28" y="215"/>
                  </a:lnTo>
                  <a:lnTo>
                    <a:pt x="35" y="199"/>
                  </a:lnTo>
                  <a:lnTo>
                    <a:pt x="43" y="184"/>
                  </a:lnTo>
                  <a:lnTo>
                    <a:pt x="51" y="169"/>
                  </a:lnTo>
                  <a:lnTo>
                    <a:pt x="60" y="155"/>
                  </a:lnTo>
                  <a:lnTo>
                    <a:pt x="70" y="142"/>
                  </a:lnTo>
                  <a:lnTo>
                    <a:pt x="80" y="128"/>
                  </a:lnTo>
                  <a:lnTo>
                    <a:pt x="91" y="116"/>
                  </a:lnTo>
                  <a:lnTo>
                    <a:pt x="102" y="104"/>
                  </a:lnTo>
                  <a:lnTo>
                    <a:pt x="115" y="91"/>
                  </a:lnTo>
                  <a:lnTo>
                    <a:pt x="128" y="80"/>
                  </a:lnTo>
                  <a:lnTo>
                    <a:pt x="141" y="70"/>
                  </a:lnTo>
                  <a:lnTo>
                    <a:pt x="155" y="60"/>
                  </a:lnTo>
                  <a:lnTo>
                    <a:pt x="169" y="52"/>
                  </a:lnTo>
                  <a:lnTo>
                    <a:pt x="184" y="43"/>
                  </a:lnTo>
                  <a:lnTo>
                    <a:pt x="199" y="35"/>
                  </a:lnTo>
                  <a:lnTo>
                    <a:pt x="215" y="28"/>
                  </a:lnTo>
                  <a:lnTo>
                    <a:pt x="231" y="22"/>
                  </a:lnTo>
                  <a:lnTo>
                    <a:pt x="247" y="16"/>
                  </a:lnTo>
                  <a:lnTo>
                    <a:pt x="263" y="11"/>
                  </a:lnTo>
                  <a:lnTo>
                    <a:pt x="280" y="7"/>
                  </a:lnTo>
                  <a:lnTo>
                    <a:pt x="297" y="5"/>
                  </a:lnTo>
                  <a:lnTo>
                    <a:pt x="315" y="2"/>
                  </a:lnTo>
                  <a:lnTo>
                    <a:pt x="333" y="1"/>
                  </a:lnTo>
                  <a:lnTo>
                    <a:pt x="350" y="0"/>
                  </a:lnTo>
                  <a:lnTo>
                    <a:pt x="350" y="0"/>
                  </a:lnTo>
                  <a:lnTo>
                    <a:pt x="369" y="1"/>
                  </a:lnTo>
                  <a:lnTo>
                    <a:pt x="386" y="2"/>
                  </a:lnTo>
                  <a:lnTo>
                    <a:pt x="405" y="5"/>
                  </a:lnTo>
                  <a:lnTo>
                    <a:pt x="422" y="7"/>
                  </a:lnTo>
                  <a:lnTo>
                    <a:pt x="438" y="11"/>
                  </a:lnTo>
                  <a:lnTo>
                    <a:pt x="455" y="16"/>
                  </a:lnTo>
                  <a:lnTo>
                    <a:pt x="471" y="22"/>
                  </a:lnTo>
                  <a:lnTo>
                    <a:pt x="487" y="28"/>
                  </a:lnTo>
                  <a:lnTo>
                    <a:pt x="503" y="35"/>
                  </a:lnTo>
                  <a:lnTo>
                    <a:pt x="518" y="43"/>
                  </a:lnTo>
                  <a:lnTo>
                    <a:pt x="533" y="52"/>
                  </a:lnTo>
                  <a:lnTo>
                    <a:pt x="546" y="60"/>
                  </a:lnTo>
                  <a:lnTo>
                    <a:pt x="560" y="70"/>
                  </a:lnTo>
                  <a:lnTo>
                    <a:pt x="574" y="80"/>
                  </a:lnTo>
                  <a:lnTo>
                    <a:pt x="586" y="91"/>
                  </a:lnTo>
                  <a:lnTo>
                    <a:pt x="598" y="104"/>
                  </a:lnTo>
                  <a:lnTo>
                    <a:pt x="611" y="116"/>
                  </a:lnTo>
                  <a:lnTo>
                    <a:pt x="622" y="128"/>
                  </a:lnTo>
                  <a:lnTo>
                    <a:pt x="631" y="142"/>
                  </a:lnTo>
                  <a:lnTo>
                    <a:pt x="641" y="155"/>
                  </a:lnTo>
                  <a:lnTo>
                    <a:pt x="650" y="169"/>
                  </a:lnTo>
                  <a:lnTo>
                    <a:pt x="659" y="184"/>
                  </a:lnTo>
                  <a:lnTo>
                    <a:pt x="666" y="199"/>
                  </a:lnTo>
                  <a:lnTo>
                    <a:pt x="673" y="215"/>
                  </a:lnTo>
                  <a:lnTo>
                    <a:pt x="680" y="231"/>
                  </a:lnTo>
                  <a:lnTo>
                    <a:pt x="686" y="247"/>
                  </a:lnTo>
                  <a:lnTo>
                    <a:pt x="691" y="264"/>
                  </a:lnTo>
                  <a:lnTo>
                    <a:pt x="694" y="280"/>
                  </a:lnTo>
                  <a:lnTo>
                    <a:pt x="697" y="297"/>
                  </a:lnTo>
                  <a:lnTo>
                    <a:pt x="699" y="316"/>
                  </a:lnTo>
                  <a:lnTo>
                    <a:pt x="701" y="333"/>
                  </a:lnTo>
                  <a:lnTo>
                    <a:pt x="701" y="352"/>
                  </a:lnTo>
                  <a:lnTo>
                    <a:pt x="701" y="352"/>
                  </a:lnTo>
                  <a:lnTo>
                    <a:pt x="701" y="369"/>
                  </a:lnTo>
                  <a:lnTo>
                    <a:pt x="699" y="387"/>
                  </a:lnTo>
                  <a:lnTo>
                    <a:pt x="697" y="405"/>
                  </a:lnTo>
                  <a:lnTo>
                    <a:pt x="694" y="422"/>
                  </a:lnTo>
                  <a:lnTo>
                    <a:pt x="691" y="439"/>
                  </a:lnTo>
                  <a:lnTo>
                    <a:pt x="686" y="455"/>
                  </a:lnTo>
                  <a:lnTo>
                    <a:pt x="680" y="471"/>
                  </a:lnTo>
                  <a:lnTo>
                    <a:pt x="673" y="487"/>
                  </a:lnTo>
                  <a:lnTo>
                    <a:pt x="666" y="503"/>
                  </a:lnTo>
                  <a:lnTo>
                    <a:pt x="659" y="518"/>
                  </a:lnTo>
                  <a:lnTo>
                    <a:pt x="650" y="533"/>
                  </a:lnTo>
                  <a:lnTo>
                    <a:pt x="641" y="546"/>
                  </a:lnTo>
                  <a:lnTo>
                    <a:pt x="631" y="561"/>
                  </a:lnTo>
                  <a:lnTo>
                    <a:pt x="622" y="574"/>
                  </a:lnTo>
                  <a:lnTo>
                    <a:pt x="611" y="587"/>
                  </a:lnTo>
                  <a:lnTo>
                    <a:pt x="598" y="598"/>
                  </a:lnTo>
                  <a:lnTo>
                    <a:pt x="586" y="611"/>
                  </a:lnTo>
                  <a:lnTo>
                    <a:pt x="574" y="622"/>
                  </a:lnTo>
                  <a:lnTo>
                    <a:pt x="560" y="632"/>
                  </a:lnTo>
                  <a:lnTo>
                    <a:pt x="546" y="641"/>
                  </a:lnTo>
                  <a:lnTo>
                    <a:pt x="533" y="651"/>
                  </a:lnTo>
                  <a:lnTo>
                    <a:pt x="518" y="659"/>
                  </a:lnTo>
                  <a:lnTo>
                    <a:pt x="503" y="667"/>
                  </a:lnTo>
                  <a:lnTo>
                    <a:pt x="487" y="674"/>
                  </a:lnTo>
                  <a:lnTo>
                    <a:pt x="471" y="680"/>
                  </a:lnTo>
                  <a:lnTo>
                    <a:pt x="455" y="686"/>
                  </a:lnTo>
                  <a:lnTo>
                    <a:pt x="438" y="691"/>
                  </a:lnTo>
                  <a:lnTo>
                    <a:pt x="422" y="695"/>
                  </a:lnTo>
                  <a:lnTo>
                    <a:pt x="405" y="697"/>
                  </a:lnTo>
                  <a:lnTo>
                    <a:pt x="386" y="699"/>
                  </a:lnTo>
                  <a:lnTo>
                    <a:pt x="369" y="701"/>
                  </a:lnTo>
                  <a:lnTo>
                    <a:pt x="350" y="702"/>
                  </a:lnTo>
                  <a:lnTo>
                    <a:pt x="350" y="702"/>
                  </a:lnTo>
                  <a:close/>
                </a:path>
              </a:pathLst>
            </a:custGeom>
            <a:solidFill>
              <a:srgbClr val="470A6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4" name="Rectangle 127">
              <a:extLst>
                <a:ext uri="{FF2B5EF4-FFF2-40B4-BE49-F238E27FC236}">
                  <a16:creationId xmlns:a16="http://schemas.microsoft.com/office/drawing/2014/main" id="{6432ABE3-2AC8-1B00-F3C7-41B91B33969C}"/>
                </a:ext>
              </a:extLst>
            </p:cNvPr>
            <p:cNvSpPr>
              <a:spLocks noChangeArrowheads="1"/>
            </p:cNvSpPr>
            <p:nvPr/>
          </p:nvSpPr>
          <p:spPr bwMode="auto">
            <a:xfrm>
              <a:off x="9438799" y="1997450"/>
              <a:ext cx="131763" cy="42863"/>
            </a:xfrm>
            <a:prstGeom prst="rect">
              <a:avLst/>
            </a:prstGeom>
            <a:solidFill>
              <a:srgbClr val="F99B1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5" name="Freeform 128">
              <a:extLst>
                <a:ext uri="{FF2B5EF4-FFF2-40B4-BE49-F238E27FC236}">
                  <a16:creationId xmlns:a16="http://schemas.microsoft.com/office/drawing/2014/main" id="{4454BEB6-7DFB-98F4-B2AE-C0D75774CD01}"/>
                </a:ext>
              </a:extLst>
            </p:cNvPr>
            <p:cNvSpPr>
              <a:spLocks/>
            </p:cNvSpPr>
            <p:nvPr/>
          </p:nvSpPr>
          <p:spPr bwMode="auto">
            <a:xfrm>
              <a:off x="9356249" y="1595813"/>
              <a:ext cx="296863" cy="309563"/>
            </a:xfrm>
            <a:custGeom>
              <a:avLst/>
              <a:gdLst>
                <a:gd name="T0" fmla="*/ 8 w 187"/>
                <a:gd name="T1" fmla="*/ 0 h 195"/>
                <a:gd name="T2" fmla="*/ 8 w 187"/>
                <a:gd name="T3" fmla="*/ 0 h 195"/>
                <a:gd name="T4" fmla="*/ 4 w 187"/>
                <a:gd name="T5" fmla="*/ 12 h 195"/>
                <a:gd name="T6" fmla="*/ 2 w 187"/>
                <a:gd name="T7" fmla="*/ 24 h 195"/>
                <a:gd name="T8" fmla="*/ 0 w 187"/>
                <a:gd name="T9" fmla="*/ 36 h 195"/>
                <a:gd name="T10" fmla="*/ 0 w 187"/>
                <a:gd name="T11" fmla="*/ 49 h 195"/>
                <a:gd name="T12" fmla="*/ 0 w 187"/>
                <a:gd name="T13" fmla="*/ 49 h 195"/>
                <a:gd name="T14" fmla="*/ 0 w 187"/>
                <a:gd name="T15" fmla="*/ 61 h 195"/>
                <a:gd name="T16" fmla="*/ 2 w 187"/>
                <a:gd name="T17" fmla="*/ 72 h 195"/>
                <a:gd name="T18" fmla="*/ 4 w 187"/>
                <a:gd name="T19" fmla="*/ 84 h 195"/>
                <a:gd name="T20" fmla="*/ 7 w 187"/>
                <a:gd name="T21" fmla="*/ 95 h 195"/>
                <a:gd name="T22" fmla="*/ 10 w 187"/>
                <a:gd name="T23" fmla="*/ 107 h 195"/>
                <a:gd name="T24" fmla="*/ 15 w 187"/>
                <a:gd name="T25" fmla="*/ 116 h 195"/>
                <a:gd name="T26" fmla="*/ 20 w 187"/>
                <a:gd name="T27" fmla="*/ 128 h 195"/>
                <a:gd name="T28" fmla="*/ 26 w 187"/>
                <a:gd name="T29" fmla="*/ 137 h 195"/>
                <a:gd name="T30" fmla="*/ 32 w 187"/>
                <a:gd name="T31" fmla="*/ 146 h 195"/>
                <a:gd name="T32" fmla="*/ 40 w 187"/>
                <a:gd name="T33" fmla="*/ 155 h 195"/>
                <a:gd name="T34" fmla="*/ 47 w 187"/>
                <a:gd name="T35" fmla="*/ 163 h 195"/>
                <a:gd name="T36" fmla="*/ 56 w 187"/>
                <a:gd name="T37" fmla="*/ 171 h 195"/>
                <a:gd name="T38" fmla="*/ 65 w 187"/>
                <a:gd name="T39" fmla="*/ 178 h 195"/>
                <a:gd name="T40" fmla="*/ 73 w 187"/>
                <a:gd name="T41" fmla="*/ 184 h 195"/>
                <a:gd name="T42" fmla="*/ 83 w 187"/>
                <a:gd name="T43" fmla="*/ 190 h 195"/>
                <a:gd name="T44" fmla="*/ 93 w 187"/>
                <a:gd name="T45" fmla="*/ 195 h 195"/>
                <a:gd name="T46" fmla="*/ 93 w 187"/>
                <a:gd name="T47" fmla="*/ 195 h 195"/>
                <a:gd name="T48" fmla="*/ 103 w 187"/>
                <a:gd name="T49" fmla="*/ 190 h 195"/>
                <a:gd name="T50" fmla="*/ 113 w 187"/>
                <a:gd name="T51" fmla="*/ 184 h 195"/>
                <a:gd name="T52" fmla="*/ 123 w 187"/>
                <a:gd name="T53" fmla="*/ 178 h 195"/>
                <a:gd name="T54" fmla="*/ 131 w 187"/>
                <a:gd name="T55" fmla="*/ 171 h 195"/>
                <a:gd name="T56" fmla="*/ 139 w 187"/>
                <a:gd name="T57" fmla="*/ 163 h 195"/>
                <a:gd name="T58" fmla="*/ 147 w 187"/>
                <a:gd name="T59" fmla="*/ 155 h 195"/>
                <a:gd name="T60" fmla="*/ 153 w 187"/>
                <a:gd name="T61" fmla="*/ 146 h 195"/>
                <a:gd name="T62" fmla="*/ 161 w 187"/>
                <a:gd name="T63" fmla="*/ 137 h 195"/>
                <a:gd name="T64" fmla="*/ 166 w 187"/>
                <a:gd name="T65" fmla="*/ 128 h 195"/>
                <a:gd name="T66" fmla="*/ 172 w 187"/>
                <a:gd name="T67" fmla="*/ 116 h 195"/>
                <a:gd name="T68" fmla="*/ 176 w 187"/>
                <a:gd name="T69" fmla="*/ 107 h 195"/>
                <a:gd name="T70" fmla="*/ 179 w 187"/>
                <a:gd name="T71" fmla="*/ 95 h 195"/>
                <a:gd name="T72" fmla="*/ 183 w 187"/>
                <a:gd name="T73" fmla="*/ 84 h 195"/>
                <a:gd name="T74" fmla="*/ 184 w 187"/>
                <a:gd name="T75" fmla="*/ 72 h 195"/>
                <a:gd name="T76" fmla="*/ 185 w 187"/>
                <a:gd name="T77" fmla="*/ 61 h 195"/>
                <a:gd name="T78" fmla="*/ 187 w 187"/>
                <a:gd name="T79" fmla="*/ 49 h 195"/>
                <a:gd name="T80" fmla="*/ 187 w 187"/>
                <a:gd name="T81" fmla="*/ 49 h 195"/>
                <a:gd name="T82" fmla="*/ 185 w 187"/>
                <a:gd name="T83" fmla="*/ 36 h 195"/>
                <a:gd name="T84" fmla="*/ 184 w 187"/>
                <a:gd name="T85" fmla="*/ 24 h 195"/>
                <a:gd name="T86" fmla="*/ 182 w 187"/>
                <a:gd name="T87" fmla="*/ 12 h 195"/>
                <a:gd name="T88" fmla="*/ 179 w 187"/>
                <a:gd name="T89" fmla="*/ 0 h 195"/>
                <a:gd name="T90" fmla="*/ 8 w 187"/>
                <a:gd name="T91"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7" h="195">
                  <a:moveTo>
                    <a:pt x="8" y="0"/>
                  </a:moveTo>
                  <a:lnTo>
                    <a:pt x="8" y="0"/>
                  </a:lnTo>
                  <a:lnTo>
                    <a:pt x="4" y="12"/>
                  </a:lnTo>
                  <a:lnTo>
                    <a:pt x="2" y="24"/>
                  </a:lnTo>
                  <a:lnTo>
                    <a:pt x="0" y="36"/>
                  </a:lnTo>
                  <a:lnTo>
                    <a:pt x="0" y="49"/>
                  </a:lnTo>
                  <a:lnTo>
                    <a:pt x="0" y="49"/>
                  </a:lnTo>
                  <a:lnTo>
                    <a:pt x="0" y="61"/>
                  </a:lnTo>
                  <a:lnTo>
                    <a:pt x="2" y="72"/>
                  </a:lnTo>
                  <a:lnTo>
                    <a:pt x="4" y="84"/>
                  </a:lnTo>
                  <a:lnTo>
                    <a:pt x="7" y="95"/>
                  </a:lnTo>
                  <a:lnTo>
                    <a:pt x="10" y="107"/>
                  </a:lnTo>
                  <a:lnTo>
                    <a:pt x="15" y="116"/>
                  </a:lnTo>
                  <a:lnTo>
                    <a:pt x="20" y="128"/>
                  </a:lnTo>
                  <a:lnTo>
                    <a:pt x="26" y="137"/>
                  </a:lnTo>
                  <a:lnTo>
                    <a:pt x="32" y="146"/>
                  </a:lnTo>
                  <a:lnTo>
                    <a:pt x="40" y="155"/>
                  </a:lnTo>
                  <a:lnTo>
                    <a:pt x="47" y="163"/>
                  </a:lnTo>
                  <a:lnTo>
                    <a:pt x="56" y="171"/>
                  </a:lnTo>
                  <a:lnTo>
                    <a:pt x="65" y="178"/>
                  </a:lnTo>
                  <a:lnTo>
                    <a:pt x="73" y="184"/>
                  </a:lnTo>
                  <a:lnTo>
                    <a:pt x="83" y="190"/>
                  </a:lnTo>
                  <a:lnTo>
                    <a:pt x="93" y="195"/>
                  </a:lnTo>
                  <a:lnTo>
                    <a:pt x="93" y="195"/>
                  </a:lnTo>
                  <a:lnTo>
                    <a:pt x="103" y="190"/>
                  </a:lnTo>
                  <a:lnTo>
                    <a:pt x="113" y="184"/>
                  </a:lnTo>
                  <a:lnTo>
                    <a:pt x="123" y="178"/>
                  </a:lnTo>
                  <a:lnTo>
                    <a:pt x="131" y="171"/>
                  </a:lnTo>
                  <a:lnTo>
                    <a:pt x="139" y="163"/>
                  </a:lnTo>
                  <a:lnTo>
                    <a:pt x="147" y="155"/>
                  </a:lnTo>
                  <a:lnTo>
                    <a:pt x="153" y="146"/>
                  </a:lnTo>
                  <a:lnTo>
                    <a:pt x="161" y="137"/>
                  </a:lnTo>
                  <a:lnTo>
                    <a:pt x="166" y="128"/>
                  </a:lnTo>
                  <a:lnTo>
                    <a:pt x="172" y="116"/>
                  </a:lnTo>
                  <a:lnTo>
                    <a:pt x="176" y="107"/>
                  </a:lnTo>
                  <a:lnTo>
                    <a:pt x="179" y="95"/>
                  </a:lnTo>
                  <a:lnTo>
                    <a:pt x="183" y="84"/>
                  </a:lnTo>
                  <a:lnTo>
                    <a:pt x="184" y="72"/>
                  </a:lnTo>
                  <a:lnTo>
                    <a:pt x="185" y="61"/>
                  </a:lnTo>
                  <a:lnTo>
                    <a:pt x="187" y="49"/>
                  </a:lnTo>
                  <a:lnTo>
                    <a:pt x="187" y="49"/>
                  </a:lnTo>
                  <a:lnTo>
                    <a:pt x="185" y="36"/>
                  </a:lnTo>
                  <a:lnTo>
                    <a:pt x="184" y="24"/>
                  </a:lnTo>
                  <a:lnTo>
                    <a:pt x="182" y="12"/>
                  </a:lnTo>
                  <a:lnTo>
                    <a:pt x="179" y="0"/>
                  </a:lnTo>
                  <a:lnTo>
                    <a:pt x="8" y="0"/>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6" name="Freeform 129">
              <a:extLst>
                <a:ext uri="{FF2B5EF4-FFF2-40B4-BE49-F238E27FC236}">
                  <a16:creationId xmlns:a16="http://schemas.microsoft.com/office/drawing/2014/main" id="{C8BEF39D-C145-5334-F0D0-36CC4F788F55}"/>
                </a:ext>
              </a:extLst>
            </p:cNvPr>
            <p:cNvSpPr>
              <a:spLocks noEditPoints="1"/>
            </p:cNvSpPr>
            <p:nvPr/>
          </p:nvSpPr>
          <p:spPr bwMode="auto">
            <a:xfrm>
              <a:off x="9272112" y="1610100"/>
              <a:ext cx="204788" cy="252413"/>
            </a:xfrm>
            <a:custGeom>
              <a:avLst/>
              <a:gdLst>
                <a:gd name="T0" fmla="*/ 129 w 129"/>
                <a:gd name="T1" fmla="*/ 159 h 159"/>
                <a:gd name="T2" fmla="*/ 119 w 129"/>
                <a:gd name="T3" fmla="*/ 158 h 159"/>
                <a:gd name="T4" fmla="*/ 119 w 129"/>
                <a:gd name="T5" fmla="*/ 158 h 159"/>
                <a:gd name="T6" fmla="*/ 106 w 129"/>
                <a:gd name="T7" fmla="*/ 157 h 159"/>
                <a:gd name="T8" fmla="*/ 94 w 129"/>
                <a:gd name="T9" fmla="*/ 153 h 159"/>
                <a:gd name="T10" fmla="*/ 83 w 129"/>
                <a:gd name="T11" fmla="*/ 149 h 159"/>
                <a:gd name="T12" fmla="*/ 72 w 129"/>
                <a:gd name="T13" fmla="*/ 143 h 159"/>
                <a:gd name="T14" fmla="*/ 62 w 129"/>
                <a:gd name="T15" fmla="*/ 137 h 159"/>
                <a:gd name="T16" fmla="*/ 52 w 129"/>
                <a:gd name="T17" fmla="*/ 130 h 159"/>
                <a:gd name="T18" fmla="*/ 42 w 129"/>
                <a:gd name="T19" fmla="*/ 121 h 159"/>
                <a:gd name="T20" fmla="*/ 35 w 129"/>
                <a:gd name="T21" fmla="*/ 112 h 159"/>
                <a:gd name="T22" fmla="*/ 26 w 129"/>
                <a:gd name="T23" fmla="*/ 102 h 159"/>
                <a:gd name="T24" fmla="*/ 20 w 129"/>
                <a:gd name="T25" fmla="*/ 91 h 159"/>
                <a:gd name="T26" fmla="*/ 14 w 129"/>
                <a:gd name="T27" fmla="*/ 80 h 159"/>
                <a:gd name="T28" fmla="*/ 9 w 129"/>
                <a:gd name="T29" fmla="*/ 69 h 159"/>
                <a:gd name="T30" fmla="*/ 5 w 129"/>
                <a:gd name="T31" fmla="*/ 57 h 159"/>
                <a:gd name="T32" fmla="*/ 3 w 129"/>
                <a:gd name="T33" fmla="*/ 43 h 159"/>
                <a:gd name="T34" fmla="*/ 2 w 129"/>
                <a:gd name="T35" fmla="*/ 30 h 159"/>
                <a:gd name="T36" fmla="*/ 0 w 129"/>
                <a:gd name="T37" fmla="*/ 16 h 159"/>
                <a:gd name="T38" fmla="*/ 0 w 129"/>
                <a:gd name="T39" fmla="*/ 16 h 159"/>
                <a:gd name="T40" fmla="*/ 0 w 129"/>
                <a:gd name="T41" fmla="*/ 9 h 159"/>
                <a:gd name="T42" fmla="*/ 2 w 129"/>
                <a:gd name="T43" fmla="*/ 0 h 159"/>
                <a:gd name="T44" fmla="*/ 129 w 129"/>
                <a:gd name="T45" fmla="*/ 0 h 159"/>
                <a:gd name="T46" fmla="*/ 129 w 129"/>
                <a:gd name="T47" fmla="*/ 159 h 159"/>
                <a:gd name="T48" fmla="*/ 129 w 129"/>
                <a:gd name="T49" fmla="*/ 159 h 159"/>
                <a:gd name="T50" fmla="*/ 18 w 129"/>
                <a:gd name="T51" fmla="*/ 17 h 159"/>
                <a:gd name="T52" fmla="*/ 18 w 129"/>
                <a:gd name="T53" fmla="*/ 17 h 159"/>
                <a:gd name="T54" fmla="*/ 19 w 129"/>
                <a:gd name="T55" fmla="*/ 28 h 159"/>
                <a:gd name="T56" fmla="*/ 20 w 129"/>
                <a:gd name="T57" fmla="*/ 40 h 159"/>
                <a:gd name="T58" fmla="*/ 23 w 129"/>
                <a:gd name="T59" fmla="*/ 51 h 159"/>
                <a:gd name="T60" fmla="*/ 25 w 129"/>
                <a:gd name="T61" fmla="*/ 61 h 159"/>
                <a:gd name="T62" fmla="*/ 29 w 129"/>
                <a:gd name="T63" fmla="*/ 70 h 159"/>
                <a:gd name="T64" fmla="*/ 34 w 129"/>
                <a:gd name="T65" fmla="*/ 80 h 159"/>
                <a:gd name="T66" fmla="*/ 39 w 129"/>
                <a:gd name="T67" fmla="*/ 89 h 159"/>
                <a:gd name="T68" fmla="*/ 45 w 129"/>
                <a:gd name="T69" fmla="*/ 98 h 159"/>
                <a:gd name="T70" fmla="*/ 51 w 129"/>
                <a:gd name="T71" fmla="*/ 105 h 159"/>
                <a:gd name="T72" fmla="*/ 58 w 129"/>
                <a:gd name="T73" fmla="*/ 112 h 159"/>
                <a:gd name="T74" fmla="*/ 66 w 129"/>
                <a:gd name="T75" fmla="*/ 119 h 159"/>
                <a:gd name="T76" fmla="*/ 74 w 129"/>
                <a:gd name="T77" fmla="*/ 125 h 159"/>
                <a:gd name="T78" fmla="*/ 83 w 129"/>
                <a:gd name="T79" fmla="*/ 130 h 159"/>
                <a:gd name="T80" fmla="*/ 92 w 129"/>
                <a:gd name="T81" fmla="*/ 133 h 159"/>
                <a:gd name="T82" fmla="*/ 102 w 129"/>
                <a:gd name="T83" fmla="*/ 137 h 159"/>
                <a:gd name="T84" fmla="*/ 111 w 129"/>
                <a:gd name="T85" fmla="*/ 139 h 159"/>
                <a:gd name="T86" fmla="*/ 111 w 129"/>
                <a:gd name="T87" fmla="*/ 17 h 159"/>
                <a:gd name="T88" fmla="*/ 18 w 129"/>
                <a:gd name="T89" fmla="*/ 17 h 159"/>
                <a:gd name="T90" fmla="*/ 18 w 129"/>
                <a:gd name="T91" fmla="*/ 1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9" h="159">
                  <a:moveTo>
                    <a:pt x="129" y="159"/>
                  </a:moveTo>
                  <a:lnTo>
                    <a:pt x="119" y="158"/>
                  </a:lnTo>
                  <a:lnTo>
                    <a:pt x="119" y="158"/>
                  </a:lnTo>
                  <a:lnTo>
                    <a:pt x="106" y="157"/>
                  </a:lnTo>
                  <a:lnTo>
                    <a:pt x="94" y="153"/>
                  </a:lnTo>
                  <a:lnTo>
                    <a:pt x="83" y="149"/>
                  </a:lnTo>
                  <a:lnTo>
                    <a:pt x="72" y="143"/>
                  </a:lnTo>
                  <a:lnTo>
                    <a:pt x="62" y="137"/>
                  </a:lnTo>
                  <a:lnTo>
                    <a:pt x="52" y="130"/>
                  </a:lnTo>
                  <a:lnTo>
                    <a:pt x="42" y="121"/>
                  </a:lnTo>
                  <a:lnTo>
                    <a:pt x="35" y="112"/>
                  </a:lnTo>
                  <a:lnTo>
                    <a:pt x="26" y="102"/>
                  </a:lnTo>
                  <a:lnTo>
                    <a:pt x="20" y="91"/>
                  </a:lnTo>
                  <a:lnTo>
                    <a:pt x="14" y="80"/>
                  </a:lnTo>
                  <a:lnTo>
                    <a:pt x="9" y="69"/>
                  </a:lnTo>
                  <a:lnTo>
                    <a:pt x="5" y="57"/>
                  </a:lnTo>
                  <a:lnTo>
                    <a:pt x="3" y="43"/>
                  </a:lnTo>
                  <a:lnTo>
                    <a:pt x="2" y="30"/>
                  </a:lnTo>
                  <a:lnTo>
                    <a:pt x="0" y="16"/>
                  </a:lnTo>
                  <a:lnTo>
                    <a:pt x="0" y="16"/>
                  </a:lnTo>
                  <a:lnTo>
                    <a:pt x="0" y="9"/>
                  </a:lnTo>
                  <a:lnTo>
                    <a:pt x="2" y="0"/>
                  </a:lnTo>
                  <a:lnTo>
                    <a:pt x="129" y="0"/>
                  </a:lnTo>
                  <a:lnTo>
                    <a:pt x="129" y="159"/>
                  </a:lnTo>
                  <a:lnTo>
                    <a:pt x="129" y="159"/>
                  </a:lnTo>
                  <a:close/>
                  <a:moveTo>
                    <a:pt x="18" y="17"/>
                  </a:moveTo>
                  <a:lnTo>
                    <a:pt x="18" y="17"/>
                  </a:lnTo>
                  <a:lnTo>
                    <a:pt x="19" y="28"/>
                  </a:lnTo>
                  <a:lnTo>
                    <a:pt x="20" y="40"/>
                  </a:lnTo>
                  <a:lnTo>
                    <a:pt x="23" y="51"/>
                  </a:lnTo>
                  <a:lnTo>
                    <a:pt x="25" y="61"/>
                  </a:lnTo>
                  <a:lnTo>
                    <a:pt x="29" y="70"/>
                  </a:lnTo>
                  <a:lnTo>
                    <a:pt x="34" y="80"/>
                  </a:lnTo>
                  <a:lnTo>
                    <a:pt x="39" y="89"/>
                  </a:lnTo>
                  <a:lnTo>
                    <a:pt x="45" y="98"/>
                  </a:lnTo>
                  <a:lnTo>
                    <a:pt x="51" y="105"/>
                  </a:lnTo>
                  <a:lnTo>
                    <a:pt x="58" y="112"/>
                  </a:lnTo>
                  <a:lnTo>
                    <a:pt x="66" y="119"/>
                  </a:lnTo>
                  <a:lnTo>
                    <a:pt x="74" y="125"/>
                  </a:lnTo>
                  <a:lnTo>
                    <a:pt x="83" y="130"/>
                  </a:lnTo>
                  <a:lnTo>
                    <a:pt x="92" y="133"/>
                  </a:lnTo>
                  <a:lnTo>
                    <a:pt x="102" y="137"/>
                  </a:lnTo>
                  <a:lnTo>
                    <a:pt x="111" y="139"/>
                  </a:lnTo>
                  <a:lnTo>
                    <a:pt x="111" y="17"/>
                  </a:lnTo>
                  <a:lnTo>
                    <a:pt x="18" y="17"/>
                  </a:lnTo>
                  <a:lnTo>
                    <a:pt x="18" y="17"/>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7" name="Freeform 130">
              <a:extLst>
                <a:ext uri="{FF2B5EF4-FFF2-40B4-BE49-F238E27FC236}">
                  <a16:creationId xmlns:a16="http://schemas.microsoft.com/office/drawing/2014/main" id="{4EA0AFC3-0A46-389A-E249-3DDCF709C73A}"/>
                </a:ext>
              </a:extLst>
            </p:cNvPr>
            <p:cNvSpPr>
              <a:spLocks noEditPoints="1"/>
            </p:cNvSpPr>
            <p:nvPr/>
          </p:nvSpPr>
          <p:spPr bwMode="auto">
            <a:xfrm>
              <a:off x="9530874" y="1610100"/>
              <a:ext cx="206375" cy="252413"/>
            </a:xfrm>
            <a:custGeom>
              <a:avLst/>
              <a:gdLst>
                <a:gd name="T0" fmla="*/ 0 w 130"/>
                <a:gd name="T1" fmla="*/ 159 h 159"/>
                <a:gd name="T2" fmla="*/ 0 w 130"/>
                <a:gd name="T3" fmla="*/ 0 h 159"/>
                <a:gd name="T4" fmla="*/ 128 w 130"/>
                <a:gd name="T5" fmla="*/ 0 h 159"/>
                <a:gd name="T6" fmla="*/ 128 w 130"/>
                <a:gd name="T7" fmla="*/ 9 h 159"/>
                <a:gd name="T8" fmla="*/ 128 w 130"/>
                <a:gd name="T9" fmla="*/ 9 h 159"/>
                <a:gd name="T10" fmla="*/ 130 w 130"/>
                <a:gd name="T11" fmla="*/ 16 h 159"/>
                <a:gd name="T12" fmla="*/ 130 w 130"/>
                <a:gd name="T13" fmla="*/ 16 h 159"/>
                <a:gd name="T14" fmla="*/ 128 w 130"/>
                <a:gd name="T15" fmla="*/ 30 h 159"/>
                <a:gd name="T16" fmla="*/ 127 w 130"/>
                <a:gd name="T17" fmla="*/ 43 h 159"/>
                <a:gd name="T18" fmla="*/ 124 w 130"/>
                <a:gd name="T19" fmla="*/ 57 h 159"/>
                <a:gd name="T20" fmla="*/ 120 w 130"/>
                <a:gd name="T21" fmla="*/ 69 h 159"/>
                <a:gd name="T22" fmla="*/ 115 w 130"/>
                <a:gd name="T23" fmla="*/ 80 h 159"/>
                <a:gd name="T24" fmla="*/ 110 w 130"/>
                <a:gd name="T25" fmla="*/ 91 h 159"/>
                <a:gd name="T26" fmla="*/ 103 w 130"/>
                <a:gd name="T27" fmla="*/ 102 h 159"/>
                <a:gd name="T28" fmla="*/ 95 w 130"/>
                <a:gd name="T29" fmla="*/ 112 h 159"/>
                <a:gd name="T30" fmla="*/ 87 w 130"/>
                <a:gd name="T31" fmla="*/ 121 h 159"/>
                <a:gd name="T32" fmla="*/ 78 w 130"/>
                <a:gd name="T33" fmla="*/ 130 h 159"/>
                <a:gd name="T34" fmla="*/ 68 w 130"/>
                <a:gd name="T35" fmla="*/ 137 h 159"/>
                <a:gd name="T36" fmla="*/ 57 w 130"/>
                <a:gd name="T37" fmla="*/ 143 h 159"/>
                <a:gd name="T38" fmla="*/ 47 w 130"/>
                <a:gd name="T39" fmla="*/ 149 h 159"/>
                <a:gd name="T40" fmla="*/ 35 w 130"/>
                <a:gd name="T41" fmla="*/ 153 h 159"/>
                <a:gd name="T42" fmla="*/ 22 w 130"/>
                <a:gd name="T43" fmla="*/ 157 h 159"/>
                <a:gd name="T44" fmla="*/ 10 w 130"/>
                <a:gd name="T45" fmla="*/ 158 h 159"/>
                <a:gd name="T46" fmla="*/ 0 w 130"/>
                <a:gd name="T47" fmla="*/ 159 h 159"/>
                <a:gd name="T48" fmla="*/ 0 w 130"/>
                <a:gd name="T49" fmla="*/ 159 h 159"/>
                <a:gd name="T50" fmla="*/ 19 w 130"/>
                <a:gd name="T51" fmla="*/ 17 h 159"/>
                <a:gd name="T52" fmla="*/ 19 w 130"/>
                <a:gd name="T53" fmla="*/ 139 h 159"/>
                <a:gd name="T54" fmla="*/ 19 w 130"/>
                <a:gd name="T55" fmla="*/ 139 h 159"/>
                <a:gd name="T56" fmla="*/ 29 w 130"/>
                <a:gd name="T57" fmla="*/ 137 h 159"/>
                <a:gd name="T58" fmla="*/ 37 w 130"/>
                <a:gd name="T59" fmla="*/ 133 h 159"/>
                <a:gd name="T60" fmla="*/ 47 w 130"/>
                <a:gd name="T61" fmla="*/ 130 h 159"/>
                <a:gd name="T62" fmla="*/ 56 w 130"/>
                <a:gd name="T63" fmla="*/ 125 h 159"/>
                <a:gd name="T64" fmla="*/ 63 w 130"/>
                <a:gd name="T65" fmla="*/ 119 h 159"/>
                <a:gd name="T66" fmla="*/ 70 w 130"/>
                <a:gd name="T67" fmla="*/ 112 h 159"/>
                <a:gd name="T68" fmla="*/ 78 w 130"/>
                <a:gd name="T69" fmla="*/ 105 h 159"/>
                <a:gd name="T70" fmla="*/ 85 w 130"/>
                <a:gd name="T71" fmla="*/ 98 h 159"/>
                <a:gd name="T72" fmla="*/ 90 w 130"/>
                <a:gd name="T73" fmla="*/ 89 h 159"/>
                <a:gd name="T74" fmla="*/ 96 w 130"/>
                <a:gd name="T75" fmla="*/ 80 h 159"/>
                <a:gd name="T76" fmla="*/ 100 w 130"/>
                <a:gd name="T77" fmla="*/ 70 h 159"/>
                <a:gd name="T78" fmla="*/ 104 w 130"/>
                <a:gd name="T79" fmla="*/ 61 h 159"/>
                <a:gd name="T80" fmla="*/ 107 w 130"/>
                <a:gd name="T81" fmla="*/ 51 h 159"/>
                <a:gd name="T82" fmla="*/ 110 w 130"/>
                <a:gd name="T83" fmla="*/ 40 h 159"/>
                <a:gd name="T84" fmla="*/ 111 w 130"/>
                <a:gd name="T85" fmla="*/ 28 h 159"/>
                <a:gd name="T86" fmla="*/ 111 w 130"/>
                <a:gd name="T87" fmla="*/ 17 h 159"/>
                <a:gd name="T88" fmla="*/ 19 w 130"/>
                <a:gd name="T89" fmla="*/ 17 h 159"/>
                <a:gd name="T90" fmla="*/ 19 w 130"/>
                <a:gd name="T91" fmla="*/ 1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 h="159">
                  <a:moveTo>
                    <a:pt x="0" y="159"/>
                  </a:moveTo>
                  <a:lnTo>
                    <a:pt x="0" y="0"/>
                  </a:lnTo>
                  <a:lnTo>
                    <a:pt x="128" y="0"/>
                  </a:lnTo>
                  <a:lnTo>
                    <a:pt x="128" y="9"/>
                  </a:lnTo>
                  <a:lnTo>
                    <a:pt x="128" y="9"/>
                  </a:lnTo>
                  <a:lnTo>
                    <a:pt x="130" y="16"/>
                  </a:lnTo>
                  <a:lnTo>
                    <a:pt x="130" y="16"/>
                  </a:lnTo>
                  <a:lnTo>
                    <a:pt x="128" y="30"/>
                  </a:lnTo>
                  <a:lnTo>
                    <a:pt x="127" y="43"/>
                  </a:lnTo>
                  <a:lnTo>
                    <a:pt x="124" y="57"/>
                  </a:lnTo>
                  <a:lnTo>
                    <a:pt x="120" y="69"/>
                  </a:lnTo>
                  <a:lnTo>
                    <a:pt x="115" y="80"/>
                  </a:lnTo>
                  <a:lnTo>
                    <a:pt x="110" y="91"/>
                  </a:lnTo>
                  <a:lnTo>
                    <a:pt x="103" y="102"/>
                  </a:lnTo>
                  <a:lnTo>
                    <a:pt x="95" y="112"/>
                  </a:lnTo>
                  <a:lnTo>
                    <a:pt x="87" y="121"/>
                  </a:lnTo>
                  <a:lnTo>
                    <a:pt x="78" y="130"/>
                  </a:lnTo>
                  <a:lnTo>
                    <a:pt x="68" y="137"/>
                  </a:lnTo>
                  <a:lnTo>
                    <a:pt x="57" y="143"/>
                  </a:lnTo>
                  <a:lnTo>
                    <a:pt x="47" y="149"/>
                  </a:lnTo>
                  <a:lnTo>
                    <a:pt x="35" y="153"/>
                  </a:lnTo>
                  <a:lnTo>
                    <a:pt x="22" y="157"/>
                  </a:lnTo>
                  <a:lnTo>
                    <a:pt x="10" y="158"/>
                  </a:lnTo>
                  <a:lnTo>
                    <a:pt x="0" y="159"/>
                  </a:lnTo>
                  <a:lnTo>
                    <a:pt x="0" y="159"/>
                  </a:lnTo>
                  <a:close/>
                  <a:moveTo>
                    <a:pt x="19" y="17"/>
                  </a:moveTo>
                  <a:lnTo>
                    <a:pt x="19" y="139"/>
                  </a:lnTo>
                  <a:lnTo>
                    <a:pt x="19" y="139"/>
                  </a:lnTo>
                  <a:lnTo>
                    <a:pt x="29" y="137"/>
                  </a:lnTo>
                  <a:lnTo>
                    <a:pt x="37" y="133"/>
                  </a:lnTo>
                  <a:lnTo>
                    <a:pt x="47" y="130"/>
                  </a:lnTo>
                  <a:lnTo>
                    <a:pt x="56" y="125"/>
                  </a:lnTo>
                  <a:lnTo>
                    <a:pt x="63" y="119"/>
                  </a:lnTo>
                  <a:lnTo>
                    <a:pt x="70" y="112"/>
                  </a:lnTo>
                  <a:lnTo>
                    <a:pt x="78" y="105"/>
                  </a:lnTo>
                  <a:lnTo>
                    <a:pt x="85" y="98"/>
                  </a:lnTo>
                  <a:lnTo>
                    <a:pt x="90" y="89"/>
                  </a:lnTo>
                  <a:lnTo>
                    <a:pt x="96" y="80"/>
                  </a:lnTo>
                  <a:lnTo>
                    <a:pt x="100" y="70"/>
                  </a:lnTo>
                  <a:lnTo>
                    <a:pt x="104" y="61"/>
                  </a:lnTo>
                  <a:lnTo>
                    <a:pt x="107" y="51"/>
                  </a:lnTo>
                  <a:lnTo>
                    <a:pt x="110" y="40"/>
                  </a:lnTo>
                  <a:lnTo>
                    <a:pt x="111" y="28"/>
                  </a:lnTo>
                  <a:lnTo>
                    <a:pt x="111" y="17"/>
                  </a:lnTo>
                  <a:lnTo>
                    <a:pt x="19" y="17"/>
                  </a:lnTo>
                  <a:lnTo>
                    <a:pt x="19" y="17"/>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8" name="Rectangle 131">
              <a:extLst>
                <a:ext uri="{FF2B5EF4-FFF2-40B4-BE49-F238E27FC236}">
                  <a16:creationId xmlns:a16="http://schemas.microsoft.com/office/drawing/2014/main" id="{96E832FC-02F0-E7F2-6644-5D603889B61A}"/>
                </a:ext>
              </a:extLst>
            </p:cNvPr>
            <p:cNvSpPr>
              <a:spLocks noChangeArrowheads="1"/>
            </p:cNvSpPr>
            <p:nvPr/>
          </p:nvSpPr>
          <p:spPr bwMode="auto">
            <a:xfrm>
              <a:off x="9484837" y="1852988"/>
              <a:ext cx="39688" cy="174625"/>
            </a:xfrm>
            <a:prstGeom prst="rect">
              <a:avLst/>
            </a:prstGeom>
            <a:solidFill>
              <a:srgbClr val="F99B1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9" name="Freeform 132">
              <a:extLst>
                <a:ext uri="{FF2B5EF4-FFF2-40B4-BE49-F238E27FC236}">
                  <a16:creationId xmlns:a16="http://schemas.microsoft.com/office/drawing/2014/main" id="{CD66BB9F-C88A-6BA1-D90A-527353B15322}"/>
                </a:ext>
              </a:extLst>
            </p:cNvPr>
            <p:cNvSpPr>
              <a:spLocks/>
            </p:cNvSpPr>
            <p:nvPr/>
          </p:nvSpPr>
          <p:spPr bwMode="auto">
            <a:xfrm>
              <a:off x="9389587" y="2011738"/>
              <a:ext cx="230188" cy="31750"/>
            </a:xfrm>
            <a:custGeom>
              <a:avLst/>
              <a:gdLst>
                <a:gd name="T0" fmla="*/ 145 w 145"/>
                <a:gd name="T1" fmla="*/ 20 h 20"/>
                <a:gd name="T2" fmla="*/ 145 w 145"/>
                <a:gd name="T3" fmla="*/ 11 h 20"/>
                <a:gd name="T4" fmla="*/ 145 w 145"/>
                <a:gd name="T5" fmla="*/ 11 h 20"/>
                <a:gd name="T6" fmla="*/ 143 w 145"/>
                <a:gd name="T7" fmla="*/ 6 h 20"/>
                <a:gd name="T8" fmla="*/ 142 w 145"/>
                <a:gd name="T9" fmla="*/ 4 h 20"/>
                <a:gd name="T10" fmla="*/ 139 w 145"/>
                <a:gd name="T11" fmla="*/ 1 h 20"/>
                <a:gd name="T12" fmla="*/ 136 w 145"/>
                <a:gd name="T13" fmla="*/ 0 h 20"/>
                <a:gd name="T14" fmla="*/ 9 w 145"/>
                <a:gd name="T15" fmla="*/ 0 h 20"/>
                <a:gd name="T16" fmla="*/ 9 w 145"/>
                <a:gd name="T17" fmla="*/ 0 h 20"/>
                <a:gd name="T18" fmla="*/ 5 w 145"/>
                <a:gd name="T19" fmla="*/ 1 h 20"/>
                <a:gd name="T20" fmla="*/ 3 w 145"/>
                <a:gd name="T21" fmla="*/ 4 h 20"/>
                <a:gd name="T22" fmla="*/ 0 w 145"/>
                <a:gd name="T23" fmla="*/ 6 h 20"/>
                <a:gd name="T24" fmla="*/ 0 w 145"/>
                <a:gd name="T25" fmla="*/ 11 h 20"/>
                <a:gd name="T26" fmla="*/ 0 w 145"/>
                <a:gd name="T27" fmla="*/ 20 h 20"/>
                <a:gd name="T28" fmla="*/ 145 w 145"/>
                <a:gd name="T2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5" h="20">
                  <a:moveTo>
                    <a:pt x="145" y="20"/>
                  </a:moveTo>
                  <a:lnTo>
                    <a:pt x="145" y="11"/>
                  </a:lnTo>
                  <a:lnTo>
                    <a:pt x="145" y="11"/>
                  </a:lnTo>
                  <a:lnTo>
                    <a:pt x="143" y="6"/>
                  </a:lnTo>
                  <a:lnTo>
                    <a:pt x="142" y="4"/>
                  </a:lnTo>
                  <a:lnTo>
                    <a:pt x="139" y="1"/>
                  </a:lnTo>
                  <a:lnTo>
                    <a:pt x="136" y="0"/>
                  </a:lnTo>
                  <a:lnTo>
                    <a:pt x="9" y="0"/>
                  </a:lnTo>
                  <a:lnTo>
                    <a:pt x="9" y="0"/>
                  </a:lnTo>
                  <a:lnTo>
                    <a:pt x="5" y="1"/>
                  </a:lnTo>
                  <a:lnTo>
                    <a:pt x="3" y="4"/>
                  </a:lnTo>
                  <a:lnTo>
                    <a:pt x="0" y="6"/>
                  </a:lnTo>
                  <a:lnTo>
                    <a:pt x="0" y="11"/>
                  </a:lnTo>
                  <a:lnTo>
                    <a:pt x="0" y="20"/>
                  </a:lnTo>
                  <a:lnTo>
                    <a:pt x="145" y="20"/>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50" name="Freeform 133">
              <a:extLst>
                <a:ext uri="{FF2B5EF4-FFF2-40B4-BE49-F238E27FC236}">
                  <a16:creationId xmlns:a16="http://schemas.microsoft.com/office/drawing/2014/main" id="{97E8BBAD-70C3-20A3-EC48-76878A1AB9FB}"/>
                </a:ext>
              </a:extLst>
            </p:cNvPr>
            <p:cNvSpPr>
              <a:spLocks/>
            </p:cNvSpPr>
            <p:nvPr/>
          </p:nvSpPr>
          <p:spPr bwMode="auto">
            <a:xfrm>
              <a:off x="9356249" y="1595813"/>
              <a:ext cx="146050" cy="401638"/>
            </a:xfrm>
            <a:custGeom>
              <a:avLst/>
              <a:gdLst>
                <a:gd name="T0" fmla="*/ 8 w 92"/>
                <a:gd name="T1" fmla="*/ 0 h 253"/>
                <a:gd name="T2" fmla="*/ 8 w 92"/>
                <a:gd name="T3" fmla="*/ 0 h 253"/>
                <a:gd name="T4" fmla="*/ 4 w 92"/>
                <a:gd name="T5" fmla="*/ 12 h 253"/>
                <a:gd name="T6" fmla="*/ 2 w 92"/>
                <a:gd name="T7" fmla="*/ 24 h 253"/>
                <a:gd name="T8" fmla="*/ 0 w 92"/>
                <a:gd name="T9" fmla="*/ 36 h 253"/>
                <a:gd name="T10" fmla="*/ 0 w 92"/>
                <a:gd name="T11" fmla="*/ 49 h 253"/>
                <a:gd name="T12" fmla="*/ 0 w 92"/>
                <a:gd name="T13" fmla="*/ 49 h 253"/>
                <a:gd name="T14" fmla="*/ 0 w 92"/>
                <a:gd name="T15" fmla="*/ 60 h 253"/>
                <a:gd name="T16" fmla="*/ 2 w 92"/>
                <a:gd name="T17" fmla="*/ 71 h 253"/>
                <a:gd name="T18" fmla="*/ 7 w 92"/>
                <a:gd name="T19" fmla="*/ 92 h 253"/>
                <a:gd name="T20" fmla="*/ 13 w 92"/>
                <a:gd name="T21" fmla="*/ 111 h 253"/>
                <a:gd name="T22" fmla="*/ 23 w 92"/>
                <a:gd name="T23" fmla="*/ 130 h 253"/>
                <a:gd name="T24" fmla="*/ 34 w 92"/>
                <a:gd name="T25" fmla="*/ 147 h 253"/>
                <a:gd name="T26" fmla="*/ 47 w 92"/>
                <a:gd name="T27" fmla="*/ 163 h 253"/>
                <a:gd name="T28" fmla="*/ 63 w 92"/>
                <a:gd name="T29" fmla="*/ 177 h 253"/>
                <a:gd name="T30" fmla="*/ 81 w 92"/>
                <a:gd name="T31" fmla="*/ 189 h 253"/>
                <a:gd name="T32" fmla="*/ 81 w 92"/>
                <a:gd name="T33" fmla="*/ 253 h 253"/>
                <a:gd name="T34" fmla="*/ 92 w 92"/>
                <a:gd name="T35" fmla="*/ 253 h 253"/>
                <a:gd name="T36" fmla="*/ 92 w 92"/>
                <a:gd name="T37" fmla="*/ 162 h 253"/>
                <a:gd name="T38" fmla="*/ 92 w 92"/>
                <a:gd name="T39" fmla="*/ 0 h 253"/>
                <a:gd name="T40" fmla="*/ 8 w 92"/>
                <a:gd name="T4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253">
                  <a:moveTo>
                    <a:pt x="8" y="0"/>
                  </a:moveTo>
                  <a:lnTo>
                    <a:pt x="8" y="0"/>
                  </a:lnTo>
                  <a:lnTo>
                    <a:pt x="4" y="12"/>
                  </a:lnTo>
                  <a:lnTo>
                    <a:pt x="2" y="24"/>
                  </a:lnTo>
                  <a:lnTo>
                    <a:pt x="0" y="36"/>
                  </a:lnTo>
                  <a:lnTo>
                    <a:pt x="0" y="49"/>
                  </a:lnTo>
                  <a:lnTo>
                    <a:pt x="0" y="49"/>
                  </a:lnTo>
                  <a:lnTo>
                    <a:pt x="0" y="60"/>
                  </a:lnTo>
                  <a:lnTo>
                    <a:pt x="2" y="71"/>
                  </a:lnTo>
                  <a:lnTo>
                    <a:pt x="7" y="92"/>
                  </a:lnTo>
                  <a:lnTo>
                    <a:pt x="13" y="111"/>
                  </a:lnTo>
                  <a:lnTo>
                    <a:pt x="23" y="130"/>
                  </a:lnTo>
                  <a:lnTo>
                    <a:pt x="34" y="147"/>
                  </a:lnTo>
                  <a:lnTo>
                    <a:pt x="47" y="163"/>
                  </a:lnTo>
                  <a:lnTo>
                    <a:pt x="63" y="177"/>
                  </a:lnTo>
                  <a:lnTo>
                    <a:pt x="81" y="189"/>
                  </a:lnTo>
                  <a:lnTo>
                    <a:pt x="81" y="253"/>
                  </a:lnTo>
                  <a:lnTo>
                    <a:pt x="92" y="253"/>
                  </a:lnTo>
                  <a:lnTo>
                    <a:pt x="92" y="162"/>
                  </a:lnTo>
                  <a:lnTo>
                    <a:pt x="92" y="0"/>
                  </a:lnTo>
                  <a:lnTo>
                    <a:pt x="8" y="0"/>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51" name="Freeform 134">
              <a:extLst>
                <a:ext uri="{FF2B5EF4-FFF2-40B4-BE49-F238E27FC236}">
                  <a16:creationId xmlns:a16="http://schemas.microsoft.com/office/drawing/2014/main" id="{73BFBA3B-AD09-8087-64C4-5C5CA17FA7F7}"/>
                </a:ext>
              </a:extLst>
            </p:cNvPr>
            <p:cNvSpPr>
              <a:spLocks/>
            </p:cNvSpPr>
            <p:nvPr/>
          </p:nvSpPr>
          <p:spPr bwMode="auto">
            <a:xfrm>
              <a:off x="9389587" y="2011738"/>
              <a:ext cx="112713" cy="31750"/>
            </a:xfrm>
            <a:custGeom>
              <a:avLst/>
              <a:gdLst>
                <a:gd name="T0" fmla="*/ 31 w 71"/>
                <a:gd name="T1" fmla="*/ 0 h 20"/>
                <a:gd name="T2" fmla="*/ 9 w 71"/>
                <a:gd name="T3" fmla="*/ 0 h 20"/>
                <a:gd name="T4" fmla="*/ 9 w 71"/>
                <a:gd name="T5" fmla="*/ 0 h 20"/>
                <a:gd name="T6" fmla="*/ 5 w 71"/>
                <a:gd name="T7" fmla="*/ 1 h 20"/>
                <a:gd name="T8" fmla="*/ 3 w 71"/>
                <a:gd name="T9" fmla="*/ 4 h 20"/>
                <a:gd name="T10" fmla="*/ 0 w 71"/>
                <a:gd name="T11" fmla="*/ 6 h 20"/>
                <a:gd name="T12" fmla="*/ 0 w 71"/>
                <a:gd name="T13" fmla="*/ 11 h 20"/>
                <a:gd name="T14" fmla="*/ 0 w 71"/>
                <a:gd name="T15" fmla="*/ 20 h 20"/>
                <a:gd name="T16" fmla="*/ 71 w 71"/>
                <a:gd name="T17" fmla="*/ 20 h 20"/>
                <a:gd name="T18" fmla="*/ 71 w 71"/>
                <a:gd name="T19" fmla="*/ 0 h 20"/>
                <a:gd name="T20" fmla="*/ 60 w 71"/>
                <a:gd name="T21" fmla="*/ 0 h 20"/>
                <a:gd name="T22" fmla="*/ 31 w 71"/>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20">
                  <a:moveTo>
                    <a:pt x="31" y="0"/>
                  </a:moveTo>
                  <a:lnTo>
                    <a:pt x="9" y="0"/>
                  </a:lnTo>
                  <a:lnTo>
                    <a:pt x="9" y="0"/>
                  </a:lnTo>
                  <a:lnTo>
                    <a:pt x="5" y="1"/>
                  </a:lnTo>
                  <a:lnTo>
                    <a:pt x="3" y="4"/>
                  </a:lnTo>
                  <a:lnTo>
                    <a:pt x="0" y="6"/>
                  </a:lnTo>
                  <a:lnTo>
                    <a:pt x="0" y="11"/>
                  </a:lnTo>
                  <a:lnTo>
                    <a:pt x="0" y="20"/>
                  </a:lnTo>
                  <a:lnTo>
                    <a:pt x="71" y="20"/>
                  </a:lnTo>
                  <a:lnTo>
                    <a:pt x="71" y="0"/>
                  </a:lnTo>
                  <a:lnTo>
                    <a:pt x="60" y="0"/>
                  </a:lnTo>
                  <a:lnTo>
                    <a:pt x="31" y="0"/>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52" name="Rectangle 135">
              <a:extLst>
                <a:ext uri="{FF2B5EF4-FFF2-40B4-BE49-F238E27FC236}">
                  <a16:creationId xmlns:a16="http://schemas.microsoft.com/office/drawing/2014/main" id="{F4F5DBE2-CF1F-2E9E-1C8C-F115282C7E93}"/>
                </a:ext>
              </a:extLst>
            </p:cNvPr>
            <p:cNvSpPr>
              <a:spLocks noChangeArrowheads="1"/>
            </p:cNvSpPr>
            <p:nvPr/>
          </p:nvSpPr>
          <p:spPr bwMode="auto">
            <a:xfrm>
              <a:off x="9361012" y="2040313"/>
              <a:ext cx="287338" cy="141288"/>
            </a:xfrm>
            <a:prstGeom prst="rect">
              <a:avLst/>
            </a:prstGeom>
            <a:solidFill>
              <a:srgbClr val="15B0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53" name="Rectangle 136">
              <a:extLst>
                <a:ext uri="{FF2B5EF4-FFF2-40B4-BE49-F238E27FC236}">
                  <a16:creationId xmlns:a16="http://schemas.microsoft.com/office/drawing/2014/main" id="{AB71E4A7-7442-5353-16FB-C709CD1B59A8}"/>
                </a:ext>
              </a:extLst>
            </p:cNvPr>
            <p:cNvSpPr>
              <a:spLocks noChangeArrowheads="1"/>
            </p:cNvSpPr>
            <p:nvPr/>
          </p:nvSpPr>
          <p:spPr bwMode="auto">
            <a:xfrm>
              <a:off x="9394349" y="2073650"/>
              <a:ext cx="219075" cy="74613"/>
            </a:xfrm>
            <a:prstGeom prst="rect">
              <a:avLst/>
            </a:prstGeom>
            <a:solidFill>
              <a:srgbClr val="1695A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54" name="Rectangle 137">
              <a:extLst>
                <a:ext uri="{FF2B5EF4-FFF2-40B4-BE49-F238E27FC236}">
                  <a16:creationId xmlns:a16="http://schemas.microsoft.com/office/drawing/2014/main" id="{62DE5E67-6589-F322-A861-D5D3D20BD860}"/>
                </a:ext>
              </a:extLst>
            </p:cNvPr>
            <p:cNvSpPr>
              <a:spLocks noChangeArrowheads="1"/>
            </p:cNvSpPr>
            <p:nvPr/>
          </p:nvSpPr>
          <p:spPr bwMode="auto">
            <a:xfrm>
              <a:off x="9348312" y="2176838"/>
              <a:ext cx="309563" cy="34925"/>
            </a:xfrm>
            <a:prstGeom prst="rect">
              <a:avLst/>
            </a:prstGeom>
            <a:solidFill>
              <a:srgbClr val="1695A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spTree>
    <p:custDataLst>
      <p:tags r:id="rId1"/>
    </p:custDataLst>
    <p:extLst>
      <p:ext uri="{BB962C8B-B14F-4D97-AF65-F5344CB8AC3E}">
        <p14:creationId xmlns:p14="http://schemas.microsoft.com/office/powerpoint/2010/main" val="37682389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83E0C02-E747-6907-9A9C-F9F6D95CE8BC}"/>
              </a:ext>
            </a:extLst>
          </p:cNvPr>
          <p:cNvSpPr/>
          <p:nvPr/>
        </p:nvSpPr>
        <p:spPr>
          <a:xfrm>
            <a:off x="8878" y="1166604"/>
            <a:ext cx="12183122" cy="569139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AD2ECCA3-03D9-E235-DA4D-24F08577C104}"/>
              </a:ext>
            </a:extLst>
          </p:cNvPr>
          <p:cNvSpPr>
            <a:spLocks noGrp="1"/>
          </p:cNvSpPr>
          <p:nvPr>
            <p:ph type="title"/>
          </p:nvPr>
        </p:nvSpPr>
        <p:spPr/>
        <p:txBody>
          <a:bodyPr/>
          <a:lstStyle/>
          <a:p>
            <a:r>
              <a:rPr lang="en-US">
                <a:latin typeface="+mn-lt"/>
              </a:rPr>
              <a:t>F-ROC Applicant Process</a:t>
            </a:r>
          </a:p>
        </p:txBody>
      </p:sp>
      <p:sp>
        <p:nvSpPr>
          <p:cNvPr id="7" name="Rectangle 6">
            <a:extLst>
              <a:ext uri="{FF2B5EF4-FFF2-40B4-BE49-F238E27FC236}">
                <a16:creationId xmlns:a16="http://schemas.microsoft.com/office/drawing/2014/main" id="{25C30CE7-C5C8-EFD5-D053-584693747171}"/>
              </a:ext>
            </a:extLst>
          </p:cNvPr>
          <p:cNvSpPr/>
          <p:nvPr/>
        </p:nvSpPr>
        <p:spPr>
          <a:xfrm>
            <a:off x="1238008" y="2016578"/>
            <a:ext cx="1912181" cy="3773693"/>
          </a:xfrm>
          <a:prstGeom prst="rect">
            <a:avLst/>
          </a:prstGeom>
          <a:solidFill>
            <a:sysClr val="window" lastClr="FFFFFF"/>
          </a:solidFill>
          <a:ln w="6350" cap="flat" cmpd="sng" algn="ctr">
            <a:solidFill>
              <a:srgbClr val="00338D"/>
            </a:solidFill>
            <a:prstDash val="solid"/>
          </a:ln>
          <a:effectLst/>
        </p:spPr>
        <p:txBody>
          <a:bodyPr lIns="84406" tIns="1941342" rIns="84406" rtlCol="0" anchor="t"/>
          <a:lstStyle/>
          <a:p>
            <a:pPr marL="4397" algn="ctr"/>
            <a:r>
              <a:rPr lang="en-US" sz="2000" b="1">
                <a:solidFill>
                  <a:srgbClr val="00338D"/>
                </a:solidFill>
                <a:cs typeface="Arial" panose="020B0604020202020204" pitchFamily="34" charset="0"/>
              </a:rPr>
              <a:t>Complete Opt-in Course</a:t>
            </a:r>
          </a:p>
        </p:txBody>
      </p:sp>
      <p:sp>
        <p:nvSpPr>
          <p:cNvPr id="8" name="Pentagon 7">
            <a:extLst>
              <a:ext uri="{FF2B5EF4-FFF2-40B4-BE49-F238E27FC236}">
                <a16:creationId xmlns:a16="http://schemas.microsoft.com/office/drawing/2014/main" id="{A6F79AC1-6481-5218-6686-7778CFFC5582}"/>
              </a:ext>
            </a:extLst>
          </p:cNvPr>
          <p:cNvSpPr/>
          <p:nvPr/>
        </p:nvSpPr>
        <p:spPr>
          <a:xfrm>
            <a:off x="1213182" y="2119526"/>
            <a:ext cx="1397821" cy="294439"/>
          </a:xfrm>
          <a:prstGeom prst="homePlate">
            <a:avLst/>
          </a:prstGeom>
          <a:solidFill>
            <a:srgbClr val="00338D"/>
          </a:solidFill>
          <a:ln w="25400" cap="flat" cmpd="sng" algn="ctr">
            <a:solidFill>
              <a:srgbClr val="00338D"/>
            </a:solidFill>
            <a:prstDash val="solid"/>
          </a:ln>
          <a:effectLst/>
        </p:spPr>
        <p:txBody>
          <a:bodyPr rtlCol="0" anchor="ctr"/>
          <a:lstStyle/>
          <a:p>
            <a:pPr algn="ctr" defTabSz="844083">
              <a:defRPr/>
            </a:pPr>
            <a:r>
              <a:rPr lang="en-US" sz="1846" b="1" kern="0">
                <a:solidFill>
                  <a:sysClr val="window" lastClr="FFFFFF"/>
                </a:solidFill>
                <a:cs typeface="Arial" pitchFamily="34" charset="0"/>
              </a:rPr>
              <a:t>1</a:t>
            </a:r>
          </a:p>
        </p:txBody>
      </p:sp>
      <p:sp>
        <p:nvSpPr>
          <p:cNvPr id="11" name="Rectangle 10">
            <a:extLst>
              <a:ext uri="{FF2B5EF4-FFF2-40B4-BE49-F238E27FC236}">
                <a16:creationId xmlns:a16="http://schemas.microsoft.com/office/drawing/2014/main" id="{85C03193-E826-C1FC-7A27-53EC3951225F}"/>
              </a:ext>
            </a:extLst>
          </p:cNvPr>
          <p:cNvSpPr/>
          <p:nvPr/>
        </p:nvSpPr>
        <p:spPr>
          <a:xfrm>
            <a:off x="3216914" y="2021025"/>
            <a:ext cx="1912181" cy="3773693"/>
          </a:xfrm>
          <a:prstGeom prst="rect">
            <a:avLst/>
          </a:prstGeom>
          <a:solidFill>
            <a:sysClr val="window" lastClr="FFFFFF"/>
          </a:solidFill>
          <a:ln w="6350" cap="flat" cmpd="sng" algn="ctr">
            <a:solidFill>
              <a:srgbClr val="005EB8"/>
            </a:solidFill>
            <a:prstDash val="solid"/>
          </a:ln>
          <a:effectLst/>
        </p:spPr>
        <p:txBody>
          <a:bodyPr lIns="84406" tIns="1941342" rIns="84406" rtlCol="0" anchor="t"/>
          <a:lstStyle/>
          <a:p>
            <a:pPr marL="4397" algn="ctr"/>
            <a:r>
              <a:rPr lang="en-US" sz="2000" b="1">
                <a:solidFill>
                  <a:srgbClr val="005EB8"/>
                </a:solidFill>
                <a:cs typeface="Arial" panose="020B0604020202020204" pitchFamily="34" charset="0"/>
              </a:rPr>
              <a:t>Sign Participation Request Form </a:t>
            </a:r>
          </a:p>
        </p:txBody>
      </p:sp>
      <p:sp>
        <p:nvSpPr>
          <p:cNvPr id="12" name="Pentagon 11">
            <a:extLst>
              <a:ext uri="{FF2B5EF4-FFF2-40B4-BE49-F238E27FC236}">
                <a16:creationId xmlns:a16="http://schemas.microsoft.com/office/drawing/2014/main" id="{DEA40AF6-C61D-49A3-0DC7-7EE8DA585431}"/>
              </a:ext>
            </a:extLst>
          </p:cNvPr>
          <p:cNvSpPr/>
          <p:nvPr/>
        </p:nvSpPr>
        <p:spPr>
          <a:xfrm>
            <a:off x="3184292" y="2119526"/>
            <a:ext cx="1397821" cy="294438"/>
          </a:xfrm>
          <a:prstGeom prst="homePlate">
            <a:avLst/>
          </a:prstGeom>
          <a:solidFill>
            <a:srgbClr val="005EB8"/>
          </a:solidFill>
          <a:ln w="25400" cap="flat" cmpd="sng" algn="ctr">
            <a:noFill/>
            <a:prstDash val="solid"/>
          </a:ln>
          <a:effectLst/>
        </p:spPr>
        <p:txBody>
          <a:bodyPr rtlCol="0" anchor="ctr"/>
          <a:lstStyle/>
          <a:p>
            <a:pPr algn="ctr" defTabSz="844083">
              <a:defRPr/>
            </a:pPr>
            <a:r>
              <a:rPr lang="en-US" sz="1846" b="1" kern="0">
                <a:solidFill>
                  <a:sysClr val="window" lastClr="FFFFFF"/>
                </a:solidFill>
                <a:cs typeface="Arial" pitchFamily="34" charset="0"/>
              </a:rPr>
              <a:t>2</a:t>
            </a:r>
          </a:p>
        </p:txBody>
      </p:sp>
      <p:sp>
        <p:nvSpPr>
          <p:cNvPr id="14" name="Rectangle 13">
            <a:extLst>
              <a:ext uri="{FF2B5EF4-FFF2-40B4-BE49-F238E27FC236}">
                <a16:creationId xmlns:a16="http://schemas.microsoft.com/office/drawing/2014/main" id="{7D5159CA-4E9A-8FE6-3EEF-FD4FA095A2BB}"/>
              </a:ext>
            </a:extLst>
          </p:cNvPr>
          <p:cNvSpPr/>
          <p:nvPr/>
        </p:nvSpPr>
        <p:spPr>
          <a:xfrm>
            <a:off x="5198164" y="2016578"/>
            <a:ext cx="1912181" cy="3773693"/>
          </a:xfrm>
          <a:prstGeom prst="rect">
            <a:avLst/>
          </a:prstGeom>
          <a:solidFill>
            <a:sysClr val="window" lastClr="FFFFFF"/>
          </a:solidFill>
          <a:ln w="6350" cap="flat" cmpd="sng" algn="ctr">
            <a:solidFill>
              <a:srgbClr val="0091DA"/>
            </a:solidFill>
            <a:prstDash val="solid"/>
          </a:ln>
          <a:effectLst/>
        </p:spPr>
        <p:txBody>
          <a:bodyPr lIns="84406" tIns="1941342" rIns="84406" rtlCol="0" anchor="t"/>
          <a:lstStyle/>
          <a:p>
            <a:pPr marL="4397" algn="ctr"/>
            <a:r>
              <a:rPr lang="en-US" sz="2000" b="1">
                <a:solidFill>
                  <a:srgbClr val="0091DA"/>
                </a:solidFill>
                <a:cs typeface="Arial" panose="020B0604020202020204" pitchFamily="34" charset="0"/>
              </a:rPr>
              <a:t>Complete Disaster Readiness Assessment</a:t>
            </a:r>
          </a:p>
        </p:txBody>
      </p:sp>
      <p:sp>
        <p:nvSpPr>
          <p:cNvPr id="15" name="Pentagon 14">
            <a:extLst>
              <a:ext uri="{FF2B5EF4-FFF2-40B4-BE49-F238E27FC236}">
                <a16:creationId xmlns:a16="http://schemas.microsoft.com/office/drawing/2014/main" id="{2F25347C-B6B3-93AC-E1A8-25D3E8FE4DDA}"/>
              </a:ext>
            </a:extLst>
          </p:cNvPr>
          <p:cNvSpPr/>
          <p:nvPr/>
        </p:nvSpPr>
        <p:spPr>
          <a:xfrm>
            <a:off x="5166022" y="2119526"/>
            <a:ext cx="1397821" cy="294438"/>
          </a:xfrm>
          <a:prstGeom prst="homePlate">
            <a:avLst/>
          </a:prstGeom>
          <a:solidFill>
            <a:srgbClr val="0091DA"/>
          </a:solidFill>
          <a:ln w="25400" cap="flat" cmpd="sng" algn="ctr">
            <a:noFill/>
            <a:prstDash val="solid"/>
          </a:ln>
          <a:effectLst/>
        </p:spPr>
        <p:txBody>
          <a:bodyPr rtlCol="0" anchor="ctr"/>
          <a:lstStyle/>
          <a:p>
            <a:pPr algn="ctr" defTabSz="844083">
              <a:defRPr/>
            </a:pPr>
            <a:r>
              <a:rPr lang="en-US" sz="1846" b="1" kern="0">
                <a:solidFill>
                  <a:sysClr val="window" lastClr="FFFFFF"/>
                </a:solidFill>
                <a:cs typeface="Arial" pitchFamily="34" charset="0"/>
              </a:rPr>
              <a:t>3</a:t>
            </a:r>
          </a:p>
        </p:txBody>
      </p:sp>
      <p:sp>
        <p:nvSpPr>
          <p:cNvPr id="17" name="Rectangle 16">
            <a:extLst>
              <a:ext uri="{FF2B5EF4-FFF2-40B4-BE49-F238E27FC236}">
                <a16:creationId xmlns:a16="http://schemas.microsoft.com/office/drawing/2014/main" id="{F0C1E350-F1CF-B835-1256-FD3AB2931220}"/>
              </a:ext>
            </a:extLst>
          </p:cNvPr>
          <p:cNvSpPr/>
          <p:nvPr/>
        </p:nvSpPr>
        <p:spPr>
          <a:xfrm>
            <a:off x="7171732" y="2016578"/>
            <a:ext cx="1912181" cy="3773693"/>
          </a:xfrm>
          <a:prstGeom prst="rect">
            <a:avLst/>
          </a:prstGeom>
          <a:solidFill>
            <a:sysClr val="window" lastClr="FFFFFF"/>
          </a:solidFill>
          <a:ln w="6350" cap="flat" cmpd="sng" algn="ctr">
            <a:solidFill>
              <a:srgbClr val="483698"/>
            </a:solidFill>
            <a:prstDash val="solid"/>
          </a:ln>
          <a:effectLst/>
        </p:spPr>
        <p:txBody>
          <a:bodyPr lIns="84406" tIns="1941342" rIns="84406" rtlCol="0" anchor="t"/>
          <a:lstStyle/>
          <a:p>
            <a:pPr marL="4397" algn="ctr"/>
            <a:r>
              <a:rPr lang="en-US" sz="2000" b="1">
                <a:solidFill>
                  <a:srgbClr val="483698"/>
                </a:solidFill>
                <a:cs typeface="Arial" panose="020B0604020202020204" pitchFamily="34" charset="0"/>
              </a:rPr>
              <a:t>Create Customized Abatement Plan (based on your options)</a:t>
            </a:r>
          </a:p>
        </p:txBody>
      </p:sp>
      <p:sp>
        <p:nvSpPr>
          <p:cNvPr id="18" name="Pentagon 17">
            <a:extLst>
              <a:ext uri="{FF2B5EF4-FFF2-40B4-BE49-F238E27FC236}">
                <a16:creationId xmlns:a16="http://schemas.microsoft.com/office/drawing/2014/main" id="{814A4920-3EE0-7729-71BA-266602FCDC35}"/>
              </a:ext>
            </a:extLst>
          </p:cNvPr>
          <p:cNvSpPr/>
          <p:nvPr/>
        </p:nvSpPr>
        <p:spPr>
          <a:xfrm>
            <a:off x="7142487" y="2119526"/>
            <a:ext cx="1397821" cy="294438"/>
          </a:xfrm>
          <a:prstGeom prst="homePlate">
            <a:avLst/>
          </a:prstGeom>
          <a:solidFill>
            <a:srgbClr val="483698"/>
          </a:solidFill>
          <a:ln w="25400" cap="flat" cmpd="sng" algn="ctr">
            <a:noFill/>
            <a:prstDash val="solid"/>
          </a:ln>
          <a:effectLst/>
        </p:spPr>
        <p:txBody>
          <a:bodyPr rtlCol="0" anchor="ctr"/>
          <a:lstStyle/>
          <a:p>
            <a:pPr algn="ctr" defTabSz="844083">
              <a:defRPr/>
            </a:pPr>
            <a:r>
              <a:rPr lang="en-US" sz="1846" b="1" kern="0">
                <a:solidFill>
                  <a:sysClr val="window" lastClr="FFFFFF"/>
                </a:solidFill>
                <a:cs typeface="Arial" pitchFamily="34" charset="0"/>
              </a:rPr>
              <a:t>4</a:t>
            </a:r>
          </a:p>
        </p:txBody>
      </p:sp>
      <p:sp>
        <p:nvSpPr>
          <p:cNvPr id="20" name="Rectangle 19">
            <a:extLst>
              <a:ext uri="{FF2B5EF4-FFF2-40B4-BE49-F238E27FC236}">
                <a16:creationId xmlns:a16="http://schemas.microsoft.com/office/drawing/2014/main" id="{26138A86-4184-02A1-42CA-B26D25A8DEC8}"/>
              </a:ext>
            </a:extLst>
          </p:cNvPr>
          <p:cNvSpPr/>
          <p:nvPr/>
        </p:nvSpPr>
        <p:spPr>
          <a:xfrm>
            <a:off x="9152983" y="2019221"/>
            <a:ext cx="1913915" cy="3773693"/>
          </a:xfrm>
          <a:prstGeom prst="rect">
            <a:avLst/>
          </a:prstGeom>
          <a:solidFill>
            <a:sysClr val="window" lastClr="FFFFFF"/>
          </a:solidFill>
          <a:ln w="6350" cap="flat" cmpd="sng" algn="ctr">
            <a:solidFill>
              <a:srgbClr val="470A68"/>
            </a:solidFill>
            <a:prstDash val="solid"/>
          </a:ln>
          <a:effectLst/>
        </p:spPr>
        <p:txBody>
          <a:bodyPr lIns="84406" tIns="1941342" rIns="84406" rtlCol="0" anchor="t"/>
          <a:lstStyle/>
          <a:p>
            <a:pPr marL="4397" algn="ctr"/>
            <a:r>
              <a:rPr lang="en-US" sz="2000" b="1">
                <a:solidFill>
                  <a:srgbClr val="470A68"/>
                </a:solidFill>
                <a:cs typeface="Arial" panose="020B0604020202020204" pitchFamily="34" charset="0"/>
              </a:rPr>
              <a:t>Complete and Submit Post Disaster Questionnaire</a:t>
            </a:r>
          </a:p>
        </p:txBody>
      </p:sp>
      <p:sp>
        <p:nvSpPr>
          <p:cNvPr id="21" name="Pentagon 20">
            <a:extLst>
              <a:ext uri="{FF2B5EF4-FFF2-40B4-BE49-F238E27FC236}">
                <a16:creationId xmlns:a16="http://schemas.microsoft.com/office/drawing/2014/main" id="{F890A4B6-17D0-DADD-B1A2-6432B9B20335}"/>
              </a:ext>
            </a:extLst>
          </p:cNvPr>
          <p:cNvSpPr/>
          <p:nvPr/>
        </p:nvSpPr>
        <p:spPr>
          <a:xfrm>
            <a:off x="9128489" y="2119526"/>
            <a:ext cx="1397821" cy="294438"/>
          </a:xfrm>
          <a:prstGeom prst="homePlate">
            <a:avLst/>
          </a:prstGeom>
          <a:solidFill>
            <a:srgbClr val="470A68"/>
          </a:solidFill>
          <a:ln w="25400" cap="flat" cmpd="sng" algn="ctr">
            <a:noFill/>
            <a:prstDash val="solid"/>
          </a:ln>
          <a:effectLst/>
        </p:spPr>
        <p:txBody>
          <a:bodyPr rtlCol="0" anchor="ctr"/>
          <a:lstStyle/>
          <a:p>
            <a:pPr algn="ctr" defTabSz="844083">
              <a:defRPr/>
            </a:pPr>
            <a:r>
              <a:rPr lang="en-US" sz="1846" b="1" kern="0">
                <a:solidFill>
                  <a:sysClr val="window" lastClr="FFFFFF"/>
                </a:solidFill>
                <a:cs typeface="Arial" pitchFamily="34" charset="0"/>
              </a:rPr>
              <a:t>5</a:t>
            </a:r>
          </a:p>
        </p:txBody>
      </p:sp>
      <p:grpSp>
        <p:nvGrpSpPr>
          <p:cNvPr id="438" name="Group 437">
            <a:extLst>
              <a:ext uri="{FF2B5EF4-FFF2-40B4-BE49-F238E27FC236}">
                <a16:creationId xmlns:a16="http://schemas.microsoft.com/office/drawing/2014/main" id="{FD30B32F-BD69-8F16-1F24-D5E6D2DB961D}"/>
              </a:ext>
            </a:extLst>
          </p:cNvPr>
          <p:cNvGrpSpPr/>
          <p:nvPr/>
        </p:nvGrpSpPr>
        <p:grpSpPr>
          <a:xfrm>
            <a:off x="3502725" y="2594832"/>
            <a:ext cx="1279601" cy="1141859"/>
            <a:chOff x="503700" y="2768118"/>
            <a:chExt cx="1015408" cy="946810"/>
          </a:xfrm>
        </p:grpSpPr>
        <p:sp>
          <p:nvSpPr>
            <p:cNvPr id="368" name="Freeform 23">
              <a:extLst>
                <a:ext uri="{FF2B5EF4-FFF2-40B4-BE49-F238E27FC236}">
                  <a16:creationId xmlns:a16="http://schemas.microsoft.com/office/drawing/2014/main" id="{1CFC8EEE-8A93-24E0-102F-4EE63D14096E}"/>
                </a:ext>
              </a:extLst>
            </p:cNvPr>
            <p:cNvSpPr>
              <a:spLocks/>
            </p:cNvSpPr>
            <p:nvPr/>
          </p:nvSpPr>
          <p:spPr bwMode="auto">
            <a:xfrm>
              <a:off x="503700" y="2768118"/>
              <a:ext cx="1015408" cy="946810"/>
            </a:xfrm>
            <a:custGeom>
              <a:avLst/>
              <a:gdLst>
                <a:gd name="T0" fmla="*/ 332 w 701"/>
                <a:gd name="T1" fmla="*/ 701 h 701"/>
                <a:gd name="T2" fmla="*/ 280 w 701"/>
                <a:gd name="T3" fmla="*/ 694 h 701"/>
                <a:gd name="T4" fmla="*/ 230 w 701"/>
                <a:gd name="T5" fmla="*/ 680 h 701"/>
                <a:gd name="T6" fmla="*/ 184 w 701"/>
                <a:gd name="T7" fmla="*/ 659 h 701"/>
                <a:gd name="T8" fmla="*/ 141 w 701"/>
                <a:gd name="T9" fmla="*/ 631 h 701"/>
                <a:gd name="T10" fmla="*/ 103 w 701"/>
                <a:gd name="T11" fmla="*/ 598 h 701"/>
                <a:gd name="T12" fmla="*/ 69 w 701"/>
                <a:gd name="T13" fmla="*/ 560 h 701"/>
                <a:gd name="T14" fmla="*/ 42 w 701"/>
                <a:gd name="T15" fmla="*/ 518 h 701"/>
                <a:gd name="T16" fmla="*/ 21 w 701"/>
                <a:gd name="T17" fmla="*/ 471 h 701"/>
                <a:gd name="T18" fmla="*/ 8 w 701"/>
                <a:gd name="T19" fmla="*/ 421 h 701"/>
                <a:gd name="T20" fmla="*/ 0 w 701"/>
                <a:gd name="T21" fmla="*/ 369 h 701"/>
                <a:gd name="T22" fmla="*/ 0 w 701"/>
                <a:gd name="T23" fmla="*/ 333 h 701"/>
                <a:gd name="T24" fmla="*/ 8 w 701"/>
                <a:gd name="T25" fmla="*/ 280 h 701"/>
                <a:gd name="T26" fmla="*/ 21 w 701"/>
                <a:gd name="T27" fmla="*/ 231 h 701"/>
                <a:gd name="T28" fmla="*/ 42 w 701"/>
                <a:gd name="T29" fmla="*/ 184 h 701"/>
                <a:gd name="T30" fmla="*/ 69 w 701"/>
                <a:gd name="T31" fmla="*/ 141 h 701"/>
                <a:gd name="T32" fmla="*/ 103 w 701"/>
                <a:gd name="T33" fmla="*/ 102 h 701"/>
                <a:gd name="T34" fmla="*/ 141 w 701"/>
                <a:gd name="T35" fmla="*/ 70 h 701"/>
                <a:gd name="T36" fmla="*/ 184 w 701"/>
                <a:gd name="T37" fmla="*/ 42 h 701"/>
                <a:gd name="T38" fmla="*/ 230 w 701"/>
                <a:gd name="T39" fmla="*/ 21 h 701"/>
                <a:gd name="T40" fmla="*/ 280 w 701"/>
                <a:gd name="T41" fmla="*/ 7 h 701"/>
                <a:gd name="T42" fmla="*/ 332 w 701"/>
                <a:gd name="T43" fmla="*/ 0 h 701"/>
                <a:gd name="T44" fmla="*/ 369 w 701"/>
                <a:gd name="T45" fmla="*/ 0 h 701"/>
                <a:gd name="T46" fmla="*/ 421 w 701"/>
                <a:gd name="T47" fmla="*/ 7 h 701"/>
                <a:gd name="T48" fmla="*/ 472 w 701"/>
                <a:gd name="T49" fmla="*/ 21 h 701"/>
                <a:gd name="T50" fmla="*/ 517 w 701"/>
                <a:gd name="T51" fmla="*/ 42 h 701"/>
                <a:gd name="T52" fmla="*/ 560 w 701"/>
                <a:gd name="T53" fmla="*/ 70 h 701"/>
                <a:gd name="T54" fmla="*/ 599 w 701"/>
                <a:gd name="T55" fmla="*/ 102 h 701"/>
                <a:gd name="T56" fmla="*/ 632 w 701"/>
                <a:gd name="T57" fmla="*/ 141 h 701"/>
                <a:gd name="T58" fmla="*/ 659 w 701"/>
                <a:gd name="T59" fmla="*/ 184 h 701"/>
                <a:gd name="T60" fmla="*/ 680 w 701"/>
                <a:gd name="T61" fmla="*/ 231 h 701"/>
                <a:gd name="T62" fmla="*/ 694 w 701"/>
                <a:gd name="T63" fmla="*/ 280 h 701"/>
                <a:gd name="T64" fmla="*/ 701 w 701"/>
                <a:gd name="T65" fmla="*/ 333 h 701"/>
                <a:gd name="T66" fmla="*/ 701 w 701"/>
                <a:gd name="T67" fmla="*/ 369 h 701"/>
                <a:gd name="T68" fmla="*/ 694 w 701"/>
                <a:gd name="T69" fmla="*/ 421 h 701"/>
                <a:gd name="T70" fmla="*/ 680 w 701"/>
                <a:gd name="T71" fmla="*/ 471 h 701"/>
                <a:gd name="T72" fmla="*/ 659 w 701"/>
                <a:gd name="T73" fmla="*/ 518 h 701"/>
                <a:gd name="T74" fmla="*/ 632 w 701"/>
                <a:gd name="T75" fmla="*/ 560 h 701"/>
                <a:gd name="T76" fmla="*/ 599 w 701"/>
                <a:gd name="T77" fmla="*/ 598 h 701"/>
                <a:gd name="T78" fmla="*/ 560 w 701"/>
                <a:gd name="T79" fmla="*/ 631 h 701"/>
                <a:gd name="T80" fmla="*/ 517 w 701"/>
                <a:gd name="T81" fmla="*/ 659 h 701"/>
                <a:gd name="T82" fmla="*/ 472 w 701"/>
                <a:gd name="T83" fmla="*/ 680 h 701"/>
                <a:gd name="T84" fmla="*/ 421 w 701"/>
                <a:gd name="T85" fmla="*/ 694 h 701"/>
                <a:gd name="T86" fmla="*/ 369 w 701"/>
                <a:gd name="T87" fmla="*/ 701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1">
                  <a:moveTo>
                    <a:pt x="351" y="701"/>
                  </a:moveTo>
                  <a:lnTo>
                    <a:pt x="351" y="701"/>
                  </a:lnTo>
                  <a:lnTo>
                    <a:pt x="332" y="701"/>
                  </a:lnTo>
                  <a:lnTo>
                    <a:pt x="315" y="699"/>
                  </a:lnTo>
                  <a:lnTo>
                    <a:pt x="298" y="697"/>
                  </a:lnTo>
                  <a:lnTo>
                    <a:pt x="280" y="694"/>
                  </a:lnTo>
                  <a:lnTo>
                    <a:pt x="263" y="689"/>
                  </a:lnTo>
                  <a:lnTo>
                    <a:pt x="247" y="686"/>
                  </a:lnTo>
                  <a:lnTo>
                    <a:pt x="230" y="680"/>
                  </a:lnTo>
                  <a:lnTo>
                    <a:pt x="214" y="673"/>
                  </a:lnTo>
                  <a:lnTo>
                    <a:pt x="199" y="666"/>
                  </a:lnTo>
                  <a:lnTo>
                    <a:pt x="184" y="659"/>
                  </a:lnTo>
                  <a:lnTo>
                    <a:pt x="169" y="650"/>
                  </a:lnTo>
                  <a:lnTo>
                    <a:pt x="155" y="641"/>
                  </a:lnTo>
                  <a:lnTo>
                    <a:pt x="141" y="631"/>
                  </a:lnTo>
                  <a:lnTo>
                    <a:pt x="127" y="620"/>
                  </a:lnTo>
                  <a:lnTo>
                    <a:pt x="115" y="611"/>
                  </a:lnTo>
                  <a:lnTo>
                    <a:pt x="103" y="598"/>
                  </a:lnTo>
                  <a:lnTo>
                    <a:pt x="92" y="586"/>
                  </a:lnTo>
                  <a:lnTo>
                    <a:pt x="81" y="573"/>
                  </a:lnTo>
                  <a:lnTo>
                    <a:pt x="69" y="560"/>
                  </a:lnTo>
                  <a:lnTo>
                    <a:pt x="60" y="546"/>
                  </a:lnTo>
                  <a:lnTo>
                    <a:pt x="51" y="533"/>
                  </a:lnTo>
                  <a:lnTo>
                    <a:pt x="42" y="518"/>
                  </a:lnTo>
                  <a:lnTo>
                    <a:pt x="35" y="502"/>
                  </a:lnTo>
                  <a:lnTo>
                    <a:pt x="28" y="487"/>
                  </a:lnTo>
                  <a:lnTo>
                    <a:pt x="21" y="471"/>
                  </a:lnTo>
                  <a:lnTo>
                    <a:pt x="16" y="455"/>
                  </a:lnTo>
                  <a:lnTo>
                    <a:pt x="11" y="438"/>
                  </a:lnTo>
                  <a:lnTo>
                    <a:pt x="8" y="421"/>
                  </a:lnTo>
                  <a:lnTo>
                    <a:pt x="4" y="403"/>
                  </a:lnTo>
                  <a:lnTo>
                    <a:pt x="2" y="386"/>
                  </a:lnTo>
                  <a:lnTo>
                    <a:pt x="0" y="369"/>
                  </a:lnTo>
                  <a:lnTo>
                    <a:pt x="0" y="350"/>
                  </a:lnTo>
                  <a:lnTo>
                    <a:pt x="0" y="350"/>
                  </a:lnTo>
                  <a:lnTo>
                    <a:pt x="0" y="333"/>
                  </a:lnTo>
                  <a:lnTo>
                    <a:pt x="2" y="314"/>
                  </a:lnTo>
                  <a:lnTo>
                    <a:pt x="4" y="297"/>
                  </a:lnTo>
                  <a:lnTo>
                    <a:pt x="8" y="280"/>
                  </a:lnTo>
                  <a:lnTo>
                    <a:pt x="11" y="263"/>
                  </a:lnTo>
                  <a:lnTo>
                    <a:pt x="16" y="247"/>
                  </a:lnTo>
                  <a:lnTo>
                    <a:pt x="21" y="231"/>
                  </a:lnTo>
                  <a:lnTo>
                    <a:pt x="28" y="215"/>
                  </a:lnTo>
                  <a:lnTo>
                    <a:pt x="35" y="198"/>
                  </a:lnTo>
                  <a:lnTo>
                    <a:pt x="42" y="184"/>
                  </a:lnTo>
                  <a:lnTo>
                    <a:pt x="51" y="169"/>
                  </a:lnTo>
                  <a:lnTo>
                    <a:pt x="60" y="154"/>
                  </a:lnTo>
                  <a:lnTo>
                    <a:pt x="69" y="141"/>
                  </a:lnTo>
                  <a:lnTo>
                    <a:pt x="81" y="127"/>
                  </a:lnTo>
                  <a:lnTo>
                    <a:pt x="92" y="115"/>
                  </a:lnTo>
                  <a:lnTo>
                    <a:pt x="103" y="102"/>
                  </a:lnTo>
                  <a:lnTo>
                    <a:pt x="115" y="91"/>
                  </a:lnTo>
                  <a:lnTo>
                    <a:pt x="127" y="80"/>
                  </a:lnTo>
                  <a:lnTo>
                    <a:pt x="141" y="70"/>
                  </a:lnTo>
                  <a:lnTo>
                    <a:pt x="155" y="60"/>
                  </a:lnTo>
                  <a:lnTo>
                    <a:pt x="169" y="50"/>
                  </a:lnTo>
                  <a:lnTo>
                    <a:pt x="184" y="42"/>
                  </a:lnTo>
                  <a:lnTo>
                    <a:pt x="199" y="34"/>
                  </a:lnTo>
                  <a:lnTo>
                    <a:pt x="214" y="27"/>
                  </a:lnTo>
                  <a:lnTo>
                    <a:pt x="230" y="21"/>
                  </a:lnTo>
                  <a:lnTo>
                    <a:pt x="247" y="16"/>
                  </a:lnTo>
                  <a:lnTo>
                    <a:pt x="263" y="11"/>
                  </a:lnTo>
                  <a:lnTo>
                    <a:pt x="280" y="7"/>
                  </a:lnTo>
                  <a:lnTo>
                    <a:pt x="298" y="4"/>
                  </a:lnTo>
                  <a:lnTo>
                    <a:pt x="315" y="2"/>
                  </a:lnTo>
                  <a:lnTo>
                    <a:pt x="332" y="0"/>
                  </a:lnTo>
                  <a:lnTo>
                    <a:pt x="351" y="0"/>
                  </a:lnTo>
                  <a:lnTo>
                    <a:pt x="351" y="0"/>
                  </a:lnTo>
                  <a:lnTo>
                    <a:pt x="369" y="0"/>
                  </a:lnTo>
                  <a:lnTo>
                    <a:pt x="386" y="2"/>
                  </a:lnTo>
                  <a:lnTo>
                    <a:pt x="404" y="4"/>
                  </a:lnTo>
                  <a:lnTo>
                    <a:pt x="421" y="7"/>
                  </a:lnTo>
                  <a:lnTo>
                    <a:pt x="438" y="11"/>
                  </a:lnTo>
                  <a:lnTo>
                    <a:pt x="456" y="16"/>
                  </a:lnTo>
                  <a:lnTo>
                    <a:pt x="472" y="21"/>
                  </a:lnTo>
                  <a:lnTo>
                    <a:pt x="488" y="27"/>
                  </a:lnTo>
                  <a:lnTo>
                    <a:pt x="502" y="34"/>
                  </a:lnTo>
                  <a:lnTo>
                    <a:pt x="517" y="42"/>
                  </a:lnTo>
                  <a:lnTo>
                    <a:pt x="532" y="50"/>
                  </a:lnTo>
                  <a:lnTo>
                    <a:pt x="547" y="60"/>
                  </a:lnTo>
                  <a:lnTo>
                    <a:pt x="560" y="70"/>
                  </a:lnTo>
                  <a:lnTo>
                    <a:pt x="574" y="80"/>
                  </a:lnTo>
                  <a:lnTo>
                    <a:pt x="586" y="91"/>
                  </a:lnTo>
                  <a:lnTo>
                    <a:pt x="599" y="102"/>
                  </a:lnTo>
                  <a:lnTo>
                    <a:pt x="610" y="115"/>
                  </a:lnTo>
                  <a:lnTo>
                    <a:pt x="621" y="127"/>
                  </a:lnTo>
                  <a:lnTo>
                    <a:pt x="632" y="141"/>
                  </a:lnTo>
                  <a:lnTo>
                    <a:pt x="642" y="154"/>
                  </a:lnTo>
                  <a:lnTo>
                    <a:pt x="650" y="169"/>
                  </a:lnTo>
                  <a:lnTo>
                    <a:pt x="659" y="184"/>
                  </a:lnTo>
                  <a:lnTo>
                    <a:pt x="666" y="198"/>
                  </a:lnTo>
                  <a:lnTo>
                    <a:pt x="674" y="215"/>
                  </a:lnTo>
                  <a:lnTo>
                    <a:pt x="680" y="231"/>
                  </a:lnTo>
                  <a:lnTo>
                    <a:pt x="685" y="247"/>
                  </a:lnTo>
                  <a:lnTo>
                    <a:pt x="690" y="263"/>
                  </a:lnTo>
                  <a:lnTo>
                    <a:pt x="694" y="280"/>
                  </a:lnTo>
                  <a:lnTo>
                    <a:pt x="697" y="297"/>
                  </a:lnTo>
                  <a:lnTo>
                    <a:pt x="700" y="314"/>
                  </a:lnTo>
                  <a:lnTo>
                    <a:pt x="701" y="333"/>
                  </a:lnTo>
                  <a:lnTo>
                    <a:pt x="701" y="350"/>
                  </a:lnTo>
                  <a:lnTo>
                    <a:pt x="701" y="350"/>
                  </a:lnTo>
                  <a:lnTo>
                    <a:pt x="701" y="369"/>
                  </a:lnTo>
                  <a:lnTo>
                    <a:pt x="700" y="386"/>
                  </a:lnTo>
                  <a:lnTo>
                    <a:pt x="697" y="403"/>
                  </a:lnTo>
                  <a:lnTo>
                    <a:pt x="694" y="421"/>
                  </a:lnTo>
                  <a:lnTo>
                    <a:pt x="690" y="438"/>
                  </a:lnTo>
                  <a:lnTo>
                    <a:pt x="685" y="455"/>
                  </a:lnTo>
                  <a:lnTo>
                    <a:pt x="680" y="471"/>
                  </a:lnTo>
                  <a:lnTo>
                    <a:pt x="674" y="487"/>
                  </a:lnTo>
                  <a:lnTo>
                    <a:pt x="666" y="502"/>
                  </a:lnTo>
                  <a:lnTo>
                    <a:pt x="659" y="518"/>
                  </a:lnTo>
                  <a:lnTo>
                    <a:pt x="650" y="533"/>
                  </a:lnTo>
                  <a:lnTo>
                    <a:pt x="642" y="546"/>
                  </a:lnTo>
                  <a:lnTo>
                    <a:pt x="632" y="560"/>
                  </a:lnTo>
                  <a:lnTo>
                    <a:pt x="621" y="573"/>
                  </a:lnTo>
                  <a:lnTo>
                    <a:pt x="610" y="586"/>
                  </a:lnTo>
                  <a:lnTo>
                    <a:pt x="599" y="598"/>
                  </a:lnTo>
                  <a:lnTo>
                    <a:pt x="586" y="611"/>
                  </a:lnTo>
                  <a:lnTo>
                    <a:pt x="574" y="620"/>
                  </a:lnTo>
                  <a:lnTo>
                    <a:pt x="560" y="631"/>
                  </a:lnTo>
                  <a:lnTo>
                    <a:pt x="547" y="641"/>
                  </a:lnTo>
                  <a:lnTo>
                    <a:pt x="532" y="650"/>
                  </a:lnTo>
                  <a:lnTo>
                    <a:pt x="517" y="659"/>
                  </a:lnTo>
                  <a:lnTo>
                    <a:pt x="502" y="666"/>
                  </a:lnTo>
                  <a:lnTo>
                    <a:pt x="488" y="673"/>
                  </a:lnTo>
                  <a:lnTo>
                    <a:pt x="472" y="680"/>
                  </a:lnTo>
                  <a:lnTo>
                    <a:pt x="456" y="686"/>
                  </a:lnTo>
                  <a:lnTo>
                    <a:pt x="438" y="689"/>
                  </a:lnTo>
                  <a:lnTo>
                    <a:pt x="421" y="694"/>
                  </a:lnTo>
                  <a:lnTo>
                    <a:pt x="404" y="697"/>
                  </a:lnTo>
                  <a:lnTo>
                    <a:pt x="386" y="699"/>
                  </a:lnTo>
                  <a:lnTo>
                    <a:pt x="369" y="701"/>
                  </a:lnTo>
                  <a:lnTo>
                    <a:pt x="351" y="701"/>
                  </a:lnTo>
                  <a:lnTo>
                    <a:pt x="351" y="701"/>
                  </a:lnTo>
                  <a:close/>
                </a:path>
              </a:pathLst>
            </a:custGeom>
            <a:solidFill>
              <a:srgbClr val="005EB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0" name="Freeform 325">
              <a:extLst>
                <a:ext uri="{FF2B5EF4-FFF2-40B4-BE49-F238E27FC236}">
                  <a16:creationId xmlns:a16="http://schemas.microsoft.com/office/drawing/2014/main" id="{68EAA97D-F64E-15DA-F2A6-839F06F2152A}"/>
                </a:ext>
              </a:extLst>
            </p:cNvPr>
            <p:cNvSpPr>
              <a:spLocks/>
            </p:cNvSpPr>
            <p:nvPr/>
          </p:nvSpPr>
          <p:spPr bwMode="auto">
            <a:xfrm>
              <a:off x="776020" y="2990977"/>
              <a:ext cx="398342" cy="507847"/>
            </a:xfrm>
            <a:custGeom>
              <a:avLst/>
              <a:gdLst>
                <a:gd name="T0" fmla="*/ 0 w 275"/>
                <a:gd name="T1" fmla="*/ 376 h 376"/>
                <a:gd name="T2" fmla="*/ 0 w 275"/>
                <a:gd name="T3" fmla="*/ 174 h 376"/>
                <a:gd name="T4" fmla="*/ 0 w 275"/>
                <a:gd name="T5" fmla="*/ 73 h 376"/>
                <a:gd name="T6" fmla="*/ 71 w 275"/>
                <a:gd name="T7" fmla="*/ 0 h 376"/>
                <a:gd name="T8" fmla="*/ 275 w 275"/>
                <a:gd name="T9" fmla="*/ 0 h 376"/>
                <a:gd name="T10" fmla="*/ 275 w 275"/>
                <a:gd name="T11" fmla="*/ 75 h 376"/>
                <a:gd name="T12" fmla="*/ 275 w 275"/>
                <a:gd name="T13" fmla="*/ 174 h 376"/>
                <a:gd name="T14" fmla="*/ 275 w 275"/>
                <a:gd name="T15" fmla="*/ 376 h 376"/>
                <a:gd name="T16" fmla="*/ 0 w 275"/>
                <a:gd name="T17" fmla="*/ 37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 h="376">
                  <a:moveTo>
                    <a:pt x="0" y="376"/>
                  </a:moveTo>
                  <a:lnTo>
                    <a:pt x="0" y="174"/>
                  </a:lnTo>
                  <a:lnTo>
                    <a:pt x="0" y="73"/>
                  </a:lnTo>
                  <a:lnTo>
                    <a:pt x="71" y="0"/>
                  </a:lnTo>
                  <a:lnTo>
                    <a:pt x="275" y="0"/>
                  </a:lnTo>
                  <a:lnTo>
                    <a:pt x="275" y="75"/>
                  </a:lnTo>
                  <a:lnTo>
                    <a:pt x="275" y="174"/>
                  </a:lnTo>
                  <a:lnTo>
                    <a:pt x="275" y="376"/>
                  </a:lnTo>
                  <a:lnTo>
                    <a:pt x="0" y="3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1" name="Freeform 326">
              <a:extLst>
                <a:ext uri="{FF2B5EF4-FFF2-40B4-BE49-F238E27FC236}">
                  <a16:creationId xmlns:a16="http://schemas.microsoft.com/office/drawing/2014/main" id="{87C7CDF8-AAE3-3215-7FD2-1A97B7E3D2A2}"/>
                </a:ext>
              </a:extLst>
            </p:cNvPr>
            <p:cNvSpPr>
              <a:spLocks/>
            </p:cNvSpPr>
            <p:nvPr/>
          </p:nvSpPr>
          <p:spPr bwMode="auto">
            <a:xfrm>
              <a:off x="776020" y="2990977"/>
              <a:ext cx="102845" cy="98598"/>
            </a:xfrm>
            <a:custGeom>
              <a:avLst/>
              <a:gdLst>
                <a:gd name="T0" fmla="*/ 71 w 71"/>
                <a:gd name="T1" fmla="*/ 73 h 73"/>
                <a:gd name="T2" fmla="*/ 0 w 71"/>
                <a:gd name="T3" fmla="*/ 73 h 73"/>
                <a:gd name="T4" fmla="*/ 71 w 71"/>
                <a:gd name="T5" fmla="*/ 0 h 73"/>
                <a:gd name="T6" fmla="*/ 71 w 71"/>
                <a:gd name="T7" fmla="*/ 73 h 73"/>
              </a:gdLst>
              <a:ahLst/>
              <a:cxnLst>
                <a:cxn ang="0">
                  <a:pos x="T0" y="T1"/>
                </a:cxn>
                <a:cxn ang="0">
                  <a:pos x="T2" y="T3"/>
                </a:cxn>
                <a:cxn ang="0">
                  <a:pos x="T4" y="T5"/>
                </a:cxn>
                <a:cxn ang="0">
                  <a:pos x="T6" y="T7"/>
                </a:cxn>
              </a:cxnLst>
              <a:rect l="0" t="0" r="r" b="b"/>
              <a:pathLst>
                <a:path w="71" h="73">
                  <a:moveTo>
                    <a:pt x="71" y="73"/>
                  </a:moveTo>
                  <a:lnTo>
                    <a:pt x="0" y="73"/>
                  </a:lnTo>
                  <a:lnTo>
                    <a:pt x="71" y="0"/>
                  </a:lnTo>
                  <a:lnTo>
                    <a:pt x="71" y="73"/>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2" name="Freeform 327">
              <a:extLst>
                <a:ext uri="{FF2B5EF4-FFF2-40B4-BE49-F238E27FC236}">
                  <a16:creationId xmlns:a16="http://schemas.microsoft.com/office/drawing/2014/main" id="{FA31AB41-0E90-AAA3-F534-0DFC3AB46707}"/>
                </a:ext>
              </a:extLst>
            </p:cNvPr>
            <p:cNvSpPr>
              <a:spLocks/>
            </p:cNvSpPr>
            <p:nvPr/>
          </p:nvSpPr>
          <p:spPr bwMode="auto">
            <a:xfrm>
              <a:off x="776020" y="3089574"/>
              <a:ext cx="102845" cy="98598"/>
            </a:xfrm>
            <a:custGeom>
              <a:avLst/>
              <a:gdLst>
                <a:gd name="T0" fmla="*/ 0 w 71"/>
                <a:gd name="T1" fmla="*/ 0 h 73"/>
                <a:gd name="T2" fmla="*/ 71 w 71"/>
                <a:gd name="T3" fmla="*/ 0 h 73"/>
                <a:gd name="T4" fmla="*/ 0 w 71"/>
                <a:gd name="T5" fmla="*/ 73 h 73"/>
                <a:gd name="T6" fmla="*/ 0 w 71"/>
                <a:gd name="T7" fmla="*/ 0 h 73"/>
              </a:gdLst>
              <a:ahLst/>
              <a:cxnLst>
                <a:cxn ang="0">
                  <a:pos x="T0" y="T1"/>
                </a:cxn>
                <a:cxn ang="0">
                  <a:pos x="T2" y="T3"/>
                </a:cxn>
                <a:cxn ang="0">
                  <a:pos x="T4" y="T5"/>
                </a:cxn>
                <a:cxn ang="0">
                  <a:pos x="T6" y="T7"/>
                </a:cxn>
              </a:cxnLst>
              <a:rect l="0" t="0" r="r" b="b"/>
              <a:pathLst>
                <a:path w="71" h="73">
                  <a:moveTo>
                    <a:pt x="0" y="0"/>
                  </a:moveTo>
                  <a:lnTo>
                    <a:pt x="71" y="0"/>
                  </a:lnTo>
                  <a:lnTo>
                    <a:pt x="0" y="73"/>
                  </a:lnTo>
                  <a:lnTo>
                    <a:pt x="0" y="0"/>
                  </a:lnTo>
                  <a:close/>
                </a:path>
              </a:pathLst>
            </a:custGeom>
            <a:solidFill>
              <a:srgbClr val="D1E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3" name="Freeform 328">
              <a:extLst>
                <a:ext uri="{FF2B5EF4-FFF2-40B4-BE49-F238E27FC236}">
                  <a16:creationId xmlns:a16="http://schemas.microsoft.com/office/drawing/2014/main" id="{6086F631-692B-9E16-E0DE-E23BAE157A3F}"/>
                </a:ext>
              </a:extLst>
            </p:cNvPr>
            <p:cNvSpPr>
              <a:spLocks/>
            </p:cNvSpPr>
            <p:nvPr/>
          </p:nvSpPr>
          <p:spPr bwMode="auto">
            <a:xfrm>
              <a:off x="897696" y="3296225"/>
              <a:ext cx="163682" cy="155326"/>
            </a:xfrm>
            <a:custGeom>
              <a:avLst/>
              <a:gdLst>
                <a:gd name="T0" fmla="*/ 18 w 113"/>
                <a:gd name="T1" fmla="*/ 43 h 115"/>
                <a:gd name="T2" fmla="*/ 18 w 113"/>
                <a:gd name="T3" fmla="*/ 43 h 115"/>
                <a:gd name="T4" fmla="*/ 21 w 113"/>
                <a:gd name="T5" fmla="*/ 49 h 115"/>
                <a:gd name="T6" fmla="*/ 22 w 113"/>
                <a:gd name="T7" fmla="*/ 55 h 115"/>
                <a:gd name="T8" fmla="*/ 21 w 113"/>
                <a:gd name="T9" fmla="*/ 63 h 115"/>
                <a:gd name="T10" fmla="*/ 19 w 113"/>
                <a:gd name="T11" fmla="*/ 71 h 115"/>
                <a:gd name="T12" fmla="*/ 16 w 113"/>
                <a:gd name="T13" fmla="*/ 80 h 115"/>
                <a:gd name="T14" fmla="*/ 12 w 113"/>
                <a:gd name="T15" fmla="*/ 89 h 115"/>
                <a:gd name="T16" fmla="*/ 6 w 113"/>
                <a:gd name="T17" fmla="*/ 97 h 115"/>
                <a:gd name="T18" fmla="*/ 0 w 113"/>
                <a:gd name="T19" fmla="*/ 106 h 115"/>
                <a:gd name="T20" fmla="*/ 2 w 113"/>
                <a:gd name="T21" fmla="*/ 108 h 115"/>
                <a:gd name="T22" fmla="*/ 2 w 113"/>
                <a:gd name="T23" fmla="*/ 108 h 115"/>
                <a:gd name="T24" fmla="*/ 48 w 113"/>
                <a:gd name="T25" fmla="*/ 63 h 115"/>
                <a:gd name="T26" fmla="*/ 48 w 113"/>
                <a:gd name="T27" fmla="*/ 63 h 115"/>
                <a:gd name="T28" fmla="*/ 47 w 113"/>
                <a:gd name="T29" fmla="*/ 59 h 115"/>
                <a:gd name="T30" fmla="*/ 49 w 113"/>
                <a:gd name="T31" fmla="*/ 55 h 115"/>
                <a:gd name="T32" fmla="*/ 49 w 113"/>
                <a:gd name="T33" fmla="*/ 55 h 115"/>
                <a:gd name="T34" fmla="*/ 50 w 113"/>
                <a:gd name="T35" fmla="*/ 54 h 115"/>
                <a:gd name="T36" fmla="*/ 53 w 113"/>
                <a:gd name="T37" fmla="*/ 54 h 115"/>
                <a:gd name="T38" fmla="*/ 55 w 113"/>
                <a:gd name="T39" fmla="*/ 54 h 115"/>
                <a:gd name="T40" fmla="*/ 58 w 113"/>
                <a:gd name="T41" fmla="*/ 55 h 115"/>
                <a:gd name="T42" fmla="*/ 58 w 113"/>
                <a:gd name="T43" fmla="*/ 55 h 115"/>
                <a:gd name="T44" fmla="*/ 59 w 113"/>
                <a:gd name="T45" fmla="*/ 58 h 115"/>
                <a:gd name="T46" fmla="*/ 59 w 113"/>
                <a:gd name="T47" fmla="*/ 60 h 115"/>
                <a:gd name="T48" fmla="*/ 59 w 113"/>
                <a:gd name="T49" fmla="*/ 63 h 115"/>
                <a:gd name="T50" fmla="*/ 58 w 113"/>
                <a:gd name="T51" fmla="*/ 64 h 115"/>
                <a:gd name="T52" fmla="*/ 58 w 113"/>
                <a:gd name="T53" fmla="*/ 64 h 115"/>
                <a:gd name="T54" fmla="*/ 54 w 113"/>
                <a:gd name="T55" fmla="*/ 67 h 115"/>
                <a:gd name="T56" fmla="*/ 50 w 113"/>
                <a:gd name="T57" fmla="*/ 65 h 115"/>
                <a:gd name="T58" fmla="*/ 5 w 113"/>
                <a:gd name="T59" fmla="*/ 111 h 115"/>
                <a:gd name="T60" fmla="*/ 5 w 113"/>
                <a:gd name="T61" fmla="*/ 111 h 115"/>
                <a:gd name="T62" fmla="*/ 7 w 113"/>
                <a:gd name="T63" fmla="*/ 115 h 115"/>
                <a:gd name="T64" fmla="*/ 7 w 113"/>
                <a:gd name="T65" fmla="*/ 115 h 115"/>
                <a:gd name="T66" fmla="*/ 16 w 113"/>
                <a:gd name="T67" fmla="*/ 107 h 115"/>
                <a:gd name="T68" fmla="*/ 24 w 113"/>
                <a:gd name="T69" fmla="*/ 102 h 115"/>
                <a:gd name="T70" fmla="*/ 33 w 113"/>
                <a:gd name="T71" fmla="*/ 97 h 115"/>
                <a:gd name="T72" fmla="*/ 42 w 113"/>
                <a:gd name="T73" fmla="*/ 94 h 115"/>
                <a:gd name="T74" fmla="*/ 50 w 113"/>
                <a:gd name="T75" fmla="*/ 92 h 115"/>
                <a:gd name="T76" fmla="*/ 58 w 113"/>
                <a:gd name="T77" fmla="*/ 91 h 115"/>
                <a:gd name="T78" fmla="*/ 65 w 113"/>
                <a:gd name="T79" fmla="*/ 92 h 115"/>
                <a:gd name="T80" fmla="*/ 71 w 113"/>
                <a:gd name="T81" fmla="*/ 95 h 115"/>
                <a:gd name="T82" fmla="*/ 71 w 113"/>
                <a:gd name="T83" fmla="*/ 95 h 115"/>
                <a:gd name="T84" fmla="*/ 80 w 113"/>
                <a:gd name="T85" fmla="*/ 81 h 115"/>
                <a:gd name="T86" fmla="*/ 90 w 113"/>
                <a:gd name="T87" fmla="*/ 67 h 115"/>
                <a:gd name="T88" fmla="*/ 90 w 113"/>
                <a:gd name="T89" fmla="*/ 67 h 115"/>
                <a:gd name="T90" fmla="*/ 102 w 113"/>
                <a:gd name="T91" fmla="*/ 54 h 115"/>
                <a:gd name="T92" fmla="*/ 113 w 113"/>
                <a:gd name="T93" fmla="*/ 43 h 115"/>
                <a:gd name="T94" fmla="*/ 113 w 113"/>
                <a:gd name="T95" fmla="*/ 43 h 115"/>
                <a:gd name="T96" fmla="*/ 102 w 113"/>
                <a:gd name="T97" fmla="*/ 34 h 115"/>
                <a:gd name="T98" fmla="*/ 90 w 113"/>
                <a:gd name="T99" fmla="*/ 23 h 115"/>
                <a:gd name="T100" fmla="*/ 90 w 113"/>
                <a:gd name="T101" fmla="*/ 23 h 115"/>
                <a:gd name="T102" fmla="*/ 80 w 113"/>
                <a:gd name="T103" fmla="*/ 12 h 115"/>
                <a:gd name="T104" fmla="*/ 70 w 113"/>
                <a:gd name="T105" fmla="*/ 0 h 115"/>
                <a:gd name="T106" fmla="*/ 70 w 113"/>
                <a:gd name="T107" fmla="*/ 0 h 115"/>
                <a:gd name="T108" fmla="*/ 59 w 113"/>
                <a:gd name="T109" fmla="*/ 12 h 115"/>
                <a:gd name="T110" fmla="*/ 47 w 113"/>
                <a:gd name="T111" fmla="*/ 23 h 115"/>
                <a:gd name="T112" fmla="*/ 47 w 113"/>
                <a:gd name="T113" fmla="*/ 23 h 115"/>
                <a:gd name="T114" fmla="*/ 33 w 113"/>
                <a:gd name="T115" fmla="*/ 33 h 115"/>
                <a:gd name="T116" fmla="*/ 18 w 113"/>
                <a:gd name="T117" fmla="*/ 43 h 115"/>
                <a:gd name="T118" fmla="*/ 18 w 113"/>
                <a:gd name="T119" fmla="*/ 4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 h="115">
                  <a:moveTo>
                    <a:pt x="18" y="43"/>
                  </a:moveTo>
                  <a:lnTo>
                    <a:pt x="18" y="43"/>
                  </a:lnTo>
                  <a:lnTo>
                    <a:pt x="21" y="49"/>
                  </a:lnTo>
                  <a:lnTo>
                    <a:pt x="22" y="55"/>
                  </a:lnTo>
                  <a:lnTo>
                    <a:pt x="21" y="63"/>
                  </a:lnTo>
                  <a:lnTo>
                    <a:pt x="19" y="71"/>
                  </a:lnTo>
                  <a:lnTo>
                    <a:pt x="16" y="80"/>
                  </a:lnTo>
                  <a:lnTo>
                    <a:pt x="12" y="89"/>
                  </a:lnTo>
                  <a:lnTo>
                    <a:pt x="6" y="97"/>
                  </a:lnTo>
                  <a:lnTo>
                    <a:pt x="0" y="106"/>
                  </a:lnTo>
                  <a:lnTo>
                    <a:pt x="2" y="108"/>
                  </a:lnTo>
                  <a:lnTo>
                    <a:pt x="2" y="108"/>
                  </a:lnTo>
                  <a:lnTo>
                    <a:pt x="48" y="63"/>
                  </a:lnTo>
                  <a:lnTo>
                    <a:pt x="48" y="63"/>
                  </a:lnTo>
                  <a:lnTo>
                    <a:pt x="47" y="59"/>
                  </a:lnTo>
                  <a:lnTo>
                    <a:pt x="49" y="55"/>
                  </a:lnTo>
                  <a:lnTo>
                    <a:pt x="49" y="55"/>
                  </a:lnTo>
                  <a:lnTo>
                    <a:pt x="50" y="54"/>
                  </a:lnTo>
                  <a:lnTo>
                    <a:pt x="53" y="54"/>
                  </a:lnTo>
                  <a:lnTo>
                    <a:pt x="55" y="54"/>
                  </a:lnTo>
                  <a:lnTo>
                    <a:pt x="58" y="55"/>
                  </a:lnTo>
                  <a:lnTo>
                    <a:pt x="58" y="55"/>
                  </a:lnTo>
                  <a:lnTo>
                    <a:pt x="59" y="58"/>
                  </a:lnTo>
                  <a:lnTo>
                    <a:pt x="59" y="60"/>
                  </a:lnTo>
                  <a:lnTo>
                    <a:pt x="59" y="63"/>
                  </a:lnTo>
                  <a:lnTo>
                    <a:pt x="58" y="64"/>
                  </a:lnTo>
                  <a:lnTo>
                    <a:pt x="58" y="64"/>
                  </a:lnTo>
                  <a:lnTo>
                    <a:pt x="54" y="67"/>
                  </a:lnTo>
                  <a:lnTo>
                    <a:pt x="50" y="65"/>
                  </a:lnTo>
                  <a:lnTo>
                    <a:pt x="5" y="111"/>
                  </a:lnTo>
                  <a:lnTo>
                    <a:pt x="5" y="111"/>
                  </a:lnTo>
                  <a:lnTo>
                    <a:pt x="7" y="115"/>
                  </a:lnTo>
                  <a:lnTo>
                    <a:pt x="7" y="115"/>
                  </a:lnTo>
                  <a:lnTo>
                    <a:pt x="16" y="107"/>
                  </a:lnTo>
                  <a:lnTo>
                    <a:pt x="24" y="102"/>
                  </a:lnTo>
                  <a:lnTo>
                    <a:pt x="33" y="97"/>
                  </a:lnTo>
                  <a:lnTo>
                    <a:pt x="42" y="94"/>
                  </a:lnTo>
                  <a:lnTo>
                    <a:pt x="50" y="92"/>
                  </a:lnTo>
                  <a:lnTo>
                    <a:pt x="58" y="91"/>
                  </a:lnTo>
                  <a:lnTo>
                    <a:pt x="65" y="92"/>
                  </a:lnTo>
                  <a:lnTo>
                    <a:pt x="71" y="95"/>
                  </a:lnTo>
                  <a:lnTo>
                    <a:pt x="71" y="95"/>
                  </a:lnTo>
                  <a:lnTo>
                    <a:pt x="80" y="81"/>
                  </a:lnTo>
                  <a:lnTo>
                    <a:pt x="90" y="67"/>
                  </a:lnTo>
                  <a:lnTo>
                    <a:pt x="90" y="67"/>
                  </a:lnTo>
                  <a:lnTo>
                    <a:pt x="102" y="54"/>
                  </a:lnTo>
                  <a:lnTo>
                    <a:pt x="113" y="43"/>
                  </a:lnTo>
                  <a:lnTo>
                    <a:pt x="113" y="43"/>
                  </a:lnTo>
                  <a:lnTo>
                    <a:pt x="102" y="34"/>
                  </a:lnTo>
                  <a:lnTo>
                    <a:pt x="90" y="23"/>
                  </a:lnTo>
                  <a:lnTo>
                    <a:pt x="90" y="23"/>
                  </a:lnTo>
                  <a:lnTo>
                    <a:pt x="80" y="12"/>
                  </a:lnTo>
                  <a:lnTo>
                    <a:pt x="70" y="0"/>
                  </a:lnTo>
                  <a:lnTo>
                    <a:pt x="70" y="0"/>
                  </a:lnTo>
                  <a:lnTo>
                    <a:pt x="59" y="12"/>
                  </a:lnTo>
                  <a:lnTo>
                    <a:pt x="47" y="23"/>
                  </a:lnTo>
                  <a:lnTo>
                    <a:pt x="47" y="23"/>
                  </a:lnTo>
                  <a:lnTo>
                    <a:pt x="33" y="33"/>
                  </a:lnTo>
                  <a:lnTo>
                    <a:pt x="18" y="43"/>
                  </a:lnTo>
                  <a:lnTo>
                    <a:pt x="18" y="43"/>
                  </a:lnTo>
                  <a:close/>
                </a:path>
              </a:pathLst>
            </a:custGeom>
            <a:solidFill>
              <a:srgbClr val="0E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4" name="Freeform 329">
              <a:extLst>
                <a:ext uri="{FF2B5EF4-FFF2-40B4-BE49-F238E27FC236}">
                  <a16:creationId xmlns:a16="http://schemas.microsoft.com/office/drawing/2014/main" id="{DB0329E2-41D0-3D1C-3B79-F87226C94258}"/>
                </a:ext>
              </a:extLst>
            </p:cNvPr>
            <p:cNvSpPr>
              <a:spLocks/>
            </p:cNvSpPr>
            <p:nvPr/>
          </p:nvSpPr>
          <p:spPr bwMode="auto">
            <a:xfrm>
              <a:off x="1000539" y="3131445"/>
              <a:ext cx="237556" cy="222859"/>
            </a:xfrm>
            <a:custGeom>
              <a:avLst/>
              <a:gdLst>
                <a:gd name="T0" fmla="*/ 156 w 164"/>
                <a:gd name="T1" fmla="*/ 45 h 165"/>
                <a:gd name="T2" fmla="*/ 156 w 164"/>
                <a:gd name="T3" fmla="*/ 45 h 165"/>
                <a:gd name="T4" fmla="*/ 159 w 164"/>
                <a:gd name="T5" fmla="*/ 41 h 165"/>
                <a:gd name="T6" fmla="*/ 162 w 164"/>
                <a:gd name="T7" fmla="*/ 36 h 165"/>
                <a:gd name="T8" fmla="*/ 164 w 164"/>
                <a:gd name="T9" fmla="*/ 31 h 165"/>
                <a:gd name="T10" fmla="*/ 164 w 164"/>
                <a:gd name="T11" fmla="*/ 24 h 165"/>
                <a:gd name="T12" fmla="*/ 164 w 164"/>
                <a:gd name="T13" fmla="*/ 20 h 165"/>
                <a:gd name="T14" fmla="*/ 162 w 164"/>
                <a:gd name="T15" fmla="*/ 16 h 165"/>
                <a:gd name="T16" fmla="*/ 159 w 164"/>
                <a:gd name="T17" fmla="*/ 11 h 165"/>
                <a:gd name="T18" fmla="*/ 157 w 164"/>
                <a:gd name="T19" fmla="*/ 7 h 165"/>
                <a:gd name="T20" fmla="*/ 153 w 164"/>
                <a:gd name="T21" fmla="*/ 5 h 165"/>
                <a:gd name="T22" fmla="*/ 148 w 164"/>
                <a:gd name="T23" fmla="*/ 2 h 165"/>
                <a:gd name="T24" fmla="*/ 145 w 164"/>
                <a:gd name="T25" fmla="*/ 1 h 165"/>
                <a:gd name="T26" fmla="*/ 140 w 164"/>
                <a:gd name="T27" fmla="*/ 0 h 165"/>
                <a:gd name="T28" fmla="*/ 135 w 164"/>
                <a:gd name="T29" fmla="*/ 0 h 165"/>
                <a:gd name="T30" fmla="*/ 129 w 164"/>
                <a:gd name="T31" fmla="*/ 2 h 165"/>
                <a:gd name="T32" fmla="*/ 124 w 164"/>
                <a:gd name="T33" fmla="*/ 5 h 165"/>
                <a:gd name="T34" fmla="*/ 119 w 164"/>
                <a:gd name="T35" fmla="*/ 8 h 165"/>
                <a:gd name="T36" fmla="*/ 119 w 164"/>
                <a:gd name="T37" fmla="*/ 8 h 165"/>
                <a:gd name="T38" fmla="*/ 0 w 164"/>
                <a:gd name="T39" fmla="*/ 123 h 165"/>
                <a:gd name="T40" fmla="*/ 0 w 164"/>
                <a:gd name="T41" fmla="*/ 123 h 165"/>
                <a:gd name="T42" fmla="*/ 42 w 164"/>
                <a:gd name="T43" fmla="*/ 165 h 165"/>
                <a:gd name="T44" fmla="*/ 42 w 164"/>
                <a:gd name="T45" fmla="*/ 165 h 165"/>
                <a:gd name="T46" fmla="*/ 156 w 164"/>
                <a:gd name="T47" fmla="*/ 45 h 165"/>
                <a:gd name="T48" fmla="*/ 156 w 164"/>
                <a:gd name="T49" fmla="*/ 4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4" h="165">
                  <a:moveTo>
                    <a:pt x="156" y="45"/>
                  </a:moveTo>
                  <a:lnTo>
                    <a:pt x="156" y="45"/>
                  </a:lnTo>
                  <a:lnTo>
                    <a:pt x="159" y="41"/>
                  </a:lnTo>
                  <a:lnTo>
                    <a:pt x="162" y="36"/>
                  </a:lnTo>
                  <a:lnTo>
                    <a:pt x="164" y="31"/>
                  </a:lnTo>
                  <a:lnTo>
                    <a:pt x="164" y="24"/>
                  </a:lnTo>
                  <a:lnTo>
                    <a:pt x="164" y="20"/>
                  </a:lnTo>
                  <a:lnTo>
                    <a:pt x="162" y="16"/>
                  </a:lnTo>
                  <a:lnTo>
                    <a:pt x="159" y="11"/>
                  </a:lnTo>
                  <a:lnTo>
                    <a:pt x="157" y="7"/>
                  </a:lnTo>
                  <a:lnTo>
                    <a:pt x="153" y="5"/>
                  </a:lnTo>
                  <a:lnTo>
                    <a:pt x="148" y="2"/>
                  </a:lnTo>
                  <a:lnTo>
                    <a:pt x="145" y="1"/>
                  </a:lnTo>
                  <a:lnTo>
                    <a:pt x="140" y="0"/>
                  </a:lnTo>
                  <a:lnTo>
                    <a:pt x="135" y="0"/>
                  </a:lnTo>
                  <a:lnTo>
                    <a:pt x="129" y="2"/>
                  </a:lnTo>
                  <a:lnTo>
                    <a:pt x="124" y="5"/>
                  </a:lnTo>
                  <a:lnTo>
                    <a:pt x="119" y="8"/>
                  </a:lnTo>
                  <a:lnTo>
                    <a:pt x="119" y="8"/>
                  </a:lnTo>
                  <a:lnTo>
                    <a:pt x="0" y="123"/>
                  </a:lnTo>
                  <a:lnTo>
                    <a:pt x="0" y="123"/>
                  </a:lnTo>
                  <a:lnTo>
                    <a:pt x="42" y="165"/>
                  </a:lnTo>
                  <a:lnTo>
                    <a:pt x="42" y="165"/>
                  </a:lnTo>
                  <a:lnTo>
                    <a:pt x="156" y="45"/>
                  </a:lnTo>
                  <a:lnTo>
                    <a:pt x="156" y="45"/>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5" name="Freeform 330">
              <a:extLst>
                <a:ext uri="{FF2B5EF4-FFF2-40B4-BE49-F238E27FC236}">
                  <a16:creationId xmlns:a16="http://schemas.microsoft.com/office/drawing/2014/main" id="{CD3EEAC0-3B59-86FD-5244-16D778DB5BA9}"/>
                </a:ext>
              </a:extLst>
            </p:cNvPr>
            <p:cNvSpPr>
              <a:spLocks/>
            </p:cNvSpPr>
            <p:nvPr/>
          </p:nvSpPr>
          <p:spPr bwMode="auto">
            <a:xfrm>
              <a:off x="990400" y="3296225"/>
              <a:ext cx="70978" cy="66183"/>
            </a:xfrm>
            <a:custGeom>
              <a:avLst/>
              <a:gdLst>
                <a:gd name="T0" fmla="*/ 49 w 49"/>
                <a:gd name="T1" fmla="*/ 43 h 49"/>
                <a:gd name="T2" fmla="*/ 6 w 49"/>
                <a:gd name="T3" fmla="*/ 0 h 49"/>
                <a:gd name="T4" fmla="*/ 0 w 49"/>
                <a:gd name="T5" fmla="*/ 6 h 49"/>
                <a:gd name="T6" fmla="*/ 43 w 49"/>
                <a:gd name="T7" fmla="*/ 49 h 49"/>
                <a:gd name="T8" fmla="*/ 49 w 49"/>
                <a:gd name="T9" fmla="*/ 43 h 49"/>
              </a:gdLst>
              <a:ahLst/>
              <a:cxnLst>
                <a:cxn ang="0">
                  <a:pos x="T0" y="T1"/>
                </a:cxn>
                <a:cxn ang="0">
                  <a:pos x="T2" y="T3"/>
                </a:cxn>
                <a:cxn ang="0">
                  <a:pos x="T4" y="T5"/>
                </a:cxn>
                <a:cxn ang="0">
                  <a:pos x="T6" y="T7"/>
                </a:cxn>
                <a:cxn ang="0">
                  <a:pos x="T8" y="T9"/>
                </a:cxn>
              </a:cxnLst>
              <a:rect l="0" t="0" r="r" b="b"/>
              <a:pathLst>
                <a:path w="49" h="49">
                  <a:moveTo>
                    <a:pt x="49" y="43"/>
                  </a:moveTo>
                  <a:lnTo>
                    <a:pt x="6" y="0"/>
                  </a:lnTo>
                  <a:lnTo>
                    <a:pt x="0" y="6"/>
                  </a:lnTo>
                  <a:lnTo>
                    <a:pt x="43" y="49"/>
                  </a:lnTo>
                  <a:lnTo>
                    <a:pt x="49" y="43"/>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6" name="Freeform 331">
              <a:extLst>
                <a:ext uri="{FF2B5EF4-FFF2-40B4-BE49-F238E27FC236}">
                  <a16:creationId xmlns:a16="http://schemas.microsoft.com/office/drawing/2014/main" id="{4BEEFC0A-1F42-65F3-2948-D33224628389}"/>
                </a:ext>
              </a:extLst>
            </p:cNvPr>
            <p:cNvSpPr>
              <a:spLocks/>
            </p:cNvSpPr>
            <p:nvPr/>
          </p:nvSpPr>
          <p:spPr bwMode="auto">
            <a:xfrm>
              <a:off x="1083105" y="3067964"/>
              <a:ext cx="224520" cy="209352"/>
            </a:xfrm>
            <a:custGeom>
              <a:avLst/>
              <a:gdLst>
                <a:gd name="T0" fmla="*/ 52 w 155"/>
                <a:gd name="T1" fmla="*/ 155 h 155"/>
                <a:gd name="T2" fmla="*/ 148 w 155"/>
                <a:gd name="T3" fmla="*/ 59 h 155"/>
                <a:gd name="T4" fmla="*/ 148 w 155"/>
                <a:gd name="T5" fmla="*/ 59 h 155"/>
                <a:gd name="T6" fmla="*/ 150 w 155"/>
                <a:gd name="T7" fmla="*/ 55 h 155"/>
                <a:gd name="T8" fmla="*/ 153 w 155"/>
                <a:gd name="T9" fmla="*/ 50 h 155"/>
                <a:gd name="T10" fmla="*/ 154 w 155"/>
                <a:gd name="T11" fmla="*/ 46 h 155"/>
                <a:gd name="T12" fmla="*/ 155 w 155"/>
                <a:gd name="T13" fmla="*/ 41 h 155"/>
                <a:gd name="T14" fmla="*/ 154 w 155"/>
                <a:gd name="T15" fmla="*/ 36 h 155"/>
                <a:gd name="T16" fmla="*/ 153 w 155"/>
                <a:gd name="T17" fmla="*/ 31 h 155"/>
                <a:gd name="T18" fmla="*/ 150 w 155"/>
                <a:gd name="T19" fmla="*/ 26 h 155"/>
                <a:gd name="T20" fmla="*/ 147 w 155"/>
                <a:gd name="T21" fmla="*/ 21 h 155"/>
                <a:gd name="T22" fmla="*/ 133 w 155"/>
                <a:gd name="T23" fmla="*/ 9 h 155"/>
                <a:gd name="T24" fmla="*/ 133 w 155"/>
                <a:gd name="T25" fmla="*/ 9 h 155"/>
                <a:gd name="T26" fmla="*/ 130 w 155"/>
                <a:gd name="T27" fmla="*/ 5 h 155"/>
                <a:gd name="T28" fmla="*/ 125 w 155"/>
                <a:gd name="T29" fmla="*/ 2 h 155"/>
                <a:gd name="T30" fmla="*/ 120 w 155"/>
                <a:gd name="T31" fmla="*/ 1 h 155"/>
                <a:gd name="T32" fmla="*/ 115 w 155"/>
                <a:gd name="T33" fmla="*/ 0 h 155"/>
                <a:gd name="T34" fmla="*/ 110 w 155"/>
                <a:gd name="T35" fmla="*/ 1 h 155"/>
                <a:gd name="T36" fmla="*/ 105 w 155"/>
                <a:gd name="T37" fmla="*/ 2 h 155"/>
                <a:gd name="T38" fmla="*/ 100 w 155"/>
                <a:gd name="T39" fmla="*/ 5 h 155"/>
                <a:gd name="T40" fmla="*/ 96 w 155"/>
                <a:gd name="T41" fmla="*/ 7 h 155"/>
                <a:gd name="T42" fmla="*/ 0 w 155"/>
                <a:gd name="T43" fmla="*/ 104 h 155"/>
                <a:gd name="T44" fmla="*/ 52 w 155"/>
                <a:gd name="T45"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5" h="155">
                  <a:moveTo>
                    <a:pt x="52" y="155"/>
                  </a:moveTo>
                  <a:lnTo>
                    <a:pt x="148" y="59"/>
                  </a:lnTo>
                  <a:lnTo>
                    <a:pt x="148" y="59"/>
                  </a:lnTo>
                  <a:lnTo>
                    <a:pt x="150" y="55"/>
                  </a:lnTo>
                  <a:lnTo>
                    <a:pt x="153" y="50"/>
                  </a:lnTo>
                  <a:lnTo>
                    <a:pt x="154" y="46"/>
                  </a:lnTo>
                  <a:lnTo>
                    <a:pt x="155" y="41"/>
                  </a:lnTo>
                  <a:lnTo>
                    <a:pt x="154" y="36"/>
                  </a:lnTo>
                  <a:lnTo>
                    <a:pt x="153" y="31"/>
                  </a:lnTo>
                  <a:lnTo>
                    <a:pt x="150" y="26"/>
                  </a:lnTo>
                  <a:lnTo>
                    <a:pt x="147" y="21"/>
                  </a:lnTo>
                  <a:lnTo>
                    <a:pt x="133" y="9"/>
                  </a:lnTo>
                  <a:lnTo>
                    <a:pt x="133" y="9"/>
                  </a:lnTo>
                  <a:lnTo>
                    <a:pt x="130" y="5"/>
                  </a:lnTo>
                  <a:lnTo>
                    <a:pt x="125" y="2"/>
                  </a:lnTo>
                  <a:lnTo>
                    <a:pt x="120" y="1"/>
                  </a:lnTo>
                  <a:lnTo>
                    <a:pt x="115" y="0"/>
                  </a:lnTo>
                  <a:lnTo>
                    <a:pt x="110" y="1"/>
                  </a:lnTo>
                  <a:lnTo>
                    <a:pt x="105" y="2"/>
                  </a:lnTo>
                  <a:lnTo>
                    <a:pt x="100" y="5"/>
                  </a:lnTo>
                  <a:lnTo>
                    <a:pt x="96" y="7"/>
                  </a:lnTo>
                  <a:lnTo>
                    <a:pt x="0" y="104"/>
                  </a:lnTo>
                  <a:lnTo>
                    <a:pt x="52" y="155"/>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7" name="Freeform 332">
              <a:extLst>
                <a:ext uri="{FF2B5EF4-FFF2-40B4-BE49-F238E27FC236}">
                  <a16:creationId xmlns:a16="http://schemas.microsoft.com/office/drawing/2014/main" id="{6D0D0B8D-0D91-7CFA-9D23-3AE4785A944A}"/>
                </a:ext>
              </a:extLst>
            </p:cNvPr>
            <p:cNvSpPr>
              <a:spLocks/>
            </p:cNvSpPr>
            <p:nvPr/>
          </p:nvSpPr>
          <p:spPr bwMode="auto">
            <a:xfrm>
              <a:off x="1083105" y="3074717"/>
              <a:ext cx="215829" cy="99949"/>
            </a:xfrm>
            <a:custGeom>
              <a:avLst/>
              <a:gdLst>
                <a:gd name="T0" fmla="*/ 148 w 149"/>
                <a:gd name="T1" fmla="*/ 59 h 74"/>
                <a:gd name="T2" fmla="*/ 96 w 149"/>
                <a:gd name="T3" fmla="*/ 7 h 74"/>
                <a:gd name="T4" fmla="*/ 96 w 149"/>
                <a:gd name="T5" fmla="*/ 7 h 74"/>
                <a:gd name="T6" fmla="*/ 93 w 149"/>
                <a:gd name="T7" fmla="*/ 5 h 74"/>
                <a:gd name="T8" fmla="*/ 89 w 149"/>
                <a:gd name="T9" fmla="*/ 2 h 74"/>
                <a:gd name="T10" fmla="*/ 84 w 149"/>
                <a:gd name="T11" fmla="*/ 1 h 74"/>
                <a:gd name="T12" fmla="*/ 80 w 149"/>
                <a:gd name="T13" fmla="*/ 0 h 74"/>
                <a:gd name="T14" fmla="*/ 75 w 149"/>
                <a:gd name="T15" fmla="*/ 0 h 74"/>
                <a:gd name="T16" fmla="*/ 72 w 149"/>
                <a:gd name="T17" fmla="*/ 1 h 74"/>
                <a:gd name="T18" fmla="*/ 68 w 149"/>
                <a:gd name="T19" fmla="*/ 2 h 74"/>
                <a:gd name="T20" fmla="*/ 64 w 149"/>
                <a:gd name="T21" fmla="*/ 6 h 74"/>
                <a:gd name="T22" fmla="*/ 9 w 149"/>
                <a:gd name="T23" fmla="*/ 60 h 74"/>
                <a:gd name="T24" fmla="*/ 9 w 149"/>
                <a:gd name="T25" fmla="*/ 60 h 74"/>
                <a:gd name="T26" fmla="*/ 0 w 149"/>
                <a:gd name="T27" fmla="*/ 70 h 74"/>
                <a:gd name="T28" fmla="*/ 0 w 149"/>
                <a:gd name="T29" fmla="*/ 70 h 74"/>
                <a:gd name="T30" fmla="*/ 6 w 149"/>
                <a:gd name="T31" fmla="*/ 73 h 74"/>
                <a:gd name="T32" fmla="*/ 12 w 149"/>
                <a:gd name="T33" fmla="*/ 74 h 74"/>
                <a:gd name="T34" fmla="*/ 19 w 149"/>
                <a:gd name="T35" fmla="*/ 73 h 74"/>
                <a:gd name="T36" fmla="*/ 22 w 149"/>
                <a:gd name="T37" fmla="*/ 70 h 74"/>
                <a:gd name="T38" fmla="*/ 22 w 149"/>
                <a:gd name="T39" fmla="*/ 70 h 74"/>
                <a:gd name="T40" fmla="*/ 25 w 149"/>
                <a:gd name="T41" fmla="*/ 65 h 74"/>
                <a:gd name="T42" fmla="*/ 25 w 149"/>
                <a:gd name="T43" fmla="*/ 62 h 74"/>
                <a:gd name="T44" fmla="*/ 73 w 149"/>
                <a:gd name="T45" fmla="*/ 13 h 74"/>
                <a:gd name="T46" fmla="*/ 73 w 149"/>
                <a:gd name="T47" fmla="*/ 13 h 74"/>
                <a:gd name="T48" fmla="*/ 76 w 149"/>
                <a:gd name="T49" fmla="*/ 11 h 74"/>
                <a:gd name="T50" fmla="*/ 80 w 149"/>
                <a:gd name="T51" fmla="*/ 11 h 74"/>
                <a:gd name="T52" fmla="*/ 85 w 149"/>
                <a:gd name="T53" fmla="*/ 11 h 74"/>
                <a:gd name="T54" fmla="*/ 90 w 149"/>
                <a:gd name="T55" fmla="*/ 15 h 74"/>
                <a:gd name="T56" fmla="*/ 141 w 149"/>
                <a:gd name="T57" fmla="*/ 66 h 74"/>
                <a:gd name="T58" fmla="*/ 141 w 149"/>
                <a:gd name="T59" fmla="*/ 66 h 74"/>
                <a:gd name="T60" fmla="*/ 143 w 149"/>
                <a:gd name="T61" fmla="*/ 68 h 74"/>
                <a:gd name="T62" fmla="*/ 144 w 149"/>
                <a:gd name="T63" fmla="*/ 68 h 74"/>
                <a:gd name="T64" fmla="*/ 147 w 149"/>
                <a:gd name="T65" fmla="*/ 68 h 74"/>
                <a:gd name="T66" fmla="*/ 148 w 149"/>
                <a:gd name="T67" fmla="*/ 66 h 74"/>
                <a:gd name="T68" fmla="*/ 148 w 149"/>
                <a:gd name="T69" fmla="*/ 66 h 74"/>
                <a:gd name="T70" fmla="*/ 149 w 149"/>
                <a:gd name="T71" fmla="*/ 65 h 74"/>
                <a:gd name="T72" fmla="*/ 149 w 149"/>
                <a:gd name="T73" fmla="*/ 63 h 74"/>
                <a:gd name="T74" fmla="*/ 149 w 149"/>
                <a:gd name="T75" fmla="*/ 60 h 74"/>
                <a:gd name="T76" fmla="*/ 148 w 149"/>
                <a:gd name="T77" fmla="*/ 59 h 74"/>
                <a:gd name="T78" fmla="*/ 148 w 149"/>
                <a:gd name="T79" fmla="*/ 5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9" h="74">
                  <a:moveTo>
                    <a:pt x="148" y="59"/>
                  </a:moveTo>
                  <a:lnTo>
                    <a:pt x="96" y="7"/>
                  </a:lnTo>
                  <a:lnTo>
                    <a:pt x="96" y="7"/>
                  </a:lnTo>
                  <a:lnTo>
                    <a:pt x="93" y="5"/>
                  </a:lnTo>
                  <a:lnTo>
                    <a:pt x="89" y="2"/>
                  </a:lnTo>
                  <a:lnTo>
                    <a:pt x="84" y="1"/>
                  </a:lnTo>
                  <a:lnTo>
                    <a:pt x="80" y="0"/>
                  </a:lnTo>
                  <a:lnTo>
                    <a:pt x="75" y="0"/>
                  </a:lnTo>
                  <a:lnTo>
                    <a:pt x="72" y="1"/>
                  </a:lnTo>
                  <a:lnTo>
                    <a:pt x="68" y="2"/>
                  </a:lnTo>
                  <a:lnTo>
                    <a:pt x="64" y="6"/>
                  </a:lnTo>
                  <a:lnTo>
                    <a:pt x="9" y="60"/>
                  </a:lnTo>
                  <a:lnTo>
                    <a:pt x="9" y="60"/>
                  </a:lnTo>
                  <a:lnTo>
                    <a:pt x="0" y="70"/>
                  </a:lnTo>
                  <a:lnTo>
                    <a:pt x="0" y="70"/>
                  </a:lnTo>
                  <a:lnTo>
                    <a:pt x="6" y="73"/>
                  </a:lnTo>
                  <a:lnTo>
                    <a:pt x="12" y="74"/>
                  </a:lnTo>
                  <a:lnTo>
                    <a:pt x="19" y="73"/>
                  </a:lnTo>
                  <a:lnTo>
                    <a:pt x="22" y="70"/>
                  </a:lnTo>
                  <a:lnTo>
                    <a:pt x="22" y="70"/>
                  </a:lnTo>
                  <a:lnTo>
                    <a:pt x="25" y="65"/>
                  </a:lnTo>
                  <a:lnTo>
                    <a:pt x="25" y="62"/>
                  </a:lnTo>
                  <a:lnTo>
                    <a:pt x="73" y="13"/>
                  </a:lnTo>
                  <a:lnTo>
                    <a:pt x="73" y="13"/>
                  </a:lnTo>
                  <a:lnTo>
                    <a:pt x="76" y="11"/>
                  </a:lnTo>
                  <a:lnTo>
                    <a:pt x="80" y="11"/>
                  </a:lnTo>
                  <a:lnTo>
                    <a:pt x="85" y="11"/>
                  </a:lnTo>
                  <a:lnTo>
                    <a:pt x="90" y="15"/>
                  </a:lnTo>
                  <a:lnTo>
                    <a:pt x="141" y="66"/>
                  </a:lnTo>
                  <a:lnTo>
                    <a:pt x="141" y="66"/>
                  </a:lnTo>
                  <a:lnTo>
                    <a:pt x="143" y="68"/>
                  </a:lnTo>
                  <a:lnTo>
                    <a:pt x="144" y="68"/>
                  </a:lnTo>
                  <a:lnTo>
                    <a:pt x="147" y="68"/>
                  </a:lnTo>
                  <a:lnTo>
                    <a:pt x="148" y="66"/>
                  </a:lnTo>
                  <a:lnTo>
                    <a:pt x="148" y="66"/>
                  </a:lnTo>
                  <a:lnTo>
                    <a:pt x="149" y="65"/>
                  </a:lnTo>
                  <a:lnTo>
                    <a:pt x="149" y="63"/>
                  </a:lnTo>
                  <a:lnTo>
                    <a:pt x="149" y="60"/>
                  </a:lnTo>
                  <a:lnTo>
                    <a:pt x="148" y="59"/>
                  </a:lnTo>
                  <a:lnTo>
                    <a:pt x="148" y="59"/>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grpSp>
        <p:nvGrpSpPr>
          <p:cNvPr id="463" name="Group 462">
            <a:extLst>
              <a:ext uri="{FF2B5EF4-FFF2-40B4-BE49-F238E27FC236}">
                <a16:creationId xmlns:a16="http://schemas.microsoft.com/office/drawing/2014/main" id="{CE4340AC-6735-38E8-9631-5234748CF3B5}"/>
              </a:ext>
            </a:extLst>
          </p:cNvPr>
          <p:cNvGrpSpPr/>
          <p:nvPr/>
        </p:nvGrpSpPr>
        <p:grpSpPr>
          <a:xfrm>
            <a:off x="5567487" y="2635426"/>
            <a:ext cx="1264209" cy="1139881"/>
            <a:chOff x="5552619" y="2943755"/>
            <a:chExt cx="1003177" cy="955950"/>
          </a:xfrm>
        </p:grpSpPr>
        <p:grpSp>
          <p:nvGrpSpPr>
            <p:cNvPr id="439" name="Group 438">
              <a:extLst>
                <a:ext uri="{FF2B5EF4-FFF2-40B4-BE49-F238E27FC236}">
                  <a16:creationId xmlns:a16="http://schemas.microsoft.com/office/drawing/2014/main" id="{FFAC5487-F2F3-E522-3C12-CA8CA9935E41}"/>
                </a:ext>
              </a:extLst>
            </p:cNvPr>
            <p:cNvGrpSpPr/>
            <p:nvPr/>
          </p:nvGrpSpPr>
          <p:grpSpPr>
            <a:xfrm>
              <a:off x="5552619" y="2943755"/>
              <a:ext cx="1003177" cy="955950"/>
              <a:chOff x="5552619" y="2943755"/>
              <a:chExt cx="1003177" cy="955950"/>
            </a:xfrm>
          </p:grpSpPr>
          <p:sp>
            <p:nvSpPr>
              <p:cNvPr id="379" name="Freeform 16">
                <a:extLst>
                  <a:ext uri="{FF2B5EF4-FFF2-40B4-BE49-F238E27FC236}">
                    <a16:creationId xmlns:a16="http://schemas.microsoft.com/office/drawing/2014/main" id="{3D10B883-EDCD-A727-3D3B-207C6655B8EA}"/>
                  </a:ext>
                </a:extLst>
              </p:cNvPr>
              <p:cNvSpPr>
                <a:spLocks/>
              </p:cNvSpPr>
              <p:nvPr/>
            </p:nvSpPr>
            <p:spPr bwMode="auto">
              <a:xfrm>
                <a:off x="5552619" y="2943755"/>
                <a:ext cx="1003177" cy="955950"/>
              </a:xfrm>
              <a:custGeom>
                <a:avLst/>
                <a:gdLst>
                  <a:gd name="T0" fmla="*/ 333 w 702"/>
                  <a:gd name="T1" fmla="*/ 700 h 700"/>
                  <a:gd name="T2" fmla="*/ 280 w 702"/>
                  <a:gd name="T3" fmla="*/ 693 h 700"/>
                  <a:gd name="T4" fmla="*/ 231 w 702"/>
                  <a:gd name="T5" fmla="*/ 679 h 700"/>
                  <a:gd name="T6" fmla="*/ 184 w 702"/>
                  <a:gd name="T7" fmla="*/ 658 h 700"/>
                  <a:gd name="T8" fmla="*/ 142 w 702"/>
                  <a:gd name="T9" fmla="*/ 631 h 700"/>
                  <a:gd name="T10" fmla="*/ 104 w 702"/>
                  <a:gd name="T11" fmla="*/ 598 h 700"/>
                  <a:gd name="T12" fmla="*/ 70 w 702"/>
                  <a:gd name="T13" fmla="*/ 560 h 700"/>
                  <a:gd name="T14" fmla="*/ 43 w 702"/>
                  <a:gd name="T15" fmla="*/ 517 h 700"/>
                  <a:gd name="T16" fmla="*/ 22 w 702"/>
                  <a:gd name="T17" fmla="*/ 471 h 700"/>
                  <a:gd name="T18" fmla="*/ 7 w 702"/>
                  <a:gd name="T19" fmla="*/ 420 h 700"/>
                  <a:gd name="T20" fmla="*/ 1 w 702"/>
                  <a:gd name="T21" fmla="*/ 369 h 700"/>
                  <a:gd name="T22" fmla="*/ 1 w 702"/>
                  <a:gd name="T23" fmla="*/ 331 h 700"/>
                  <a:gd name="T24" fmla="*/ 7 w 702"/>
                  <a:gd name="T25" fmla="*/ 280 h 700"/>
                  <a:gd name="T26" fmla="*/ 22 w 702"/>
                  <a:gd name="T27" fmla="*/ 229 h 700"/>
                  <a:gd name="T28" fmla="*/ 43 w 702"/>
                  <a:gd name="T29" fmla="*/ 183 h 700"/>
                  <a:gd name="T30" fmla="*/ 70 w 702"/>
                  <a:gd name="T31" fmla="*/ 140 h 700"/>
                  <a:gd name="T32" fmla="*/ 104 w 702"/>
                  <a:gd name="T33" fmla="*/ 102 h 700"/>
                  <a:gd name="T34" fmla="*/ 142 w 702"/>
                  <a:gd name="T35" fmla="*/ 69 h 700"/>
                  <a:gd name="T36" fmla="*/ 184 w 702"/>
                  <a:gd name="T37" fmla="*/ 42 h 700"/>
                  <a:gd name="T38" fmla="*/ 231 w 702"/>
                  <a:gd name="T39" fmla="*/ 21 h 700"/>
                  <a:gd name="T40" fmla="*/ 280 w 702"/>
                  <a:gd name="T41" fmla="*/ 7 h 700"/>
                  <a:gd name="T42" fmla="*/ 333 w 702"/>
                  <a:gd name="T43" fmla="*/ 0 h 700"/>
                  <a:gd name="T44" fmla="*/ 369 w 702"/>
                  <a:gd name="T45" fmla="*/ 0 h 700"/>
                  <a:gd name="T46" fmla="*/ 422 w 702"/>
                  <a:gd name="T47" fmla="*/ 7 h 700"/>
                  <a:gd name="T48" fmla="*/ 471 w 702"/>
                  <a:gd name="T49" fmla="*/ 21 h 700"/>
                  <a:gd name="T50" fmla="*/ 518 w 702"/>
                  <a:gd name="T51" fmla="*/ 42 h 700"/>
                  <a:gd name="T52" fmla="*/ 561 w 702"/>
                  <a:gd name="T53" fmla="*/ 69 h 700"/>
                  <a:gd name="T54" fmla="*/ 598 w 702"/>
                  <a:gd name="T55" fmla="*/ 102 h 700"/>
                  <a:gd name="T56" fmla="*/ 632 w 702"/>
                  <a:gd name="T57" fmla="*/ 140 h 700"/>
                  <a:gd name="T58" fmla="*/ 659 w 702"/>
                  <a:gd name="T59" fmla="*/ 183 h 700"/>
                  <a:gd name="T60" fmla="*/ 680 w 702"/>
                  <a:gd name="T61" fmla="*/ 229 h 700"/>
                  <a:gd name="T62" fmla="*/ 694 w 702"/>
                  <a:gd name="T63" fmla="*/ 280 h 700"/>
                  <a:gd name="T64" fmla="*/ 701 w 702"/>
                  <a:gd name="T65" fmla="*/ 331 h 700"/>
                  <a:gd name="T66" fmla="*/ 701 w 702"/>
                  <a:gd name="T67" fmla="*/ 369 h 700"/>
                  <a:gd name="T68" fmla="*/ 694 w 702"/>
                  <a:gd name="T69" fmla="*/ 420 h 700"/>
                  <a:gd name="T70" fmla="*/ 680 w 702"/>
                  <a:gd name="T71" fmla="*/ 471 h 700"/>
                  <a:gd name="T72" fmla="*/ 659 w 702"/>
                  <a:gd name="T73" fmla="*/ 517 h 700"/>
                  <a:gd name="T74" fmla="*/ 632 w 702"/>
                  <a:gd name="T75" fmla="*/ 560 h 700"/>
                  <a:gd name="T76" fmla="*/ 598 w 702"/>
                  <a:gd name="T77" fmla="*/ 598 h 700"/>
                  <a:gd name="T78" fmla="*/ 561 w 702"/>
                  <a:gd name="T79" fmla="*/ 631 h 700"/>
                  <a:gd name="T80" fmla="*/ 518 w 702"/>
                  <a:gd name="T81" fmla="*/ 658 h 700"/>
                  <a:gd name="T82" fmla="*/ 471 w 702"/>
                  <a:gd name="T83" fmla="*/ 679 h 700"/>
                  <a:gd name="T84" fmla="*/ 422 w 702"/>
                  <a:gd name="T85" fmla="*/ 693 h 700"/>
                  <a:gd name="T86" fmla="*/ 369 w 702"/>
                  <a:gd name="T87" fmla="*/ 70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2" h="700">
                    <a:moveTo>
                      <a:pt x="352" y="700"/>
                    </a:moveTo>
                    <a:lnTo>
                      <a:pt x="352" y="700"/>
                    </a:lnTo>
                    <a:lnTo>
                      <a:pt x="333" y="700"/>
                    </a:lnTo>
                    <a:lnTo>
                      <a:pt x="316" y="699"/>
                    </a:lnTo>
                    <a:lnTo>
                      <a:pt x="297" y="697"/>
                    </a:lnTo>
                    <a:lnTo>
                      <a:pt x="280" y="693"/>
                    </a:lnTo>
                    <a:lnTo>
                      <a:pt x="264" y="689"/>
                    </a:lnTo>
                    <a:lnTo>
                      <a:pt x="247" y="684"/>
                    </a:lnTo>
                    <a:lnTo>
                      <a:pt x="231" y="679"/>
                    </a:lnTo>
                    <a:lnTo>
                      <a:pt x="215" y="673"/>
                    </a:lnTo>
                    <a:lnTo>
                      <a:pt x="199" y="666"/>
                    </a:lnTo>
                    <a:lnTo>
                      <a:pt x="184" y="658"/>
                    </a:lnTo>
                    <a:lnTo>
                      <a:pt x="169" y="650"/>
                    </a:lnTo>
                    <a:lnTo>
                      <a:pt x="155" y="641"/>
                    </a:lnTo>
                    <a:lnTo>
                      <a:pt x="142" y="631"/>
                    </a:lnTo>
                    <a:lnTo>
                      <a:pt x="128" y="620"/>
                    </a:lnTo>
                    <a:lnTo>
                      <a:pt x="116" y="609"/>
                    </a:lnTo>
                    <a:lnTo>
                      <a:pt x="104" y="598"/>
                    </a:lnTo>
                    <a:lnTo>
                      <a:pt x="91" y="586"/>
                    </a:lnTo>
                    <a:lnTo>
                      <a:pt x="80" y="573"/>
                    </a:lnTo>
                    <a:lnTo>
                      <a:pt x="70" y="560"/>
                    </a:lnTo>
                    <a:lnTo>
                      <a:pt x="60" y="546"/>
                    </a:lnTo>
                    <a:lnTo>
                      <a:pt x="52" y="531"/>
                    </a:lnTo>
                    <a:lnTo>
                      <a:pt x="43" y="517"/>
                    </a:lnTo>
                    <a:lnTo>
                      <a:pt x="35" y="502"/>
                    </a:lnTo>
                    <a:lnTo>
                      <a:pt x="28" y="487"/>
                    </a:lnTo>
                    <a:lnTo>
                      <a:pt x="22" y="471"/>
                    </a:lnTo>
                    <a:lnTo>
                      <a:pt x="16" y="454"/>
                    </a:lnTo>
                    <a:lnTo>
                      <a:pt x="11" y="438"/>
                    </a:lnTo>
                    <a:lnTo>
                      <a:pt x="7" y="420"/>
                    </a:lnTo>
                    <a:lnTo>
                      <a:pt x="5" y="403"/>
                    </a:lnTo>
                    <a:lnTo>
                      <a:pt x="3" y="386"/>
                    </a:lnTo>
                    <a:lnTo>
                      <a:pt x="1" y="369"/>
                    </a:lnTo>
                    <a:lnTo>
                      <a:pt x="0" y="350"/>
                    </a:lnTo>
                    <a:lnTo>
                      <a:pt x="0" y="350"/>
                    </a:lnTo>
                    <a:lnTo>
                      <a:pt x="1" y="331"/>
                    </a:lnTo>
                    <a:lnTo>
                      <a:pt x="3" y="314"/>
                    </a:lnTo>
                    <a:lnTo>
                      <a:pt x="5" y="297"/>
                    </a:lnTo>
                    <a:lnTo>
                      <a:pt x="7" y="280"/>
                    </a:lnTo>
                    <a:lnTo>
                      <a:pt x="11" y="262"/>
                    </a:lnTo>
                    <a:lnTo>
                      <a:pt x="16" y="246"/>
                    </a:lnTo>
                    <a:lnTo>
                      <a:pt x="22" y="229"/>
                    </a:lnTo>
                    <a:lnTo>
                      <a:pt x="28" y="213"/>
                    </a:lnTo>
                    <a:lnTo>
                      <a:pt x="35" y="198"/>
                    </a:lnTo>
                    <a:lnTo>
                      <a:pt x="43" y="183"/>
                    </a:lnTo>
                    <a:lnTo>
                      <a:pt x="52" y="169"/>
                    </a:lnTo>
                    <a:lnTo>
                      <a:pt x="60" y="154"/>
                    </a:lnTo>
                    <a:lnTo>
                      <a:pt x="70" y="140"/>
                    </a:lnTo>
                    <a:lnTo>
                      <a:pt x="80" y="127"/>
                    </a:lnTo>
                    <a:lnTo>
                      <a:pt x="91" y="114"/>
                    </a:lnTo>
                    <a:lnTo>
                      <a:pt x="104" y="102"/>
                    </a:lnTo>
                    <a:lnTo>
                      <a:pt x="116" y="91"/>
                    </a:lnTo>
                    <a:lnTo>
                      <a:pt x="128" y="80"/>
                    </a:lnTo>
                    <a:lnTo>
                      <a:pt x="142" y="69"/>
                    </a:lnTo>
                    <a:lnTo>
                      <a:pt x="155" y="59"/>
                    </a:lnTo>
                    <a:lnTo>
                      <a:pt x="169" y="50"/>
                    </a:lnTo>
                    <a:lnTo>
                      <a:pt x="184" y="42"/>
                    </a:lnTo>
                    <a:lnTo>
                      <a:pt x="199" y="34"/>
                    </a:lnTo>
                    <a:lnTo>
                      <a:pt x="215" y="27"/>
                    </a:lnTo>
                    <a:lnTo>
                      <a:pt x="231" y="21"/>
                    </a:lnTo>
                    <a:lnTo>
                      <a:pt x="247" y="16"/>
                    </a:lnTo>
                    <a:lnTo>
                      <a:pt x="264" y="11"/>
                    </a:lnTo>
                    <a:lnTo>
                      <a:pt x="280" y="7"/>
                    </a:lnTo>
                    <a:lnTo>
                      <a:pt x="297" y="3"/>
                    </a:lnTo>
                    <a:lnTo>
                      <a:pt x="316" y="1"/>
                    </a:lnTo>
                    <a:lnTo>
                      <a:pt x="333" y="0"/>
                    </a:lnTo>
                    <a:lnTo>
                      <a:pt x="352" y="0"/>
                    </a:lnTo>
                    <a:lnTo>
                      <a:pt x="352" y="0"/>
                    </a:lnTo>
                    <a:lnTo>
                      <a:pt x="369" y="0"/>
                    </a:lnTo>
                    <a:lnTo>
                      <a:pt x="387" y="1"/>
                    </a:lnTo>
                    <a:lnTo>
                      <a:pt x="405" y="3"/>
                    </a:lnTo>
                    <a:lnTo>
                      <a:pt x="422" y="7"/>
                    </a:lnTo>
                    <a:lnTo>
                      <a:pt x="439" y="11"/>
                    </a:lnTo>
                    <a:lnTo>
                      <a:pt x="455" y="16"/>
                    </a:lnTo>
                    <a:lnTo>
                      <a:pt x="471" y="21"/>
                    </a:lnTo>
                    <a:lnTo>
                      <a:pt x="487" y="27"/>
                    </a:lnTo>
                    <a:lnTo>
                      <a:pt x="503" y="34"/>
                    </a:lnTo>
                    <a:lnTo>
                      <a:pt x="518" y="42"/>
                    </a:lnTo>
                    <a:lnTo>
                      <a:pt x="533" y="50"/>
                    </a:lnTo>
                    <a:lnTo>
                      <a:pt x="546" y="59"/>
                    </a:lnTo>
                    <a:lnTo>
                      <a:pt x="561" y="69"/>
                    </a:lnTo>
                    <a:lnTo>
                      <a:pt x="574" y="80"/>
                    </a:lnTo>
                    <a:lnTo>
                      <a:pt x="587" y="91"/>
                    </a:lnTo>
                    <a:lnTo>
                      <a:pt x="598" y="102"/>
                    </a:lnTo>
                    <a:lnTo>
                      <a:pt x="611" y="114"/>
                    </a:lnTo>
                    <a:lnTo>
                      <a:pt x="622" y="127"/>
                    </a:lnTo>
                    <a:lnTo>
                      <a:pt x="632" y="140"/>
                    </a:lnTo>
                    <a:lnTo>
                      <a:pt x="641" y="154"/>
                    </a:lnTo>
                    <a:lnTo>
                      <a:pt x="651" y="169"/>
                    </a:lnTo>
                    <a:lnTo>
                      <a:pt x="659" y="183"/>
                    </a:lnTo>
                    <a:lnTo>
                      <a:pt x="667" y="198"/>
                    </a:lnTo>
                    <a:lnTo>
                      <a:pt x="673" y="213"/>
                    </a:lnTo>
                    <a:lnTo>
                      <a:pt x="680" y="229"/>
                    </a:lnTo>
                    <a:lnTo>
                      <a:pt x="686" y="246"/>
                    </a:lnTo>
                    <a:lnTo>
                      <a:pt x="691" y="262"/>
                    </a:lnTo>
                    <a:lnTo>
                      <a:pt x="694" y="280"/>
                    </a:lnTo>
                    <a:lnTo>
                      <a:pt x="697" y="297"/>
                    </a:lnTo>
                    <a:lnTo>
                      <a:pt x="699" y="314"/>
                    </a:lnTo>
                    <a:lnTo>
                      <a:pt x="701" y="331"/>
                    </a:lnTo>
                    <a:lnTo>
                      <a:pt x="702" y="350"/>
                    </a:lnTo>
                    <a:lnTo>
                      <a:pt x="702" y="350"/>
                    </a:lnTo>
                    <a:lnTo>
                      <a:pt x="701" y="369"/>
                    </a:lnTo>
                    <a:lnTo>
                      <a:pt x="699" y="386"/>
                    </a:lnTo>
                    <a:lnTo>
                      <a:pt x="697" y="403"/>
                    </a:lnTo>
                    <a:lnTo>
                      <a:pt x="694" y="420"/>
                    </a:lnTo>
                    <a:lnTo>
                      <a:pt x="691" y="438"/>
                    </a:lnTo>
                    <a:lnTo>
                      <a:pt x="686" y="454"/>
                    </a:lnTo>
                    <a:lnTo>
                      <a:pt x="680" y="471"/>
                    </a:lnTo>
                    <a:lnTo>
                      <a:pt x="673" y="487"/>
                    </a:lnTo>
                    <a:lnTo>
                      <a:pt x="667" y="502"/>
                    </a:lnTo>
                    <a:lnTo>
                      <a:pt x="659" y="517"/>
                    </a:lnTo>
                    <a:lnTo>
                      <a:pt x="651" y="531"/>
                    </a:lnTo>
                    <a:lnTo>
                      <a:pt x="641" y="546"/>
                    </a:lnTo>
                    <a:lnTo>
                      <a:pt x="632" y="560"/>
                    </a:lnTo>
                    <a:lnTo>
                      <a:pt x="622" y="573"/>
                    </a:lnTo>
                    <a:lnTo>
                      <a:pt x="611" y="586"/>
                    </a:lnTo>
                    <a:lnTo>
                      <a:pt x="598" y="598"/>
                    </a:lnTo>
                    <a:lnTo>
                      <a:pt x="587" y="609"/>
                    </a:lnTo>
                    <a:lnTo>
                      <a:pt x="574" y="620"/>
                    </a:lnTo>
                    <a:lnTo>
                      <a:pt x="561" y="631"/>
                    </a:lnTo>
                    <a:lnTo>
                      <a:pt x="546" y="641"/>
                    </a:lnTo>
                    <a:lnTo>
                      <a:pt x="533" y="650"/>
                    </a:lnTo>
                    <a:lnTo>
                      <a:pt x="518" y="658"/>
                    </a:lnTo>
                    <a:lnTo>
                      <a:pt x="503" y="666"/>
                    </a:lnTo>
                    <a:lnTo>
                      <a:pt x="487" y="673"/>
                    </a:lnTo>
                    <a:lnTo>
                      <a:pt x="471" y="679"/>
                    </a:lnTo>
                    <a:lnTo>
                      <a:pt x="455" y="684"/>
                    </a:lnTo>
                    <a:lnTo>
                      <a:pt x="439" y="689"/>
                    </a:lnTo>
                    <a:lnTo>
                      <a:pt x="422" y="693"/>
                    </a:lnTo>
                    <a:lnTo>
                      <a:pt x="405" y="697"/>
                    </a:lnTo>
                    <a:lnTo>
                      <a:pt x="387" y="699"/>
                    </a:lnTo>
                    <a:lnTo>
                      <a:pt x="369" y="700"/>
                    </a:lnTo>
                    <a:lnTo>
                      <a:pt x="352" y="700"/>
                    </a:lnTo>
                    <a:lnTo>
                      <a:pt x="352" y="700"/>
                    </a:lnTo>
                    <a:close/>
                  </a:path>
                </a:pathLst>
              </a:custGeom>
              <a:solidFill>
                <a:srgbClr val="0091D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1" name="Freeform 61">
                <a:extLst>
                  <a:ext uri="{FF2B5EF4-FFF2-40B4-BE49-F238E27FC236}">
                    <a16:creationId xmlns:a16="http://schemas.microsoft.com/office/drawing/2014/main" id="{7C6C5397-7B55-71B3-C7DD-AECAFCE6BA28}"/>
                  </a:ext>
                </a:extLst>
              </p:cNvPr>
              <p:cNvSpPr>
                <a:spLocks/>
              </p:cNvSpPr>
              <p:nvPr/>
            </p:nvSpPr>
            <p:spPr bwMode="auto">
              <a:xfrm>
                <a:off x="5824134" y="3149968"/>
                <a:ext cx="410131" cy="539429"/>
              </a:xfrm>
              <a:custGeom>
                <a:avLst/>
                <a:gdLst>
                  <a:gd name="T0" fmla="*/ 0 w 287"/>
                  <a:gd name="T1" fmla="*/ 395 h 395"/>
                  <a:gd name="T2" fmla="*/ 0 w 287"/>
                  <a:gd name="T3" fmla="*/ 183 h 395"/>
                  <a:gd name="T4" fmla="*/ 0 w 287"/>
                  <a:gd name="T5" fmla="*/ 77 h 395"/>
                  <a:gd name="T6" fmla="*/ 75 w 287"/>
                  <a:gd name="T7" fmla="*/ 0 h 395"/>
                  <a:gd name="T8" fmla="*/ 287 w 287"/>
                  <a:gd name="T9" fmla="*/ 0 h 395"/>
                  <a:gd name="T10" fmla="*/ 287 w 287"/>
                  <a:gd name="T11" fmla="*/ 79 h 395"/>
                  <a:gd name="T12" fmla="*/ 287 w 287"/>
                  <a:gd name="T13" fmla="*/ 183 h 395"/>
                  <a:gd name="T14" fmla="*/ 287 w 287"/>
                  <a:gd name="T15" fmla="*/ 395 h 395"/>
                  <a:gd name="T16" fmla="*/ 0 w 287"/>
                  <a:gd name="T17" fmla="*/ 39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7" h="395">
                    <a:moveTo>
                      <a:pt x="0" y="395"/>
                    </a:moveTo>
                    <a:lnTo>
                      <a:pt x="0" y="183"/>
                    </a:lnTo>
                    <a:lnTo>
                      <a:pt x="0" y="77"/>
                    </a:lnTo>
                    <a:lnTo>
                      <a:pt x="75" y="0"/>
                    </a:lnTo>
                    <a:lnTo>
                      <a:pt x="287" y="0"/>
                    </a:lnTo>
                    <a:lnTo>
                      <a:pt x="287" y="79"/>
                    </a:lnTo>
                    <a:lnTo>
                      <a:pt x="287" y="183"/>
                    </a:lnTo>
                    <a:lnTo>
                      <a:pt x="287" y="395"/>
                    </a:lnTo>
                    <a:lnTo>
                      <a:pt x="0" y="3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sp>
          <p:nvSpPr>
            <p:cNvPr id="382" name="Freeform 62">
              <a:extLst>
                <a:ext uri="{FF2B5EF4-FFF2-40B4-BE49-F238E27FC236}">
                  <a16:creationId xmlns:a16="http://schemas.microsoft.com/office/drawing/2014/main" id="{6836A92B-0D4F-2B35-1F99-8F4EB7E6336C}"/>
                </a:ext>
              </a:extLst>
            </p:cNvPr>
            <p:cNvSpPr>
              <a:spLocks/>
            </p:cNvSpPr>
            <p:nvPr/>
          </p:nvSpPr>
          <p:spPr bwMode="auto">
            <a:xfrm>
              <a:off x="5824134" y="3149968"/>
              <a:ext cx="107177" cy="105155"/>
            </a:xfrm>
            <a:custGeom>
              <a:avLst/>
              <a:gdLst>
                <a:gd name="T0" fmla="*/ 75 w 75"/>
                <a:gd name="T1" fmla="*/ 77 h 77"/>
                <a:gd name="T2" fmla="*/ 0 w 75"/>
                <a:gd name="T3" fmla="*/ 77 h 77"/>
                <a:gd name="T4" fmla="*/ 75 w 75"/>
                <a:gd name="T5" fmla="*/ 0 h 77"/>
                <a:gd name="T6" fmla="*/ 75 w 75"/>
                <a:gd name="T7" fmla="*/ 77 h 77"/>
              </a:gdLst>
              <a:ahLst/>
              <a:cxnLst>
                <a:cxn ang="0">
                  <a:pos x="T0" y="T1"/>
                </a:cxn>
                <a:cxn ang="0">
                  <a:pos x="T2" y="T3"/>
                </a:cxn>
                <a:cxn ang="0">
                  <a:pos x="T4" y="T5"/>
                </a:cxn>
                <a:cxn ang="0">
                  <a:pos x="T6" y="T7"/>
                </a:cxn>
              </a:cxnLst>
              <a:rect l="0" t="0" r="r" b="b"/>
              <a:pathLst>
                <a:path w="75" h="77">
                  <a:moveTo>
                    <a:pt x="75" y="77"/>
                  </a:moveTo>
                  <a:lnTo>
                    <a:pt x="0" y="77"/>
                  </a:lnTo>
                  <a:lnTo>
                    <a:pt x="75" y="0"/>
                  </a:lnTo>
                  <a:lnTo>
                    <a:pt x="75" y="77"/>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3" name="Freeform 63">
              <a:extLst>
                <a:ext uri="{FF2B5EF4-FFF2-40B4-BE49-F238E27FC236}">
                  <a16:creationId xmlns:a16="http://schemas.microsoft.com/office/drawing/2014/main" id="{FE928E08-9172-AD02-AF25-9B5D47267D5A}"/>
                </a:ext>
              </a:extLst>
            </p:cNvPr>
            <p:cNvSpPr>
              <a:spLocks/>
            </p:cNvSpPr>
            <p:nvPr/>
          </p:nvSpPr>
          <p:spPr bwMode="auto">
            <a:xfrm>
              <a:off x="5824134" y="3255122"/>
              <a:ext cx="107177" cy="103789"/>
            </a:xfrm>
            <a:custGeom>
              <a:avLst/>
              <a:gdLst>
                <a:gd name="T0" fmla="*/ 0 w 75"/>
                <a:gd name="T1" fmla="*/ 0 h 76"/>
                <a:gd name="T2" fmla="*/ 75 w 75"/>
                <a:gd name="T3" fmla="*/ 0 h 76"/>
                <a:gd name="T4" fmla="*/ 0 w 75"/>
                <a:gd name="T5" fmla="*/ 76 h 76"/>
                <a:gd name="T6" fmla="*/ 0 w 75"/>
                <a:gd name="T7" fmla="*/ 0 h 76"/>
              </a:gdLst>
              <a:ahLst/>
              <a:cxnLst>
                <a:cxn ang="0">
                  <a:pos x="T0" y="T1"/>
                </a:cxn>
                <a:cxn ang="0">
                  <a:pos x="T2" y="T3"/>
                </a:cxn>
                <a:cxn ang="0">
                  <a:pos x="T4" y="T5"/>
                </a:cxn>
                <a:cxn ang="0">
                  <a:pos x="T6" y="T7"/>
                </a:cxn>
              </a:cxnLst>
              <a:rect l="0" t="0" r="r" b="b"/>
              <a:pathLst>
                <a:path w="75" h="76">
                  <a:moveTo>
                    <a:pt x="0" y="0"/>
                  </a:moveTo>
                  <a:lnTo>
                    <a:pt x="75" y="0"/>
                  </a:lnTo>
                  <a:lnTo>
                    <a:pt x="0" y="76"/>
                  </a:lnTo>
                  <a:lnTo>
                    <a:pt x="0" y="0"/>
                  </a:lnTo>
                  <a:close/>
                </a:path>
              </a:pathLst>
            </a:custGeom>
            <a:solidFill>
              <a:srgbClr val="D1E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4" name="Freeform 64">
              <a:extLst>
                <a:ext uri="{FF2B5EF4-FFF2-40B4-BE49-F238E27FC236}">
                  <a16:creationId xmlns:a16="http://schemas.microsoft.com/office/drawing/2014/main" id="{32D2778C-5DC7-BFE0-261B-E72F9A69330F}"/>
                </a:ext>
              </a:extLst>
            </p:cNvPr>
            <p:cNvSpPr>
              <a:spLocks/>
            </p:cNvSpPr>
            <p:nvPr/>
          </p:nvSpPr>
          <p:spPr bwMode="auto">
            <a:xfrm>
              <a:off x="5861289" y="3506400"/>
              <a:ext cx="134329" cy="127005"/>
            </a:xfrm>
            <a:custGeom>
              <a:avLst/>
              <a:gdLst>
                <a:gd name="T0" fmla="*/ 43 w 94"/>
                <a:gd name="T1" fmla="*/ 49 h 93"/>
                <a:gd name="T2" fmla="*/ 43 w 94"/>
                <a:gd name="T3" fmla="*/ 0 h 93"/>
                <a:gd name="T4" fmla="*/ 43 w 94"/>
                <a:gd name="T5" fmla="*/ 0 h 93"/>
                <a:gd name="T6" fmla="*/ 34 w 94"/>
                <a:gd name="T7" fmla="*/ 1 h 93"/>
                <a:gd name="T8" fmla="*/ 27 w 94"/>
                <a:gd name="T9" fmla="*/ 5 h 93"/>
                <a:gd name="T10" fmla="*/ 20 w 94"/>
                <a:gd name="T11" fmla="*/ 8 h 93"/>
                <a:gd name="T12" fmla="*/ 12 w 94"/>
                <a:gd name="T13" fmla="*/ 14 h 93"/>
                <a:gd name="T14" fmla="*/ 7 w 94"/>
                <a:gd name="T15" fmla="*/ 21 h 93"/>
                <a:gd name="T16" fmla="*/ 4 w 94"/>
                <a:gd name="T17" fmla="*/ 29 h 93"/>
                <a:gd name="T18" fmla="*/ 1 w 94"/>
                <a:gd name="T19" fmla="*/ 37 h 93"/>
                <a:gd name="T20" fmla="*/ 0 w 94"/>
                <a:gd name="T21" fmla="*/ 47 h 93"/>
                <a:gd name="T22" fmla="*/ 0 w 94"/>
                <a:gd name="T23" fmla="*/ 47 h 93"/>
                <a:gd name="T24" fmla="*/ 1 w 94"/>
                <a:gd name="T25" fmla="*/ 55 h 93"/>
                <a:gd name="T26" fmla="*/ 4 w 94"/>
                <a:gd name="T27" fmla="*/ 64 h 93"/>
                <a:gd name="T28" fmla="*/ 9 w 94"/>
                <a:gd name="T29" fmla="*/ 72 h 93"/>
                <a:gd name="T30" fmla="*/ 13 w 94"/>
                <a:gd name="T31" fmla="*/ 79 h 93"/>
                <a:gd name="T32" fmla="*/ 21 w 94"/>
                <a:gd name="T33" fmla="*/ 85 h 93"/>
                <a:gd name="T34" fmla="*/ 28 w 94"/>
                <a:gd name="T35" fmla="*/ 90 h 93"/>
                <a:gd name="T36" fmla="*/ 37 w 94"/>
                <a:gd name="T37" fmla="*/ 92 h 93"/>
                <a:gd name="T38" fmla="*/ 47 w 94"/>
                <a:gd name="T39" fmla="*/ 93 h 93"/>
                <a:gd name="T40" fmla="*/ 47 w 94"/>
                <a:gd name="T41" fmla="*/ 93 h 93"/>
                <a:gd name="T42" fmla="*/ 55 w 94"/>
                <a:gd name="T43" fmla="*/ 92 h 93"/>
                <a:gd name="T44" fmla="*/ 64 w 94"/>
                <a:gd name="T45" fmla="*/ 90 h 93"/>
                <a:gd name="T46" fmla="*/ 71 w 94"/>
                <a:gd name="T47" fmla="*/ 86 h 93"/>
                <a:gd name="T48" fmla="*/ 79 w 94"/>
                <a:gd name="T49" fmla="*/ 80 h 93"/>
                <a:gd name="T50" fmla="*/ 84 w 94"/>
                <a:gd name="T51" fmla="*/ 74 h 93"/>
                <a:gd name="T52" fmla="*/ 89 w 94"/>
                <a:gd name="T53" fmla="*/ 66 h 93"/>
                <a:gd name="T54" fmla="*/ 91 w 94"/>
                <a:gd name="T55" fmla="*/ 58 h 93"/>
                <a:gd name="T56" fmla="*/ 94 w 94"/>
                <a:gd name="T57" fmla="*/ 49 h 93"/>
                <a:gd name="T58" fmla="*/ 43 w 94"/>
                <a:gd name="T59" fmla="*/ 4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4" h="93">
                  <a:moveTo>
                    <a:pt x="43" y="49"/>
                  </a:moveTo>
                  <a:lnTo>
                    <a:pt x="43" y="0"/>
                  </a:lnTo>
                  <a:lnTo>
                    <a:pt x="43" y="0"/>
                  </a:lnTo>
                  <a:lnTo>
                    <a:pt x="34" y="1"/>
                  </a:lnTo>
                  <a:lnTo>
                    <a:pt x="27" y="5"/>
                  </a:lnTo>
                  <a:lnTo>
                    <a:pt x="20" y="8"/>
                  </a:lnTo>
                  <a:lnTo>
                    <a:pt x="12" y="14"/>
                  </a:lnTo>
                  <a:lnTo>
                    <a:pt x="7" y="21"/>
                  </a:lnTo>
                  <a:lnTo>
                    <a:pt x="4" y="29"/>
                  </a:lnTo>
                  <a:lnTo>
                    <a:pt x="1" y="37"/>
                  </a:lnTo>
                  <a:lnTo>
                    <a:pt x="0" y="47"/>
                  </a:lnTo>
                  <a:lnTo>
                    <a:pt x="0" y="47"/>
                  </a:lnTo>
                  <a:lnTo>
                    <a:pt x="1" y="55"/>
                  </a:lnTo>
                  <a:lnTo>
                    <a:pt x="4" y="64"/>
                  </a:lnTo>
                  <a:lnTo>
                    <a:pt x="9" y="72"/>
                  </a:lnTo>
                  <a:lnTo>
                    <a:pt x="13" y="79"/>
                  </a:lnTo>
                  <a:lnTo>
                    <a:pt x="21" y="85"/>
                  </a:lnTo>
                  <a:lnTo>
                    <a:pt x="28" y="90"/>
                  </a:lnTo>
                  <a:lnTo>
                    <a:pt x="37" y="92"/>
                  </a:lnTo>
                  <a:lnTo>
                    <a:pt x="47" y="93"/>
                  </a:lnTo>
                  <a:lnTo>
                    <a:pt x="47" y="93"/>
                  </a:lnTo>
                  <a:lnTo>
                    <a:pt x="55" y="92"/>
                  </a:lnTo>
                  <a:lnTo>
                    <a:pt x="64" y="90"/>
                  </a:lnTo>
                  <a:lnTo>
                    <a:pt x="71" y="86"/>
                  </a:lnTo>
                  <a:lnTo>
                    <a:pt x="79" y="80"/>
                  </a:lnTo>
                  <a:lnTo>
                    <a:pt x="84" y="74"/>
                  </a:lnTo>
                  <a:lnTo>
                    <a:pt x="89" y="66"/>
                  </a:lnTo>
                  <a:lnTo>
                    <a:pt x="91" y="58"/>
                  </a:lnTo>
                  <a:lnTo>
                    <a:pt x="94" y="49"/>
                  </a:lnTo>
                  <a:lnTo>
                    <a:pt x="43" y="49"/>
                  </a:lnTo>
                  <a:close/>
                </a:path>
              </a:pathLst>
            </a:custGeom>
            <a:solidFill>
              <a:srgbClr val="2C58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5" name="Freeform 65">
              <a:extLst>
                <a:ext uri="{FF2B5EF4-FFF2-40B4-BE49-F238E27FC236}">
                  <a16:creationId xmlns:a16="http://schemas.microsoft.com/office/drawing/2014/main" id="{C3C909CE-604F-4DF6-18BC-6CBC0E0C11CD}"/>
                </a:ext>
              </a:extLst>
            </p:cNvPr>
            <p:cNvSpPr>
              <a:spLocks/>
            </p:cNvSpPr>
            <p:nvPr/>
          </p:nvSpPr>
          <p:spPr bwMode="auto">
            <a:xfrm>
              <a:off x="5942744" y="3509131"/>
              <a:ext cx="48587" cy="49163"/>
            </a:xfrm>
            <a:custGeom>
              <a:avLst/>
              <a:gdLst>
                <a:gd name="T0" fmla="*/ 34 w 34"/>
                <a:gd name="T1" fmla="*/ 36 h 36"/>
                <a:gd name="T2" fmla="*/ 34 w 34"/>
                <a:gd name="T3" fmla="*/ 36 h 36"/>
                <a:gd name="T4" fmla="*/ 33 w 34"/>
                <a:gd name="T5" fmla="*/ 29 h 36"/>
                <a:gd name="T6" fmla="*/ 32 w 34"/>
                <a:gd name="T7" fmla="*/ 22 h 36"/>
                <a:gd name="T8" fmla="*/ 28 w 34"/>
                <a:gd name="T9" fmla="*/ 16 h 36"/>
                <a:gd name="T10" fmla="*/ 24 w 34"/>
                <a:gd name="T11" fmla="*/ 11 h 36"/>
                <a:gd name="T12" fmla="*/ 18 w 34"/>
                <a:gd name="T13" fmla="*/ 6 h 36"/>
                <a:gd name="T14" fmla="*/ 13 w 34"/>
                <a:gd name="T15" fmla="*/ 4 h 36"/>
                <a:gd name="T16" fmla="*/ 6 w 34"/>
                <a:gd name="T17" fmla="*/ 1 h 36"/>
                <a:gd name="T18" fmla="*/ 0 w 34"/>
                <a:gd name="T19" fmla="*/ 0 h 36"/>
                <a:gd name="T20" fmla="*/ 0 w 34"/>
                <a:gd name="T21" fmla="*/ 36 h 36"/>
                <a:gd name="T22" fmla="*/ 34 w 34"/>
                <a:gd name="T2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6">
                  <a:moveTo>
                    <a:pt x="34" y="36"/>
                  </a:moveTo>
                  <a:lnTo>
                    <a:pt x="34" y="36"/>
                  </a:lnTo>
                  <a:lnTo>
                    <a:pt x="33" y="29"/>
                  </a:lnTo>
                  <a:lnTo>
                    <a:pt x="32" y="22"/>
                  </a:lnTo>
                  <a:lnTo>
                    <a:pt x="28" y="16"/>
                  </a:lnTo>
                  <a:lnTo>
                    <a:pt x="24" y="11"/>
                  </a:lnTo>
                  <a:lnTo>
                    <a:pt x="18" y="6"/>
                  </a:lnTo>
                  <a:lnTo>
                    <a:pt x="13" y="4"/>
                  </a:lnTo>
                  <a:lnTo>
                    <a:pt x="6" y="1"/>
                  </a:lnTo>
                  <a:lnTo>
                    <a:pt x="0" y="0"/>
                  </a:lnTo>
                  <a:lnTo>
                    <a:pt x="0" y="36"/>
                  </a:lnTo>
                  <a:lnTo>
                    <a:pt x="34" y="36"/>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6" name="Freeform 66">
              <a:extLst>
                <a:ext uri="{FF2B5EF4-FFF2-40B4-BE49-F238E27FC236}">
                  <a16:creationId xmlns:a16="http://schemas.microsoft.com/office/drawing/2014/main" id="{A4C918D4-A62E-5F2D-8179-7A0DB9D0653D}"/>
                </a:ext>
              </a:extLst>
            </p:cNvPr>
            <p:cNvSpPr>
              <a:spLocks/>
            </p:cNvSpPr>
            <p:nvPr/>
          </p:nvSpPr>
          <p:spPr bwMode="auto">
            <a:xfrm>
              <a:off x="5949889" y="3376664"/>
              <a:ext cx="42871" cy="39604"/>
            </a:xfrm>
            <a:custGeom>
              <a:avLst/>
              <a:gdLst>
                <a:gd name="T0" fmla="*/ 4 w 30"/>
                <a:gd name="T1" fmla="*/ 0 h 29"/>
                <a:gd name="T2" fmla="*/ 4 w 30"/>
                <a:gd name="T3" fmla="*/ 0 h 29"/>
                <a:gd name="T4" fmla="*/ 2 w 30"/>
                <a:gd name="T5" fmla="*/ 5 h 29"/>
                <a:gd name="T6" fmla="*/ 0 w 30"/>
                <a:gd name="T7" fmla="*/ 8 h 29"/>
                <a:gd name="T8" fmla="*/ 16 w 30"/>
                <a:gd name="T9" fmla="*/ 29 h 29"/>
                <a:gd name="T10" fmla="*/ 16 w 30"/>
                <a:gd name="T11" fmla="*/ 29 h 29"/>
                <a:gd name="T12" fmla="*/ 21 w 30"/>
                <a:gd name="T13" fmla="*/ 23 h 29"/>
                <a:gd name="T14" fmla="*/ 24 w 30"/>
                <a:gd name="T15" fmla="*/ 17 h 29"/>
                <a:gd name="T16" fmla="*/ 28 w 30"/>
                <a:gd name="T17" fmla="*/ 11 h 29"/>
                <a:gd name="T18" fmla="*/ 30 w 30"/>
                <a:gd name="T19" fmla="*/ 3 h 29"/>
                <a:gd name="T20" fmla="*/ 4 w 30"/>
                <a:gd name="T2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29">
                  <a:moveTo>
                    <a:pt x="4" y="0"/>
                  </a:moveTo>
                  <a:lnTo>
                    <a:pt x="4" y="0"/>
                  </a:lnTo>
                  <a:lnTo>
                    <a:pt x="2" y="5"/>
                  </a:lnTo>
                  <a:lnTo>
                    <a:pt x="0" y="8"/>
                  </a:lnTo>
                  <a:lnTo>
                    <a:pt x="16" y="29"/>
                  </a:lnTo>
                  <a:lnTo>
                    <a:pt x="16" y="29"/>
                  </a:lnTo>
                  <a:lnTo>
                    <a:pt x="21" y="23"/>
                  </a:lnTo>
                  <a:lnTo>
                    <a:pt x="24" y="17"/>
                  </a:lnTo>
                  <a:lnTo>
                    <a:pt x="28" y="11"/>
                  </a:lnTo>
                  <a:lnTo>
                    <a:pt x="30" y="3"/>
                  </a:lnTo>
                  <a:lnTo>
                    <a:pt x="4" y="0"/>
                  </a:ln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7" name="Freeform 67">
              <a:extLst>
                <a:ext uri="{FF2B5EF4-FFF2-40B4-BE49-F238E27FC236}">
                  <a16:creationId xmlns:a16="http://schemas.microsoft.com/office/drawing/2014/main" id="{1AC0E4BE-4B02-05F1-C6EF-2C59C7C05246}"/>
                </a:ext>
              </a:extLst>
            </p:cNvPr>
            <p:cNvSpPr>
              <a:spLocks/>
            </p:cNvSpPr>
            <p:nvPr/>
          </p:nvSpPr>
          <p:spPr bwMode="auto">
            <a:xfrm>
              <a:off x="5932740" y="3304285"/>
              <a:ext cx="62877" cy="65551"/>
            </a:xfrm>
            <a:custGeom>
              <a:avLst/>
              <a:gdLst>
                <a:gd name="T0" fmla="*/ 0 w 44"/>
                <a:gd name="T1" fmla="*/ 27 h 48"/>
                <a:gd name="T2" fmla="*/ 0 w 44"/>
                <a:gd name="T3" fmla="*/ 27 h 48"/>
                <a:gd name="T4" fmla="*/ 7 w 44"/>
                <a:gd name="T5" fmla="*/ 28 h 48"/>
                <a:gd name="T6" fmla="*/ 12 w 44"/>
                <a:gd name="T7" fmla="*/ 33 h 48"/>
                <a:gd name="T8" fmla="*/ 15 w 44"/>
                <a:gd name="T9" fmla="*/ 38 h 48"/>
                <a:gd name="T10" fmla="*/ 18 w 44"/>
                <a:gd name="T11" fmla="*/ 44 h 48"/>
                <a:gd name="T12" fmla="*/ 44 w 44"/>
                <a:gd name="T13" fmla="*/ 48 h 48"/>
                <a:gd name="T14" fmla="*/ 44 w 44"/>
                <a:gd name="T15" fmla="*/ 48 h 48"/>
                <a:gd name="T16" fmla="*/ 44 w 44"/>
                <a:gd name="T17" fmla="*/ 47 h 48"/>
                <a:gd name="T18" fmla="*/ 44 w 44"/>
                <a:gd name="T19" fmla="*/ 47 h 48"/>
                <a:gd name="T20" fmla="*/ 42 w 44"/>
                <a:gd name="T21" fmla="*/ 38 h 48"/>
                <a:gd name="T22" fmla="*/ 40 w 44"/>
                <a:gd name="T23" fmla="*/ 29 h 48"/>
                <a:gd name="T24" fmla="*/ 36 w 44"/>
                <a:gd name="T25" fmla="*/ 22 h 48"/>
                <a:gd name="T26" fmla="*/ 31 w 44"/>
                <a:gd name="T27" fmla="*/ 16 h 48"/>
                <a:gd name="T28" fmla="*/ 25 w 44"/>
                <a:gd name="T29" fmla="*/ 10 h 48"/>
                <a:gd name="T30" fmla="*/ 18 w 44"/>
                <a:gd name="T31" fmla="*/ 5 h 48"/>
                <a:gd name="T32" fmla="*/ 9 w 44"/>
                <a:gd name="T33" fmla="*/ 2 h 48"/>
                <a:gd name="T34" fmla="*/ 0 w 44"/>
                <a:gd name="T35" fmla="*/ 0 h 48"/>
                <a:gd name="T36" fmla="*/ 0 w 44"/>
                <a:gd name="T37" fmla="*/ 2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 h="48">
                  <a:moveTo>
                    <a:pt x="0" y="27"/>
                  </a:moveTo>
                  <a:lnTo>
                    <a:pt x="0" y="27"/>
                  </a:lnTo>
                  <a:lnTo>
                    <a:pt x="7" y="28"/>
                  </a:lnTo>
                  <a:lnTo>
                    <a:pt x="12" y="33"/>
                  </a:lnTo>
                  <a:lnTo>
                    <a:pt x="15" y="38"/>
                  </a:lnTo>
                  <a:lnTo>
                    <a:pt x="18" y="44"/>
                  </a:lnTo>
                  <a:lnTo>
                    <a:pt x="44" y="48"/>
                  </a:lnTo>
                  <a:lnTo>
                    <a:pt x="44" y="48"/>
                  </a:lnTo>
                  <a:lnTo>
                    <a:pt x="44" y="47"/>
                  </a:lnTo>
                  <a:lnTo>
                    <a:pt x="44" y="47"/>
                  </a:lnTo>
                  <a:lnTo>
                    <a:pt x="42" y="38"/>
                  </a:lnTo>
                  <a:lnTo>
                    <a:pt x="40" y="29"/>
                  </a:lnTo>
                  <a:lnTo>
                    <a:pt x="36" y="22"/>
                  </a:lnTo>
                  <a:lnTo>
                    <a:pt x="31" y="16"/>
                  </a:lnTo>
                  <a:lnTo>
                    <a:pt x="25" y="10"/>
                  </a:lnTo>
                  <a:lnTo>
                    <a:pt x="18" y="5"/>
                  </a:lnTo>
                  <a:lnTo>
                    <a:pt x="9" y="2"/>
                  </a:lnTo>
                  <a:lnTo>
                    <a:pt x="0" y="0"/>
                  </a:lnTo>
                  <a:lnTo>
                    <a:pt x="0" y="27"/>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8" name="Freeform 68">
              <a:extLst>
                <a:ext uri="{FF2B5EF4-FFF2-40B4-BE49-F238E27FC236}">
                  <a16:creationId xmlns:a16="http://schemas.microsoft.com/office/drawing/2014/main" id="{1FC6C340-EC7A-7A2F-A6B7-D1A4F01820A1}"/>
                </a:ext>
              </a:extLst>
            </p:cNvPr>
            <p:cNvSpPr>
              <a:spLocks/>
            </p:cNvSpPr>
            <p:nvPr/>
          </p:nvSpPr>
          <p:spPr bwMode="auto">
            <a:xfrm>
              <a:off x="5874151" y="3304285"/>
              <a:ext cx="47158" cy="45067"/>
            </a:xfrm>
            <a:custGeom>
              <a:avLst/>
              <a:gdLst>
                <a:gd name="T0" fmla="*/ 22 w 33"/>
                <a:gd name="T1" fmla="*/ 33 h 33"/>
                <a:gd name="T2" fmla="*/ 22 w 33"/>
                <a:gd name="T3" fmla="*/ 33 h 33"/>
                <a:gd name="T4" fmla="*/ 27 w 33"/>
                <a:gd name="T5" fmla="*/ 28 h 33"/>
                <a:gd name="T6" fmla="*/ 33 w 33"/>
                <a:gd name="T7" fmla="*/ 27 h 33"/>
                <a:gd name="T8" fmla="*/ 33 w 33"/>
                <a:gd name="T9" fmla="*/ 0 h 33"/>
                <a:gd name="T10" fmla="*/ 33 w 33"/>
                <a:gd name="T11" fmla="*/ 0 h 33"/>
                <a:gd name="T12" fmla="*/ 23 w 33"/>
                <a:gd name="T13" fmla="*/ 2 h 33"/>
                <a:gd name="T14" fmla="*/ 14 w 33"/>
                <a:gd name="T15" fmla="*/ 6 h 33"/>
                <a:gd name="T16" fmla="*/ 7 w 33"/>
                <a:gd name="T17" fmla="*/ 12 h 33"/>
                <a:gd name="T18" fmla="*/ 0 w 33"/>
                <a:gd name="T19" fmla="*/ 19 h 33"/>
                <a:gd name="T20" fmla="*/ 22 w 33"/>
                <a:gd name="T21"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3">
                  <a:moveTo>
                    <a:pt x="22" y="33"/>
                  </a:moveTo>
                  <a:lnTo>
                    <a:pt x="22" y="33"/>
                  </a:lnTo>
                  <a:lnTo>
                    <a:pt x="27" y="28"/>
                  </a:lnTo>
                  <a:lnTo>
                    <a:pt x="33" y="27"/>
                  </a:lnTo>
                  <a:lnTo>
                    <a:pt x="33" y="0"/>
                  </a:lnTo>
                  <a:lnTo>
                    <a:pt x="33" y="0"/>
                  </a:lnTo>
                  <a:lnTo>
                    <a:pt x="23" y="2"/>
                  </a:lnTo>
                  <a:lnTo>
                    <a:pt x="14" y="6"/>
                  </a:lnTo>
                  <a:lnTo>
                    <a:pt x="7" y="12"/>
                  </a:lnTo>
                  <a:lnTo>
                    <a:pt x="0" y="19"/>
                  </a:lnTo>
                  <a:lnTo>
                    <a:pt x="22" y="33"/>
                  </a:lnTo>
                  <a:close/>
                </a:path>
              </a:pathLst>
            </a:custGeom>
            <a:solidFill>
              <a:srgbClr val="15B0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9" name="Freeform 69">
              <a:extLst>
                <a:ext uri="{FF2B5EF4-FFF2-40B4-BE49-F238E27FC236}">
                  <a16:creationId xmlns:a16="http://schemas.microsoft.com/office/drawing/2014/main" id="{1D1BC845-C7E8-577D-187A-844046C58903}"/>
                </a:ext>
              </a:extLst>
            </p:cNvPr>
            <p:cNvSpPr>
              <a:spLocks/>
            </p:cNvSpPr>
            <p:nvPr/>
          </p:nvSpPr>
          <p:spPr bwMode="auto">
            <a:xfrm>
              <a:off x="5861289" y="3341158"/>
              <a:ext cx="100032" cy="90132"/>
            </a:xfrm>
            <a:custGeom>
              <a:avLst/>
              <a:gdLst>
                <a:gd name="T0" fmla="*/ 55 w 70"/>
                <a:gd name="T1" fmla="*/ 39 h 66"/>
                <a:gd name="T2" fmla="*/ 55 w 70"/>
                <a:gd name="T3" fmla="*/ 39 h 66"/>
                <a:gd name="T4" fmla="*/ 50 w 70"/>
                <a:gd name="T5" fmla="*/ 40 h 66"/>
                <a:gd name="T6" fmla="*/ 47 w 70"/>
                <a:gd name="T7" fmla="*/ 40 h 66"/>
                <a:gd name="T8" fmla="*/ 47 w 70"/>
                <a:gd name="T9" fmla="*/ 40 h 66"/>
                <a:gd name="T10" fmla="*/ 42 w 70"/>
                <a:gd name="T11" fmla="*/ 40 h 66"/>
                <a:gd name="T12" fmla="*/ 38 w 70"/>
                <a:gd name="T13" fmla="*/ 39 h 66"/>
                <a:gd name="T14" fmla="*/ 34 w 70"/>
                <a:gd name="T15" fmla="*/ 37 h 66"/>
                <a:gd name="T16" fmla="*/ 32 w 70"/>
                <a:gd name="T17" fmla="*/ 34 h 66"/>
                <a:gd name="T18" fmla="*/ 29 w 70"/>
                <a:gd name="T19" fmla="*/ 32 h 66"/>
                <a:gd name="T20" fmla="*/ 27 w 70"/>
                <a:gd name="T21" fmla="*/ 28 h 66"/>
                <a:gd name="T22" fmla="*/ 26 w 70"/>
                <a:gd name="T23" fmla="*/ 24 h 66"/>
                <a:gd name="T24" fmla="*/ 26 w 70"/>
                <a:gd name="T25" fmla="*/ 20 h 66"/>
                <a:gd name="T26" fmla="*/ 26 w 70"/>
                <a:gd name="T27" fmla="*/ 20 h 66"/>
                <a:gd name="T28" fmla="*/ 27 w 70"/>
                <a:gd name="T29" fmla="*/ 13 h 66"/>
                <a:gd name="T30" fmla="*/ 5 w 70"/>
                <a:gd name="T31" fmla="*/ 0 h 66"/>
                <a:gd name="T32" fmla="*/ 5 w 70"/>
                <a:gd name="T33" fmla="*/ 0 h 66"/>
                <a:gd name="T34" fmla="*/ 1 w 70"/>
                <a:gd name="T35" fmla="*/ 10 h 66"/>
                <a:gd name="T36" fmla="*/ 0 w 70"/>
                <a:gd name="T37" fmla="*/ 20 h 66"/>
                <a:gd name="T38" fmla="*/ 0 w 70"/>
                <a:gd name="T39" fmla="*/ 20 h 66"/>
                <a:gd name="T40" fmla="*/ 1 w 70"/>
                <a:gd name="T41" fmla="*/ 29 h 66"/>
                <a:gd name="T42" fmla="*/ 4 w 70"/>
                <a:gd name="T43" fmla="*/ 38 h 66"/>
                <a:gd name="T44" fmla="*/ 9 w 70"/>
                <a:gd name="T45" fmla="*/ 45 h 66"/>
                <a:gd name="T46" fmla="*/ 13 w 70"/>
                <a:gd name="T47" fmla="*/ 53 h 66"/>
                <a:gd name="T48" fmla="*/ 21 w 70"/>
                <a:gd name="T49" fmla="*/ 58 h 66"/>
                <a:gd name="T50" fmla="*/ 28 w 70"/>
                <a:gd name="T51" fmla="*/ 63 h 66"/>
                <a:gd name="T52" fmla="*/ 37 w 70"/>
                <a:gd name="T53" fmla="*/ 65 h 66"/>
                <a:gd name="T54" fmla="*/ 47 w 70"/>
                <a:gd name="T55" fmla="*/ 66 h 66"/>
                <a:gd name="T56" fmla="*/ 47 w 70"/>
                <a:gd name="T57" fmla="*/ 66 h 66"/>
                <a:gd name="T58" fmla="*/ 53 w 70"/>
                <a:gd name="T59" fmla="*/ 66 h 66"/>
                <a:gd name="T60" fmla="*/ 59 w 70"/>
                <a:gd name="T61" fmla="*/ 65 h 66"/>
                <a:gd name="T62" fmla="*/ 65 w 70"/>
                <a:gd name="T63" fmla="*/ 63 h 66"/>
                <a:gd name="T64" fmla="*/ 70 w 70"/>
                <a:gd name="T65" fmla="*/ 60 h 66"/>
                <a:gd name="T66" fmla="*/ 55 w 70"/>
                <a:gd name="T67" fmla="*/ 3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0" h="66">
                  <a:moveTo>
                    <a:pt x="55" y="39"/>
                  </a:moveTo>
                  <a:lnTo>
                    <a:pt x="55" y="39"/>
                  </a:lnTo>
                  <a:lnTo>
                    <a:pt x="50" y="40"/>
                  </a:lnTo>
                  <a:lnTo>
                    <a:pt x="47" y="40"/>
                  </a:lnTo>
                  <a:lnTo>
                    <a:pt x="47" y="40"/>
                  </a:lnTo>
                  <a:lnTo>
                    <a:pt x="42" y="40"/>
                  </a:lnTo>
                  <a:lnTo>
                    <a:pt x="38" y="39"/>
                  </a:lnTo>
                  <a:lnTo>
                    <a:pt x="34" y="37"/>
                  </a:lnTo>
                  <a:lnTo>
                    <a:pt x="32" y="34"/>
                  </a:lnTo>
                  <a:lnTo>
                    <a:pt x="29" y="32"/>
                  </a:lnTo>
                  <a:lnTo>
                    <a:pt x="27" y="28"/>
                  </a:lnTo>
                  <a:lnTo>
                    <a:pt x="26" y="24"/>
                  </a:lnTo>
                  <a:lnTo>
                    <a:pt x="26" y="20"/>
                  </a:lnTo>
                  <a:lnTo>
                    <a:pt x="26" y="20"/>
                  </a:lnTo>
                  <a:lnTo>
                    <a:pt x="27" y="13"/>
                  </a:lnTo>
                  <a:lnTo>
                    <a:pt x="5" y="0"/>
                  </a:lnTo>
                  <a:lnTo>
                    <a:pt x="5" y="0"/>
                  </a:lnTo>
                  <a:lnTo>
                    <a:pt x="1" y="10"/>
                  </a:lnTo>
                  <a:lnTo>
                    <a:pt x="0" y="20"/>
                  </a:lnTo>
                  <a:lnTo>
                    <a:pt x="0" y="20"/>
                  </a:lnTo>
                  <a:lnTo>
                    <a:pt x="1" y="29"/>
                  </a:lnTo>
                  <a:lnTo>
                    <a:pt x="4" y="38"/>
                  </a:lnTo>
                  <a:lnTo>
                    <a:pt x="9" y="45"/>
                  </a:lnTo>
                  <a:lnTo>
                    <a:pt x="13" y="53"/>
                  </a:lnTo>
                  <a:lnTo>
                    <a:pt x="21" y="58"/>
                  </a:lnTo>
                  <a:lnTo>
                    <a:pt x="28" y="63"/>
                  </a:lnTo>
                  <a:lnTo>
                    <a:pt x="37" y="65"/>
                  </a:lnTo>
                  <a:lnTo>
                    <a:pt x="47" y="66"/>
                  </a:lnTo>
                  <a:lnTo>
                    <a:pt x="47" y="66"/>
                  </a:lnTo>
                  <a:lnTo>
                    <a:pt x="53" y="66"/>
                  </a:lnTo>
                  <a:lnTo>
                    <a:pt x="59" y="65"/>
                  </a:lnTo>
                  <a:lnTo>
                    <a:pt x="65" y="63"/>
                  </a:lnTo>
                  <a:lnTo>
                    <a:pt x="70" y="60"/>
                  </a:lnTo>
                  <a:lnTo>
                    <a:pt x="55" y="39"/>
                  </a:lnTo>
                  <a:close/>
                </a:path>
              </a:pathLst>
            </a:custGeom>
            <a:solidFill>
              <a:srgbClr val="2C58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0" name="Rectangle 70">
              <a:extLst>
                <a:ext uri="{FF2B5EF4-FFF2-40B4-BE49-F238E27FC236}">
                  <a16:creationId xmlns:a16="http://schemas.microsoft.com/office/drawing/2014/main" id="{574D496B-3BA6-A4CB-ECA7-3F23F401D2D2}"/>
                </a:ext>
              </a:extLst>
            </p:cNvPr>
            <p:cNvSpPr>
              <a:spLocks noChangeArrowheads="1"/>
            </p:cNvSpPr>
            <p:nvPr/>
          </p:nvSpPr>
          <p:spPr bwMode="auto">
            <a:xfrm>
              <a:off x="6025627" y="3304285"/>
              <a:ext cx="161481" cy="16388"/>
            </a:xfrm>
            <a:prstGeom prst="rect">
              <a:avLst/>
            </a:prstGeom>
            <a:solidFill>
              <a:srgbClr val="15B0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1" name="Rectangle 71">
              <a:extLst>
                <a:ext uri="{FF2B5EF4-FFF2-40B4-BE49-F238E27FC236}">
                  <a16:creationId xmlns:a16="http://schemas.microsoft.com/office/drawing/2014/main" id="{61602DA9-2EE2-C2F2-30F6-6F2CD3C419EA}"/>
                </a:ext>
              </a:extLst>
            </p:cNvPr>
            <p:cNvSpPr>
              <a:spLocks noChangeArrowheads="1"/>
            </p:cNvSpPr>
            <p:nvPr/>
          </p:nvSpPr>
          <p:spPr bwMode="auto">
            <a:xfrm>
              <a:off x="6025627" y="3354814"/>
              <a:ext cx="161481" cy="15023"/>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2" name="Rectangle 72">
              <a:extLst>
                <a:ext uri="{FF2B5EF4-FFF2-40B4-BE49-F238E27FC236}">
                  <a16:creationId xmlns:a16="http://schemas.microsoft.com/office/drawing/2014/main" id="{3345FDC7-598E-5A39-B5CD-D4006F5A5CC8}"/>
                </a:ext>
              </a:extLst>
            </p:cNvPr>
            <p:cNvSpPr>
              <a:spLocks noChangeArrowheads="1"/>
            </p:cNvSpPr>
            <p:nvPr/>
          </p:nvSpPr>
          <p:spPr bwMode="auto">
            <a:xfrm>
              <a:off x="6025627" y="3402611"/>
              <a:ext cx="161481" cy="17754"/>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3" name="Rectangle 73">
              <a:extLst>
                <a:ext uri="{FF2B5EF4-FFF2-40B4-BE49-F238E27FC236}">
                  <a16:creationId xmlns:a16="http://schemas.microsoft.com/office/drawing/2014/main" id="{0E3567C0-00EA-5F6A-10B6-7EA39BA076BE}"/>
                </a:ext>
              </a:extLst>
            </p:cNvPr>
            <p:cNvSpPr>
              <a:spLocks noChangeArrowheads="1"/>
            </p:cNvSpPr>
            <p:nvPr/>
          </p:nvSpPr>
          <p:spPr bwMode="auto">
            <a:xfrm>
              <a:off x="6025627" y="3506400"/>
              <a:ext cx="112894" cy="15023"/>
            </a:xfrm>
            <a:prstGeom prst="rect">
              <a:avLst/>
            </a:prstGeom>
            <a:solidFill>
              <a:srgbClr val="15B0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4" name="Rectangle 74">
              <a:extLst>
                <a:ext uri="{FF2B5EF4-FFF2-40B4-BE49-F238E27FC236}">
                  <a16:creationId xmlns:a16="http://schemas.microsoft.com/office/drawing/2014/main" id="{32B96A6A-9345-3108-3651-F71E1B6BE6FB}"/>
                </a:ext>
              </a:extLst>
            </p:cNvPr>
            <p:cNvSpPr>
              <a:spLocks noChangeArrowheads="1"/>
            </p:cNvSpPr>
            <p:nvPr/>
          </p:nvSpPr>
          <p:spPr bwMode="auto">
            <a:xfrm>
              <a:off x="6025627" y="3554198"/>
              <a:ext cx="161481" cy="17754"/>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5" name="Rectangle 75">
              <a:extLst>
                <a:ext uri="{FF2B5EF4-FFF2-40B4-BE49-F238E27FC236}">
                  <a16:creationId xmlns:a16="http://schemas.microsoft.com/office/drawing/2014/main" id="{42AC68A9-C596-D91E-ABF6-4CB084DC1356}"/>
                </a:ext>
              </a:extLst>
            </p:cNvPr>
            <p:cNvSpPr>
              <a:spLocks noChangeArrowheads="1"/>
            </p:cNvSpPr>
            <p:nvPr/>
          </p:nvSpPr>
          <p:spPr bwMode="auto">
            <a:xfrm>
              <a:off x="6025627" y="3604726"/>
              <a:ext cx="161481" cy="16388"/>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grpSp>
        <p:nvGrpSpPr>
          <p:cNvPr id="437" name="Group 436">
            <a:extLst>
              <a:ext uri="{FF2B5EF4-FFF2-40B4-BE49-F238E27FC236}">
                <a16:creationId xmlns:a16="http://schemas.microsoft.com/office/drawing/2014/main" id="{507244DB-2886-BE84-2B6C-6B9290B4305A}"/>
              </a:ext>
            </a:extLst>
          </p:cNvPr>
          <p:cNvGrpSpPr/>
          <p:nvPr/>
        </p:nvGrpSpPr>
        <p:grpSpPr>
          <a:xfrm>
            <a:off x="1581928" y="2594833"/>
            <a:ext cx="1326551" cy="1141859"/>
            <a:chOff x="2532615" y="2953500"/>
            <a:chExt cx="1061632" cy="937065"/>
          </a:xfrm>
        </p:grpSpPr>
        <p:sp>
          <p:nvSpPr>
            <p:cNvPr id="397" name="Freeform 13">
              <a:extLst>
                <a:ext uri="{FF2B5EF4-FFF2-40B4-BE49-F238E27FC236}">
                  <a16:creationId xmlns:a16="http://schemas.microsoft.com/office/drawing/2014/main" id="{90CC1C98-2886-4151-729F-65D2469BDD89}"/>
                </a:ext>
              </a:extLst>
            </p:cNvPr>
            <p:cNvSpPr>
              <a:spLocks/>
            </p:cNvSpPr>
            <p:nvPr/>
          </p:nvSpPr>
          <p:spPr bwMode="auto">
            <a:xfrm>
              <a:off x="2532615" y="2953500"/>
              <a:ext cx="1061632" cy="937065"/>
            </a:xfrm>
            <a:custGeom>
              <a:avLst/>
              <a:gdLst>
                <a:gd name="T0" fmla="*/ 368 w 701"/>
                <a:gd name="T1" fmla="*/ 0 h 701"/>
                <a:gd name="T2" fmla="*/ 421 w 701"/>
                <a:gd name="T3" fmla="*/ 7 h 701"/>
                <a:gd name="T4" fmla="*/ 470 w 701"/>
                <a:gd name="T5" fmla="*/ 21 h 701"/>
                <a:gd name="T6" fmla="*/ 517 w 701"/>
                <a:gd name="T7" fmla="*/ 42 h 701"/>
                <a:gd name="T8" fmla="*/ 560 w 701"/>
                <a:gd name="T9" fmla="*/ 70 h 701"/>
                <a:gd name="T10" fmla="*/ 599 w 701"/>
                <a:gd name="T11" fmla="*/ 103 h 701"/>
                <a:gd name="T12" fmla="*/ 631 w 701"/>
                <a:gd name="T13" fmla="*/ 141 h 701"/>
                <a:gd name="T14" fmla="*/ 659 w 701"/>
                <a:gd name="T15" fmla="*/ 183 h 701"/>
                <a:gd name="T16" fmla="*/ 680 w 701"/>
                <a:gd name="T17" fmla="*/ 230 h 701"/>
                <a:gd name="T18" fmla="*/ 693 w 701"/>
                <a:gd name="T19" fmla="*/ 280 h 701"/>
                <a:gd name="T20" fmla="*/ 701 w 701"/>
                <a:gd name="T21" fmla="*/ 332 h 701"/>
                <a:gd name="T22" fmla="*/ 701 w 701"/>
                <a:gd name="T23" fmla="*/ 368 h 701"/>
                <a:gd name="T24" fmla="*/ 693 w 701"/>
                <a:gd name="T25" fmla="*/ 421 h 701"/>
                <a:gd name="T26" fmla="*/ 680 w 701"/>
                <a:gd name="T27" fmla="*/ 470 h 701"/>
                <a:gd name="T28" fmla="*/ 659 w 701"/>
                <a:gd name="T29" fmla="*/ 517 h 701"/>
                <a:gd name="T30" fmla="*/ 631 w 701"/>
                <a:gd name="T31" fmla="*/ 560 h 701"/>
                <a:gd name="T32" fmla="*/ 599 w 701"/>
                <a:gd name="T33" fmla="*/ 599 h 701"/>
                <a:gd name="T34" fmla="*/ 560 w 701"/>
                <a:gd name="T35" fmla="*/ 631 h 701"/>
                <a:gd name="T36" fmla="*/ 517 w 701"/>
                <a:gd name="T37" fmla="*/ 659 h 701"/>
                <a:gd name="T38" fmla="*/ 470 w 701"/>
                <a:gd name="T39" fmla="*/ 680 h 701"/>
                <a:gd name="T40" fmla="*/ 421 w 701"/>
                <a:gd name="T41" fmla="*/ 694 h 701"/>
                <a:gd name="T42" fmla="*/ 368 w 701"/>
                <a:gd name="T43" fmla="*/ 701 h 701"/>
                <a:gd name="T44" fmla="*/ 332 w 701"/>
                <a:gd name="T45" fmla="*/ 701 h 701"/>
                <a:gd name="T46" fmla="*/ 280 w 701"/>
                <a:gd name="T47" fmla="*/ 694 h 701"/>
                <a:gd name="T48" fmla="*/ 230 w 701"/>
                <a:gd name="T49" fmla="*/ 680 h 701"/>
                <a:gd name="T50" fmla="*/ 183 w 701"/>
                <a:gd name="T51" fmla="*/ 659 h 701"/>
                <a:gd name="T52" fmla="*/ 141 w 701"/>
                <a:gd name="T53" fmla="*/ 631 h 701"/>
                <a:gd name="T54" fmla="*/ 103 w 701"/>
                <a:gd name="T55" fmla="*/ 599 h 701"/>
                <a:gd name="T56" fmla="*/ 69 w 701"/>
                <a:gd name="T57" fmla="*/ 560 h 701"/>
                <a:gd name="T58" fmla="*/ 42 w 701"/>
                <a:gd name="T59" fmla="*/ 517 h 701"/>
                <a:gd name="T60" fmla="*/ 21 w 701"/>
                <a:gd name="T61" fmla="*/ 470 h 701"/>
                <a:gd name="T62" fmla="*/ 7 w 701"/>
                <a:gd name="T63" fmla="*/ 421 h 701"/>
                <a:gd name="T64" fmla="*/ 0 w 701"/>
                <a:gd name="T65" fmla="*/ 368 h 701"/>
                <a:gd name="T66" fmla="*/ 0 w 701"/>
                <a:gd name="T67" fmla="*/ 332 h 701"/>
                <a:gd name="T68" fmla="*/ 7 w 701"/>
                <a:gd name="T69" fmla="*/ 280 h 701"/>
                <a:gd name="T70" fmla="*/ 21 w 701"/>
                <a:gd name="T71" fmla="*/ 230 h 701"/>
                <a:gd name="T72" fmla="*/ 42 w 701"/>
                <a:gd name="T73" fmla="*/ 183 h 701"/>
                <a:gd name="T74" fmla="*/ 69 w 701"/>
                <a:gd name="T75" fmla="*/ 141 h 701"/>
                <a:gd name="T76" fmla="*/ 103 w 701"/>
                <a:gd name="T77" fmla="*/ 103 h 701"/>
                <a:gd name="T78" fmla="*/ 141 w 701"/>
                <a:gd name="T79" fmla="*/ 70 h 701"/>
                <a:gd name="T80" fmla="*/ 183 w 701"/>
                <a:gd name="T81" fmla="*/ 42 h 701"/>
                <a:gd name="T82" fmla="*/ 230 w 701"/>
                <a:gd name="T83" fmla="*/ 21 h 701"/>
                <a:gd name="T84" fmla="*/ 280 w 701"/>
                <a:gd name="T85" fmla="*/ 7 h 701"/>
                <a:gd name="T86" fmla="*/ 332 w 701"/>
                <a:gd name="T87" fmla="*/ 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1">
                  <a:moveTo>
                    <a:pt x="351" y="0"/>
                  </a:moveTo>
                  <a:lnTo>
                    <a:pt x="351" y="0"/>
                  </a:lnTo>
                  <a:lnTo>
                    <a:pt x="368" y="0"/>
                  </a:lnTo>
                  <a:lnTo>
                    <a:pt x="386" y="2"/>
                  </a:lnTo>
                  <a:lnTo>
                    <a:pt x="404" y="4"/>
                  </a:lnTo>
                  <a:lnTo>
                    <a:pt x="421" y="7"/>
                  </a:lnTo>
                  <a:lnTo>
                    <a:pt x="438" y="12"/>
                  </a:lnTo>
                  <a:lnTo>
                    <a:pt x="454" y="15"/>
                  </a:lnTo>
                  <a:lnTo>
                    <a:pt x="470" y="21"/>
                  </a:lnTo>
                  <a:lnTo>
                    <a:pt x="486" y="28"/>
                  </a:lnTo>
                  <a:lnTo>
                    <a:pt x="502" y="35"/>
                  </a:lnTo>
                  <a:lnTo>
                    <a:pt x="517" y="42"/>
                  </a:lnTo>
                  <a:lnTo>
                    <a:pt x="532" y="51"/>
                  </a:lnTo>
                  <a:lnTo>
                    <a:pt x="547" y="60"/>
                  </a:lnTo>
                  <a:lnTo>
                    <a:pt x="560" y="70"/>
                  </a:lnTo>
                  <a:lnTo>
                    <a:pt x="574" y="81"/>
                  </a:lnTo>
                  <a:lnTo>
                    <a:pt x="586" y="90"/>
                  </a:lnTo>
                  <a:lnTo>
                    <a:pt x="599" y="103"/>
                  </a:lnTo>
                  <a:lnTo>
                    <a:pt x="610" y="115"/>
                  </a:lnTo>
                  <a:lnTo>
                    <a:pt x="621" y="128"/>
                  </a:lnTo>
                  <a:lnTo>
                    <a:pt x="631" y="141"/>
                  </a:lnTo>
                  <a:lnTo>
                    <a:pt x="640" y="155"/>
                  </a:lnTo>
                  <a:lnTo>
                    <a:pt x="650" y="168"/>
                  </a:lnTo>
                  <a:lnTo>
                    <a:pt x="659" y="183"/>
                  </a:lnTo>
                  <a:lnTo>
                    <a:pt x="666" y="199"/>
                  </a:lnTo>
                  <a:lnTo>
                    <a:pt x="674" y="214"/>
                  </a:lnTo>
                  <a:lnTo>
                    <a:pt x="680" y="230"/>
                  </a:lnTo>
                  <a:lnTo>
                    <a:pt x="685" y="246"/>
                  </a:lnTo>
                  <a:lnTo>
                    <a:pt x="690" y="263"/>
                  </a:lnTo>
                  <a:lnTo>
                    <a:pt x="693" y="280"/>
                  </a:lnTo>
                  <a:lnTo>
                    <a:pt x="697" y="298"/>
                  </a:lnTo>
                  <a:lnTo>
                    <a:pt x="698" y="315"/>
                  </a:lnTo>
                  <a:lnTo>
                    <a:pt x="701" y="332"/>
                  </a:lnTo>
                  <a:lnTo>
                    <a:pt x="701" y="351"/>
                  </a:lnTo>
                  <a:lnTo>
                    <a:pt x="701" y="351"/>
                  </a:lnTo>
                  <a:lnTo>
                    <a:pt x="701" y="368"/>
                  </a:lnTo>
                  <a:lnTo>
                    <a:pt x="698" y="387"/>
                  </a:lnTo>
                  <a:lnTo>
                    <a:pt x="697" y="404"/>
                  </a:lnTo>
                  <a:lnTo>
                    <a:pt x="693" y="421"/>
                  </a:lnTo>
                  <a:lnTo>
                    <a:pt x="690" y="438"/>
                  </a:lnTo>
                  <a:lnTo>
                    <a:pt x="685" y="454"/>
                  </a:lnTo>
                  <a:lnTo>
                    <a:pt x="680" y="470"/>
                  </a:lnTo>
                  <a:lnTo>
                    <a:pt x="674" y="486"/>
                  </a:lnTo>
                  <a:lnTo>
                    <a:pt x="666" y="503"/>
                  </a:lnTo>
                  <a:lnTo>
                    <a:pt x="659" y="517"/>
                  </a:lnTo>
                  <a:lnTo>
                    <a:pt x="650" y="532"/>
                  </a:lnTo>
                  <a:lnTo>
                    <a:pt x="640" y="547"/>
                  </a:lnTo>
                  <a:lnTo>
                    <a:pt x="631" y="560"/>
                  </a:lnTo>
                  <a:lnTo>
                    <a:pt x="621" y="574"/>
                  </a:lnTo>
                  <a:lnTo>
                    <a:pt x="610" y="586"/>
                  </a:lnTo>
                  <a:lnTo>
                    <a:pt x="599" y="599"/>
                  </a:lnTo>
                  <a:lnTo>
                    <a:pt x="586" y="610"/>
                  </a:lnTo>
                  <a:lnTo>
                    <a:pt x="574" y="621"/>
                  </a:lnTo>
                  <a:lnTo>
                    <a:pt x="560" y="631"/>
                  </a:lnTo>
                  <a:lnTo>
                    <a:pt x="547" y="641"/>
                  </a:lnTo>
                  <a:lnTo>
                    <a:pt x="532" y="651"/>
                  </a:lnTo>
                  <a:lnTo>
                    <a:pt x="517" y="659"/>
                  </a:lnTo>
                  <a:lnTo>
                    <a:pt x="502" y="667"/>
                  </a:lnTo>
                  <a:lnTo>
                    <a:pt x="486" y="674"/>
                  </a:lnTo>
                  <a:lnTo>
                    <a:pt x="470" y="680"/>
                  </a:lnTo>
                  <a:lnTo>
                    <a:pt x="454" y="685"/>
                  </a:lnTo>
                  <a:lnTo>
                    <a:pt x="438" y="690"/>
                  </a:lnTo>
                  <a:lnTo>
                    <a:pt x="421" y="694"/>
                  </a:lnTo>
                  <a:lnTo>
                    <a:pt x="404" y="697"/>
                  </a:lnTo>
                  <a:lnTo>
                    <a:pt x="386" y="699"/>
                  </a:lnTo>
                  <a:lnTo>
                    <a:pt x="368" y="701"/>
                  </a:lnTo>
                  <a:lnTo>
                    <a:pt x="351" y="701"/>
                  </a:lnTo>
                  <a:lnTo>
                    <a:pt x="351" y="701"/>
                  </a:lnTo>
                  <a:lnTo>
                    <a:pt x="332" y="701"/>
                  </a:lnTo>
                  <a:lnTo>
                    <a:pt x="315" y="699"/>
                  </a:lnTo>
                  <a:lnTo>
                    <a:pt x="298" y="697"/>
                  </a:lnTo>
                  <a:lnTo>
                    <a:pt x="280" y="694"/>
                  </a:lnTo>
                  <a:lnTo>
                    <a:pt x="263" y="690"/>
                  </a:lnTo>
                  <a:lnTo>
                    <a:pt x="246" y="685"/>
                  </a:lnTo>
                  <a:lnTo>
                    <a:pt x="230" y="680"/>
                  </a:lnTo>
                  <a:lnTo>
                    <a:pt x="214" y="674"/>
                  </a:lnTo>
                  <a:lnTo>
                    <a:pt x="199" y="667"/>
                  </a:lnTo>
                  <a:lnTo>
                    <a:pt x="183" y="659"/>
                  </a:lnTo>
                  <a:lnTo>
                    <a:pt x="168" y="651"/>
                  </a:lnTo>
                  <a:lnTo>
                    <a:pt x="155" y="641"/>
                  </a:lnTo>
                  <a:lnTo>
                    <a:pt x="141" y="631"/>
                  </a:lnTo>
                  <a:lnTo>
                    <a:pt x="127" y="621"/>
                  </a:lnTo>
                  <a:lnTo>
                    <a:pt x="115" y="610"/>
                  </a:lnTo>
                  <a:lnTo>
                    <a:pt x="103" y="599"/>
                  </a:lnTo>
                  <a:lnTo>
                    <a:pt x="90" y="586"/>
                  </a:lnTo>
                  <a:lnTo>
                    <a:pt x="81" y="574"/>
                  </a:lnTo>
                  <a:lnTo>
                    <a:pt x="69" y="560"/>
                  </a:lnTo>
                  <a:lnTo>
                    <a:pt x="60" y="547"/>
                  </a:lnTo>
                  <a:lnTo>
                    <a:pt x="51" y="532"/>
                  </a:lnTo>
                  <a:lnTo>
                    <a:pt x="42" y="517"/>
                  </a:lnTo>
                  <a:lnTo>
                    <a:pt x="35" y="503"/>
                  </a:lnTo>
                  <a:lnTo>
                    <a:pt x="27" y="486"/>
                  </a:lnTo>
                  <a:lnTo>
                    <a:pt x="21" y="470"/>
                  </a:lnTo>
                  <a:lnTo>
                    <a:pt x="15" y="454"/>
                  </a:lnTo>
                  <a:lnTo>
                    <a:pt x="11" y="438"/>
                  </a:lnTo>
                  <a:lnTo>
                    <a:pt x="7" y="421"/>
                  </a:lnTo>
                  <a:lnTo>
                    <a:pt x="4" y="404"/>
                  </a:lnTo>
                  <a:lnTo>
                    <a:pt x="2" y="387"/>
                  </a:lnTo>
                  <a:lnTo>
                    <a:pt x="0" y="368"/>
                  </a:lnTo>
                  <a:lnTo>
                    <a:pt x="0" y="351"/>
                  </a:lnTo>
                  <a:lnTo>
                    <a:pt x="0" y="351"/>
                  </a:lnTo>
                  <a:lnTo>
                    <a:pt x="0" y="332"/>
                  </a:lnTo>
                  <a:lnTo>
                    <a:pt x="2" y="315"/>
                  </a:lnTo>
                  <a:lnTo>
                    <a:pt x="4" y="298"/>
                  </a:lnTo>
                  <a:lnTo>
                    <a:pt x="7" y="280"/>
                  </a:lnTo>
                  <a:lnTo>
                    <a:pt x="11" y="263"/>
                  </a:lnTo>
                  <a:lnTo>
                    <a:pt x="15" y="246"/>
                  </a:lnTo>
                  <a:lnTo>
                    <a:pt x="21" y="230"/>
                  </a:lnTo>
                  <a:lnTo>
                    <a:pt x="27" y="214"/>
                  </a:lnTo>
                  <a:lnTo>
                    <a:pt x="35" y="199"/>
                  </a:lnTo>
                  <a:lnTo>
                    <a:pt x="42" y="183"/>
                  </a:lnTo>
                  <a:lnTo>
                    <a:pt x="51" y="168"/>
                  </a:lnTo>
                  <a:lnTo>
                    <a:pt x="60" y="155"/>
                  </a:lnTo>
                  <a:lnTo>
                    <a:pt x="69" y="141"/>
                  </a:lnTo>
                  <a:lnTo>
                    <a:pt x="81" y="128"/>
                  </a:lnTo>
                  <a:lnTo>
                    <a:pt x="90" y="115"/>
                  </a:lnTo>
                  <a:lnTo>
                    <a:pt x="103" y="103"/>
                  </a:lnTo>
                  <a:lnTo>
                    <a:pt x="115" y="90"/>
                  </a:lnTo>
                  <a:lnTo>
                    <a:pt x="127" y="81"/>
                  </a:lnTo>
                  <a:lnTo>
                    <a:pt x="141" y="70"/>
                  </a:lnTo>
                  <a:lnTo>
                    <a:pt x="155" y="60"/>
                  </a:lnTo>
                  <a:lnTo>
                    <a:pt x="168" y="51"/>
                  </a:lnTo>
                  <a:lnTo>
                    <a:pt x="183" y="42"/>
                  </a:lnTo>
                  <a:lnTo>
                    <a:pt x="199" y="35"/>
                  </a:lnTo>
                  <a:lnTo>
                    <a:pt x="214" y="28"/>
                  </a:lnTo>
                  <a:lnTo>
                    <a:pt x="230" y="21"/>
                  </a:lnTo>
                  <a:lnTo>
                    <a:pt x="246" y="15"/>
                  </a:lnTo>
                  <a:lnTo>
                    <a:pt x="263" y="12"/>
                  </a:lnTo>
                  <a:lnTo>
                    <a:pt x="280" y="7"/>
                  </a:lnTo>
                  <a:lnTo>
                    <a:pt x="298" y="4"/>
                  </a:lnTo>
                  <a:lnTo>
                    <a:pt x="315" y="2"/>
                  </a:lnTo>
                  <a:lnTo>
                    <a:pt x="332" y="0"/>
                  </a:lnTo>
                  <a:lnTo>
                    <a:pt x="351" y="0"/>
                  </a:lnTo>
                  <a:lnTo>
                    <a:pt x="351" y="0"/>
                  </a:ln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9" name="Freeform 114">
              <a:extLst>
                <a:ext uri="{FF2B5EF4-FFF2-40B4-BE49-F238E27FC236}">
                  <a16:creationId xmlns:a16="http://schemas.microsoft.com/office/drawing/2014/main" id="{7AACE63D-D17B-ED13-1E1A-96CFC7668898}"/>
                </a:ext>
              </a:extLst>
            </p:cNvPr>
            <p:cNvSpPr>
              <a:spLocks/>
            </p:cNvSpPr>
            <p:nvPr/>
          </p:nvSpPr>
          <p:spPr bwMode="auto">
            <a:xfrm>
              <a:off x="2862351" y="3466144"/>
              <a:ext cx="375730" cy="232313"/>
            </a:xfrm>
            <a:custGeom>
              <a:avLst/>
              <a:gdLst>
                <a:gd name="T0" fmla="*/ 126 w 252"/>
                <a:gd name="T1" fmla="*/ 92 h 172"/>
                <a:gd name="T2" fmla="*/ 146 w 252"/>
                <a:gd name="T3" fmla="*/ 93 h 172"/>
                <a:gd name="T4" fmla="*/ 164 w 252"/>
                <a:gd name="T5" fmla="*/ 98 h 172"/>
                <a:gd name="T6" fmla="*/ 198 w 252"/>
                <a:gd name="T7" fmla="*/ 114 h 172"/>
                <a:gd name="T8" fmla="*/ 225 w 252"/>
                <a:gd name="T9" fmla="*/ 140 h 172"/>
                <a:gd name="T10" fmla="*/ 243 w 252"/>
                <a:gd name="T11" fmla="*/ 172 h 172"/>
                <a:gd name="T12" fmla="*/ 247 w 252"/>
                <a:gd name="T13" fmla="*/ 161 h 172"/>
                <a:gd name="T14" fmla="*/ 251 w 252"/>
                <a:gd name="T15" fmla="*/ 137 h 172"/>
                <a:gd name="T16" fmla="*/ 252 w 252"/>
                <a:gd name="T17" fmla="*/ 126 h 172"/>
                <a:gd name="T18" fmla="*/ 249 w 252"/>
                <a:gd name="T19" fmla="*/ 100 h 172"/>
                <a:gd name="T20" fmla="*/ 242 w 252"/>
                <a:gd name="T21" fmla="*/ 77 h 172"/>
                <a:gd name="T22" fmla="*/ 230 w 252"/>
                <a:gd name="T23" fmla="*/ 56 h 172"/>
                <a:gd name="T24" fmla="*/ 215 w 252"/>
                <a:gd name="T25" fmla="*/ 37 h 172"/>
                <a:gd name="T26" fmla="*/ 196 w 252"/>
                <a:gd name="T27" fmla="*/ 21 h 172"/>
                <a:gd name="T28" fmla="*/ 174 w 252"/>
                <a:gd name="T29" fmla="*/ 10 h 172"/>
                <a:gd name="T30" fmla="*/ 151 w 252"/>
                <a:gd name="T31" fmla="*/ 3 h 172"/>
                <a:gd name="T32" fmla="*/ 126 w 252"/>
                <a:gd name="T33" fmla="*/ 0 h 172"/>
                <a:gd name="T34" fmla="*/ 114 w 252"/>
                <a:gd name="T35" fmla="*/ 2 h 172"/>
                <a:gd name="T36" fmla="*/ 89 w 252"/>
                <a:gd name="T37" fmla="*/ 7 h 172"/>
                <a:gd name="T38" fmla="*/ 66 w 252"/>
                <a:gd name="T39" fmla="*/ 15 h 172"/>
                <a:gd name="T40" fmla="*/ 46 w 252"/>
                <a:gd name="T41" fmla="*/ 29 h 172"/>
                <a:gd name="T42" fmla="*/ 29 w 252"/>
                <a:gd name="T43" fmla="*/ 46 h 172"/>
                <a:gd name="T44" fmla="*/ 15 w 252"/>
                <a:gd name="T45" fmla="*/ 66 h 172"/>
                <a:gd name="T46" fmla="*/ 6 w 252"/>
                <a:gd name="T47" fmla="*/ 88 h 172"/>
                <a:gd name="T48" fmla="*/ 1 w 252"/>
                <a:gd name="T49" fmla="*/ 113 h 172"/>
                <a:gd name="T50" fmla="*/ 0 w 252"/>
                <a:gd name="T51" fmla="*/ 126 h 172"/>
                <a:gd name="T52" fmla="*/ 3 w 252"/>
                <a:gd name="T53" fmla="*/ 150 h 172"/>
                <a:gd name="T54" fmla="*/ 9 w 252"/>
                <a:gd name="T55" fmla="*/ 172 h 172"/>
                <a:gd name="T56" fmla="*/ 18 w 252"/>
                <a:gd name="T57" fmla="*/ 155 h 172"/>
                <a:gd name="T58" fmla="*/ 40 w 252"/>
                <a:gd name="T59" fmla="*/ 126 h 172"/>
                <a:gd name="T60" fmla="*/ 71 w 252"/>
                <a:gd name="T61" fmla="*/ 104 h 172"/>
                <a:gd name="T62" fmla="*/ 96 w 252"/>
                <a:gd name="T63" fmla="*/ 95 h 172"/>
                <a:gd name="T64" fmla="*/ 116 w 252"/>
                <a:gd name="T65" fmla="*/ 92 h 172"/>
                <a:gd name="T66" fmla="*/ 126 w 252"/>
                <a:gd name="T67" fmla="*/ 9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2" h="172">
                  <a:moveTo>
                    <a:pt x="126" y="92"/>
                  </a:moveTo>
                  <a:lnTo>
                    <a:pt x="126" y="92"/>
                  </a:lnTo>
                  <a:lnTo>
                    <a:pt x="136" y="92"/>
                  </a:lnTo>
                  <a:lnTo>
                    <a:pt x="146" y="93"/>
                  </a:lnTo>
                  <a:lnTo>
                    <a:pt x="154" y="95"/>
                  </a:lnTo>
                  <a:lnTo>
                    <a:pt x="164" y="98"/>
                  </a:lnTo>
                  <a:lnTo>
                    <a:pt x="182" y="104"/>
                  </a:lnTo>
                  <a:lnTo>
                    <a:pt x="198" y="114"/>
                  </a:lnTo>
                  <a:lnTo>
                    <a:pt x="212" y="126"/>
                  </a:lnTo>
                  <a:lnTo>
                    <a:pt x="225" y="140"/>
                  </a:lnTo>
                  <a:lnTo>
                    <a:pt x="235" y="155"/>
                  </a:lnTo>
                  <a:lnTo>
                    <a:pt x="243" y="172"/>
                  </a:lnTo>
                  <a:lnTo>
                    <a:pt x="243" y="172"/>
                  </a:lnTo>
                  <a:lnTo>
                    <a:pt x="247" y="161"/>
                  </a:lnTo>
                  <a:lnTo>
                    <a:pt x="249" y="150"/>
                  </a:lnTo>
                  <a:lnTo>
                    <a:pt x="251" y="137"/>
                  </a:lnTo>
                  <a:lnTo>
                    <a:pt x="252" y="126"/>
                  </a:lnTo>
                  <a:lnTo>
                    <a:pt x="252" y="126"/>
                  </a:lnTo>
                  <a:lnTo>
                    <a:pt x="251" y="113"/>
                  </a:lnTo>
                  <a:lnTo>
                    <a:pt x="249" y="100"/>
                  </a:lnTo>
                  <a:lnTo>
                    <a:pt x="246" y="88"/>
                  </a:lnTo>
                  <a:lnTo>
                    <a:pt x="242" y="77"/>
                  </a:lnTo>
                  <a:lnTo>
                    <a:pt x="236" y="66"/>
                  </a:lnTo>
                  <a:lnTo>
                    <a:pt x="230" y="56"/>
                  </a:lnTo>
                  <a:lnTo>
                    <a:pt x="222" y="46"/>
                  </a:lnTo>
                  <a:lnTo>
                    <a:pt x="215" y="37"/>
                  </a:lnTo>
                  <a:lnTo>
                    <a:pt x="206" y="29"/>
                  </a:lnTo>
                  <a:lnTo>
                    <a:pt x="196" y="21"/>
                  </a:lnTo>
                  <a:lnTo>
                    <a:pt x="185" y="15"/>
                  </a:lnTo>
                  <a:lnTo>
                    <a:pt x="174" y="10"/>
                  </a:lnTo>
                  <a:lnTo>
                    <a:pt x="163" y="7"/>
                  </a:lnTo>
                  <a:lnTo>
                    <a:pt x="151" y="3"/>
                  </a:lnTo>
                  <a:lnTo>
                    <a:pt x="138" y="2"/>
                  </a:lnTo>
                  <a:lnTo>
                    <a:pt x="126" y="0"/>
                  </a:lnTo>
                  <a:lnTo>
                    <a:pt x="126" y="0"/>
                  </a:lnTo>
                  <a:lnTo>
                    <a:pt x="114" y="2"/>
                  </a:lnTo>
                  <a:lnTo>
                    <a:pt x="100" y="3"/>
                  </a:lnTo>
                  <a:lnTo>
                    <a:pt x="89" y="7"/>
                  </a:lnTo>
                  <a:lnTo>
                    <a:pt x="77" y="10"/>
                  </a:lnTo>
                  <a:lnTo>
                    <a:pt x="66" y="15"/>
                  </a:lnTo>
                  <a:lnTo>
                    <a:pt x="56" y="21"/>
                  </a:lnTo>
                  <a:lnTo>
                    <a:pt x="46" y="29"/>
                  </a:lnTo>
                  <a:lnTo>
                    <a:pt x="37" y="37"/>
                  </a:lnTo>
                  <a:lnTo>
                    <a:pt x="29" y="46"/>
                  </a:lnTo>
                  <a:lnTo>
                    <a:pt x="22" y="56"/>
                  </a:lnTo>
                  <a:lnTo>
                    <a:pt x="15" y="66"/>
                  </a:lnTo>
                  <a:lnTo>
                    <a:pt x="10" y="77"/>
                  </a:lnTo>
                  <a:lnTo>
                    <a:pt x="6" y="88"/>
                  </a:lnTo>
                  <a:lnTo>
                    <a:pt x="3" y="100"/>
                  </a:lnTo>
                  <a:lnTo>
                    <a:pt x="1" y="113"/>
                  </a:lnTo>
                  <a:lnTo>
                    <a:pt x="0" y="126"/>
                  </a:lnTo>
                  <a:lnTo>
                    <a:pt x="0" y="126"/>
                  </a:lnTo>
                  <a:lnTo>
                    <a:pt x="1" y="137"/>
                  </a:lnTo>
                  <a:lnTo>
                    <a:pt x="3" y="150"/>
                  </a:lnTo>
                  <a:lnTo>
                    <a:pt x="5" y="161"/>
                  </a:lnTo>
                  <a:lnTo>
                    <a:pt x="9" y="172"/>
                  </a:lnTo>
                  <a:lnTo>
                    <a:pt x="9" y="172"/>
                  </a:lnTo>
                  <a:lnTo>
                    <a:pt x="18" y="155"/>
                  </a:lnTo>
                  <a:lnTo>
                    <a:pt x="27" y="140"/>
                  </a:lnTo>
                  <a:lnTo>
                    <a:pt x="40" y="126"/>
                  </a:lnTo>
                  <a:lnTo>
                    <a:pt x="55" y="114"/>
                  </a:lnTo>
                  <a:lnTo>
                    <a:pt x="71" y="104"/>
                  </a:lnTo>
                  <a:lnTo>
                    <a:pt x="88" y="98"/>
                  </a:lnTo>
                  <a:lnTo>
                    <a:pt x="96" y="95"/>
                  </a:lnTo>
                  <a:lnTo>
                    <a:pt x="106" y="93"/>
                  </a:lnTo>
                  <a:lnTo>
                    <a:pt x="116" y="92"/>
                  </a:lnTo>
                  <a:lnTo>
                    <a:pt x="126" y="92"/>
                  </a:lnTo>
                  <a:lnTo>
                    <a:pt x="126" y="9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0" name="Freeform 115">
              <a:extLst>
                <a:ext uri="{FF2B5EF4-FFF2-40B4-BE49-F238E27FC236}">
                  <a16:creationId xmlns:a16="http://schemas.microsoft.com/office/drawing/2014/main" id="{B480D3F3-34EC-3D24-FE0B-5716C8D262E7}"/>
                </a:ext>
              </a:extLst>
            </p:cNvPr>
            <p:cNvSpPr>
              <a:spLocks/>
            </p:cNvSpPr>
            <p:nvPr/>
          </p:nvSpPr>
          <p:spPr bwMode="auto">
            <a:xfrm>
              <a:off x="3097932" y="3471546"/>
              <a:ext cx="140154" cy="226910"/>
            </a:xfrm>
            <a:custGeom>
              <a:avLst/>
              <a:gdLst>
                <a:gd name="T0" fmla="*/ 0 w 94"/>
                <a:gd name="T1" fmla="*/ 0 h 168"/>
                <a:gd name="T2" fmla="*/ 0 w 94"/>
                <a:gd name="T3" fmla="*/ 91 h 168"/>
                <a:gd name="T4" fmla="*/ 0 w 94"/>
                <a:gd name="T5" fmla="*/ 91 h 168"/>
                <a:gd name="T6" fmla="*/ 14 w 94"/>
                <a:gd name="T7" fmla="*/ 96 h 168"/>
                <a:gd name="T8" fmla="*/ 27 w 94"/>
                <a:gd name="T9" fmla="*/ 102 h 168"/>
                <a:gd name="T10" fmla="*/ 40 w 94"/>
                <a:gd name="T11" fmla="*/ 110 h 168"/>
                <a:gd name="T12" fmla="*/ 52 w 94"/>
                <a:gd name="T13" fmla="*/ 120 h 168"/>
                <a:gd name="T14" fmla="*/ 62 w 94"/>
                <a:gd name="T15" fmla="*/ 130 h 168"/>
                <a:gd name="T16" fmla="*/ 70 w 94"/>
                <a:gd name="T17" fmla="*/ 142 h 168"/>
                <a:gd name="T18" fmla="*/ 79 w 94"/>
                <a:gd name="T19" fmla="*/ 154 h 168"/>
                <a:gd name="T20" fmla="*/ 85 w 94"/>
                <a:gd name="T21" fmla="*/ 168 h 168"/>
                <a:gd name="T22" fmla="*/ 85 w 94"/>
                <a:gd name="T23" fmla="*/ 168 h 168"/>
                <a:gd name="T24" fmla="*/ 89 w 94"/>
                <a:gd name="T25" fmla="*/ 157 h 168"/>
                <a:gd name="T26" fmla="*/ 91 w 94"/>
                <a:gd name="T27" fmla="*/ 146 h 168"/>
                <a:gd name="T28" fmla="*/ 93 w 94"/>
                <a:gd name="T29" fmla="*/ 133 h 168"/>
                <a:gd name="T30" fmla="*/ 94 w 94"/>
                <a:gd name="T31" fmla="*/ 122 h 168"/>
                <a:gd name="T32" fmla="*/ 94 w 94"/>
                <a:gd name="T33" fmla="*/ 122 h 168"/>
                <a:gd name="T34" fmla="*/ 93 w 94"/>
                <a:gd name="T35" fmla="*/ 111 h 168"/>
                <a:gd name="T36" fmla="*/ 91 w 94"/>
                <a:gd name="T37" fmla="*/ 100 h 168"/>
                <a:gd name="T38" fmla="*/ 89 w 94"/>
                <a:gd name="T39" fmla="*/ 90 h 168"/>
                <a:gd name="T40" fmla="*/ 86 w 94"/>
                <a:gd name="T41" fmla="*/ 80 h 168"/>
                <a:gd name="T42" fmla="*/ 83 w 94"/>
                <a:gd name="T43" fmla="*/ 70 h 168"/>
                <a:gd name="T44" fmla="*/ 78 w 94"/>
                <a:gd name="T45" fmla="*/ 62 h 168"/>
                <a:gd name="T46" fmla="*/ 73 w 94"/>
                <a:gd name="T47" fmla="*/ 53 h 168"/>
                <a:gd name="T48" fmla="*/ 67 w 94"/>
                <a:gd name="T49" fmla="*/ 45 h 168"/>
                <a:gd name="T50" fmla="*/ 61 w 94"/>
                <a:gd name="T51" fmla="*/ 37 h 168"/>
                <a:gd name="T52" fmla="*/ 53 w 94"/>
                <a:gd name="T53" fmla="*/ 30 h 168"/>
                <a:gd name="T54" fmla="*/ 46 w 94"/>
                <a:gd name="T55" fmla="*/ 24 h 168"/>
                <a:gd name="T56" fmla="*/ 37 w 94"/>
                <a:gd name="T57" fmla="*/ 17 h 168"/>
                <a:gd name="T58" fmla="*/ 28 w 94"/>
                <a:gd name="T59" fmla="*/ 12 h 168"/>
                <a:gd name="T60" fmla="*/ 20 w 94"/>
                <a:gd name="T61" fmla="*/ 7 h 168"/>
                <a:gd name="T62" fmla="*/ 10 w 94"/>
                <a:gd name="T63" fmla="*/ 4 h 168"/>
                <a:gd name="T64" fmla="*/ 0 w 94"/>
                <a:gd name="T65" fmla="*/ 0 h 168"/>
                <a:gd name="T66" fmla="*/ 0 w 94"/>
                <a:gd name="T6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4" h="168">
                  <a:moveTo>
                    <a:pt x="0" y="0"/>
                  </a:moveTo>
                  <a:lnTo>
                    <a:pt x="0" y="91"/>
                  </a:lnTo>
                  <a:lnTo>
                    <a:pt x="0" y="91"/>
                  </a:lnTo>
                  <a:lnTo>
                    <a:pt x="14" y="96"/>
                  </a:lnTo>
                  <a:lnTo>
                    <a:pt x="27" y="102"/>
                  </a:lnTo>
                  <a:lnTo>
                    <a:pt x="40" y="110"/>
                  </a:lnTo>
                  <a:lnTo>
                    <a:pt x="52" y="120"/>
                  </a:lnTo>
                  <a:lnTo>
                    <a:pt x="62" y="130"/>
                  </a:lnTo>
                  <a:lnTo>
                    <a:pt x="70" y="142"/>
                  </a:lnTo>
                  <a:lnTo>
                    <a:pt x="79" y="154"/>
                  </a:lnTo>
                  <a:lnTo>
                    <a:pt x="85" y="168"/>
                  </a:lnTo>
                  <a:lnTo>
                    <a:pt x="85" y="168"/>
                  </a:lnTo>
                  <a:lnTo>
                    <a:pt x="89" y="157"/>
                  </a:lnTo>
                  <a:lnTo>
                    <a:pt x="91" y="146"/>
                  </a:lnTo>
                  <a:lnTo>
                    <a:pt x="93" y="133"/>
                  </a:lnTo>
                  <a:lnTo>
                    <a:pt x="94" y="122"/>
                  </a:lnTo>
                  <a:lnTo>
                    <a:pt x="94" y="122"/>
                  </a:lnTo>
                  <a:lnTo>
                    <a:pt x="93" y="111"/>
                  </a:lnTo>
                  <a:lnTo>
                    <a:pt x="91" y="100"/>
                  </a:lnTo>
                  <a:lnTo>
                    <a:pt x="89" y="90"/>
                  </a:lnTo>
                  <a:lnTo>
                    <a:pt x="86" y="80"/>
                  </a:lnTo>
                  <a:lnTo>
                    <a:pt x="83" y="70"/>
                  </a:lnTo>
                  <a:lnTo>
                    <a:pt x="78" y="62"/>
                  </a:lnTo>
                  <a:lnTo>
                    <a:pt x="73" y="53"/>
                  </a:lnTo>
                  <a:lnTo>
                    <a:pt x="67" y="45"/>
                  </a:lnTo>
                  <a:lnTo>
                    <a:pt x="61" y="37"/>
                  </a:lnTo>
                  <a:lnTo>
                    <a:pt x="53" y="30"/>
                  </a:lnTo>
                  <a:lnTo>
                    <a:pt x="46" y="24"/>
                  </a:lnTo>
                  <a:lnTo>
                    <a:pt x="37" y="17"/>
                  </a:lnTo>
                  <a:lnTo>
                    <a:pt x="28" y="12"/>
                  </a:lnTo>
                  <a:lnTo>
                    <a:pt x="20" y="7"/>
                  </a:lnTo>
                  <a:lnTo>
                    <a:pt x="10" y="4"/>
                  </a:lnTo>
                  <a:lnTo>
                    <a:pt x="0" y="0"/>
                  </a:lnTo>
                  <a:lnTo>
                    <a:pt x="0"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1" name="Freeform 116">
              <a:extLst>
                <a:ext uri="{FF2B5EF4-FFF2-40B4-BE49-F238E27FC236}">
                  <a16:creationId xmlns:a16="http://schemas.microsoft.com/office/drawing/2014/main" id="{56BEFEC5-0486-F5C5-6B06-AA7B1AAEE956}"/>
                </a:ext>
              </a:extLst>
            </p:cNvPr>
            <p:cNvSpPr>
              <a:spLocks/>
            </p:cNvSpPr>
            <p:nvPr/>
          </p:nvSpPr>
          <p:spPr bwMode="auto">
            <a:xfrm>
              <a:off x="2933924" y="3120376"/>
              <a:ext cx="232595" cy="501093"/>
            </a:xfrm>
            <a:custGeom>
              <a:avLst/>
              <a:gdLst>
                <a:gd name="T0" fmla="*/ 78 w 156"/>
                <a:gd name="T1" fmla="*/ 364 h 371"/>
                <a:gd name="T2" fmla="*/ 78 w 156"/>
                <a:gd name="T3" fmla="*/ 364 h 371"/>
                <a:gd name="T4" fmla="*/ 89 w 156"/>
                <a:gd name="T5" fmla="*/ 365 h 371"/>
                <a:gd name="T6" fmla="*/ 100 w 156"/>
                <a:gd name="T7" fmla="*/ 366 h 371"/>
                <a:gd name="T8" fmla="*/ 111 w 156"/>
                <a:gd name="T9" fmla="*/ 367 h 371"/>
                <a:gd name="T10" fmla="*/ 122 w 156"/>
                <a:gd name="T11" fmla="*/ 371 h 371"/>
                <a:gd name="T12" fmla="*/ 122 w 156"/>
                <a:gd name="T13" fmla="*/ 371 h 371"/>
                <a:gd name="T14" fmla="*/ 130 w 156"/>
                <a:gd name="T15" fmla="*/ 354 h 371"/>
                <a:gd name="T16" fmla="*/ 136 w 156"/>
                <a:gd name="T17" fmla="*/ 337 h 371"/>
                <a:gd name="T18" fmla="*/ 142 w 156"/>
                <a:gd name="T19" fmla="*/ 319 h 371"/>
                <a:gd name="T20" fmla="*/ 147 w 156"/>
                <a:gd name="T21" fmla="*/ 300 h 371"/>
                <a:gd name="T22" fmla="*/ 151 w 156"/>
                <a:gd name="T23" fmla="*/ 280 h 371"/>
                <a:gd name="T24" fmla="*/ 153 w 156"/>
                <a:gd name="T25" fmla="*/ 259 h 371"/>
                <a:gd name="T26" fmla="*/ 155 w 156"/>
                <a:gd name="T27" fmla="*/ 238 h 371"/>
                <a:gd name="T28" fmla="*/ 156 w 156"/>
                <a:gd name="T29" fmla="*/ 216 h 371"/>
                <a:gd name="T30" fmla="*/ 156 w 156"/>
                <a:gd name="T31" fmla="*/ 216 h 371"/>
                <a:gd name="T32" fmla="*/ 155 w 156"/>
                <a:gd name="T33" fmla="*/ 181 h 371"/>
                <a:gd name="T34" fmla="*/ 150 w 156"/>
                <a:gd name="T35" fmla="*/ 148 h 371"/>
                <a:gd name="T36" fmla="*/ 143 w 156"/>
                <a:gd name="T37" fmla="*/ 117 h 371"/>
                <a:gd name="T38" fmla="*/ 134 w 156"/>
                <a:gd name="T39" fmla="*/ 87 h 371"/>
                <a:gd name="T40" fmla="*/ 122 w 156"/>
                <a:gd name="T41" fmla="*/ 61 h 371"/>
                <a:gd name="T42" fmla="*/ 116 w 156"/>
                <a:gd name="T43" fmla="*/ 49 h 371"/>
                <a:gd name="T44" fmla="*/ 109 w 156"/>
                <a:gd name="T45" fmla="*/ 38 h 371"/>
                <a:gd name="T46" fmla="*/ 103 w 156"/>
                <a:gd name="T47" fmla="*/ 27 h 371"/>
                <a:gd name="T48" fmla="*/ 94 w 156"/>
                <a:gd name="T49" fmla="*/ 17 h 371"/>
                <a:gd name="T50" fmla="*/ 87 w 156"/>
                <a:gd name="T51" fmla="*/ 8 h 371"/>
                <a:gd name="T52" fmla="*/ 78 w 156"/>
                <a:gd name="T53" fmla="*/ 0 h 371"/>
                <a:gd name="T54" fmla="*/ 78 w 156"/>
                <a:gd name="T55" fmla="*/ 0 h 371"/>
                <a:gd name="T56" fmla="*/ 69 w 156"/>
                <a:gd name="T57" fmla="*/ 8 h 371"/>
                <a:gd name="T58" fmla="*/ 62 w 156"/>
                <a:gd name="T59" fmla="*/ 17 h 371"/>
                <a:gd name="T60" fmla="*/ 53 w 156"/>
                <a:gd name="T61" fmla="*/ 27 h 371"/>
                <a:gd name="T62" fmla="*/ 46 w 156"/>
                <a:gd name="T63" fmla="*/ 38 h 371"/>
                <a:gd name="T64" fmla="*/ 40 w 156"/>
                <a:gd name="T65" fmla="*/ 49 h 371"/>
                <a:gd name="T66" fmla="*/ 34 w 156"/>
                <a:gd name="T67" fmla="*/ 61 h 371"/>
                <a:gd name="T68" fmla="*/ 23 w 156"/>
                <a:gd name="T69" fmla="*/ 87 h 371"/>
                <a:gd name="T70" fmla="*/ 13 w 156"/>
                <a:gd name="T71" fmla="*/ 117 h 371"/>
                <a:gd name="T72" fmla="*/ 7 w 156"/>
                <a:gd name="T73" fmla="*/ 148 h 371"/>
                <a:gd name="T74" fmla="*/ 2 w 156"/>
                <a:gd name="T75" fmla="*/ 181 h 371"/>
                <a:gd name="T76" fmla="*/ 0 w 156"/>
                <a:gd name="T77" fmla="*/ 216 h 371"/>
                <a:gd name="T78" fmla="*/ 0 w 156"/>
                <a:gd name="T79" fmla="*/ 216 h 371"/>
                <a:gd name="T80" fmla="*/ 2 w 156"/>
                <a:gd name="T81" fmla="*/ 238 h 371"/>
                <a:gd name="T82" fmla="*/ 3 w 156"/>
                <a:gd name="T83" fmla="*/ 259 h 371"/>
                <a:gd name="T84" fmla="*/ 5 w 156"/>
                <a:gd name="T85" fmla="*/ 280 h 371"/>
                <a:gd name="T86" fmla="*/ 9 w 156"/>
                <a:gd name="T87" fmla="*/ 300 h 371"/>
                <a:gd name="T88" fmla="*/ 14 w 156"/>
                <a:gd name="T89" fmla="*/ 319 h 371"/>
                <a:gd name="T90" fmla="*/ 20 w 156"/>
                <a:gd name="T91" fmla="*/ 337 h 371"/>
                <a:gd name="T92" fmla="*/ 26 w 156"/>
                <a:gd name="T93" fmla="*/ 354 h 371"/>
                <a:gd name="T94" fmla="*/ 34 w 156"/>
                <a:gd name="T95" fmla="*/ 371 h 371"/>
                <a:gd name="T96" fmla="*/ 34 w 156"/>
                <a:gd name="T97" fmla="*/ 371 h 371"/>
                <a:gd name="T98" fmla="*/ 45 w 156"/>
                <a:gd name="T99" fmla="*/ 367 h 371"/>
                <a:gd name="T100" fmla="*/ 56 w 156"/>
                <a:gd name="T101" fmla="*/ 366 h 371"/>
                <a:gd name="T102" fmla="*/ 67 w 156"/>
                <a:gd name="T103" fmla="*/ 365 h 371"/>
                <a:gd name="T104" fmla="*/ 78 w 156"/>
                <a:gd name="T105" fmla="*/ 364 h 371"/>
                <a:gd name="T106" fmla="*/ 78 w 156"/>
                <a:gd name="T107" fmla="*/ 364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 h="371">
                  <a:moveTo>
                    <a:pt x="78" y="364"/>
                  </a:moveTo>
                  <a:lnTo>
                    <a:pt x="78" y="364"/>
                  </a:lnTo>
                  <a:lnTo>
                    <a:pt x="89" y="365"/>
                  </a:lnTo>
                  <a:lnTo>
                    <a:pt x="100" y="366"/>
                  </a:lnTo>
                  <a:lnTo>
                    <a:pt x="111" y="367"/>
                  </a:lnTo>
                  <a:lnTo>
                    <a:pt x="122" y="371"/>
                  </a:lnTo>
                  <a:lnTo>
                    <a:pt x="122" y="371"/>
                  </a:lnTo>
                  <a:lnTo>
                    <a:pt x="130" y="354"/>
                  </a:lnTo>
                  <a:lnTo>
                    <a:pt x="136" y="337"/>
                  </a:lnTo>
                  <a:lnTo>
                    <a:pt x="142" y="319"/>
                  </a:lnTo>
                  <a:lnTo>
                    <a:pt x="147" y="300"/>
                  </a:lnTo>
                  <a:lnTo>
                    <a:pt x="151" y="280"/>
                  </a:lnTo>
                  <a:lnTo>
                    <a:pt x="153" y="259"/>
                  </a:lnTo>
                  <a:lnTo>
                    <a:pt x="155" y="238"/>
                  </a:lnTo>
                  <a:lnTo>
                    <a:pt x="156" y="216"/>
                  </a:lnTo>
                  <a:lnTo>
                    <a:pt x="156" y="216"/>
                  </a:lnTo>
                  <a:lnTo>
                    <a:pt x="155" y="181"/>
                  </a:lnTo>
                  <a:lnTo>
                    <a:pt x="150" y="148"/>
                  </a:lnTo>
                  <a:lnTo>
                    <a:pt x="143" y="117"/>
                  </a:lnTo>
                  <a:lnTo>
                    <a:pt x="134" y="87"/>
                  </a:lnTo>
                  <a:lnTo>
                    <a:pt x="122" y="61"/>
                  </a:lnTo>
                  <a:lnTo>
                    <a:pt x="116" y="49"/>
                  </a:lnTo>
                  <a:lnTo>
                    <a:pt x="109" y="38"/>
                  </a:lnTo>
                  <a:lnTo>
                    <a:pt x="103" y="27"/>
                  </a:lnTo>
                  <a:lnTo>
                    <a:pt x="94" y="17"/>
                  </a:lnTo>
                  <a:lnTo>
                    <a:pt x="87" y="8"/>
                  </a:lnTo>
                  <a:lnTo>
                    <a:pt x="78" y="0"/>
                  </a:lnTo>
                  <a:lnTo>
                    <a:pt x="78" y="0"/>
                  </a:lnTo>
                  <a:lnTo>
                    <a:pt x="69" y="8"/>
                  </a:lnTo>
                  <a:lnTo>
                    <a:pt x="62" y="17"/>
                  </a:lnTo>
                  <a:lnTo>
                    <a:pt x="53" y="27"/>
                  </a:lnTo>
                  <a:lnTo>
                    <a:pt x="46" y="38"/>
                  </a:lnTo>
                  <a:lnTo>
                    <a:pt x="40" y="49"/>
                  </a:lnTo>
                  <a:lnTo>
                    <a:pt x="34" y="61"/>
                  </a:lnTo>
                  <a:lnTo>
                    <a:pt x="23" y="87"/>
                  </a:lnTo>
                  <a:lnTo>
                    <a:pt x="13" y="117"/>
                  </a:lnTo>
                  <a:lnTo>
                    <a:pt x="7" y="148"/>
                  </a:lnTo>
                  <a:lnTo>
                    <a:pt x="2" y="181"/>
                  </a:lnTo>
                  <a:lnTo>
                    <a:pt x="0" y="216"/>
                  </a:lnTo>
                  <a:lnTo>
                    <a:pt x="0" y="216"/>
                  </a:lnTo>
                  <a:lnTo>
                    <a:pt x="2" y="238"/>
                  </a:lnTo>
                  <a:lnTo>
                    <a:pt x="3" y="259"/>
                  </a:lnTo>
                  <a:lnTo>
                    <a:pt x="5" y="280"/>
                  </a:lnTo>
                  <a:lnTo>
                    <a:pt x="9" y="300"/>
                  </a:lnTo>
                  <a:lnTo>
                    <a:pt x="14" y="319"/>
                  </a:lnTo>
                  <a:lnTo>
                    <a:pt x="20" y="337"/>
                  </a:lnTo>
                  <a:lnTo>
                    <a:pt x="26" y="354"/>
                  </a:lnTo>
                  <a:lnTo>
                    <a:pt x="34" y="371"/>
                  </a:lnTo>
                  <a:lnTo>
                    <a:pt x="34" y="371"/>
                  </a:lnTo>
                  <a:lnTo>
                    <a:pt x="45" y="367"/>
                  </a:lnTo>
                  <a:lnTo>
                    <a:pt x="56" y="366"/>
                  </a:lnTo>
                  <a:lnTo>
                    <a:pt x="67" y="365"/>
                  </a:lnTo>
                  <a:lnTo>
                    <a:pt x="78" y="364"/>
                  </a:lnTo>
                  <a:lnTo>
                    <a:pt x="78" y="364"/>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2" name="Freeform 117">
              <a:extLst>
                <a:ext uri="{FF2B5EF4-FFF2-40B4-BE49-F238E27FC236}">
                  <a16:creationId xmlns:a16="http://schemas.microsoft.com/office/drawing/2014/main" id="{C35C3F66-9A04-8296-75C8-58390A0FEB33}"/>
                </a:ext>
              </a:extLst>
            </p:cNvPr>
            <p:cNvSpPr>
              <a:spLocks/>
            </p:cNvSpPr>
            <p:nvPr/>
          </p:nvSpPr>
          <p:spPr bwMode="auto">
            <a:xfrm>
              <a:off x="3050214" y="3120376"/>
              <a:ext cx="116298" cy="501093"/>
            </a:xfrm>
            <a:custGeom>
              <a:avLst/>
              <a:gdLst>
                <a:gd name="T0" fmla="*/ 0 w 78"/>
                <a:gd name="T1" fmla="*/ 0 h 371"/>
                <a:gd name="T2" fmla="*/ 0 w 78"/>
                <a:gd name="T3" fmla="*/ 0 h 371"/>
                <a:gd name="T4" fmla="*/ 0 w 78"/>
                <a:gd name="T5" fmla="*/ 1 h 371"/>
                <a:gd name="T6" fmla="*/ 0 w 78"/>
                <a:gd name="T7" fmla="*/ 364 h 371"/>
                <a:gd name="T8" fmla="*/ 0 w 78"/>
                <a:gd name="T9" fmla="*/ 364 h 371"/>
                <a:gd name="T10" fmla="*/ 0 w 78"/>
                <a:gd name="T11" fmla="*/ 364 h 371"/>
                <a:gd name="T12" fmla="*/ 0 w 78"/>
                <a:gd name="T13" fmla="*/ 364 h 371"/>
                <a:gd name="T14" fmla="*/ 11 w 78"/>
                <a:gd name="T15" fmla="*/ 365 h 371"/>
                <a:gd name="T16" fmla="*/ 22 w 78"/>
                <a:gd name="T17" fmla="*/ 366 h 371"/>
                <a:gd name="T18" fmla="*/ 33 w 78"/>
                <a:gd name="T19" fmla="*/ 367 h 371"/>
                <a:gd name="T20" fmla="*/ 44 w 78"/>
                <a:gd name="T21" fmla="*/ 371 h 371"/>
                <a:gd name="T22" fmla="*/ 44 w 78"/>
                <a:gd name="T23" fmla="*/ 371 h 371"/>
                <a:gd name="T24" fmla="*/ 52 w 78"/>
                <a:gd name="T25" fmla="*/ 354 h 371"/>
                <a:gd name="T26" fmla="*/ 58 w 78"/>
                <a:gd name="T27" fmla="*/ 337 h 371"/>
                <a:gd name="T28" fmla="*/ 64 w 78"/>
                <a:gd name="T29" fmla="*/ 319 h 371"/>
                <a:gd name="T30" fmla="*/ 69 w 78"/>
                <a:gd name="T31" fmla="*/ 300 h 371"/>
                <a:gd name="T32" fmla="*/ 73 w 78"/>
                <a:gd name="T33" fmla="*/ 280 h 371"/>
                <a:gd name="T34" fmla="*/ 75 w 78"/>
                <a:gd name="T35" fmla="*/ 259 h 371"/>
                <a:gd name="T36" fmla="*/ 77 w 78"/>
                <a:gd name="T37" fmla="*/ 238 h 371"/>
                <a:gd name="T38" fmla="*/ 78 w 78"/>
                <a:gd name="T39" fmla="*/ 216 h 371"/>
                <a:gd name="T40" fmla="*/ 78 w 78"/>
                <a:gd name="T41" fmla="*/ 216 h 371"/>
                <a:gd name="T42" fmla="*/ 77 w 78"/>
                <a:gd name="T43" fmla="*/ 181 h 371"/>
                <a:gd name="T44" fmla="*/ 72 w 78"/>
                <a:gd name="T45" fmla="*/ 148 h 371"/>
                <a:gd name="T46" fmla="*/ 65 w 78"/>
                <a:gd name="T47" fmla="*/ 117 h 371"/>
                <a:gd name="T48" fmla="*/ 56 w 78"/>
                <a:gd name="T49" fmla="*/ 87 h 371"/>
                <a:gd name="T50" fmla="*/ 44 w 78"/>
                <a:gd name="T51" fmla="*/ 61 h 371"/>
                <a:gd name="T52" fmla="*/ 38 w 78"/>
                <a:gd name="T53" fmla="*/ 49 h 371"/>
                <a:gd name="T54" fmla="*/ 31 w 78"/>
                <a:gd name="T55" fmla="*/ 38 h 371"/>
                <a:gd name="T56" fmla="*/ 25 w 78"/>
                <a:gd name="T57" fmla="*/ 27 h 371"/>
                <a:gd name="T58" fmla="*/ 16 w 78"/>
                <a:gd name="T59" fmla="*/ 17 h 371"/>
                <a:gd name="T60" fmla="*/ 9 w 78"/>
                <a:gd name="T61" fmla="*/ 8 h 371"/>
                <a:gd name="T62" fmla="*/ 0 w 78"/>
                <a:gd name="T63" fmla="*/ 0 h 371"/>
                <a:gd name="T64" fmla="*/ 0 w 78"/>
                <a:gd name="T65"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371">
                  <a:moveTo>
                    <a:pt x="0" y="0"/>
                  </a:moveTo>
                  <a:lnTo>
                    <a:pt x="0" y="0"/>
                  </a:lnTo>
                  <a:lnTo>
                    <a:pt x="0" y="1"/>
                  </a:lnTo>
                  <a:lnTo>
                    <a:pt x="0" y="364"/>
                  </a:lnTo>
                  <a:lnTo>
                    <a:pt x="0" y="364"/>
                  </a:lnTo>
                  <a:lnTo>
                    <a:pt x="0" y="364"/>
                  </a:lnTo>
                  <a:lnTo>
                    <a:pt x="0" y="364"/>
                  </a:lnTo>
                  <a:lnTo>
                    <a:pt x="11" y="365"/>
                  </a:lnTo>
                  <a:lnTo>
                    <a:pt x="22" y="366"/>
                  </a:lnTo>
                  <a:lnTo>
                    <a:pt x="33" y="367"/>
                  </a:lnTo>
                  <a:lnTo>
                    <a:pt x="44" y="371"/>
                  </a:lnTo>
                  <a:lnTo>
                    <a:pt x="44" y="371"/>
                  </a:lnTo>
                  <a:lnTo>
                    <a:pt x="52" y="354"/>
                  </a:lnTo>
                  <a:lnTo>
                    <a:pt x="58" y="337"/>
                  </a:lnTo>
                  <a:lnTo>
                    <a:pt x="64" y="319"/>
                  </a:lnTo>
                  <a:lnTo>
                    <a:pt x="69" y="300"/>
                  </a:lnTo>
                  <a:lnTo>
                    <a:pt x="73" y="280"/>
                  </a:lnTo>
                  <a:lnTo>
                    <a:pt x="75" y="259"/>
                  </a:lnTo>
                  <a:lnTo>
                    <a:pt x="77" y="238"/>
                  </a:lnTo>
                  <a:lnTo>
                    <a:pt x="78" y="216"/>
                  </a:lnTo>
                  <a:lnTo>
                    <a:pt x="78" y="216"/>
                  </a:lnTo>
                  <a:lnTo>
                    <a:pt x="77" y="181"/>
                  </a:lnTo>
                  <a:lnTo>
                    <a:pt x="72" y="148"/>
                  </a:lnTo>
                  <a:lnTo>
                    <a:pt x="65" y="117"/>
                  </a:lnTo>
                  <a:lnTo>
                    <a:pt x="56" y="87"/>
                  </a:lnTo>
                  <a:lnTo>
                    <a:pt x="44" y="61"/>
                  </a:lnTo>
                  <a:lnTo>
                    <a:pt x="38" y="49"/>
                  </a:lnTo>
                  <a:lnTo>
                    <a:pt x="31" y="38"/>
                  </a:lnTo>
                  <a:lnTo>
                    <a:pt x="25" y="27"/>
                  </a:lnTo>
                  <a:lnTo>
                    <a:pt x="16" y="17"/>
                  </a:lnTo>
                  <a:lnTo>
                    <a:pt x="9" y="8"/>
                  </a:lnTo>
                  <a:lnTo>
                    <a:pt x="0"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3" name="Freeform 118">
              <a:extLst>
                <a:ext uri="{FF2B5EF4-FFF2-40B4-BE49-F238E27FC236}">
                  <a16:creationId xmlns:a16="http://schemas.microsoft.com/office/drawing/2014/main" id="{70870EA4-0FE3-C959-7C6E-8C119C494AEC}"/>
                </a:ext>
              </a:extLst>
            </p:cNvPr>
            <p:cNvSpPr>
              <a:spLocks/>
            </p:cNvSpPr>
            <p:nvPr/>
          </p:nvSpPr>
          <p:spPr bwMode="auto">
            <a:xfrm>
              <a:off x="2965235" y="3120376"/>
              <a:ext cx="169973" cy="122910"/>
            </a:xfrm>
            <a:custGeom>
              <a:avLst/>
              <a:gdLst>
                <a:gd name="T0" fmla="*/ 57 w 114"/>
                <a:gd name="T1" fmla="*/ 90 h 91"/>
                <a:gd name="T2" fmla="*/ 57 w 114"/>
                <a:gd name="T3" fmla="*/ 90 h 91"/>
                <a:gd name="T4" fmla="*/ 85 w 114"/>
                <a:gd name="T5" fmla="*/ 90 h 91"/>
                <a:gd name="T6" fmla="*/ 114 w 114"/>
                <a:gd name="T7" fmla="*/ 91 h 91"/>
                <a:gd name="T8" fmla="*/ 114 w 114"/>
                <a:gd name="T9" fmla="*/ 91 h 91"/>
                <a:gd name="T10" fmla="*/ 109 w 114"/>
                <a:gd name="T11" fmla="*/ 78 h 91"/>
                <a:gd name="T12" fmla="*/ 103 w 114"/>
                <a:gd name="T13" fmla="*/ 64 h 91"/>
                <a:gd name="T14" fmla="*/ 97 w 114"/>
                <a:gd name="T15" fmla="*/ 50 h 91"/>
                <a:gd name="T16" fmla="*/ 89 w 114"/>
                <a:gd name="T17" fmla="*/ 39 h 91"/>
                <a:gd name="T18" fmla="*/ 82 w 114"/>
                <a:gd name="T19" fmla="*/ 28 h 91"/>
                <a:gd name="T20" fmla="*/ 74 w 114"/>
                <a:gd name="T21" fmla="*/ 18 h 91"/>
                <a:gd name="T22" fmla="*/ 66 w 114"/>
                <a:gd name="T23" fmla="*/ 8 h 91"/>
                <a:gd name="T24" fmla="*/ 57 w 114"/>
                <a:gd name="T25" fmla="*/ 0 h 91"/>
                <a:gd name="T26" fmla="*/ 57 w 114"/>
                <a:gd name="T27" fmla="*/ 0 h 91"/>
                <a:gd name="T28" fmla="*/ 48 w 114"/>
                <a:gd name="T29" fmla="*/ 8 h 91"/>
                <a:gd name="T30" fmla="*/ 40 w 114"/>
                <a:gd name="T31" fmla="*/ 18 h 91"/>
                <a:gd name="T32" fmla="*/ 32 w 114"/>
                <a:gd name="T33" fmla="*/ 28 h 91"/>
                <a:gd name="T34" fmla="*/ 25 w 114"/>
                <a:gd name="T35" fmla="*/ 39 h 91"/>
                <a:gd name="T36" fmla="*/ 18 w 114"/>
                <a:gd name="T37" fmla="*/ 50 h 91"/>
                <a:gd name="T38" fmla="*/ 11 w 114"/>
                <a:gd name="T39" fmla="*/ 64 h 91"/>
                <a:gd name="T40" fmla="*/ 5 w 114"/>
                <a:gd name="T41" fmla="*/ 78 h 91"/>
                <a:gd name="T42" fmla="*/ 0 w 114"/>
                <a:gd name="T43" fmla="*/ 91 h 91"/>
                <a:gd name="T44" fmla="*/ 0 w 114"/>
                <a:gd name="T45" fmla="*/ 91 h 91"/>
                <a:gd name="T46" fmla="*/ 27 w 114"/>
                <a:gd name="T47" fmla="*/ 90 h 91"/>
                <a:gd name="T48" fmla="*/ 57 w 114"/>
                <a:gd name="T49" fmla="*/ 90 h 91"/>
                <a:gd name="T50" fmla="*/ 57 w 114"/>
                <a:gd name="T51" fmla="*/ 9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4" h="91">
                  <a:moveTo>
                    <a:pt x="57" y="90"/>
                  </a:moveTo>
                  <a:lnTo>
                    <a:pt x="57" y="90"/>
                  </a:lnTo>
                  <a:lnTo>
                    <a:pt x="85" y="90"/>
                  </a:lnTo>
                  <a:lnTo>
                    <a:pt x="114" y="91"/>
                  </a:lnTo>
                  <a:lnTo>
                    <a:pt x="114" y="91"/>
                  </a:lnTo>
                  <a:lnTo>
                    <a:pt x="109" y="78"/>
                  </a:lnTo>
                  <a:lnTo>
                    <a:pt x="103" y="64"/>
                  </a:lnTo>
                  <a:lnTo>
                    <a:pt x="97" y="50"/>
                  </a:lnTo>
                  <a:lnTo>
                    <a:pt x="89" y="39"/>
                  </a:lnTo>
                  <a:lnTo>
                    <a:pt x="82" y="28"/>
                  </a:lnTo>
                  <a:lnTo>
                    <a:pt x="74" y="18"/>
                  </a:lnTo>
                  <a:lnTo>
                    <a:pt x="66" y="8"/>
                  </a:lnTo>
                  <a:lnTo>
                    <a:pt x="57" y="0"/>
                  </a:lnTo>
                  <a:lnTo>
                    <a:pt x="57" y="0"/>
                  </a:lnTo>
                  <a:lnTo>
                    <a:pt x="48" y="8"/>
                  </a:lnTo>
                  <a:lnTo>
                    <a:pt x="40" y="18"/>
                  </a:lnTo>
                  <a:lnTo>
                    <a:pt x="32" y="28"/>
                  </a:lnTo>
                  <a:lnTo>
                    <a:pt x="25" y="39"/>
                  </a:lnTo>
                  <a:lnTo>
                    <a:pt x="18" y="50"/>
                  </a:lnTo>
                  <a:lnTo>
                    <a:pt x="11" y="64"/>
                  </a:lnTo>
                  <a:lnTo>
                    <a:pt x="5" y="78"/>
                  </a:lnTo>
                  <a:lnTo>
                    <a:pt x="0" y="91"/>
                  </a:lnTo>
                  <a:lnTo>
                    <a:pt x="0" y="91"/>
                  </a:lnTo>
                  <a:lnTo>
                    <a:pt x="27" y="90"/>
                  </a:lnTo>
                  <a:lnTo>
                    <a:pt x="57" y="90"/>
                  </a:lnTo>
                  <a:lnTo>
                    <a:pt x="57" y="9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4" name="Freeform 119">
              <a:extLst>
                <a:ext uri="{FF2B5EF4-FFF2-40B4-BE49-F238E27FC236}">
                  <a16:creationId xmlns:a16="http://schemas.microsoft.com/office/drawing/2014/main" id="{63CFA789-91F2-CBFF-A2B6-F136364B97D5}"/>
                </a:ext>
              </a:extLst>
            </p:cNvPr>
            <p:cNvSpPr>
              <a:spLocks/>
            </p:cNvSpPr>
            <p:nvPr/>
          </p:nvSpPr>
          <p:spPr bwMode="auto">
            <a:xfrm>
              <a:off x="3050230" y="3120376"/>
              <a:ext cx="84987" cy="122910"/>
            </a:xfrm>
            <a:custGeom>
              <a:avLst/>
              <a:gdLst>
                <a:gd name="T0" fmla="*/ 0 w 57"/>
                <a:gd name="T1" fmla="*/ 1 h 91"/>
                <a:gd name="T2" fmla="*/ 0 w 57"/>
                <a:gd name="T3" fmla="*/ 90 h 91"/>
                <a:gd name="T4" fmla="*/ 0 w 57"/>
                <a:gd name="T5" fmla="*/ 90 h 91"/>
                <a:gd name="T6" fmla="*/ 0 w 57"/>
                <a:gd name="T7" fmla="*/ 90 h 91"/>
                <a:gd name="T8" fmla="*/ 0 w 57"/>
                <a:gd name="T9" fmla="*/ 90 h 91"/>
                <a:gd name="T10" fmla="*/ 28 w 57"/>
                <a:gd name="T11" fmla="*/ 90 h 91"/>
                <a:gd name="T12" fmla="*/ 57 w 57"/>
                <a:gd name="T13" fmla="*/ 91 h 91"/>
                <a:gd name="T14" fmla="*/ 57 w 57"/>
                <a:gd name="T15" fmla="*/ 91 h 91"/>
                <a:gd name="T16" fmla="*/ 52 w 57"/>
                <a:gd name="T17" fmla="*/ 78 h 91"/>
                <a:gd name="T18" fmla="*/ 46 w 57"/>
                <a:gd name="T19" fmla="*/ 64 h 91"/>
                <a:gd name="T20" fmla="*/ 40 w 57"/>
                <a:gd name="T21" fmla="*/ 50 h 91"/>
                <a:gd name="T22" fmla="*/ 32 w 57"/>
                <a:gd name="T23" fmla="*/ 39 h 91"/>
                <a:gd name="T24" fmla="*/ 25 w 57"/>
                <a:gd name="T25" fmla="*/ 28 h 91"/>
                <a:gd name="T26" fmla="*/ 17 w 57"/>
                <a:gd name="T27" fmla="*/ 18 h 91"/>
                <a:gd name="T28" fmla="*/ 9 w 57"/>
                <a:gd name="T29" fmla="*/ 8 h 91"/>
                <a:gd name="T30" fmla="*/ 0 w 57"/>
                <a:gd name="T31" fmla="*/ 0 h 91"/>
                <a:gd name="T32" fmla="*/ 0 w 57"/>
                <a:gd name="T33" fmla="*/ 0 h 91"/>
                <a:gd name="T34" fmla="*/ 0 w 57"/>
                <a:gd name="T35" fmla="*/ 1 h 91"/>
                <a:gd name="T36" fmla="*/ 0 w 57"/>
                <a:gd name="T3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91">
                  <a:moveTo>
                    <a:pt x="0" y="1"/>
                  </a:moveTo>
                  <a:lnTo>
                    <a:pt x="0" y="90"/>
                  </a:lnTo>
                  <a:lnTo>
                    <a:pt x="0" y="90"/>
                  </a:lnTo>
                  <a:lnTo>
                    <a:pt x="0" y="90"/>
                  </a:lnTo>
                  <a:lnTo>
                    <a:pt x="0" y="90"/>
                  </a:lnTo>
                  <a:lnTo>
                    <a:pt x="28" y="90"/>
                  </a:lnTo>
                  <a:lnTo>
                    <a:pt x="57" y="91"/>
                  </a:lnTo>
                  <a:lnTo>
                    <a:pt x="57" y="91"/>
                  </a:lnTo>
                  <a:lnTo>
                    <a:pt x="52" y="78"/>
                  </a:lnTo>
                  <a:lnTo>
                    <a:pt x="46" y="64"/>
                  </a:lnTo>
                  <a:lnTo>
                    <a:pt x="40" y="50"/>
                  </a:lnTo>
                  <a:lnTo>
                    <a:pt x="32" y="39"/>
                  </a:lnTo>
                  <a:lnTo>
                    <a:pt x="25" y="28"/>
                  </a:lnTo>
                  <a:lnTo>
                    <a:pt x="17" y="18"/>
                  </a:lnTo>
                  <a:lnTo>
                    <a:pt x="9" y="8"/>
                  </a:lnTo>
                  <a:lnTo>
                    <a:pt x="0" y="0"/>
                  </a:lnTo>
                  <a:lnTo>
                    <a:pt x="0" y="0"/>
                  </a:lnTo>
                  <a:lnTo>
                    <a:pt x="0" y="1"/>
                  </a:lnTo>
                  <a:lnTo>
                    <a:pt x="0" y="1"/>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5" name="Freeform 120">
              <a:extLst>
                <a:ext uri="{FF2B5EF4-FFF2-40B4-BE49-F238E27FC236}">
                  <a16:creationId xmlns:a16="http://schemas.microsoft.com/office/drawing/2014/main" id="{77CCB424-7EC5-4561-4087-DA4748FEEACA}"/>
                </a:ext>
              </a:extLst>
            </p:cNvPr>
            <p:cNvSpPr>
              <a:spLocks/>
            </p:cNvSpPr>
            <p:nvPr/>
          </p:nvSpPr>
          <p:spPr bwMode="auto">
            <a:xfrm>
              <a:off x="3024883" y="3456690"/>
              <a:ext cx="49203" cy="241768"/>
            </a:xfrm>
            <a:custGeom>
              <a:avLst/>
              <a:gdLst>
                <a:gd name="T0" fmla="*/ 17 w 33"/>
                <a:gd name="T1" fmla="*/ 0 h 179"/>
                <a:gd name="T2" fmla="*/ 17 w 33"/>
                <a:gd name="T3" fmla="*/ 0 h 179"/>
                <a:gd name="T4" fmla="*/ 13 w 33"/>
                <a:gd name="T5" fmla="*/ 6 h 179"/>
                <a:gd name="T6" fmla="*/ 10 w 33"/>
                <a:gd name="T7" fmla="*/ 15 h 179"/>
                <a:gd name="T8" fmla="*/ 5 w 33"/>
                <a:gd name="T9" fmla="*/ 36 h 179"/>
                <a:gd name="T10" fmla="*/ 1 w 33"/>
                <a:gd name="T11" fmla="*/ 62 h 179"/>
                <a:gd name="T12" fmla="*/ 0 w 33"/>
                <a:gd name="T13" fmla="*/ 89 h 179"/>
                <a:gd name="T14" fmla="*/ 0 w 33"/>
                <a:gd name="T15" fmla="*/ 89 h 179"/>
                <a:gd name="T16" fmla="*/ 1 w 33"/>
                <a:gd name="T17" fmla="*/ 117 h 179"/>
                <a:gd name="T18" fmla="*/ 5 w 33"/>
                <a:gd name="T19" fmla="*/ 142 h 179"/>
                <a:gd name="T20" fmla="*/ 10 w 33"/>
                <a:gd name="T21" fmla="*/ 163 h 179"/>
                <a:gd name="T22" fmla="*/ 13 w 33"/>
                <a:gd name="T23" fmla="*/ 171 h 179"/>
                <a:gd name="T24" fmla="*/ 17 w 33"/>
                <a:gd name="T25" fmla="*/ 179 h 179"/>
                <a:gd name="T26" fmla="*/ 17 w 33"/>
                <a:gd name="T27" fmla="*/ 179 h 179"/>
                <a:gd name="T28" fmla="*/ 21 w 33"/>
                <a:gd name="T29" fmla="*/ 171 h 179"/>
                <a:gd name="T30" fmla="*/ 23 w 33"/>
                <a:gd name="T31" fmla="*/ 163 h 179"/>
                <a:gd name="T32" fmla="*/ 29 w 33"/>
                <a:gd name="T33" fmla="*/ 142 h 179"/>
                <a:gd name="T34" fmla="*/ 32 w 33"/>
                <a:gd name="T35" fmla="*/ 117 h 179"/>
                <a:gd name="T36" fmla="*/ 33 w 33"/>
                <a:gd name="T37" fmla="*/ 89 h 179"/>
                <a:gd name="T38" fmla="*/ 33 w 33"/>
                <a:gd name="T39" fmla="*/ 89 h 179"/>
                <a:gd name="T40" fmla="*/ 32 w 33"/>
                <a:gd name="T41" fmla="*/ 62 h 179"/>
                <a:gd name="T42" fmla="*/ 29 w 33"/>
                <a:gd name="T43" fmla="*/ 36 h 179"/>
                <a:gd name="T44" fmla="*/ 23 w 33"/>
                <a:gd name="T45" fmla="*/ 15 h 179"/>
                <a:gd name="T46" fmla="*/ 21 w 33"/>
                <a:gd name="T47" fmla="*/ 6 h 179"/>
                <a:gd name="T48" fmla="*/ 17 w 33"/>
                <a:gd name="T49" fmla="*/ 0 h 179"/>
                <a:gd name="T50" fmla="*/ 17 w 33"/>
                <a:gd name="T51"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 h="179">
                  <a:moveTo>
                    <a:pt x="17" y="0"/>
                  </a:moveTo>
                  <a:lnTo>
                    <a:pt x="17" y="0"/>
                  </a:lnTo>
                  <a:lnTo>
                    <a:pt x="13" y="6"/>
                  </a:lnTo>
                  <a:lnTo>
                    <a:pt x="10" y="15"/>
                  </a:lnTo>
                  <a:lnTo>
                    <a:pt x="5" y="36"/>
                  </a:lnTo>
                  <a:lnTo>
                    <a:pt x="1" y="62"/>
                  </a:lnTo>
                  <a:lnTo>
                    <a:pt x="0" y="89"/>
                  </a:lnTo>
                  <a:lnTo>
                    <a:pt x="0" y="89"/>
                  </a:lnTo>
                  <a:lnTo>
                    <a:pt x="1" y="117"/>
                  </a:lnTo>
                  <a:lnTo>
                    <a:pt x="5" y="142"/>
                  </a:lnTo>
                  <a:lnTo>
                    <a:pt x="10" y="163"/>
                  </a:lnTo>
                  <a:lnTo>
                    <a:pt x="13" y="171"/>
                  </a:lnTo>
                  <a:lnTo>
                    <a:pt x="17" y="179"/>
                  </a:lnTo>
                  <a:lnTo>
                    <a:pt x="17" y="179"/>
                  </a:lnTo>
                  <a:lnTo>
                    <a:pt x="21" y="171"/>
                  </a:lnTo>
                  <a:lnTo>
                    <a:pt x="23" y="163"/>
                  </a:lnTo>
                  <a:lnTo>
                    <a:pt x="29" y="142"/>
                  </a:lnTo>
                  <a:lnTo>
                    <a:pt x="32" y="117"/>
                  </a:lnTo>
                  <a:lnTo>
                    <a:pt x="33" y="89"/>
                  </a:lnTo>
                  <a:lnTo>
                    <a:pt x="33" y="89"/>
                  </a:lnTo>
                  <a:lnTo>
                    <a:pt x="32" y="62"/>
                  </a:lnTo>
                  <a:lnTo>
                    <a:pt x="29" y="36"/>
                  </a:lnTo>
                  <a:lnTo>
                    <a:pt x="23" y="15"/>
                  </a:lnTo>
                  <a:lnTo>
                    <a:pt x="21" y="6"/>
                  </a:lnTo>
                  <a:lnTo>
                    <a:pt x="17" y="0"/>
                  </a:lnTo>
                  <a:lnTo>
                    <a:pt x="17"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6" name="Freeform 121">
              <a:extLst>
                <a:ext uri="{FF2B5EF4-FFF2-40B4-BE49-F238E27FC236}">
                  <a16:creationId xmlns:a16="http://schemas.microsoft.com/office/drawing/2014/main" id="{8CBC38B7-664F-6C54-AC0A-77BECF2D10E6}"/>
                </a:ext>
              </a:extLst>
            </p:cNvPr>
            <p:cNvSpPr>
              <a:spLocks/>
            </p:cNvSpPr>
            <p:nvPr/>
          </p:nvSpPr>
          <p:spPr bwMode="auto">
            <a:xfrm>
              <a:off x="3050230" y="3456689"/>
              <a:ext cx="23856" cy="241768"/>
            </a:xfrm>
            <a:custGeom>
              <a:avLst/>
              <a:gdLst>
                <a:gd name="T0" fmla="*/ 0 w 16"/>
                <a:gd name="T1" fmla="*/ 0 h 179"/>
                <a:gd name="T2" fmla="*/ 0 w 16"/>
                <a:gd name="T3" fmla="*/ 178 h 179"/>
                <a:gd name="T4" fmla="*/ 0 w 16"/>
                <a:gd name="T5" fmla="*/ 178 h 179"/>
                <a:gd name="T6" fmla="*/ 0 w 16"/>
                <a:gd name="T7" fmla="*/ 179 h 179"/>
                <a:gd name="T8" fmla="*/ 0 w 16"/>
                <a:gd name="T9" fmla="*/ 179 h 179"/>
                <a:gd name="T10" fmla="*/ 4 w 16"/>
                <a:gd name="T11" fmla="*/ 171 h 179"/>
                <a:gd name="T12" fmla="*/ 6 w 16"/>
                <a:gd name="T13" fmla="*/ 163 h 179"/>
                <a:gd name="T14" fmla="*/ 12 w 16"/>
                <a:gd name="T15" fmla="*/ 142 h 179"/>
                <a:gd name="T16" fmla="*/ 15 w 16"/>
                <a:gd name="T17" fmla="*/ 117 h 179"/>
                <a:gd name="T18" fmla="*/ 16 w 16"/>
                <a:gd name="T19" fmla="*/ 89 h 179"/>
                <a:gd name="T20" fmla="*/ 16 w 16"/>
                <a:gd name="T21" fmla="*/ 89 h 179"/>
                <a:gd name="T22" fmla="*/ 15 w 16"/>
                <a:gd name="T23" fmla="*/ 62 h 179"/>
                <a:gd name="T24" fmla="*/ 12 w 16"/>
                <a:gd name="T25" fmla="*/ 36 h 179"/>
                <a:gd name="T26" fmla="*/ 6 w 16"/>
                <a:gd name="T27" fmla="*/ 15 h 179"/>
                <a:gd name="T28" fmla="*/ 4 w 16"/>
                <a:gd name="T29" fmla="*/ 6 h 179"/>
                <a:gd name="T30" fmla="*/ 0 w 16"/>
                <a:gd name="T31" fmla="*/ 0 h 179"/>
                <a:gd name="T32" fmla="*/ 0 w 16"/>
                <a:gd name="T33" fmla="*/ 0 h 179"/>
                <a:gd name="T34" fmla="*/ 0 w 16"/>
                <a:gd name="T35" fmla="*/ 0 h 179"/>
                <a:gd name="T36" fmla="*/ 0 w 16"/>
                <a:gd name="T37"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179">
                  <a:moveTo>
                    <a:pt x="0" y="0"/>
                  </a:moveTo>
                  <a:lnTo>
                    <a:pt x="0" y="178"/>
                  </a:lnTo>
                  <a:lnTo>
                    <a:pt x="0" y="178"/>
                  </a:lnTo>
                  <a:lnTo>
                    <a:pt x="0" y="179"/>
                  </a:lnTo>
                  <a:lnTo>
                    <a:pt x="0" y="179"/>
                  </a:lnTo>
                  <a:lnTo>
                    <a:pt x="4" y="171"/>
                  </a:lnTo>
                  <a:lnTo>
                    <a:pt x="6" y="163"/>
                  </a:lnTo>
                  <a:lnTo>
                    <a:pt x="12" y="142"/>
                  </a:lnTo>
                  <a:lnTo>
                    <a:pt x="15" y="117"/>
                  </a:lnTo>
                  <a:lnTo>
                    <a:pt x="16" y="89"/>
                  </a:lnTo>
                  <a:lnTo>
                    <a:pt x="16" y="89"/>
                  </a:lnTo>
                  <a:lnTo>
                    <a:pt x="15" y="62"/>
                  </a:lnTo>
                  <a:lnTo>
                    <a:pt x="12" y="36"/>
                  </a:lnTo>
                  <a:lnTo>
                    <a:pt x="6" y="15"/>
                  </a:lnTo>
                  <a:lnTo>
                    <a:pt x="4" y="6"/>
                  </a:lnTo>
                  <a:lnTo>
                    <a:pt x="0" y="0"/>
                  </a:lnTo>
                  <a:lnTo>
                    <a:pt x="0" y="0"/>
                  </a:lnTo>
                  <a:lnTo>
                    <a:pt x="0" y="0"/>
                  </a:lnTo>
                  <a:lnTo>
                    <a:pt x="0"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7" name="Freeform 122">
              <a:extLst>
                <a:ext uri="{FF2B5EF4-FFF2-40B4-BE49-F238E27FC236}">
                  <a16:creationId xmlns:a16="http://schemas.microsoft.com/office/drawing/2014/main" id="{7A0141EF-4118-5B3A-1690-5896519DEED5}"/>
                </a:ext>
              </a:extLst>
            </p:cNvPr>
            <p:cNvSpPr>
              <a:spLocks/>
            </p:cNvSpPr>
            <p:nvPr/>
          </p:nvSpPr>
          <p:spPr bwMode="auto">
            <a:xfrm>
              <a:off x="2986113" y="3293261"/>
              <a:ext cx="128226" cy="118858"/>
            </a:xfrm>
            <a:custGeom>
              <a:avLst/>
              <a:gdLst>
                <a:gd name="T0" fmla="*/ 43 w 86"/>
                <a:gd name="T1" fmla="*/ 88 h 88"/>
                <a:gd name="T2" fmla="*/ 43 w 86"/>
                <a:gd name="T3" fmla="*/ 88 h 88"/>
                <a:gd name="T4" fmla="*/ 34 w 86"/>
                <a:gd name="T5" fmla="*/ 86 h 88"/>
                <a:gd name="T6" fmla="*/ 26 w 86"/>
                <a:gd name="T7" fmla="*/ 84 h 88"/>
                <a:gd name="T8" fmla="*/ 18 w 86"/>
                <a:gd name="T9" fmla="*/ 80 h 88"/>
                <a:gd name="T10" fmla="*/ 12 w 86"/>
                <a:gd name="T11" fmla="*/ 75 h 88"/>
                <a:gd name="T12" fmla="*/ 7 w 86"/>
                <a:gd name="T13" fmla="*/ 68 h 88"/>
                <a:gd name="T14" fmla="*/ 2 w 86"/>
                <a:gd name="T15" fmla="*/ 61 h 88"/>
                <a:gd name="T16" fmla="*/ 0 w 86"/>
                <a:gd name="T17" fmla="*/ 53 h 88"/>
                <a:gd name="T18" fmla="*/ 0 w 86"/>
                <a:gd name="T19" fmla="*/ 45 h 88"/>
                <a:gd name="T20" fmla="*/ 0 w 86"/>
                <a:gd name="T21" fmla="*/ 45 h 88"/>
                <a:gd name="T22" fmla="*/ 0 w 86"/>
                <a:gd name="T23" fmla="*/ 35 h 88"/>
                <a:gd name="T24" fmla="*/ 2 w 86"/>
                <a:gd name="T25" fmla="*/ 27 h 88"/>
                <a:gd name="T26" fmla="*/ 7 w 86"/>
                <a:gd name="T27" fmla="*/ 20 h 88"/>
                <a:gd name="T28" fmla="*/ 12 w 86"/>
                <a:gd name="T29" fmla="*/ 14 h 88"/>
                <a:gd name="T30" fmla="*/ 18 w 86"/>
                <a:gd name="T31" fmla="*/ 8 h 88"/>
                <a:gd name="T32" fmla="*/ 26 w 86"/>
                <a:gd name="T33" fmla="*/ 4 h 88"/>
                <a:gd name="T34" fmla="*/ 34 w 86"/>
                <a:gd name="T35" fmla="*/ 1 h 88"/>
                <a:gd name="T36" fmla="*/ 43 w 86"/>
                <a:gd name="T37" fmla="*/ 0 h 88"/>
                <a:gd name="T38" fmla="*/ 43 w 86"/>
                <a:gd name="T39" fmla="*/ 0 h 88"/>
                <a:gd name="T40" fmla="*/ 52 w 86"/>
                <a:gd name="T41" fmla="*/ 1 h 88"/>
                <a:gd name="T42" fmla="*/ 60 w 86"/>
                <a:gd name="T43" fmla="*/ 4 h 88"/>
                <a:gd name="T44" fmla="*/ 68 w 86"/>
                <a:gd name="T45" fmla="*/ 8 h 88"/>
                <a:gd name="T46" fmla="*/ 74 w 86"/>
                <a:gd name="T47" fmla="*/ 14 h 88"/>
                <a:gd name="T48" fmla="*/ 79 w 86"/>
                <a:gd name="T49" fmla="*/ 20 h 88"/>
                <a:gd name="T50" fmla="*/ 83 w 86"/>
                <a:gd name="T51" fmla="*/ 27 h 88"/>
                <a:gd name="T52" fmla="*/ 85 w 86"/>
                <a:gd name="T53" fmla="*/ 35 h 88"/>
                <a:gd name="T54" fmla="*/ 86 w 86"/>
                <a:gd name="T55" fmla="*/ 45 h 88"/>
                <a:gd name="T56" fmla="*/ 86 w 86"/>
                <a:gd name="T57" fmla="*/ 45 h 88"/>
                <a:gd name="T58" fmla="*/ 85 w 86"/>
                <a:gd name="T59" fmla="*/ 53 h 88"/>
                <a:gd name="T60" fmla="*/ 83 w 86"/>
                <a:gd name="T61" fmla="*/ 61 h 88"/>
                <a:gd name="T62" fmla="*/ 79 w 86"/>
                <a:gd name="T63" fmla="*/ 68 h 88"/>
                <a:gd name="T64" fmla="*/ 74 w 86"/>
                <a:gd name="T65" fmla="*/ 75 h 88"/>
                <a:gd name="T66" fmla="*/ 68 w 86"/>
                <a:gd name="T67" fmla="*/ 80 h 88"/>
                <a:gd name="T68" fmla="*/ 60 w 86"/>
                <a:gd name="T69" fmla="*/ 84 h 88"/>
                <a:gd name="T70" fmla="*/ 52 w 86"/>
                <a:gd name="T71" fmla="*/ 86 h 88"/>
                <a:gd name="T72" fmla="*/ 43 w 86"/>
                <a:gd name="T73" fmla="*/ 88 h 88"/>
                <a:gd name="T74" fmla="*/ 43 w 86"/>
                <a:gd name="T7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6" h="88">
                  <a:moveTo>
                    <a:pt x="43" y="88"/>
                  </a:moveTo>
                  <a:lnTo>
                    <a:pt x="43" y="88"/>
                  </a:lnTo>
                  <a:lnTo>
                    <a:pt x="34" y="86"/>
                  </a:lnTo>
                  <a:lnTo>
                    <a:pt x="26" y="84"/>
                  </a:lnTo>
                  <a:lnTo>
                    <a:pt x="18" y="80"/>
                  </a:lnTo>
                  <a:lnTo>
                    <a:pt x="12" y="75"/>
                  </a:lnTo>
                  <a:lnTo>
                    <a:pt x="7" y="68"/>
                  </a:lnTo>
                  <a:lnTo>
                    <a:pt x="2" y="61"/>
                  </a:lnTo>
                  <a:lnTo>
                    <a:pt x="0" y="53"/>
                  </a:lnTo>
                  <a:lnTo>
                    <a:pt x="0" y="45"/>
                  </a:lnTo>
                  <a:lnTo>
                    <a:pt x="0" y="45"/>
                  </a:lnTo>
                  <a:lnTo>
                    <a:pt x="0" y="35"/>
                  </a:lnTo>
                  <a:lnTo>
                    <a:pt x="2" y="27"/>
                  </a:lnTo>
                  <a:lnTo>
                    <a:pt x="7" y="20"/>
                  </a:lnTo>
                  <a:lnTo>
                    <a:pt x="12" y="14"/>
                  </a:lnTo>
                  <a:lnTo>
                    <a:pt x="18" y="8"/>
                  </a:lnTo>
                  <a:lnTo>
                    <a:pt x="26" y="4"/>
                  </a:lnTo>
                  <a:lnTo>
                    <a:pt x="34" y="1"/>
                  </a:lnTo>
                  <a:lnTo>
                    <a:pt x="43" y="0"/>
                  </a:lnTo>
                  <a:lnTo>
                    <a:pt x="43" y="0"/>
                  </a:lnTo>
                  <a:lnTo>
                    <a:pt x="52" y="1"/>
                  </a:lnTo>
                  <a:lnTo>
                    <a:pt x="60" y="4"/>
                  </a:lnTo>
                  <a:lnTo>
                    <a:pt x="68" y="8"/>
                  </a:lnTo>
                  <a:lnTo>
                    <a:pt x="74" y="14"/>
                  </a:lnTo>
                  <a:lnTo>
                    <a:pt x="79" y="20"/>
                  </a:lnTo>
                  <a:lnTo>
                    <a:pt x="83" y="27"/>
                  </a:lnTo>
                  <a:lnTo>
                    <a:pt x="85" y="35"/>
                  </a:lnTo>
                  <a:lnTo>
                    <a:pt x="86" y="45"/>
                  </a:lnTo>
                  <a:lnTo>
                    <a:pt x="86" y="45"/>
                  </a:lnTo>
                  <a:lnTo>
                    <a:pt x="85" y="53"/>
                  </a:lnTo>
                  <a:lnTo>
                    <a:pt x="83" y="61"/>
                  </a:lnTo>
                  <a:lnTo>
                    <a:pt x="79" y="68"/>
                  </a:lnTo>
                  <a:lnTo>
                    <a:pt x="74" y="75"/>
                  </a:lnTo>
                  <a:lnTo>
                    <a:pt x="68" y="80"/>
                  </a:lnTo>
                  <a:lnTo>
                    <a:pt x="60" y="84"/>
                  </a:lnTo>
                  <a:lnTo>
                    <a:pt x="52" y="86"/>
                  </a:lnTo>
                  <a:lnTo>
                    <a:pt x="43" y="88"/>
                  </a:lnTo>
                  <a:lnTo>
                    <a:pt x="43" y="88"/>
                  </a:lnTo>
                  <a:close/>
                </a:path>
              </a:pathLst>
            </a:custGeom>
            <a:solidFill>
              <a:srgbClr val="174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8" name="Freeform 123">
              <a:extLst>
                <a:ext uri="{FF2B5EF4-FFF2-40B4-BE49-F238E27FC236}">
                  <a16:creationId xmlns:a16="http://schemas.microsoft.com/office/drawing/2014/main" id="{A3A8572A-80AB-2F5A-60E9-E9955D76F0FC}"/>
                </a:ext>
              </a:extLst>
            </p:cNvPr>
            <p:cNvSpPr>
              <a:spLocks/>
            </p:cNvSpPr>
            <p:nvPr/>
          </p:nvSpPr>
          <p:spPr bwMode="auto">
            <a:xfrm>
              <a:off x="3004009" y="3312171"/>
              <a:ext cx="90951" cy="81039"/>
            </a:xfrm>
            <a:custGeom>
              <a:avLst/>
              <a:gdLst>
                <a:gd name="T0" fmla="*/ 31 w 61"/>
                <a:gd name="T1" fmla="*/ 0 h 60"/>
                <a:gd name="T2" fmla="*/ 31 w 61"/>
                <a:gd name="T3" fmla="*/ 0 h 60"/>
                <a:gd name="T4" fmla="*/ 25 w 61"/>
                <a:gd name="T5" fmla="*/ 1 h 60"/>
                <a:gd name="T6" fmla="*/ 19 w 61"/>
                <a:gd name="T7" fmla="*/ 2 h 60"/>
                <a:gd name="T8" fmla="*/ 14 w 61"/>
                <a:gd name="T9" fmla="*/ 5 h 60"/>
                <a:gd name="T10" fmla="*/ 10 w 61"/>
                <a:gd name="T11" fmla="*/ 8 h 60"/>
                <a:gd name="T12" fmla="*/ 6 w 61"/>
                <a:gd name="T13" fmla="*/ 13 h 60"/>
                <a:gd name="T14" fmla="*/ 3 w 61"/>
                <a:gd name="T15" fmla="*/ 18 h 60"/>
                <a:gd name="T16" fmla="*/ 1 w 61"/>
                <a:gd name="T17" fmla="*/ 24 h 60"/>
                <a:gd name="T18" fmla="*/ 0 w 61"/>
                <a:gd name="T19" fmla="*/ 31 h 60"/>
                <a:gd name="T20" fmla="*/ 0 w 61"/>
                <a:gd name="T21" fmla="*/ 31 h 60"/>
                <a:gd name="T22" fmla="*/ 1 w 61"/>
                <a:gd name="T23" fmla="*/ 37 h 60"/>
                <a:gd name="T24" fmla="*/ 3 w 61"/>
                <a:gd name="T25" fmla="*/ 42 h 60"/>
                <a:gd name="T26" fmla="*/ 6 w 61"/>
                <a:gd name="T27" fmla="*/ 47 h 60"/>
                <a:gd name="T28" fmla="*/ 10 w 61"/>
                <a:gd name="T29" fmla="*/ 51 h 60"/>
                <a:gd name="T30" fmla="*/ 14 w 61"/>
                <a:gd name="T31" fmla="*/ 55 h 60"/>
                <a:gd name="T32" fmla="*/ 19 w 61"/>
                <a:gd name="T33" fmla="*/ 58 h 60"/>
                <a:gd name="T34" fmla="*/ 25 w 61"/>
                <a:gd name="T35" fmla="*/ 60 h 60"/>
                <a:gd name="T36" fmla="*/ 31 w 61"/>
                <a:gd name="T37" fmla="*/ 60 h 60"/>
                <a:gd name="T38" fmla="*/ 31 w 61"/>
                <a:gd name="T39" fmla="*/ 60 h 60"/>
                <a:gd name="T40" fmla="*/ 37 w 61"/>
                <a:gd name="T41" fmla="*/ 60 h 60"/>
                <a:gd name="T42" fmla="*/ 42 w 61"/>
                <a:gd name="T43" fmla="*/ 58 h 60"/>
                <a:gd name="T44" fmla="*/ 48 w 61"/>
                <a:gd name="T45" fmla="*/ 55 h 60"/>
                <a:gd name="T46" fmla="*/ 52 w 61"/>
                <a:gd name="T47" fmla="*/ 51 h 60"/>
                <a:gd name="T48" fmla="*/ 56 w 61"/>
                <a:gd name="T49" fmla="*/ 47 h 60"/>
                <a:gd name="T50" fmla="*/ 59 w 61"/>
                <a:gd name="T51" fmla="*/ 42 h 60"/>
                <a:gd name="T52" fmla="*/ 61 w 61"/>
                <a:gd name="T53" fmla="*/ 37 h 60"/>
                <a:gd name="T54" fmla="*/ 61 w 61"/>
                <a:gd name="T55" fmla="*/ 31 h 60"/>
                <a:gd name="T56" fmla="*/ 61 w 61"/>
                <a:gd name="T57" fmla="*/ 31 h 60"/>
                <a:gd name="T58" fmla="*/ 61 w 61"/>
                <a:gd name="T59" fmla="*/ 24 h 60"/>
                <a:gd name="T60" fmla="*/ 59 w 61"/>
                <a:gd name="T61" fmla="*/ 18 h 60"/>
                <a:gd name="T62" fmla="*/ 56 w 61"/>
                <a:gd name="T63" fmla="*/ 13 h 60"/>
                <a:gd name="T64" fmla="*/ 52 w 61"/>
                <a:gd name="T65" fmla="*/ 8 h 60"/>
                <a:gd name="T66" fmla="*/ 48 w 61"/>
                <a:gd name="T67" fmla="*/ 5 h 60"/>
                <a:gd name="T68" fmla="*/ 42 w 61"/>
                <a:gd name="T69" fmla="*/ 2 h 60"/>
                <a:gd name="T70" fmla="*/ 37 w 61"/>
                <a:gd name="T71" fmla="*/ 1 h 60"/>
                <a:gd name="T72" fmla="*/ 31 w 61"/>
                <a:gd name="T73" fmla="*/ 0 h 60"/>
                <a:gd name="T74" fmla="*/ 31 w 61"/>
                <a:gd name="T7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 h="60">
                  <a:moveTo>
                    <a:pt x="31" y="0"/>
                  </a:moveTo>
                  <a:lnTo>
                    <a:pt x="31" y="0"/>
                  </a:lnTo>
                  <a:lnTo>
                    <a:pt x="25" y="1"/>
                  </a:lnTo>
                  <a:lnTo>
                    <a:pt x="19" y="2"/>
                  </a:lnTo>
                  <a:lnTo>
                    <a:pt x="14" y="5"/>
                  </a:lnTo>
                  <a:lnTo>
                    <a:pt x="10" y="8"/>
                  </a:lnTo>
                  <a:lnTo>
                    <a:pt x="6" y="13"/>
                  </a:lnTo>
                  <a:lnTo>
                    <a:pt x="3" y="18"/>
                  </a:lnTo>
                  <a:lnTo>
                    <a:pt x="1" y="24"/>
                  </a:lnTo>
                  <a:lnTo>
                    <a:pt x="0" y="31"/>
                  </a:lnTo>
                  <a:lnTo>
                    <a:pt x="0" y="31"/>
                  </a:lnTo>
                  <a:lnTo>
                    <a:pt x="1" y="37"/>
                  </a:lnTo>
                  <a:lnTo>
                    <a:pt x="3" y="42"/>
                  </a:lnTo>
                  <a:lnTo>
                    <a:pt x="6" y="47"/>
                  </a:lnTo>
                  <a:lnTo>
                    <a:pt x="10" y="51"/>
                  </a:lnTo>
                  <a:lnTo>
                    <a:pt x="14" y="55"/>
                  </a:lnTo>
                  <a:lnTo>
                    <a:pt x="19" y="58"/>
                  </a:lnTo>
                  <a:lnTo>
                    <a:pt x="25" y="60"/>
                  </a:lnTo>
                  <a:lnTo>
                    <a:pt x="31" y="60"/>
                  </a:lnTo>
                  <a:lnTo>
                    <a:pt x="31" y="60"/>
                  </a:lnTo>
                  <a:lnTo>
                    <a:pt x="37" y="60"/>
                  </a:lnTo>
                  <a:lnTo>
                    <a:pt x="42" y="58"/>
                  </a:lnTo>
                  <a:lnTo>
                    <a:pt x="48" y="55"/>
                  </a:lnTo>
                  <a:lnTo>
                    <a:pt x="52" y="51"/>
                  </a:lnTo>
                  <a:lnTo>
                    <a:pt x="56" y="47"/>
                  </a:lnTo>
                  <a:lnTo>
                    <a:pt x="59" y="42"/>
                  </a:lnTo>
                  <a:lnTo>
                    <a:pt x="61" y="37"/>
                  </a:lnTo>
                  <a:lnTo>
                    <a:pt x="61" y="31"/>
                  </a:lnTo>
                  <a:lnTo>
                    <a:pt x="61" y="31"/>
                  </a:lnTo>
                  <a:lnTo>
                    <a:pt x="61" y="24"/>
                  </a:lnTo>
                  <a:lnTo>
                    <a:pt x="59" y="18"/>
                  </a:lnTo>
                  <a:lnTo>
                    <a:pt x="56" y="13"/>
                  </a:lnTo>
                  <a:lnTo>
                    <a:pt x="52" y="8"/>
                  </a:lnTo>
                  <a:lnTo>
                    <a:pt x="48" y="5"/>
                  </a:lnTo>
                  <a:lnTo>
                    <a:pt x="42" y="2"/>
                  </a:lnTo>
                  <a:lnTo>
                    <a:pt x="37" y="1"/>
                  </a:lnTo>
                  <a:lnTo>
                    <a:pt x="31" y="0"/>
                  </a:lnTo>
                  <a:lnTo>
                    <a:pt x="3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9" name="Freeform 124">
              <a:extLst>
                <a:ext uri="{FF2B5EF4-FFF2-40B4-BE49-F238E27FC236}">
                  <a16:creationId xmlns:a16="http://schemas.microsoft.com/office/drawing/2014/main" id="{68985CAD-2244-5904-0EA8-D4FCFE51AD54}"/>
                </a:ext>
              </a:extLst>
            </p:cNvPr>
            <p:cNvSpPr>
              <a:spLocks/>
            </p:cNvSpPr>
            <p:nvPr/>
          </p:nvSpPr>
          <p:spPr bwMode="auto">
            <a:xfrm>
              <a:off x="3050204" y="3293261"/>
              <a:ext cx="64113" cy="118858"/>
            </a:xfrm>
            <a:custGeom>
              <a:avLst/>
              <a:gdLst>
                <a:gd name="T0" fmla="*/ 0 w 43"/>
                <a:gd name="T1" fmla="*/ 0 h 88"/>
                <a:gd name="T2" fmla="*/ 0 w 43"/>
                <a:gd name="T3" fmla="*/ 0 h 88"/>
                <a:gd name="T4" fmla="*/ 0 w 43"/>
                <a:gd name="T5" fmla="*/ 0 h 88"/>
                <a:gd name="T6" fmla="*/ 0 w 43"/>
                <a:gd name="T7" fmla="*/ 14 h 88"/>
                <a:gd name="T8" fmla="*/ 0 w 43"/>
                <a:gd name="T9" fmla="*/ 14 h 88"/>
                <a:gd name="T10" fmla="*/ 0 w 43"/>
                <a:gd name="T11" fmla="*/ 14 h 88"/>
                <a:gd name="T12" fmla="*/ 0 w 43"/>
                <a:gd name="T13" fmla="*/ 14 h 88"/>
                <a:gd name="T14" fmla="*/ 6 w 43"/>
                <a:gd name="T15" fmla="*/ 15 h 88"/>
                <a:gd name="T16" fmla="*/ 11 w 43"/>
                <a:gd name="T17" fmla="*/ 16 h 88"/>
                <a:gd name="T18" fmla="*/ 17 w 43"/>
                <a:gd name="T19" fmla="*/ 19 h 88"/>
                <a:gd name="T20" fmla="*/ 21 w 43"/>
                <a:gd name="T21" fmla="*/ 22 h 88"/>
                <a:gd name="T22" fmla="*/ 25 w 43"/>
                <a:gd name="T23" fmla="*/ 27 h 88"/>
                <a:gd name="T24" fmla="*/ 28 w 43"/>
                <a:gd name="T25" fmla="*/ 32 h 88"/>
                <a:gd name="T26" fmla="*/ 30 w 43"/>
                <a:gd name="T27" fmla="*/ 38 h 88"/>
                <a:gd name="T28" fmla="*/ 30 w 43"/>
                <a:gd name="T29" fmla="*/ 45 h 88"/>
                <a:gd name="T30" fmla="*/ 30 w 43"/>
                <a:gd name="T31" fmla="*/ 45 h 88"/>
                <a:gd name="T32" fmla="*/ 30 w 43"/>
                <a:gd name="T33" fmla="*/ 51 h 88"/>
                <a:gd name="T34" fmla="*/ 28 w 43"/>
                <a:gd name="T35" fmla="*/ 56 h 88"/>
                <a:gd name="T36" fmla="*/ 25 w 43"/>
                <a:gd name="T37" fmla="*/ 61 h 88"/>
                <a:gd name="T38" fmla="*/ 21 w 43"/>
                <a:gd name="T39" fmla="*/ 65 h 88"/>
                <a:gd name="T40" fmla="*/ 17 w 43"/>
                <a:gd name="T41" fmla="*/ 69 h 88"/>
                <a:gd name="T42" fmla="*/ 11 w 43"/>
                <a:gd name="T43" fmla="*/ 72 h 88"/>
                <a:gd name="T44" fmla="*/ 6 w 43"/>
                <a:gd name="T45" fmla="*/ 74 h 88"/>
                <a:gd name="T46" fmla="*/ 0 w 43"/>
                <a:gd name="T47" fmla="*/ 74 h 88"/>
                <a:gd name="T48" fmla="*/ 0 w 43"/>
                <a:gd name="T49" fmla="*/ 74 h 88"/>
                <a:gd name="T50" fmla="*/ 0 w 43"/>
                <a:gd name="T51" fmla="*/ 74 h 88"/>
                <a:gd name="T52" fmla="*/ 0 w 43"/>
                <a:gd name="T53" fmla="*/ 88 h 88"/>
                <a:gd name="T54" fmla="*/ 0 w 43"/>
                <a:gd name="T55" fmla="*/ 88 h 88"/>
                <a:gd name="T56" fmla="*/ 0 w 43"/>
                <a:gd name="T57" fmla="*/ 88 h 88"/>
                <a:gd name="T58" fmla="*/ 0 w 43"/>
                <a:gd name="T59" fmla="*/ 88 h 88"/>
                <a:gd name="T60" fmla="*/ 9 w 43"/>
                <a:gd name="T61" fmla="*/ 86 h 88"/>
                <a:gd name="T62" fmla="*/ 17 w 43"/>
                <a:gd name="T63" fmla="*/ 84 h 88"/>
                <a:gd name="T64" fmla="*/ 25 w 43"/>
                <a:gd name="T65" fmla="*/ 80 h 88"/>
                <a:gd name="T66" fmla="*/ 31 w 43"/>
                <a:gd name="T67" fmla="*/ 75 h 88"/>
                <a:gd name="T68" fmla="*/ 36 w 43"/>
                <a:gd name="T69" fmla="*/ 68 h 88"/>
                <a:gd name="T70" fmla="*/ 40 w 43"/>
                <a:gd name="T71" fmla="*/ 61 h 88"/>
                <a:gd name="T72" fmla="*/ 42 w 43"/>
                <a:gd name="T73" fmla="*/ 53 h 88"/>
                <a:gd name="T74" fmla="*/ 43 w 43"/>
                <a:gd name="T75" fmla="*/ 45 h 88"/>
                <a:gd name="T76" fmla="*/ 43 w 43"/>
                <a:gd name="T77" fmla="*/ 45 h 88"/>
                <a:gd name="T78" fmla="*/ 42 w 43"/>
                <a:gd name="T79" fmla="*/ 35 h 88"/>
                <a:gd name="T80" fmla="*/ 40 w 43"/>
                <a:gd name="T81" fmla="*/ 27 h 88"/>
                <a:gd name="T82" fmla="*/ 36 w 43"/>
                <a:gd name="T83" fmla="*/ 20 h 88"/>
                <a:gd name="T84" fmla="*/ 31 w 43"/>
                <a:gd name="T85" fmla="*/ 14 h 88"/>
                <a:gd name="T86" fmla="*/ 25 w 43"/>
                <a:gd name="T87" fmla="*/ 8 h 88"/>
                <a:gd name="T88" fmla="*/ 17 w 43"/>
                <a:gd name="T89" fmla="*/ 4 h 88"/>
                <a:gd name="T90" fmla="*/ 9 w 43"/>
                <a:gd name="T91" fmla="*/ 1 h 88"/>
                <a:gd name="T92" fmla="*/ 0 w 43"/>
                <a:gd name="T93" fmla="*/ 0 h 88"/>
                <a:gd name="T94" fmla="*/ 0 w 43"/>
                <a:gd name="T9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 h="88">
                  <a:moveTo>
                    <a:pt x="0" y="0"/>
                  </a:moveTo>
                  <a:lnTo>
                    <a:pt x="0" y="0"/>
                  </a:lnTo>
                  <a:lnTo>
                    <a:pt x="0" y="0"/>
                  </a:lnTo>
                  <a:lnTo>
                    <a:pt x="0" y="14"/>
                  </a:lnTo>
                  <a:lnTo>
                    <a:pt x="0" y="14"/>
                  </a:lnTo>
                  <a:lnTo>
                    <a:pt x="0" y="14"/>
                  </a:lnTo>
                  <a:lnTo>
                    <a:pt x="0" y="14"/>
                  </a:lnTo>
                  <a:lnTo>
                    <a:pt x="6" y="15"/>
                  </a:lnTo>
                  <a:lnTo>
                    <a:pt x="11" y="16"/>
                  </a:lnTo>
                  <a:lnTo>
                    <a:pt x="17" y="19"/>
                  </a:lnTo>
                  <a:lnTo>
                    <a:pt x="21" y="22"/>
                  </a:lnTo>
                  <a:lnTo>
                    <a:pt x="25" y="27"/>
                  </a:lnTo>
                  <a:lnTo>
                    <a:pt x="28" y="32"/>
                  </a:lnTo>
                  <a:lnTo>
                    <a:pt x="30" y="38"/>
                  </a:lnTo>
                  <a:lnTo>
                    <a:pt x="30" y="45"/>
                  </a:lnTo>
                  <a:lnTo>
                    <a:pt x="30" y="45"/>
                  </a:lnTo>
                  <a:lnTo>
                    <a:pt x="30" y="51"/>
                  </a:lnTo>
                  <a:lnTo>
                    <a:pt x="28" y="56"/>
                  </a:lnTo>
                  <a:lnTo>
                    <a:pt x="25" y="61"/>
                  </a:lnTo>
                  <a:lnTo>
                    <a:pt x="21" y="65"/>
                  </a:lnTo>
                  <a:lnTo>
                    <a:pt x="17" y="69"/>
                  </a:lnTo>
                  <a:lnTo>
                    <a:pt x="11" y="72"/>
                  </a:lnTo>
                  <a:lnTo>
                    <a:pt x="6" y="74"/>
                  </a:lnTo>
                  <a:lnTo>
                    <a:pt x="0" y="74"/>
                  </a:lnTo>
                  <a:lnTo>
                    <a:pt x="0" y="74"/>
                  </a:lnTo>
                  <a:lnTo>
                    <a:pt x="0" y="74"/>
                  </a:lnTo>
                  <a:lnTo>
                    <a:pt x="0" y="88"/>
                  </a:lnTo>
                  <a:lnTo>
                    <a:pt x="0" y="88"/>
                  </a:lnTo>
                  <a:lnTo>
                    <a:pt x="0" y="88"/>
                  </a:lnTo>
                  <a:lnTo>
                    <a:pt x="0" y="88"/>
                  </a:lnTo>
                  <a:lnTo>
                    <a:pt x="9" y="86"/>
                  </a:lnTo>
                  <a:lnTo>
                    <a:pt x="17" y="84"/>
                  </a:lnTo>
                  <a:lnTo>
                    <a:pt x="25" y="80"/>
                  </a:lnTo>
                  <a:lnTo>
                    <a:pt x="31" y="75"/>
                  </a:lnTo>
                  <a:lnTo>
                    <a:pt x="36" y="68"/>
                  </a:lnTo>
                  <a:lnTo>
                    <a:pt x="40" y="61"/>
                  </a:lnTo>
                  <a:lnTo>
                    <a:pt x="42" y="53"/>
                  </a:lnTo>
                  <a:lnTo>
                    <a:pt x="43" y="45"/>
                  </a:lnTo>
                  <a:lnTo>
                    <a:pt x="43" y="45"/>
                  </a:lnTo>
                  <a:lnTo>
                    <a:pt x="42" y="35"/>
                  </a:lnTo>
                  <a:lnTo>
                    <a:pt x="40" y="27"/>
                  </a:lnTo>
                  <a:lnTo>
                    <a:pt x="36" y="20"/>
                  </a:lnTo>
                  <a:lnTo>
                    <a:pt x="31" y="14"/>
                  </a:lnTo>
                  <a:lnTo>
                    <a:pt x="25" y="8"/>
                  </a:lnTo>
                  <a:lnTo>
                    <a:pt x="17" y="4"/>
                  </a:lnTo>
                  <a:lnTo>
                    <a:pt x="9" y="1"/>
                  </a:lnTo>
                  <a:lnTo>
                    <a:pt x="0" y="0"/>
                  </a:lnTo>
                  <a:lnTo>
                    <a:pt x="0" y="0"/>
                  </a:lnTo>
                  <a:close/>
                </a:path>
              </a:pathLst>
            </a:custGeom>
            <a:solidFill>
              <a:srgbClr val="1037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0" name="Freeform 125">
              <a:extLst>
                <a:ext uri="{FF2B5EF4-FFF2-40B4-BE49-F238E27FC236}">
                  <a16:creationId xmlns:a16="http://schemas.microsoft.com/office/drawing/2014/main" id="{3E5343A2-BE24-4246-97CE-95B7E78581F9}"/>
                </a:ext>
              </a:extLst>
            </p:cNvPr>
            <p:cNvSpPr>
              <a:spLocks/>
            </p:cNvSpPr>
            <p:nvPr/>
          </p:nvSpPr>
          <p:spPr bwMode="auto">
            <a:xfrm>
              <a:off x="3050215" y="3312165"/>
              <a:ext cx="44730" cy="81039"/>
            </a:xfrm>
            <a:custGeom>
              <a:avLst/>
              <a:gdLst>
                <a:gd name="T0" fmla="*/ 30 w 30"/>
                <a:gd name="T1" fmla="*/ 31 h 60"/>
                <a:gd name="T2" fmla="*/ 30 w 30"/>
                <a:gd name="T3" fmla="*/ 31 h 60"/>
                <a:gd name="T4" fmla="*/ 30 w 30"/>
                <a:gd name="T5" fmla="*/ 24 h 60"/>
                <a:gd name="T6" fmla="*/ 28 w 30"/>
                <a:gd name="T7" fmla="*/ 18 h 60"/>
                <a:gd name="T8" fmla="*/ 25 w 30"/>
                <a:gd name="T9" fmla="*/ 13 h 60"/>
                <a:gd name="T10" fmla="*/ 21 w 30"/>
                <a:gd name="T11" fmla="*/ 8 h 60"/>
                <a:gd name="T12" fmla="*/ 17 w 30"/>
                <a:gd name="T13" fmla="*/ 5 h 60"/>
                <a:gd name="T14" fmla="*/ 11 w 30"/>
                <a:gd name="T15" fmla="*/ 2 h 60"/>
                <a:gd name="T16" fmla="*/ 6 w 30"/>
                <a:gd name="T17" fmla="*/ 1 h 60"/>
                <a:gd name="T18" fmla="*/ 0 w 30"/>
                <a:gd name="T19" fmla="*/ 0 h 60"/>
                <a:gd name="T20" fmla="*/ 0 w 30"/>
                <a:gd name="T21" fmla="*/ 0 h 60"/>
                <a:gd name="T22" fmla="*/ 0 w 30"/>
                <a:gd name="T23" fmla="*/ 0 h 60"/>
                <a:gd name="T24" fmla="*/ 0 w 30"/>
                <a:gd name="T25" fmla="*/ 60 h 60"/>
                <a:gd name="T26" fmla="*/ 0 w 30"/>
                <a:gd name="T27" fmla="*/ 60 h 60"/>
                <a:gd name="T28" fmla="*/ 0 w 30"/>
                <a:gd name="T29" fmla="*/ 60 h 60"/>
                <a:gd name="T30" fmla="*/ 0 w 30"/>
                <a:gd name="T31" fmla="*/ 60 h 60"/>
                <a:gd name="T32" fmla="*/ 6 w 30"/>
                <a:gd name="T33" fmla="*/ 60 h 60"/>
                <a:gd name="T34" fmla="*/ 11 w 30"/>
                <a:gd name="T35" fmla="*/ 58 h 60"/>
                <a:gd name="T36" fmla="*/ 17 w 30"/>
                <a:gd name="T37" fmla="*/ 55 h 60"/>
                <a:gd name="T38" fmla="*/ 21 w 30"/>
                <a:gd name="T39" fmla="*/ 51 h 60"/>
                <a:gd name="T40" fmla="*/ 25 w 30"/>
                <a:gd name="T41" fmla="*/ 47 h 60"/>
                <a:gd name="T42" fmla="*/ 28 w 30"/>
                <a:gd name="T43" fmla="*/ 42 h 60"/>
                <a:gd name="T44" fmla="*/ 30 w 30"/>
                <a:gd name="T45" fmla="*/ 37 h 60"/>
                <a:gd name="T46" fmla="*/ 30 w 30"/>
                <a:gd name="T47" fmla="*/ 31 h 60"/>
                <a:gd name="T48" fmla="*/ 30 w 30"/>
                <a:gd name="T49" fmla="*/ 3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 h="60">
                  <a:moveTo>
                    <a:pt x="30" y="31"/>
                  </a:moveTo>
                  <a:lnTo>
                    <a:pt x="30" y="31"/>
                  </a:lnTo>
                  <a:lnTo>
                    <a:pt x="30" y="24"/>
                  </a:lnTo>
                  <a:lnTo>
                    <a:pt x="28" y="18"/>
                  </a:lnTo>
                  <a:lnTo>
                    <a:pt x="25" y="13"/>
                  </a:lnTo>
                  <a:lnTo>
                    <a:pt x="21" y="8"/>
                  </a:lnTo>
                  <a:lnTo>
                    <a:pt x="17" y="5"/>
                  </a:lnTo>
                  <a:lnTo>
                    <a:pt x="11" y="2"/>
                  </a:lnTo>
                  <a:lnTo>
                    <a:pt x="6" y="1"/>
                  </a:lnTo>
                  <a:lnTo>
                    <a:pt x="0" y="0"/>
                  </a:lnTo>
                  <a:lnTo>
                    <a:pt x="0" y="0"/>
                  </a:lnTo>
                  <a:lnTo>
                    <a:pt x="0" y="0"/>
                  </a:lnTo>
                  <a:lnTo>
                    <a:pt x="0" y="60"/>
                  </a:lnTo>
                  <a:lnTo>
                    <a:pt x="0" y="60"/>
                  </a:lnTo>
                  <a:lnTo>
                    <a:pt x="0" y="60"/>
                  </a:lnTo>
                  <a:lnTo>
                    <a:pt x="0" y="60"/>
                  </a:lnTo>
                  <a:lnTo>
                    <a:pt x="6" y="60"/>
                  </a:lnTo>
                  <a:lnTo>
                    <a:pt x="11" y="58"/>
                  </a:lnTo>
                  <a:lnTo>
                    <a:pt x="17" y="55"/>
                  </a:lnTo>
                  <a:lnTo>
                    <a:pt x="21" y="51"/>
                  </a:lnTo>
                  <a:lnTo>
                    <a:pt x="25" y="47"/>
                  </a:lnTo>
                  <a:lnTo>
                    <a:pt x="28" y="42"/>
                  </a:lnTo>
                  <a:lnTo>
                    <a:pt x="30" y="37"/>
                  </a:lnTo>
                  <a:lnTo>
                    <a:pt x="30" y="31"/>
                  </a:lnTo>
                  <a:lnTo>
                    <a:pt x="30" y="31"/>
                  </a:lnTo>
                  <a:close/>
                </a:path>
              </a:pathLst>
            </a:custGeom>
            <a:solidFill>
              <a:srgbClr val="D1E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grpSp>
        <p:nvGrpSpPr>
          <p:cNvPr id="464" name="Group 463">
            <a:extLst>
              <a:ext uri="{FF2B5EF4-FFF2-40B4-BE49-F238E27FC236}">
                <a16:creationId xmlns:a16="http://schemas.microsoft.com/office/drawing/2014/main" id="{FE0DFA2D-9405-9AB9-A215-F4C6AB844558}"/>
              </a:ext>
            </a:extLst>
          </p:cNvPr>
          <p:cNvGrpSpPr/>
          <p:nvPr/>
        </p:nvGrpSpPr>
        <p:grpSpPr>
          <a:xfrm>
            <a:off x="7506200" y="2635887"/>
            <a:ext cx="1289347" cy="1139420"/>
            <a:chOff x="7087417" y="2952895"/>
            <a:chExt cx="1035028" cy="946809"/>
          </a:xfrm>
        </p:grpSpPr>
        <p:sp>
          <p:nvSpPr>
            <p:cNvPr id="412" name="Freeform 25">
              <a:extLst>
                <a:ext uri="{FF2B5EF4-FFF2-40B4-BE49-F238E27FC236}">
                  <a16:creationId xmlns:a16="http://schemas.microsoft.com/office/drawing/2014/main" id="{67012AA4-984B-DC2B-EC60-EB807F159439}"/>
                </a:ext>
              </a:extLst>
            </p:cNvPr>
            <p:cNvSpPr>
              <a:spLocks/>
            </p:cNvSpPr>
            <p:nvPr/>
          </p:nvSpPr>
          <p:spPr bwMode="auto">
            <a:xfrm>
              <a:off x="7087417" y="2952895"/>
              <a:ext cx="1035028" cy="946809"/>
            </a:xfrm>
            <a:custGeom>
              <a:avLst/>
              <a:gdLst>
                <a:gd name="T0" fmla="*/ 333 w 701"/>
                <a:gd name="T1" fmla="*/ 701 h 702"/>
                <a:gd name="T2" fmla="*/ 280 w 701"/>
                <a:gd name="T3" fmla="*/ 695 h 702"/>
                <a:gd name="T4" fmla="*/ 231 w 701"/>
                <a:gd name="T5" fmla="*/ 680 h 702"/>
                <a:gd name="T6" fmla="*/ 184 w 701"/>
                <a:gd name="T7" fmla="*/ 659 h 702"/>
                <a:gd name="T8" fmla="*/ 141 w 701"/>
                <a:gd name="T9" fmla="*/ 632 h 702"/>
                <a:gd name="T10" fmla="*/ 102 w 701"/>
                <a:gd name="T11" fmla="*/ 598 h 702"/>
                <a:gd name="T12" fmla="*/ 70 w 701"/>
                <a:gd name="T13" fmla="*/ 560 h 702"/>
                <a:gd name="T14" fmla="*/ 43 w 701"/>
                <a:gd name="T15" fmla="*/ 518 h 702"/>
                <a:gd name="T16" fmla="*/ 21 w 701"/>
                <a:gd name="T17" fmla="*/ 471 h 702"/>
                <a:gd name="T18" fmla="*/ 7 w 701"/>
                <a:gd name="T19" fmla="*/ 422 h 702"/>
                <a:gd name="T20" fmla="*/ 1 w 701"/>
                <a:gd name="T21" fmla="*/ 369 h 702"/>
                <a:gd name="T22" fmla="*/ 1 w 701"/>
                <a:gd name="T23" fmla="*/ 333 h 702"/>
                <a:gd name="T24" fmla="*/ 7 w 701"/>
                <a:gd name="T25" fmla="*/ 280 h 702"/>
                <a:gd name="T26" fmla="*/ 21 w 701"/>
                <a:gd name="T27" fmla="*/ 231 h 702"/>
                <a:gd name="T28" fmla="*/ 43 w 701"/>
                <a:gd name="T29" fmla="*/ 184 h 702"/>
                <a:gd name="T30" fmla="*/ 70 w 701"/>
                <a:gd name="T31" fmla="*/ 141 h 702"/>
                <a:gd name="T32" fmla="*/ 102 w 701"/>
                <a:gd name="T33" fmla="*/ 104 h 702"/>
                <a:gd name="T34" fmla="*/ 141 w 701"/>
                <a:gd name="T35" fmla="*/ 70 h 702"/>
                <a:gd name="T36" fmla="*/ 184 w 701"/>
                <a:gd name="T37" fmla="*/ 43 h 702"/>
                <a:gd name="T38" fmla="*/ 231 w 701"/>
                <a:gd name="T39" fmla="*/ 22 h 702"/>
                <a:gd name="T40" fmla="*/ 280 w 701"/>
                <a:gd name="T41" fmla="*/ 7 h 702"/>
                <a:gd name="T42" fmla="*/ 333 w 701"/>
                <a:gd name="T43" fmla="*/ 1 h 702"/>
                <a:gd name="T44" fmla="*/ 369 w 701"/>
                <a:gd name="T45" fmla="*/ 1 h 702"/>
                <a:gd name="T46" fmla="*/ 422 w 701"/>
                <a:gd name="T47" fmla="*/ 7 h 702"/>
                <a:gd name="T48" fmla="*/ 471 w 701"/>
                <a:gd name="T49" fmla="*/ 22 h 702"/>
                <a:gd name="T50" fmla="*/ 518 w 701"/>
                <a:gd name="T51" fmla="*/ 43 h 702"/>
                <a:gd name="T52" fmla="*/ 560 w 701"/>
                <a:gd name="T53" fmla="*/ 70 h 702"/>
                <a:gd name="T54" fmla="*/ 598 w 701"/>
                <a:gd name="T55" fmla="*/ 104 h 702"/>
                <a:gd name="T56" fmla="*/ 631 w 701"/>
                <a:gd name="T57" fmla="*/ 141 h 702"/>
                <a:gd name="T58" fmla="*/ 659 w 701"/>
                <a:gd name="T59" fmla="*/ 184 h 702"/>
                <a:gd name="T60" fmla="*/ 680 w 701"/>
                <a:gd name="T61" fmla="*/ 231 h 702"/>
                <a:gd name="T62" fmla="*/ 694 w 701"/>
                <a:gd name="T63" fmla="*/ 280 h 702"/>
                <a:gd name="T64" fmla="*/ 701 w 701"/>
                <a:gd name="T65" fmla="*/ 333 h 702"/>
                <a:gd name="T66" fmla="*/ 701 w 701"/>
                <a:gd name="T67" fmla="*/ 369 h 702"/>
                <a:gd name="T68" fmla="*/ 694 w 701"/>
                <a:gd name="T69" fmla="*/ 422 h 702"/>
                <a:gd name="T70" fmla="*/ 680 w 701"/>
                <a:gd name="T71" fmla="*/ 471 h 702"/>
                <a:gd name="T72" fmla="*/ 659 w 701"/>
                <a:gd name="T73" fmla="*/ 518 h 702"/>
                <a:gd name="T74" fmla="*/ 631 w 701"/>
                <a:gd name="T75" fmla="*/ 560 h 702"/>
                <a:gd name="T76" fmla="*/ 598 w 701"/>
                <a:gd name="T77" fmla="*/ 598 h 702"/>
                <a:gd name="T78" fmla="*/ 560 w 701"/>
                <a:gd name="T79" fmla="*/ 632 h 702"/>
                <a:gd name="T80" fmla="*/ 518 w 701"/>
                <a:gd name="T81" fmla="*/ 659 h 702"/>
                <a:gd name="T82" fmla="*/ 471 w 701"/>
                <a:gd name="T83" fmla="*/ 680 h 702"/>
                <a:gd name="T84" fmla="*/ 422 w 701"/>
                <a:gd name="T85" fmla="*/ 695 h 702"/>
                <a:gd name="T86" fmla="*/ 369 w 701"/>
                <a:gd name="T87" fmla="*/ 70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2">
                  <a:moveTo>
                    <a:pt x="350" y="702"/>
                  </a:moveTo>
                  <a:lnTo>
                    <a:pt x="350" y="702"/>
                  </a:lnTo>
                  <a:lnTo>
                    <a:pt x="333" y="701"/>
                  </a:lnTo>
                  <a:lnTo>
                    <a:pt x="315" y="700"/>
                  </a:lnTo>
                  <a:lnTo>
                    <a:pt x="297" y="697"/>
                  </a:lnTo>
                  <a:lnTo>
                    <a:pt x="280" y="695"/>
                  </a:lnTo>
                  <a:lnTo>
                    <a:pt x="263" y="691"/>
                  </a:lnTo>
                  <a:lnTo>
                    <a:pt x="247" y="686"/>
                  </a:lnTo>
                  <a:lnTo>
                    <a:pt x="231" y="680"/>
                  </a:lnTo>
                  <a:lnTo>
                    <a:pt x="215" y="674"/>
                  </a:lnTo>
                  <a:lnTo>
                    <a:pt x="199" y="667"/>
                  </a:lnTo>
                  <a:lnTo>
                    <a:pt x="184" y="659"/>
                  </a:lnTo>
                  <a:lnTo>
                    <a:pt x="169" y="650"/>
                  </a:lnTo>
                  <a:lnTo>
                    <a:pt x="155" y="642"/>
                  </a:lnTo>
                  <a:lnTo>
                    <a:pt x="141" y="632"/>
                  </a:lnTo>
                  <a:lnTo>
                    <a:pt x="128" y="622"/>
                  </a:lnTo>
                  <a:lnTo>
                    <a:pt x="115" y="611"/>
                  </a:lnTo>
                  <a:lnTo>
                    <a:pt x="102" y="598"/>
                  </a:lnTo>
                  <a:lnTo>
                    <a:pt x="91" y="586"/>
                  </a:lnTo>
                  <a:lnTo>
                    <a:pt x="80" y="574"/>
                  </a:lnTo>
                  <a:lnTo>
                    <a:pt x="70" y="560"/>
                  </a:lnTo>
                  <a:lnTo>
                    <a:pt x="60" y="547"/>
                  </a:lnTo>
                  <a:lnTo>
                    <a:pt x="51" y="533"/>
                  </a:lnTo>
                  <a:lnTo>
                    <a:pt x="43" y="518"/>
                  </a:lnTo>
                  <a:lnTo>
                    <a:pt x="35" y="503"/>
                  </a:lnTo>
                  <a:lnTo>
                    <a:pt x="28" y="487"/>
                  </a:lnTo>
                  <a:lnTo>
                    <a:pt x="21" y="471"/>
                  </a:lnTo>
                  <a:lnTo>
                    <a:pt x="16" y="455"/>
                  </a:lnTo>
                  <a:lnTo>
                    <a:pt x="11" y="438"/>
                  </a:lnTo>
                  <a:lnTo>
                    <a:pt x="7" y="422"/>
                  </a:lnTo>
                  <a:lnTo>
                    <a:pt x="5" y="405"/>
                  </a:lnTo>
                  <a:lnTo>
                    <a:pt x="2" y="386"/>
                  </a:lnTo>
                  <a:lnTo>
                    <a:pt x="1" y="369"/>
                  </a:lnTo>
                  <a:lnTo>
                    <a:pt x="0" y="350"/>
                  </a:lnTo>
                  <a:lnTo>
                    <a:pt x="0" y="350"/>
                  </a:lnTo>
                  <a:lnTo>
                    <a:pt x="1" y="333"/>
                  </a:lnTo>
                  <a:lnTo>
                    <a:pt x="2" y="315"/>
                  </a:lnTo>
                  <a:lnTo>
                    <a:pt x="5" y="297"/>
                  </a:lnTo>
                  <a:lnTo>
                    <a:pt x="7" y="280"/>
                  </a:lnTo>
                  <a:lnTo>
                    <a:pt x="11" y="263"/>
                  </a:lnTo>
                  <a:lnTo>
                    <a:pt x="16" y="247"/>
                  </a:lnTo>
                  <a:lnTo>
                    <a:pt x="21" y="231"/>
                  </a:lnTo>
                  <a:lnTo>
                    <a:pt x="28" y="215"/>
                  </a:lnTo>
                  <a:lnTo>
                    <a:pt x="35" y="199"/>
                  </a:lnTo>
                  <a:lnTo>
                    <a:pt x="43" y="184"/>
                  </a:lnTo>
                  <a:lnTo>
                    <a:pt x="51" y="169"/>
                  </a:lnTo>
                  <a:lnTo>
                    <a:pt x="60" y="156"/>
                  </a:lnTo>
                  <a:lnTo>
                    <a:pt x="70" y="141"/>
                  </a:lnTo>
                  <a:lnTo>
                    <a:pt x="80" y="128"/>
                  </a:lnTo>
                  <a:lnTo>
                    <a:pt x="91" y="115"/>
                  </a:lnTo>
                  <a:lnTo>
                    <a:pt x="102" y="104"/>
                  </a:lnTo>
                  <a:lnTo>
                    <a:pt x="115" y="91"/>
                  </a:lnTo>
                  <a:lnTo>
                    <a:pt x="128" y="80"/>
                  </a:lnTo>
                  <a:lnTo>
                    <a:pt x="141" y="70"/>
                  </a:lnTo>
                  <a:lnTo>
                    <a:pt x="155" y="61"/>
                  </a:lnTo>
                  <a:lnTo>
                    <a:pt x="169" y="51"/>
                  </a:lnTo>
                  <a:lnTo>
                    <a:pt x="184" y="43"/>
                  </a:lnTo>
                  <a:lnTo>
                    <a:pt x="199" y="35"/>
                  </a:lnTo>
                  <a:lnTo>
                    <a:pt x="215" y="28"/>
                  </a:lnTo>
                  <a:lnTo>
                    <a:pt x="231" y="22"/>
                  </a:lnTo>
                  <a:lnTo>
                    <a:pt x="247" y="16"/>
                  </a:lnTo>
                  <a:lnTo>
                    <a:pt x="263" y="11"/>
                  </a:lnTo>
                  <a:lnTo>
                    <a:pt x="280" y="7"/>
                  </a:lnTo>
                  <a:lnTo>
                    <a:pt x="297" y="5"/>
                  </a:lnTo>
                  <a:lnTo>
                    <a:pt x="315" y="3"/>
                  </a:lnTo>
                  <a:lnTo>
                    <a:pt x="333" y="1"/>
                  </a:lnTo>
                  <a:lnTo>
                    <a:pt x="350" y="0"/>
                  </a:lnTo>
                  <a:lnTo>
                    <a:pt x="350" y="0"/>
                  </a:lnTo>
                  <a:lnTo>
                    <a:pt x="369" y="1"/>
                  </a:lnTo>
                  <a:lnTo>
                    <a:pt x="386" y="3"/>
                  </a:lnTo>
                  <a:lnTo>
                    <a:pt x="405" y="5"/>
                  </a:lnTo>
                  <a:lnTo>
                    <a:pt x="422" y="7"/>
                  </a:lnTo>
                  <a:lnTo>
                    <a:pt x="438" y="11"/>
                  </a:lnTo>
                  <a:lnTo>
                    <a:pt x="455" y="16"/>
                  </a:lnTo>
                  <a:lnTo>
                    <a:pt x="471" y="22"/>
                  </a:lnTo>
                  <a:lnTo>
                    <a:pt x="487" y="28"/>
                  </a:lnTo>
                  <a:lnTo>
                    <a:pt x="503" y="35"/>
                  </a:lnTo>
                  <a:lnTo>
                    <a:pt x="518" y="43"/>
                  </a:lnTo>
                  <a:lnTo>
                    <a:pt x="533" y="51"/>
                  </a:lnTo>
                  <a:lnTo>
                    <a:pt x="546" y="61"/>
                  </a:lnTo>
                  <a:lnTo>
                    <a:pt x="560" y="70"/>
                  </a:lnTo>
                  <a:lnTo>
                    <a:pt x="574" y="80"/>
                  </a:lnTo>
                  <a:lnTo>
                    <a:pt x="586" y="91"/>
                  </a:lnTo>
                  <a:lnTo>
                    <a:pt x="598" y="104"/>
                  </a:lnTo>
                  <a:lnTo>
                    <a:pt x="611" y="115"/>
                  </a:lnTo>
                  <a:lnTo>
                    <a:pt x="622" y="128"/>
                  </a:lnTo>
                  <a:lnTo>
                    <a:pt x="631" y="141"/>
                  </a:lnTo>
                  <a:lnTo>
                    <a:pt x="641" y="156"/>
                  </a:lnTo>
                  <a:lnTo>
                    <a:pt x="650" y="169"/>
                  </a:lnTo>
                  <a:lnTo>
                    <a:pt x="659" y="184"/>
                  </a:lnTo>
                  <a:lnTo>
                    <a:pt x="666" y="199"/>
                  </a:lnTo>
                  <a:lnTo>
                    <a:pt x="673" y="215"/>
                  </a:lnTo>
                  <a:lnTo>
                    <a:pt x="680" y="231"/>
                  </a:lnTo>
                  <a:lnTo>
                    <a:pt x="686" y="247"/>
                  </a:lnTo>
                  <a:lnTo>
                    <a:pt x="691" y="263"/>
                  </a:lnTo>
                  <a:lnTo>
                    <a:pt x="694" y="280"/>
                  </a:lnTo>
                  <a:lnTo>
                    <a:pt x="697" y="297"/>
                  </a:lnTo>
                  <a:lnTo>
                    <a:pt x="699" y="315"/>
                  </a:lnTo>
                  <a:lnTo>
                    <a:pt x="701" y="333"/>
                  </a:lnTo>
                  <a:lnTo>
                    <a:pt x="701" y="350"/>
                  </a:lnTo>
                  <a:lnTo>
                    <a:pt x="701" y="350"/>
                  </a:lnTo>
                  <a:lnTo>
                    <a:pt x="701" y="369"/>
                  </a:lnTo>
                  <a:lnTo>
                    <a:pt x="699" y="386"/>
                  </a:lnTo>
                  <a:lnTo>
                    <a:pt x="697" y="405"/>
                  </a:lnTo>
                  <a:lnTo>
                    <a:pt x="694" y="422"/>
                  </a:lnTo>
                  <a:lnTo>
                    <a:pt x="691" y="438"/>
                  </a:lnTo>
                  <a:lnTo>
                    <a:pt x="686" y="455"/>
                  </a:lnTo>
                  <a:lnTo>
                    <a:pt x="680" y="471"/>
                  </a:lnTo>
                  <a:lnTo>
                    <a:pt x="673" y="487"/>
                  </a:lnTo>
                  <a:lnTo>
                    <a:pt x="666" y="503"/>
                  </a:lnTo>
                  <a:lnTo>
                    <a:pt x="659" y="518"/>
                  </a:lnTo>
                  <a:lnTo>
                    <a:pt x="650" y="533"/>
                  </a:lnTo>
                  <a:lnTo>
                    <a:pt x="641" y="547"/>
                  </a:lnTo>
                  <a:lnTo>
                    <a:pt x="631" y="560"/>
                  </a:lnTo>
                  <a:lnTo>
                    <a:pt x="622" y="574"/>
                  </a:lnTo>
                  <a:lnTo>
                    <a:pt x="611" y="586"/>
                  </a:lnTo>
                  <a:lnTo>
                    <a:pt x="598" y="598"/>
                  </a:lnTo>
                  <a:lnTo>
                    <a:pt x="586" y="611"/>
                  </a:lnTo>
                  <a:lnTo>
                    <a:pt x="574" y="622"/>
                  </a:lnTo>
                  <a:lnTo>
                    <a:pt x="560" y="632"/>
                  </a:lnTo>
                  <a:lnTo>
                    <a:pt x="546" y="642"/>
                  </a:lnTo>
                  <a:lnTo>
                    <a:pt x="533" y="650"/>
                  </a:lnTo>
                  <a:lnTo>
                    <a:pt x="518" y="659"/>
                  </a:lnTo>
                  <a:lnTo>
                    <a:pt x="503" y="667"/>
                  </a:lnTo>
                  <a:lnTo>
                    <a:pt x="487" y="674"/>
                  </a:lnTo>
                  <a:lnTo>
                    <a:pt x="471" y="680"/>
                  </a:lnTo>
                  <a:lnTo>
                    <a:pt x="455" y="686"/>
                  </a:lnTo>
                  <a:lnTo>
                    <a:pt x="438" y="691"/>
                  </a:lnTo>
                  <a:lnTo>
                    <a:pt x="422" y="695"/>
                  </a:lnTo>
                  <a:lnTo>
                    <a:pt x="405" y="697"/>
                  </a:lnTo>
                  <a:lnTo>
                    <a:pt x="386" y="700"/>
                  </a:lnTo>
                  <a:lnTo>
                    <a:pt x="369" y="701"/>
                  </a:lnTo>
                  <a:lnTo>
                    <a:pt x="350" y="702"/>
                  </a:lnTo>
                  <a:lnTo>
                    <a:pt x="350" y="702"/>
                  </a:lnTo>
                  <a:close/>
                </a:path>
              </a:pathLst>
            </a:custGeom>
            <a:solidFill>
              <a:srgbClr val="48369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4" name="Freeform 252">
              <a:extLst>
                <a:ext uri="{FF2B5EF4-FFF2-40B4-BE49-F238E27FC236}">
                  <a16:creationId xmlns:a16="http://schemas.microsoft.com/office/drawing/2014/main" id="{2EDA4A66-1811-C470-DDBD-2B0A3D09D89D}"/>
                </a:ext>
              </a:extLst>
            </p:cNvPr>
            <p:cNvSpPr>
              <a:spLocks/>
            </p:cNvSpPr>
            <p:nvPr/>
          </p:nvSpPr>
          <p:spPr bwMode="auto">
            <a:xfrm>
              <a:off x="7319228" y="3223990"/>
              <a:ext cx="484292" cy="370901"/>
            </a:xfrm>
            <a:custGeom>
              <a:avLst/>
              <a:gdLst>
                <a:gd name="T0" fmla="*/ 14 w 328"/>
                <a:gd name="T1" fmla="*/ 275 h 275"/>
                <a:gd name="T2" fmla="*/ 14 w 328"/>
                <a:gd name="T3" fmla="*/ 275 h 275"/>
                <a:gd name="T4" fmla="*/ 8 w 328"/>
                <a:gd name="T5" fmla="*/ 274 h 275"/>
                <a:gd name="T6" fmla="*/ 5 w 328"/>
                <a:gd name="T7" fmla="*/ 272 h 275"/>
                <a:gd name="T8" fmla="*/ 1 w 328"/>
                <a:gd name="T9" fmla="*/ 267 h 275"/>
                <a:gd name="T10" fmla="*/ 0 w 328"/>
                <a:gd name="T11" fmla="*/ 262 h 275"/>
                <a:gd name="T12" fmla="*/ 0 w 328"/>
                <a:gd name="T13" fmla="*/ 14 h 275"/>
                <a:gd name="T14" fmla="*/ 0 w 328"/>
                <a:gd name="T15" fmla="*/ 14 h 275"/>
                <a:gd name="T16" fmla="*/ 1 w 328"/>
                <a:gd name="T17" fmla="*/ 9 h 275"/>
                <a:gd name="T18" fmla="*/ 5 w 328"/>
                <a:gd name="T19" fmla="*/ 4 h 275"/>
                <a:gd name="T20" fmla="*/ 8 w 328"/>
                <a:gd name="T21" fmla="*/ 1 h 275"/>
                <a:gd name="T22" fmla="*/ 14 w 328"/>
                <a:gd name="T23" fmla="*/ 0 h 275"/>
                <a:gd name="T24" fmla="*/ 313 w 328"/>
                <a:gd name="T25" fmla="*/ 0 h 275"/>
                <a:gd name="T26" fmla="*/ 313 w 328"/>
                <a:gd name="T27" fmla="*/ 0 h 275"/>
                <a:gd name="T28" fmla="*/ 319 w 328"/>
                <a:gd name="T29" fmla="*/ 1 h 275"/>
                <a:gd name="T30" fmla="*/ 323 w 328"/>
                <a:gd name="T31" fmla="*/ 4 h 275"/>
                <a:gd name="T32" fmla="*/ 326 w 328"/>
                <a:gd name="T33" fmla="*/ 9 h 275"/>
                <a:gd name="T34" fmla="*/ 328 w 328"/>
                <a:gd name="T35" fmla="*/ 14 h 275"/>
                <a:gd name="T36" fmla="*/ 328 w 328"/>
                <a:gd name="T37" fmla="*/ 262 h 275"/>
                <a:gd name="T38" fmla="*/ 328 w 328"/>
                <a:gd name="T39" fmla="*/ 262 h 275"/>
                <a:gd name="T40" fmla="*/ 326 w 328"/>
                <a:gd name="T41" fmla="*/ 267 h 275"/>
                <a:gd name="T42" fmla="*/ 323 w 328"/>
                <a:gd name="T43" fmla="*/ 272 h 275"/>
                <a:gd name="T44" fmla="*/ 319 w 328"/>
                <a:gd name="T45" fmla="*/ 274 h 275"/>
                <a:gd name="T46" fmla="*/ 313 w 328"/>
                <a:gd name="T47" fmla="*/ 275 h 275"/>
                <a:gd name="T48" fmla="*/ 14 w 328"/>
                <a:gd name="T49" fmla="*/ 27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8" h="275">
                  <a:moveTo>
                    <a:pt x="14" y="275"/>
                  </a:moveTo>
                  <a:lnTo>
                    <a:pt x="14" y="275"/>
                  </a:lnTo>
                  <a:lnTo>
                    <a:pt x="8" y="274"/>
                  </a:lnTo>
                  <a:lnTo>
                    <a:pt x="5" y="272"/>
                  </a:lnTo>
                  <a:lnTo>
                    <a:pt x="1" y="267"/>
                  </a:lnTo>
                  <a:lnTo>
                    <a:pt x="0" y="262"/>
                  </a:lnTo>
                  <a:lnTo>
                    <a:pt x="0" y="14"/>
                  </a:lnTo>
                  <a:lnTo>
                    <a:pt x="0" y="14"/>
                  </a:lnTo>
                  <a:lnTo>
                    <a:pt x="1" y="9"/>
                  </a:lnTo>
                  <a:lnTo>
                    <a:pt x="5" y="4"/>
                  </a:lnTo>
                  <a:lnTo>
                    <a:pt x="8" y="1"/>
                  </a:lnTo>
                  <a:lnTo>
                    <a:pt x="14" y="0"/>
                  </a:lnTo>
                  <a:lnTo>
                    <a:pt x="313" y="0"/>
                  </a:lnTo>
                  <a:lnTo>
                    <a:pt x="313" y="0"/>
                  </a:lnTo>
                  <a:lnTo>
                    <a:pt x="319" y="1"/>
                  </a:lnTo>
                  <a:lnTo>
                    <a:pt x="323" y="4"/>
                  </a:lnTo>
                  <a:lnTo>
                    <a:pt x="326" y="9"/>
                  </a:lnTo>
                  <a:lnTo>
                    <a:pt x="328" y="14"/>
                  </a:lnTo>
                  <a:lnTo>
                    <a:pt x="328" y="262"/>
                  </a:lnTo>
                  <a:lnTo>
                    <a:pt x="328" y="262"/>
                  </a:lnTo>
                  <a:lnTo>
                    <a:pt x="326" y="267"/>
                  </a:lnTo>
                  <a:lnTo>
                    <a:pt x="323" y="272"/>
                  </a:lnTo>
                  <a:lnTo>
                    <a:pt x="319" y="274"/>
                  </a:lnTo>
                  <a:lnTo>
                    <a:pt x="313" y="275"/>
                  </a:lnTo>
                  <a:lnTo>
                    <a:pt x="14" y="2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5" name="Freeform 253">
              <a:extLst>
                <a:ext uri="{FF2B5EF4-FFF2-40B4-BE49-F238E27FC236}">
                  <a16:creationId xmlns:a16="http://schemas.microsoft.com/office/drawing/2014/main" id="{545F975C-EE1F-2C54-B841-C371A1887B14}"/>
                </a:ext>
              </a:extLst>
            </p:cNvPr>
            <p:cNvSpPr>
              <a:spLocks noEditPoints="1"/>
            </p:cNvSpPr>
            <p:nvPr/>
          </p:nvSpPr>
          <p:spPr bwMode="auto">
            <a:xfrm>
              <a:off x="7316275" y="3221293"/>
              <a:ext cx="488722" cy="377645"/>
            </a:xfrm>
            <a:custGeom>
              <a:avLst/>
              <a:gdLst>
                <a:gd name="T0" fmla="*/ 315 w 331"/>
                <a:gd name="T1" fmla="*/ 3 h 280"/>
                <a:gd name="T2" fmla="*/ 315 w 331"/>
                <a:gd name="T3" fmla="*/ 3 h 280"/>
                <a:gd name="T4" fmla="*/ 320 w 331"/>
                <a:gd name="T5" fmla="*/ 5 h 280"/>
                <a:gd name="T6" fmla="*/ 324 w 331"/>
                <a:gd name="T7" fmla="*/ 7 h 280"/>
                <a:gd name="T8" fmla="*/ 327 w 331"/>
                <a:gd name="T9" fmla="*/ 11 h 280"/>
                <a:gd name="T10" fmla="*/ 327 w 331"/>
                <a:gd name="T11" fmla="*/ 16 h 280"/>
                <a:gd name="T12" fmla="*/ 327 w 331"/>
                <a:gd name="T13" fmla="*/ 264 h 280"/>
                <a:gd name="T14" fmla="*/ 327 w 331"/>
                <a:gd name="T15" fmla="*/ 264 h 280"/>
                <a:gd name="T16" fmla="*/ 327 w 331"/>
                <a:gd name="T17" fmla="*/ 269 h 280"/>
                <a:gd name="T18" fmla="*/ 324 w 331"/>
                <a:gd name="T19" fmla="*/ 272 h 280"/>
                <a:gd name="T20" fmla="*/ 320 w 331"/>
                <a:gd name="T21" fmla="*/ 275 h 280"/>
                <a:gd name="T22" fmla="*/ 315 w 331"/>
                <a:gd name="T23" fmla="*/ 276 h 280"/>
                <a:gd name="T24" fmla="*/ 16 w 331"/>
                <a:gd name="T25" fmla="*/ 276 h 280"/>
                <a:gd name="T26" fmla="*/ 16 w 331"/>
                <a:gd name="T27" fmla="*/ 276 h 280"/>
                <a:gd name="T28" fmla="*/ 12 w 331"/>
                <a:gd name="T29" fmla="*/ 275 h 280"/>
                <a:gd name="T30" fmla="*/ 8 w 331"/>
                <a:gd name="T31" fmla="*/ 272 h 280"/>
                <a:gd name="T32" fmla="*/ 5 w 331"/>
                <a:gd name="T33" fmla="*/ 269 h 280"/>
                <a:gd name="T34" fmla="*/ 4 w 331"/>
                <a:gd name="T35" fmla="*/ 264 h 280"/>
                <a:gd name="T36" fmla="*/ 4 w 331"/>
                <a:gd name="T37" fmla="*/ 16 h 280"/>
                <a:gd name="T38" fmla="*/ 4 w 331"/>
                <a:gd name="T39" fmla="*/ 16 h 280"/>
                <a:gd name="T40" fmla="*/ 5 w 331"/>
                <a:gd name="T41" fmla="*/ 11 h 280"/>
                <a:gd name="T42" fmla="*/ 8 w 331"/>
                <a:gd name="T43" fmla="*/ 7 h 280"/>
                <a:gd name="T44" fmla="*/ 12 w 331"/>
                <a:gd name="T45" fmla="*/ 5 h 280"/>
                <a:gd name="T46" fmla="*/ 16 w 331"/>
                <a:gd name="T47" fmla="*/ 3 h 280"/>
                <a:gd name="T48" fmla="*/ 315 w 331"/>
                <a:gd name="T49" fmla="*/ 3 h 280"/>
                <a:gd name="T50" fmla="*/ 315 w 331"/>
                <a:gd name="T51" fmla="*/ 0 h 280"/>
                <a:gd name="T52" fmla="*/ 16 w 331"/>
                <a:gd name="T53" fmla="*/ 0 h 280"/>
                <a:gd name="T54" fmla="*/ 16 w 331"/>
                <a:gd name="T55" fmla="*/ 0 h 280"/>
                <a:gd name="T56" fmla="*/ 10 w 331"/>
                <a:gd name="T57" fmla="*/ 1 h 280"/>
                <a:gd name="T58" fmla="*/ 5 w 331"/>
                <a:gd name="T59" fmla="*/ 5 h 280"/>
                <a:gd name="T60" fmla="*/ 2 w 331"/>
                <a:gd name="T61" fmla="*/ 10 h 280"/>
                <a:gd name="T62" fmla="*/ 0 w 331"/>
                <a:gd name="T63" fmla="*/ 16 h 280"/>
                <a:gd name="T64" fmla="*/ 0 w 331"/>
                <a:gd name="T65" fmla="*/ 264 h 280"/>
                <a:gd name="T66" fmla="*/ 0 w 331"/>
                <a:gd name="T67" fmla="*/ 264 h 280"/>
                <a:gd name="T68" fmla="*/ 2 w 331"/>
                <a:gd name="T69" fmla="*/ 270 h 280"/>
                <a:gd name="T70" fmla="*/ 5 w 331"/>
                <a:gd name="T71" fmla="*/ 275 h 280"/>
                <a:gd name="T72" fmla="*/ 10 w 331"/>
                <a:gd name="T73" fmla="*/ 278 h 280"/>
                <a:gd name="T74" fmla="*/ 16 w 331"/>
                <a:gd name="T75" fmla="*/ 280 h 280"/>
                <a:gd name="T76" fmla="*/ 315 w 331"/>
                <a:gd name="T77" fmla="*/ 280 h 280"/>
                <a:gd name="T78" fmla="*/ 315 w 331"/>
                <a:gd name="T79" fmla="*/ 280 h 280"/>
                <a:gd name="T80" fmla="*/ 321 w 331"/>
                <a:gd name="T81" fmla="*/ 278 h 280"/>
                <a:gd name="T82" fmla="*/ 326 w 331"/>
                <a:gd name="T83" fmla="*/ 275 h 280"/>
                <a:gd name="T84" fmla="*/ 330 w 331"/>
                <a:gd name="T85" fmla="*/ 270 h 280"/>
                <a:gd name="T86" fmla="*/ 331 w 331"/>
                <a:gd name="T87" fmla="*/ 264 h 280"/>
                <a:gd name="T88" fmla="*/ 331 w 331"/>
                <a:gd name="T89" fmla="*/ 16 h 280"/>
                <a:gd name="T90" fmla="*/ 331 w 331"/>
                <a:gd name="T91" fmla="*/ 16 h 280"/>
                <a:gd name="T92" fmla="*/ 330 w 331"/>
                <a:gd name="T93" fmla="*/ 10 h 280"/>
                <a:gd name="T94" fmla="*/ 326 w 331"/>
                <a:gd name="T95" fmla="*/ 5 h 280"/>
                <a:gd name="T96" fmla="*/ 321 w 331"/>
                <a:gd name="T97" fmla="*/ 1 h 280"/>
                <a:gd name="T98" fmla="*/ 315 w 331"/>
                <a:gd name="T99" fmla="*/ 0 h 280"/>
                <a:gd name="T100" fmla="*/ 315 w 331"/>
                <a:gd name="T101"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1" h="280">
                  <a:moveTo>
                    <a:pt x="315" y="3"/>
                  </a:moveTo>
                  <a:lnTo>
                    <a:pt x="315" y="3"/>
                  </a:lnTo>
                  <a:lnTo>
                    <a:pt x="320" y="5"/>
                  </a:lnTo>
                  <a:lnTo>
                    <a:pt x="324" y="7"/>
                  </a:lnTo>
                  <a:lnTo>
                    <a:pt x="327" y="11"/>
                  </a:lnTo>
                  <a:lnTo>
                    <a:pt x="327" y="16"/>
                  </a:lnTo>
                  <a:lnTo>
                    <a:pt x="327" y="264"/>
                  </a:lnTo>
                  <a:lnTo>
                    <a:pt x="327" y="264"/>
                  </a:lnTo>
                  <a:lnTo>
                    <a:pt x="327" y="269"/>
                  </a:lnTo>
                  <a:lnTo>
                    <a:pt x="324" y="272"/>
                  </a:lnTo>
                  <a:lnTo>
                    <a:pt x="320" y="275"/>
                  </a:lnTo>
                  <a:lnTo>
                    <a:pt x="315" y="276"/>
                  </a:lnTo>
                  <a:lnTo>
                    <a:pt x="16" y="276"/>
                  </a:lnTo>
                  <a:lnTo>
                    <a:pt x="16" y="276"/>
                  </a:lnTo>
                  <a:lnTo>
                    <a:pt x="12" y="275"/>
                  </a:lnTo>
                  <a:lnTo>
                    <a:pt x="8" y="272"/>
                  </a:lnTo>
                  <a:lnTo>
                    <a:pt x="5" y="269"/>
                  </a:lnTo>
                  <a:lnTo>
                    <a:pt x="4" y="264"/>
                  </a:lnTo>
                  <a:lnTo>
                    <a:pt x="4" y="16"/>
                  </a:lnTo>
                  <a:lnTo>
                    <a:pt x="4" y="16"/>
                  </a:lnTo>
                  <a:lnTo>
                    <a:pt x="5" y="11"/>
                  </a:lnTo>
                  <a:lnTo>
                    <a:pt x="8" y="7"/>
                  </a:lnTo>
                  <a:lnTo>
                    <a:pt x="12" y="5"/>
                  </a:lnTo>
                  <a:lnTo>
                    <a:pt x="16" y="3"/>
                  </a:lnTo>
                  <a:lnTo>
                    <a:pt x="315" y="3"/>
                  </a:lnTo>
                  <a:close/>
                  <a:moveTo>
                    <a:pt x="315" y="0"/>
                  </a:moveTo>
                  <a:lnTo>
                    <a:pt x="16" y="0"/>
                  </a:lnTo>
                  <a:lnTo>
                    <a:pt x="16" y="0"/>
                  </a:lnTo>
                  <a:lnTo>
                    <a:pt x="10" y="1"/>
                  </a:lnTo>
                  <a:lnTo>
                    <a:pt x="5" y="5"/>
                  </a:lnTo>
                  <a:lnTo>
                    <a:pt x="2" y="10"/>
                  </a:lnTo>
                  <a:lnTo>
                    <a:pt x="0" y="16"/>
                  </a:lnTo>
                  <a:lnTo>
                    <a:pt x="0" y="264"/>
                  </a:lnTo>
                  <a:lnTo>
                    <a:pt x="0" y="264"/>
                  </a:lnTo>
                  <a:lnTo>
                    <a:pt x="2" y="270"/>
                  </a:lnTo>
                  <a:lnTo>
                    <a:pt x="5" y="275"/>
                  </a:lnTo>
                  <a:lnTo>
                    <a:pt x="10" y="278"/>
                  </a:lnTo>
                  <a:lnTo>
                    <a:pt x="16" y="280"/>
                  </a:lnTo>
                  <a:lnTo>
                    <a:pt x="315" y="280"/>
                  </a:lnTo>
                  <a:lnTo>
                    <a:pt x="315" y="280"/>
                  </a:lnTo>
                  <a:lnTo>
                    <a:pt x="321" y="278"/>
                  </a:lnTo>
                  <a:lnTo>
                    <a:pt x="326" y="275"/>
                  </a:lnTo>
                  <a:lnTo>
                    <a:pt x="330" y="270"/>
                  </a:lnTo>
                  <a:lnTo>
                    <a:pt x="331" y="264"/>
                  </a:lnTo>
                  <a:lnTo>
                    <a:pt x="331" y="16"/>
                  </a:lnTo>
                  <a:lnTo>
                    <a:pt x="331" y="16"/>
                  </a:lnTo>
                  <a:lnTo>
                    <a:pt x="330" y="10"/>
                  </a:lnTo>
                  <a:lnTo>
                    <a:pt x="326" y="5"/>
                  </a:lnTo>
                  <a:lnTo>
                    <a:pt x="321" y="1"/>
                  </a:lnTo>
                  <a:lnTo>
                    <a:pt x="315" y="0"/>
                  </a:lnTo>
                  <a:lnTo>
                    <a:pt x="315" y="0"/>
                  </a:lnTo>
                  <a:close/>
                </a:path>
              </a:pathLst>
            </a:custGeom>
            <a:solidFill>
              <a:srgbClr val="8FC4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6" name="Freeform 254">
              <a:extLst>
                <a:ext uri="{FF2B5EF4-FFF2-40B4-BE49-F238E27FC236}">
                  <a16:creationId xmlns:a16="http://schemas.microsoft.com/office/drawing/2014/main" id="{C51F8C8B-F5CE-1D13-D78C-F734C1E5802E}"/>
                </a:ext>
              </a:extLst>
            </p:cNvPr>
            <p:cNvSpPr>
              <a:spLocks/>
            </p:cNvSpPr>
            <p:nvPr/>
          </p:nvSpPr>
          <p:spPr bwMode="auto">
            <a:xfrm>
              <a:off x="7322181" y="3225339"/>
              <a:ext cx="476910" cy="368204"/>
            </a:xfrm>
            <a:custGeom>
              <a:avLst/>
              <a:gdLst>
                <a:gd name="T0" fmla="*/ 311 w 323"/>
                <a:gd name="T1" fmla="*/ 0 h 273"/>
                <a:gd name="T2" fmla="*/ 311 w 323"/>
                <a:gd name="T3" fmla="*/ 0 h 273"/>
                <a:gd name="T4" fmla="*/ 316 w 323"/>
                <a:gd name="T5" fmla="*/ 2 h 273"/>
                <a:gd name="T6" fmla="*/ 320 w 323"/>
                <a:gd name="T7" fmla="*/ 4 h 273"/>
                <a:gd name="T8" fmla="*/ 323 w 323"/>
                <a:gd name="T9" fmla="*/ 8 h 273"/>
                <a:gd name="T10" fmla="*/ 323 w 323"/>
                <a:gd name="T11" fmla="*/ 13 h 273"/>
                <a:gd name="T12" fmla="*/ 323 w 323"/>
                <a:gd name="T13" fmla="*/ 261 h 273"/>
                <a:gd name="T14" fmla="*/ 323 w 323"/>
                <a:gd name="T15" fmla="*/ 261 h 273"/>
                <a:gd name="T16" fmla="*/ 323 w 323"/>
                <a:gd name="T17" fmla="*/ 266 h 273"/>
                <a:gd name="T18" fmla="*/ 320 w 323"/>
                <a:gd name="T19" fmla="*/ 269 h 273"/>
                <a:gd name="T20" fmla="*/ 316 w 323"/>
                <a:gd name="T21" fmla="*/ 272 h 273"/>
                <a:gd name="T22" fmla="*/ 311 w 323"/>
                <a:gd name="T23" fmla="*/ 273 h 273"/>
                <a:gd name="T24" fmla="*/ 12 w 323"/>
                <a:gd name="T25" fmla="*/ 273 h 273"/>
                <a:gd name="T26" fmla="*/ 12 w 323"/>
                <a:gd name="T27" fmla="*/ 273 h 273"/>
                <a:gd name="T28" fmla="*/ 8 w 323"/>
                <a:gd name="T29" fmla="*/ 272 h 273"/>
                <a:gd name="T30" fmla="*/ 4 w 323"/>
                <a:gd name="T31" fmla="*/ 269 h 273"/>
                <a:gd name="T32" fmla="*/ 1 w 323"/>
                <a:gd name="T33" fmla="*/ 266 h 273"/>
                <a:gd name="T34" fmla="*/ 0 w 323"/>
                <a:gd name="T35" fmla="*/ 261 h 273"/>
                <a:gd name="T36" fmla="*/ 0 w 323"/>
                <a:gd name="T37" fmla="*/ 13 h 273"/>
                <a:gd name="T38" fmla="*/ 0 w 323"/>
                <a:gd name="T39" fmla="*/ 13 h 273"/>
                <a:gd name="T40" fmla="*/ 1 w 323"/>
                <a:gd name="T41" fmla="*/ 8 h 273"/>
                <a:gd name="T42" fmla="*/ 4 w 323"/>
                <a:gd name="T43" fmla="*/ 4 h 273"/>
                <a:gd name="T44" fmla="*/ 8 w 323"/>
                <a:gd name="T45" fmla="*/ 2 h 273"/>
                <a:gd name="T46" fmla="*/ 12 w 323"/>
                <a:gd name="T47" fmla="*/ 0 h 273"/>
                <a:gd name="T48" fmla="*/ 311 w 323"/>
                <a:gd name="T49"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3" h="273">
                  <a:moveTo>
                    <a:pt x="311" y="0"/>
                  </a:moveTo>
                  <a:lnTo>
                    <a:pt x="311" y="0"/>
                  </a:lnTo>
                  <a:lnTo>
                    <a:pt x="316" y="2"/>
                  </a:lnTo>
                  <a:lnTo>
                    <a:pt x="320" y="4"/>
                  </a:lnTo>
                  <a:lnTo>
                    <a:pt x="323" y="8"/>
                  </a:lnTo>
                  <a:lnTo>
                    <a:pt x="323" y="13"/>
                  </a:lnTo>
                  <a:lnTo>
                    <a:pt x="323" y="261"/>
                  </a:lnTo>
                  <a:lnTo>
                    <a:pt x="323" y="261"/>
                  </a:lnTo>
                  <a:lnTo>
                    <a:pt x="323" y="266"/>
                  </a:lnTo>
                  <a:lnTo>
                    <a:pt x="320" y="269"/>
                  </a:lnTo>
                  <a:lnTo>
                    <a:pt x="316" y="272"/>
                  </a:lnTo>
                  <a:lnTo>
                    <a:pt x="311" y="273"/>
                  </a:lnTo>
                  <a:lnTo>
                    <a:pt x="12" y="273"/>
                  </a:lnTo>
                  <a:lnTo>
                    <a:pt x="12" y="273"/>
                  </a:lnTo>
                  <a:lnTo>
                    <a:pt x="8" y="272"/>
                  </a:lnTo>
                  <a:lnTo>
                    <a:pt x="4" y="269"/>
                  </a:lnTo>
                  <a:lnTo>
                    <a:pt x="1" y="266"/>
                  </a:lnTo>
                  <a:lnTo>
                    <a:pt x="0" y="261"/>
                  </a:lnTo>
                  <a:lnTo>
                    <a:pt x="0" y="13"/>
                  </a:lnTo>
                  <a:lnTo>
                    <a:pt x="0" y="13"/>
                  </a:lnTo>
                  <a:lnTo>
                    <a:pt x="1" y="8"/>
                  </a:lnTo>
                  <a:lnTo>
                    <a:pt x="4" y="4"/>
                  </a:lnTo>
                  <a:lnTo>
                    <a:pt x="8" y="2"/>
                  </a:lnTo>
                  <a:lnTo>
                    <a:pt x="12" y="0"/>
                  </a:lnTo>
                  <a:lnTo>
                    <a:pt x="3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7" name="Freeform 255">
              <a:extLst>
                <a:ext uri="{FF2B5EF4-FFF2-40B4-BE49-F238E27FC236}">
                  <a16:creationId xmlns:a16="http://schemas.microsoft.com/office/drawing/2014/main" id="{3A9743F8-C682-FA5A-980F-B08F3E776EDC}"/>
                </a:ext>
              </a:extLst>
            </p:cNvPr>
            <p:cNvSpPr>
              <a:spLocks/>
            </p:cNvSpPr>
            <p:nvPr/>
          </p:nvSpPr>
          <p:spPr bwMode="auto">
            <a:xfrm>
              <a:off x="7316275" y="3221293"/>
              <a:ext cx="488722" cy="377645"/>
            </a:xfrm>
            <a:custGeom>
              <a:avLst/>
              <a:gdLst>
                <a:gd name="T0" fmla="*/ 315 w 331"/>
                <a:gd name="T1" fmla="*/ 0 h 280"/>
                <a:gd name="T2" fmla="*/ 16 w 331"/>
                <a:gd name="T3" fmla="*/ 0 h 280"/>
                <a:gd name="T4" fmla="*/ 16 w 331"/>
                <a:gd name="T5" fmla="*/ 0 h 280"/>
                <a:gd name="T6" fmla="*/ 10 w 331"/>
                <a:gd name="T7" fmla="*/ 1 h 280"/>
                <a:gd name="T8" fmla="*/ 5 w 331"/>
                <a:gd name="T9" fmla="*/ 5 h 280"/>
                <a:gd name="T10" fmla="*/ 2 w 331"/>
                <a:gd name="T11" fmla="*/ 10 h 280"/>
                <a:gd name="T12" fmla="*/ 0 w 331"/>
                <a:gd name="T13" fmla="*/ 16 h 280"/>
                <a:gd name="T14" fmla="*/ 0 w 331"/>
                <a:gd name="T15" fmla="*/ 264 h 280"/>
                <a:gd name="T16" fmla="*/ 0 w 331"/>
                <a:gd name="T17" fmla="*/ 264 h 280"/>
                <a:gd name="T18" fmla="*/ 2 w 331"/>
                <a:gd name="T19" fmla="*/ 270 h 280"/>
                <a:gd name="T20" fmla="*/ 5 w 331"/>
                <a:gd name="T21" fmla="*/ 275 h 280"/>
                <a:gd name="T22" fmla="*/ 10 w 331"/>
                <a:gd name="T23" fmla="*/ 278 h 280"/>
                <a:gd name="T24" fmla="*/ 16 w 331"/>
                <a:gd name="T25" fmla="*/ 280 h 280"/>
                <a:gd name="T26" fmla="*/ 315 w 331"/>
                <a:gd name="T27" fmla="*/ 280 h 280"/>
                <a:gd name="T28" fmla="*/ 315 w 331"/>
                <a:gd name="T29" fmla="*/ 280 h 280"/>
                <a:gd name="T30" fmla="*/ 321 w 331"/>
                <a:gd name="T31" fmla="*/ 278 h 280"/>
                <a:gd name="T32" fmla="*/ 326 w 331"/>
                <a:gd name="T33" fmla="*/ 275 h 280"/>
                <a:gd name="T34" fmla="*/ 330 w 331"/>
                <a:gd name="T35" fmla="*/ 270 h 280"/>
                <a:gd name="T36" fmla="*/ 331 w 331"/>
                <a:gd name="T37" fmla="*/ 264 h 280"/>
                <a:gd name="T38" fmla="*/ 331 w 331"/>
                <a:gd name="T39" fmla="*/ 16 h 280"/>
                <a:gd name="T40" fmla="*/ 331 w 331"/>
                <a:gd name="T41" fmla="*/ 16 h 280"/>
                <a:gd name="T42" fmla="*/ 330 w 331"/>
                <a:gd name="T43" fmla="*/ 10 h 280"/>
                <a:gd name="T44" fmla="*/ 326 w 331"/>
                <a:gd name="T45" fmla="*/ 5 h 280"/>
                <a:gd name="T46" fmla="*/ 321 w 331"/>
                <a:gd name="T47" fmla="*/ 1 h 280"/>
                <a:gd name="T48" fmla="*/ 315 w 331"/>
                <a:gd name="T49" fmla="*/ 0 h 280"/>
                <a:gd name="T50" fmla="*/ 315 w 331"/>
                <a:gd name="T51"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1" h="280">
                  <a:moveTo>
                    <a:pt x="315" y="0"/>
                  </a:moveTo>
                  <a:lnTo>
                    <a:pt x="16" y="0"/>
                  </a:lnTo>
                  <a:lnTo>
                    <a:pt x="16" y="0"/>
                  </a:lnTo>
                  <a:lnTo>
                    <a:pt x="10" y="1"/>
                  </a:lnTo>
                  <a:lnTo>
                    <a:pt x="5" y="5"/>
                  </a:lnTo>
                  <a:lnTo>
                    <a:pt x="2" y="10"/>
                  </a:lnTo>
                  <a:lnTo>
                    <a:pt x="0" y="16"/>
                  </a:lnTo>
                  <a:lnTo>
                    <a:pt x="0" y="264"/>
                  </a:lnTo>
                  <a:lnTo>
                    <a:pt x="0" y="264"/>
                  </a:lnTo>
                  <a:lnTo>
                    <a:pt x="2" y="270"/>
                  </a:lnTo>
                  <a:lnTo>
                    <a:pt x="5" y="275"/>
                  </a:lnTo>
                  <a:lnTo>
                    <a:pt x="10" y="278"/>
                  </a:lnTo>
                  <a:lnTo>
                    <a:pt x="16" y="280"/>
                  </a:lnTo>
                  <a:lnTo>
                    <a:pt x="315" y="280"/>
                  </a:lnTo>
                  <a:lnTo>
                    <a:pt x="315" y="280"/>
                  </a:lnTo>
                  <a:lnTo>
                    <a:pt x="321" y="278"/>
                  </a:lnTo>
                  <a:lnTo>
                    <a:pt x="326" y="275"/>
                  </a:lnTo>
                  <a:lnTo>
                    <a:pt x="330" y="270"/>
                  </a:lnTo>
                  <a:lnTo>
                    <a:pt x="331" y="264"/>
                  </a:lnTo>
                  <a:lnTo>
                    <a:pt x="331" y="16"/>
                  </a:lnTo>
                  <a:lnTo>
                    <a:pt x="331" y="16"/>
                  </a:lnTo>
                  <a:lnTo>
                    <a:pt x="330" y="10"/>
                  </a:lnTo>
                  <a:lnTo>
                    <a:pt x="326" y="5"/>
                  </a:lnTo>
                  <a:lnTo>
                    <a:pt x="321" y="1"/>
                  </a:lnTo>
                  <a:lnTo>
                    <a:pt x="315" y="0"/>
                  </a:lnTo>
                  <a:lnTo>
                    <a:pt x="3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8" name="Freeform 256">
              <a:extLst>
                <a:ext uri="{FF2B5EF4-FFF2-40B4-BE49-F238E27FC236}">
                  <a16:creationId xmlns:a16="http://schemas.microsoft.com/office/drawing/2014/main" id="{14E79A11-601C-6043-0604-58135D4D8746}"/>
                </a:ext>
              </a:extLst>
            </p:cNvPr>
            <p:cNvSpPr>
              <a:spLocks/>
            </p:cNvSpPr>
            <p:nvPr/>
          </p:nvSpPr>
          <p:spPr bwMode="auto">
            <a:xfrm>
              <a:off x="7316275" y="3221293"/>
              <a:ext cx="488722" cy="60693"/>
            </a:xfrm>
            <a:custGeom>
              <a:avLst/>
              <a:gdLst>
                <a:gd name="T0" fmla="*/ 315 w 331"/>
                <a:gd name="T1" fmla="*/ 0 h 45"/>
                <a:gd name="T2" fmla="*/ 16 w 331"/>
                <a:gd name="T3" fmla="*/ 0 h 45"/>
                <a:gd name="T4" fmla="*/ 16 w 331"/>
                <a:gd name="T5" fmla="*/ 0 h 45"/>
                <a:gd name="T6" fmla="*/ 10 w 331"/>
                <a:gd name="T7" fmla="*/ 1 h 45"/>
                <a:gd name="T8" fmla="*/ 5 w 331"/>
                <a:gd name="T9" fmla="*/ 5 h 45"/>
                <a:gd name="T10" fmla="*/ 2 w 331"/>
                <a:gd name="T11" fmla="*/ 10 h 45"/>
                <a:gd name="T12" fmla="*/ 0 w 331"/>
                <a:gd name="T13" fmla="*/ 16 h 45"/>
                <a:gd name="T14" fmla="*/ 0 w 331"/>
                <a:gd name="T15" fmla="*/ 45 h 45"/>
                <a:gd name="T16" fmla="*/ 331 w 331"/>
                <a:gd name="T17" fmla="*/ 45 h 45"/>
                <a:gd name="T18" fmla="*/ 331 w 331"/>
                <a:gd name="T19" fmla="*/ 16 h 45"/>
                <a:gd name="T20" fmla="*/ 331 w 331"/>
                <a:gd name="T21" fmla="*/ 16 h 45"/>
                <a:gd name="T22" fmla="*/ 330 w 331"/>
                <a:gd name="T23" fmla="*/ 10 h 45"/>
                <a:gd name="T24" fmla="*/ 326 w 331"/>
                <a:gd name="T25" fmla="*/ 5 h 45"/>
                <a:gd name="T26" fmla="*/ 321 w 331"/>
                <a:gd name="T27" fmla="*/ 1 h 45"/>
                <a:gd name="T28" fmla="*/ 315 w 331"/>
                <a:gd name="T29" fmla="*/ 0 h 45"/>
                <a:gd name="T30" fmla="*/ 315 w 331"/>
                <a:gd name="T3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1" h="45">
                  <a:moveTo>
                    <a:pt x="315" y="0"/>
                  </a:moveTo>
                  <a:lnTo>
                    <a:pt x="16" y="0"/>
                  </a:lnTo>
                  <a:lnTo>
                    <a:pt x="16" y="0"/>
                  </a:lnTo>
                  <a:lnTo>
                    <a:pt x="10" y="1"/>
                  </a:lnTo>
                  <a:lnTo>
                    <a:pt x="5" y="5"/>
                  </a:lnTo>
                  <a:lnTo>
                    <a:pt x="2" y="10"/>
                  </a:lnTo>
                  <a:lnTo>
                    <a:pt x="0" y="16"/>
                  </a:lnTo>
                  <a:lnTo>
                    <a:pt x="0" y="45"/>
                  </a:lnTo>
                  <a:lnTo>
                    <a:pt x="331" y="45"/>
                  </a:lnTo>
                  <a:lnTo>
                    <a:pt x="331" y="16"/>
                  </a:lnTo>
                  <a:lnTo>
                    <a:pt x="331" y="16"/>
                  </a:lnTo>
                  <a:lnTo>
                    <a:pt x="330" y="10"/>
                  </a:lnTo>
                  <a:lnTo>
                    <a:pt x="326" y="5"/>
                  </a:lnTo>
                  <a:lnTo>
                    <a:pt x="321" y="1"/>
                  </a:lnTo>
                  <a:lnTo>
                    <a:pt x="315" y="0"/>
                  </a:lnTo>
                  <a:lnTo>
                    <a:pt x="315" y="0"/>
                  </a:lnTo>
                  <a:close/>
                </a:path>
              </a:pathLst>
            </a:custGeom>
            <a:solidFill>
              <a:srgbClr val="8FC4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9" name="Freeform 257">
              <a:extLst>
                <a:ext uri="{FF2B5EF4-FFF2-40B4-BE49-F238E27FC236}">
                  <a16:creationId xmlns:a16="http://schemas.microsoft.com/office/drawing/2014/main" id="{BF88815A-4841-00BE-0982-965529F791AF}"/>
                </a:ext>
              </a:extLst>
            </p:cNvPr>
            <p:cNvSpPr>
              <a:spLocks/>
            </p:cNvSpPr>
            <p:nvPr/>
          </p:nvSpPr>
          <p:spPr bwMode="auto">
            <a:xfrm>
              <a:off x="7338422" y="3241523"/>
              <a:ext cx="25101" cy="22929"/>
            </a:xfrm>
            <a:custGeom>
              <a:avLst/>
              <a:gdLst>
                <a:gd name="T0" fmla="*/ 17 w 17"/>
                <a:gd name="T1" fmla="*/ 8 h 17"/>
                <a:gd name="T2" fmla="*/ 17 w 17"/>
                <a:gd name="T3" fmla="*/ 8 h 17"/>
                <a:gd name="T4" fmla="*/ 16 w 17"/>
                <a:gd name="T5" fmla="*/ 12 h 17"/>
                <a:gd name="T6" fmla="*/ 15 w 17"/>
                <a:gd name="T7" fmla="*/ 14 h 17"/>
                <a:gd name="T8" fmla="*/ 13 w 17"/>
                <a:gd name="T9" fmla="*/ 17 h 17"/>
                <a:gd name="T10" fmla="*/ 9 w 17"/>
                <a:gd name="T11" fmla="*/ 17 h 17"/>
                <a:gd name="T12" fmla="*/ 9 w 17"/>
                <a:gd name="T13" fmla="*/ 17 h 17"/>
                <a:gd name="T14" fmla="*/ 5 w 17"/>
                <a:gd name="T15" fmla="*/ 17 h 17"/>
                <a:gd name="T16" fmla="*/ 3 w 17"/>
                <a:gd name="T17" fmla="*/ 14 h 17"/>
                <a:gd name="T18" fmla="*/ 0 w 17"/>
                <a:gd name="T19" fmla="*/ 12 h 17"/>
                <a:gd name="T20" fmla="*/ 0 w 17"/>
                <a:gd name="T21" fmla="*/ 8 h 17"/>
                <a:gd name="T22" fmla="*/ 0 w 17"/>
                <a:gd name="T23" fmla="*/ 8 h 17"/>
                <a:gd name="T24" fmla="*/ 0 w 17"/>
                <a:gd name="T25" fmla="*/ 4 h 17"/>
                <a:gd name="T26" fmla="*/ 3 w 17"/>
                <a:gd name="T27" fmla="*/ 2 h 17"/>
                <a:gd name="T28" fmla="*/ 5 w 17"/>
                <a:gd name="T29" fmla="*/ 1 h 17"/>
                <a:gd name="T30" fmla="*/ 9 w 17"/>
                <a:gd name="T31" fmla="*/ 0 h 17"/>
                <a:gd name="T32" fmla="*/ 9 w 17"/>
                <a:gd name="T33" fmla="*/ 0 h 17"/>
                <a:gd name="T34" fmla="*/ 13 w 17"/>
                <a:gd name="T35" fmla="*/ 1 h 17"/>
                <a:gd name="T36" fmla="*/ 15 w 17"/>
                <a:gd name="T37" fmla="*/ 2 h 17"/>
                <a:gd name="T38" fmla="*/ 16 w 17"/>
                <a:gd name="T39" fmla="*/ 4 h 17"/>
                <a:gd name="T40" fmla="*/ 17 w 17"/>
                <a:gd name="T41" fmla="*/ 8 h 17"/>
                <a:gd name="T42" fmla="*/ 17 w 17"/>
                <a:gd name="T43"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7">
                  <a:moveTo>
                    <a:pt x="17" y="8"/>
                  </a:moveTo>
                  <a:lnTo>
                    <a:pt x="17" y="8"/>
                  </a:lnTo>
                  <a:lnTo>
                    <a:pt x="16" y="12"/>
                  </a:lnTo>
                  <a:lnTo>
                    <a:pt x="15" y="14"/>
                  </a:lnTo>
                  <a:lnTo>
                    <a:pt x="13" y="17"/>
                  </a:lnTo>
                  <a:lnTo>
                    <a:pt x="9" y="17"/>
                  </a:lnTo>
                  <a:lnTo>
                    <a:pt x="9" y="17"/>
                  </a:lnTo>
                  <a:lnTo>
                    <a:pt x="5" y="17"/>
                  </a:lnTo>
                  <a:lnTo>
                    <a:pt x="3" y="14"/>
                  </a:lnTo>
                  <a:lnTo>
                    <a:pt x="0" y="12"/>
                  </a:lnTo>
                  <a:lnTo>
                    <a:pt x="0" y="8"/>
                  </a:lnTo>
                  <a:lnTo>
                    <a:pt x="0" y="8"/>
                  </a:lnTo>
                  <a:lnTo>
                    <a:pt x="0" y="4"/>
                  </a:lnTo>
                  <a:lnTo>
                    <a:pt x="3" y="2"/>
                  </a:lnTo>
                  <a:lnTo>
                    <a:pt x="5" y="1"/>
                  </a:lnTo>
                  <a:lnTo>
                    <a:pt x="9" y="0"/>
                  </a:lnTo>
                  <a:lnTo>
                    <a:pt x="9" y="0"/>
                  </a:lnTo>
                  <a:lnTo>
                    <a:pt x="13" y="1"/>
                  </a:lnTo>
                  <a:lnTo>
                    <a:pt x="15" y="2"/>
                  </a:lnTo>
                  <a:lnTo>
                    <a:pt x="16" y="4"/>
                  </a:lnTo>
                  <a:lnTo>
                    <a:pt x="17" y="8"/>
                  </a:lnTo>
                  <a:lnTo>
                    <a:pt x="17"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0" name="Freeform 258">
              <a:extLst>
                <a:ext uri="{FF2B5EF4-FFF2-40B4-BE49-F238E27FC236}">
                  <a16:creationId xmlns:a16="http://schemas.microsoft.com/office/drawing/2014/main" id="{180F1048-8DA3-D46D-D568-BCA591819AF2}"/>
                </a:ext>
              </a:extLst>
            </p:cNvPr>
            <p:cNvSpPr>
              <a:spLocks/>
            </p:cNvSpPr>
            <p:nvPr/>
          </p:nvSpPr>
          <p:spPr bwMode="auto">
            <a:xfrm>
              <a:off x="7375335" y="3241523"/>
              <a:ext cx="25101" cy="22929"/>
            </a:xfrm>
            <a:custGeom>
              <a:avLst/>
              <a:gdLst>
                <a:gd name="T0" fmla="*/ 17 w 17"/>
                <a:gd name="T1" fmla="*/ 8 h 17"/>
                <a:gd name="T2" fmla="*/ 17 w 17"/>
                <a:gd name="T3" fmla="*/ 8 h 17"/>
                <a:gd name="T4" fmla="*/ 16 w 17"/>
                <a:gd name="T5" fmla="*/ 12 h 17"/>
                <a:gd name="T6" fmla="*/ 15 w 17"/>
                <a:gd name="T7" fmla="*/ 14 h 17"/>
                <a:gd name="T8" fmla="*/ 11 w 17"/>
                <a:gd name="T9" fmla="*/ 17 h 17"/>
                <a:gd name="T10" fmla="*/ 9 w 17"/>
                <a:gd name="T11" fmla="*/ 17 h 17"/>
                <a:gd name="T12" fmla="*/ 9 w 17"/>
                <a:gd name="T13" fmla="*/ 17 h 17"/>
                <a:gd name="T14" fmla="*/ 5 w 17"/>
                <a:gd name="T15" fmla="*/ 17 h 17"/>
                <a:gd name="T16" fmla="*/ 2 w 17"/>
                <a:gd name="T17" fmla="*/ 14 h 17"/>
                <a:gd name="T18" fmla="*/ 0 w 17"/>
                <a:gd name="T19" fmla="*/ 12 h 17"/>
                <a:gd name="T20" fmla="*/ 0 w 17"/>
                <a:gd name="T21" fmla="*/ 8 h 17"/>
                <a:gd name="T22" fmla="*/ 0 w 17"/>
                <a:gd name="T23" fmla="*/ 8 h 17"/>
                <a:gd name="T24" fmla="*/ 0 w 17"/>
                <a:gd name="T25" fmla="*/ 4 h 17"/>
                <a:gd name="T26" fmla="*/ 2 w 17"/>
                <a:gd name="T27" fmla="*/ 2 h 17"/>
                <a:gd name="T28" fmla="*/ 5 w 17"/>
                <a:gd name="T29" fmla="*/ 1 h 17"/>
                <a:gd name="T30" fmla="*/ 9 w 17"/>
                <a:gd name="T31" fmla="*/ 0 h 17"/>
                <a:gd name="T32" fmla="*/ 9 w 17"/>
                <a:gd name="T33" fmla="*/ 0 h 17"/>
                <a:gd name="T34" fmla="*/ 11 w 17"/>
                <a:gd name="T35" fmla="*/ 1 h 17"/>
                <a:gd name="T36" fmla="*/ 15 w 17"/>
                <a:gd name="T37" fmla="*/ 2 h 17"/>
                <a:gd name="T38" fmla="*/ 16 w 17"/>
                <a:gd name="T39" fmla="*/ 4 h 17"/>
                <a:gd name="T40" fmla="*/ 17 w 17"/>
                <a:gd name="T41" fmla="*/ 8 h 17"/>
                <a:gd name="T42" fmla="*/ 17 w 17"/>
                <a:gd name="T43"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7">
                  <a:moveTo>
                    <a:pt x="17" y="8"/>
                  </a:moveTo>
                  <a:lnTo>
                    <a:pt x="17" y="8"/>
                  </a:lnTo>
                  <a:lnTo>
                    <a:pt x="16" y="12"/>
                  </a:lnTo>
                  <a:lnTo>
                    <a:pt x="15" y="14"/>
                  </a:lnTo>
                  <a:lnTo>
                    <a:pt x="11" y="17"/>
                  </a:lnTo>
                  <a:lnTo>
                    <a:pt x="9" y="17"/>
                  </a:lnTo>
                  <a:lnTo>
                    <a:pt x="9" y="17"/>
                  </a:lnTo>
                  <a:lnTo>
                    <a:pt x="5" y="17"/>
                  </a:lnTo>
                  <a:lnTo>
                    <a:pt x="2" y="14"/>
                  </a:lnTo>
                  <a:lnTo>
                    <a:pt x="0" y="12"/>
                  </a:lnTo>
                  <a:lnTo>
                    <a:pt x="0" y="8"/>
                  </a:lnTo>
                  <a:lnTo>
                    <a:pt x="0" y="8"/>
                  </a:lnTo>
                  <a:lnTo>
                    <a:pt x="0" y="4"/>
                  </a:lnTo>
                  <a:lnTo>
                    <a:pt x="2" y="2"/>
                  </a:lnTo>
                  <a:lnTo>
                    <a:pt x="5" y="1"/>
                  </a:lnTo>
                  <a:lnTo>
                    <a:pt x="9" y="0"/>
                  </a:lnTo>
                  <a:lnTo>
                    <a:pt x="9" y="0"/>
                  </a:lnTo>
                  <a:lnTo>
                    <a:pt x="11" y="1"/>
                  </a:lnTo>
                  <a:lnTo>
                    <a:pt x="15" y="2"/>
                  </a:lnTo>
                  <a:lnTo>
                    <a:pt x="16" y="4"/>
                  </a:lnTo>
                  <a:lnTo>
                    <a:pt x="17" y="8"/>
                  </a:lnTo>
                  <a:lnTo>
                    <a:pt x="17"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1" name="Freeform 259">
              <a:extLst>
                <a:ext uri="{FF2B5EF4-FFF2-40B4-BE49-F238E27FC236}">
                  <a16:creationId xmlns:a16="http://schemas.microsoft.com/office/drawing/2014/main" id="{15B36E3A-B814-B3B6-10A0-E5695EB053E8}"/>
                </a:ext>
              </a:extLst>
            </p:cNvPr>
            <p:cNvSpPr>
              <a:spLocks/>
            </p:cNvSpPr>
            <p:nvPr/>
          </p:nvSpPr>
          <p:spPr bwMode="auto">
            <a:xfrm>
              <a:off x="7409294" y="3241523"/>
              <a:ext cx="28054" cy="22929"/>
            </a:xfrm>
            <a:custGeom>
              <a:avLst/>
              <a:gdLst>
                <a:gd name="T0" fmla="*/ 19 w 19"/>
                <a:gd name="T1" fmla="*/ 8 h 17"/>
                <a:gd name="T2" fmla="*/ 19 w 19"/>
                <a:gd name="T3" fmla="*/ 8 h 17"/>
                <a:gd name="T4" fmla="*/ 18 w 19"/>
                <a:gd name="T5" fmla="*/ 12 h 17"/>
                <a:gd name="T6" fmla="*/ 16 w 19"/>
                <a:gd name="T7" fmla="*/ 14 h 17"/>
                <a:gd name="T8" fmla="*/ 13 w 19"/>
                <a:gd name="T9" fmla="*/ 17 h 17"/>
                <a:gd name="T10" fmla="*/ 10 w 19"/>
                <a:gd name="T11" fmla="*/ 17 h 17"/>
                <a:gd name="T12" fmla="*/ 10 w 19"/>
                <a:gd name="T13" fmla="*/ 17 h 17"/>
                <a:gd name="T14" fmla="*/ 6 w 19"/>
                <a:gd name="T15" fmla="*/ 17 h 17"/>
                <a:gd name="T16" fmla="*/ 4 w 19"/>
                <a:gd name="T17" fmla="*/ 14 h 17"/>
                <a:gd name="T18" fmla="*/ 2 w 19"/>
                <a:gd name="T19" fmla="*/ 12 h 17"/>
                <a:gd name="T20" fmla="*/ 0 w 19"/>
                <a:gd name="T21" fmla="*/ 8 h 17"/>
                <a:gd name="T22" fmla="*/ 0 w 19"/>
                <a:gd name="T23" fmla="*/ 8 h 17"/>
                <a:gd name="T24" fmla="*/ 2 w 19"/>
                <a:gd name="T25" fmla="*/ 4 h 17"/>
                <a:gd name="T26" fmla="*/ 4 w 19"/>
                <a:gd name="T27" fmla="*/ 2 h 17"/>
                <a:gd name="T28" fmla="*/ 6 w 19"/>
                <a:gd name="T29" fmla="*/ 1 h 17"/>
                <a:gd name="T30" fmla="*/ 10 w 19"/>
                <a:gd name="T31" fmla="*/ 0 h 17"/>
                <a:gd name="T32" fmla="*/ 10 w 19"/>
                <a:gd name="T33" fmla="*/ 0 h 17"/>
                <a:gd name="T34" fmla="*/ 13 w 19"/>
                <a:gd name="T35" fmla="*/ 1 h 17"/>
                <a:gd name="T36" fmla="*/ 16 w 19"/>
                <a:gd name="T37" fmla="*/ 2 h 17"/>
                <a:gd name="T38" fmla="*/ 18 w 19"/>
                <a:gd name="T39" fmla="*/ 4 h 17"/>
                <a:gd name="T40" fmla="*/ 19 w 19"/>
                <a:gd name="T41" fmla="*/ 8 h 17"/>
                <a:gd name="T42" fmla="*/ 19 w 19"/>
                <a:gd name="T43"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17">
                  <a:moveTo>
                    <a:pt x="19" y="8"/>
                  </a:moveTo>
                  <a:lnTo>
                    <a:pt x="19" y="8"/>
                  </a:lnTo>
                  <a:lnTo>
                    <a:pt x="18" y="12"/>
                  </a:lnTo>
                  <a:lnTo>
                    <a:pt x="16" y="14"/>
                  </a:lnTo>
                  <a:lnTo>
                    <a:pt x="13" y="17"/>
                  </a:lnTo>
                  <a:lnTo>
                    <a:pt x="10" y="17"/>
                  </a:lnTo>
                  <a:lnTo>
                    <a:pt x="10" y="17"/>
                  </a:lnTo>
                  <a:lnTo>
                    <a:pt x="6" y="17"/>
                  </a:lnTo>
                  <a:lnTo>
                    <a:pt x="4" y="14"/>
                  </a:lnTo>
                  <a:lnTo>
                    <a:pt x="2" y="12"/>
                  </a:lnTo>
                  <a:lnTo>
                    <a:pt x="0" y="8"/>
                  </a:lnTo>
                  <a:lnTo>
                    <a:pt x="0" y="8"/>
                  </a:lnTo>
                  <a:lnTo>
                    <a:pt x="2" y="4"/>
                  </a:lnTo>
                  <a:lnTo>
                    <a:pt x="4" y="2"/>
                  </a:lnTo>
                  <a:lnTo>
                    <a:pt x="6" y="1"/>
                  </a:lnTo>
                  <a:lnTo>
                    <a:pt x="10" y="0"/>
                  </a:lnTo>
                  <a:lnTo>
                    <a:pt x="10" y="0"/>
                  </a:lnTo>
                  <a:lnTo>
                    <a:pt x="13" y="1"/>
                  </a:lnTo>
                  <a:lnTo>
                    <a:pt x="16" y="2"/>
                  </a:lnTo>
                  <a:lnTo>
                    <a:pt x="18" y="4"/>
                  </a:lnTo>
                  <a:lnTo>
                    <a:pt x="19" y="8"/>
                  </a:lnTo>
                  <a:lnTo>
                    <a:pt x="1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2" name="Rectangle 260">
              <a:extLst>
                <a:ext uri="{FF2B5EF4-FFF2-40B4-BE49-F238E27FC236}">
                  <a16:creationId xmlns:a16="http://schemas.microsoft.com/office/drawing/2014/main" id="{512CAE42-4F72-99E1-DF54-1507D94F46C2}"/>
                </a:ext>
              </a:extLst>
            </p:cNvPr>
            <p:cNvSpPr>
              <a:spLocks noChangeArrowheads="1"/>
            </p:cNvSpPr>
            <p:nvPr/>
          </p:nvSpPr>
          <p:spPr bwMode="auto">
            <a:xfrm>
              <a:off x="7471307" y="3242873"/>
              <a:ext cx="301206" cy="2023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3" name="Rectangle 261">
              <a:extLst>
                <a:ext uri="{FF2B5EF4-FFF2-40B4-BE49-F238E27FC236}">
                  <a16:creationId xmlns:a16="http://schemas.microsoft.com/office/drawing/2014/main" id="{CD7A0892-DB42-5906-D049-0269D8FC3183}"/>
                </a:ext>
              </a:extLst>
            </p:cNvPr>
            <p:cNvSpPr>
              <a:spLocks noChangeArrowheads="1"/>
            </p:cNvSpPr>
            <p:nvPr/>
          </p:nvSpPr>
          <p:spPr bwMode="auto">
            <a:xfrm>
              <a:off x="7342852" y="3315704"/>
              <a:ext cx="106308" cy="8092"/>
            </a:xfrm>
            <a:prstGeom prst="rect">
              <a:avLst/>
            </a:prstGeom>
            <a:solidFill>
              <a:srgbClr val="8FC4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4" name="Rectangle 262">
              <a:extLst>
                <a:ext uri="{FF2B5EF4-FFF2-40B4-BE49-F238E27FC236}">
                  <a16:creationId xmlns:a16="http://schemas.microsoft.com/office/drawing/2014/main" id="{C48240DC-3520-6475-55C1-34CBA51C382B}"/>
                </a:ext>
              </a:extLst>
            </p:cNvPr>
            <p:cNvSpPr>
              <a:spLocks noChangeArrowheads="1"/>
            </p:cNvSpPr>
            <p:nvPr/>
          </p:nvSpPr>
          <p:spPr bwMode="auto">
            <a:xfrm>
              <a:off x="7342852" y="3500480"/>
              <a:ext cx="113691" cy="8092"/>
            </a:xfrm>
            <a:prstGeom prst="rect">
              <a:avLst/>
            </a:prstGeom>
            <a:solidFill>
              <a:srgbClr val="8FC4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5" name="Rectangle 263">
              <a:extLst>
                <a:ext uri="{FF2B5EF4-FFF2-40B4-BE49-F238E27FC236}">
                  <a16:creationId xmlns:a16="http://schemas.microsoft.com/office/drawing/2014/main" id="{29810933-DB3D-07E4-2CC6-0F3FE9CD90E8}"/>
                </a:ext>
              </a:extLst>
            </p:cNvPr>
            <p:cNvSpPr>
              <a:spLocks noChangeArrowheads="1"/>
            </p:cNvSpPr>
            <p:nvPr/>
          </p:nvSpPr>
          <p:spPr bwMode="auto">
            <a:xfrm>
              <a:off x="7342852" y="3524757"/>
              <a:ext cx="423756" cy="9442"/>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6" name="Rectangle 264">
              <a:extLst>
                <a:ext uri="{FF2B5EF4-FFF2-40B4-BE49-F238E27FC236}">
                  <a16:creationId xmlns:a16="http://schemas.microsoft.com/office/drawing/2014/main" id="{5AE5B2AF-9867-2AF4-7E1B-45F61846D763}"/>
                </a:ext>
              </a:extLst>
            </p:cNvPr>
            <p:cNvSpPr>
              <a:spLocks noChangeArrowheads="1"/>
            </p:cNvSpPr>
            <p:nvPr/>
          </p:nvSpPr>
          <p:spPr bwMode="auto">
            <a:xfrm>
              <a:off x="7342852" y="3550383"/>
              <a:ext cx="423756" cy="9442"/>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7" name="Rectangle 265">
              <a:extLst>
                <a:ext uri="{FF2B5EF4-FFF2-40B4-BE49-F238E27FC236}">
                  <a16:creationId xmlns:a16="http://schemas.microsoft.com/office/drawing/2014/main" id="{829E2D73-5C94-695E-D73C-7D9DE9B8C3C4}"/>
                </a:ext>
              </a:extLst>
            </p:cNvPr>
            <p:cNvSpPr>
              <a:spLocks noChangeArrowheads="1"/>
            </p:cNvSpPr>
            <p:nvPr/>
          </p:nvSpPr>
          <p:spPr bwMode="auto">
            <a:xfrm>
              <a:off x="7701642" y="3315704"/>
              <a:ext cx="66443" cy="8092"/>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8" name="Rectangle 266">
              <a:extLst>
                <a:ext uri="{FF2B5EF4-FFF2-40B4-BE49-F238E27FC236}">
                  <a16:creationId xmlns:a16="http://schemas.microsoft.com/office/drawing/2014/main" id="{99A41246-B1AC-C1C3-6123-106F3BAF61EF}"/>
                </a:ext>
              </a:extLst>
            </p:cNvPr>
            <p:cNvSpPr>
              <a:spLocks noChangeArrowheads="1"/>
            </p:cNvSpPr>
            <p:nvPr/>
          </p:nvSpPr>
          <p:spPr bwMode="auto">
            <a:xfrm>
              <a:off x="7617481" y="3315704"/>
              <a:ext cx="67919" cy="8092"/>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9" name="Rectangle 267">
              <a:extLst>
                <a:ext uri="{FF2B5EF4-FFF2-40B4-BE49-F238E27FC236}">
                  <a16:creationId xmlns:a16="http://schemas.microsoft.com/office/drawing/2014/main" id="{0428A5DC-0B07-8E34-6175-6E693CBE3FF1}"/>
                </a:ext>
              </a:extLst>
            </p:cNvPr>
            <p:cNvSpPr>
              <a:spLocks noChangeArrowheads="1"/>
            </p:cNvSpPr>
            <p:nvPr/>
          </p:nvSpPr>
          <p:spPr bwMode="auto">
            <a:xfrm>
              <a:off x="7531844" y="3315704"/>
              <a:ext cx="67919" cy="8092"/>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0" name="Rectangle 268">
              <a:extLst>
                <a:ext uri="{FF2B5EF4-FFF2-40B4-BE49-F238E27FC236}">
                  <a16:creationId xmlns:a16="http://schemas.microsoft.com/office/drawing/2014/main" id="{6EFFDFC4-EA00-99E4-0118-F94332D269FD}"/>
                </a:ext>
              </a:extLst>
            </p:cNvPr>
            <p:cNvSpPr>
              <a:spLocks noChangeArrowheads="1"/>
            </p:cNvSpPr>
            <p:nvPr/>
          </p:nvSpPr>
          <p:spPr bwMode="auto">
            <a:xfrm>
              <a:off x="7342852" y="3357514"/>
              <a:ext cx="425232" cy="115991"/>
            </a:xfrm>
            <a:prstGeom prst="rect">
              <a:avLst/>
            </a:prstGeom>
            <a:solidFill>
              <a:srgbClr val="15B0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1" name="Freeform 269">
              <a:extLst>
                <a:ext uri="{FF2B5EF4-FFF2-40B4-BE49-F238E27FC236}">
                  <a16:creationId xmlns:a16="http://schemas.microsoft.com/office/drawing/2014/main" id="{4E57AD99-34DA-8BC2-594C-CD0D698CB96A}"/>
                </a:ext>
              </a:extLst>
            </p:cNvPr>
            <p:cNvSpPr>
              <a:spLocks/>
            </p:cNvSpPr>
            <p:nvPr/>
          </p:nvSpPr>
          <p:spPr bwMode="auto">
            <a:xfrm>
              <a:off x="7415200" y="3357514"/>
              <a:ext cx="352884" cy="115991"/>
            </a:xfrm>
            <a:custGeom>
              <a:avLst/>
              <a:gdLst>
                <a:gd name="T0" fmla="*/ 0 w 239"/>
                <a:gd name="T1" fmla="*/ 86 h 86"/>
                <a:gd name="T2" fmla="*/ 239 w 239"/>
                <a:gd name="T3" fmla="*/ 86 h 86"/>
                <a:gd name="T4" fmla="*/ 239 w 239"/>
                <a:gd name="T5" fmla="*/ 0 h 86"/>
                <a:gd name="T6" fmla="*/ 142 w 239"/>
                <a:gd name="T7" fmla="*/ 0 h 86"/>
                <a:gd name="T8" fmla="*/ 0 w 239"/>
                <a:gd name="T9" fmla="*/ 86 h 86"/>
              </a:gdLst>
              <a:ahLst/>
              <a:cxnLst>
                <a:cxn ang="0">
                  <a:pos x="T0" y="T1"/>
                </a:cxn>
                <a:cxn ang="0">
                  <a:pos x="T2" y="T3"/>
                </a:cxn>
                <a:cxn ang="0">
                  <a:pos x="T4" y="T5"/>
                </a:cxn>
                <a:cxn ang="0">
                  <a:pos x="T6" y="T7"/>
                </a:cxn>
                <a:cxn ang="0">
                  <a:pos x="T8" y="T9"/>
                </a:cxn>
              </a:cxnLst>
              <a:rect l="0" t="0" r="r" b="b"/>
              <a:pathLst>
                <a:path w="239" h="86">
                  <a:moveTo>
                    <a:pt x="0" y="86"/>
                  </a:moveTo>
                  <a:lnTo>
                    <a:pt x="239" y="86"/>
                  </a:lnTo>
                  <a:lnTo>
                    <a:pt x="239" y="0"/>
                  </a:lnTo>
                  <a:lnTo>
                    <a:pt x="142" y="0"/>
                  </a:lnTo>
                  <a:lnTo>
                    <a:pt x="0" y="86"/>
                  </a:lnTo>
                  <a:close/>
                </a:path>
              </a:pathLst>
            </a:custGeom>
            <a:solidFill>
              <a:srgbClr val="1695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2" name="Freeform 270">
              <a:extLst>
                <a:ext uri="{FF2B5EF4-FFF2-40B4-BE49-F238E27FC236}">
                  <a16:creationId xmlns:a16="http://schemas.microsoft.com/office/drawing/2014/main" id="{05A6DA3E-DC83-90D5-ABFA-D770D2646822}"/>
                </a:ext>
              </a:extLst>
            </p:cNvPr>
            <p:cNvSpPr>
              <a:spLocks noEditPoints="1"/>
            </p:cNvSpPr>
            <p:nvPr/>
          </p:nvSpPr>
          <p:spPr bwMode="auto">
            <a:xfrm>
              <a:off x="7531844" y="3344027"/>
              <a:ext cx="367649" cy="334485"/>
            </a:xfrm>
            <a:custGeom>
              <a:avLst/>
              <a:gdLst>
                <a:gd name="T0" fmla="*/ 223 w 249"/>
                <a:gd name="T1" fmla="*/ 88 h 248"/>
                <a:gd name="T2" fmla="*/ 238 w 249"/>
                <a:gd name="T3" fmla="*/ 76 h 248"/>
                <a:gd name="T4" fmla="*/ 224 w 249"/>
                <a:gd name="T5" fmla="*/ 49 h 248"/>
                <a:gd name="T6" fmla="*/ 216 w 249"/>
                <a:gd name="T7" fmla="*/ 47 h 248"/>
                <a:gd name="T8" fmla="*/ 199 w 249"/>
                <a:gd name="T9" fmla="*/ 31 h 248"/>
                <a:gd name="T10" fmla="*/ 199 w 249"/>
                <a:gd name="T11" fmla="*/ 23 h 248"/>
                <a:gd name="T12" fmla="*/ 171 w 249"/>
                <a:gd name="T13" fmla="*/ 9 h 248"/>
                <a:gd name="T14" fmla="*/ 158 w 249"/>
                <a:gd name="T15" fmla="*/ 25 h 248"/>
                <a:gd name="T16" fmla="*/ 142 w 249"/>
                <a:gd name="T17" fmla="*/ 6 h 248"/>
                <a:gd name="T18" fmla="*/ 136 w 249"/>
                <a:gd name="T19" fmla="*/ 0 h 248"/>
                <a:gd name="T20" fmla="*/ 106 w 249"/>
                <a:gd name="T21" fmla="*/ 1 h 248"/>
                <a:gd name="T22" fmla="*/ 104 w 249"/>
                <a:gd name="T23" fmla="*/ 21 h 248"/>
                <a:gd name="T24" fmla="*/ 79 w 249"/>
                <a:gd name="T25" fmla="*/ 11 h 248"/>
                <a:gd name="T26" fmla="*/ 49 w 249"/>
                <a:gd name="T27" fmla="*/ 23 h 248"/>
                <a:gd name="T28" fmla="*/ 47 w 249"/>
                <a:gd name="T29" fmla="*/ 30 h 248"/>
                <a:gd name="T30" fmla="*/ 43 w 249"/>
                <a:gd name="T31" fmla="*/ 57 h 248"/>
                <a:gd name="T32" fmla="*/ 26 w 249"/>
                <a:gd name="T33" fmla="*/ 49 h 248"/>
                <a:gd name="T34" fmla="*/ 10 w 249"/>
                <a:gd name="T35" fmla="*/ 74 h 248"/>
                <a:gd name="T36" fmla="*/ 11 w 249"/>
                <a:gd name="T37" fmla="*/ 83 h 248"/>
                <a:gd name="T38" fmla="*/ 6 w 249"/>
                <a:gd name="T39" fmla="*/ 106 h 248"/>
                <a:gd name="T40" fmla="*/ 0 w 249"/>
                <a:gd name="T41" fmla="*/ 110 h 248"/>
                <a:gd name="T42" fmla="*/ 0 w 249"/>
                <a:gd name="T43" fmla="*/ 141 h 248"/>
                <a:gd name="T44" fmla="*/ 21 w 249"/>
                <a:gd name="T45" fmla="*/ 144 h 248"/>
                <a:gd name="T46" fmla="*/ 14 w 249"/>
                <a:gd name="T47" fmla="*/ 168 h 248"/>
                <a:gd name="T48" fmla="*/ 11 w 249"/>
                <a:gd name="T49" fmla="*/ 176 h 248"/>
                <a:gd name="T50" fmla="*/ 27 w 249"/>
                <a:gd name="T51" fmla="*/ 201 h 248"/>
                <a:gd name="T52" fmla="*/ 46 w 249"/>
                <a:gd name="T53" fmla="*/ 194 h 248"/>
                <a:gd name="T54" fmla="*/ 49 w 249"/>
                <a:gd name="T55" fmla="*/ 220 h 248"/>
                <a:gd name="T56" fmla="*/ 74 w 249"/>
                <a:gd name="T57" fmla="*/ 239 h 248"/>
                <a:gd name="T58" fmla="*/ 81 w 249"/>
                <a:gd name="T59" fmla="*/ 238 h 248"/>
                <a:gd name="T60" fmla="*/ 106 w 249"/>
                <a:gd name="T61" fmla="*/ 227 h 248"/>
                <a:gd name="T62" fmla="*/ 108 w 249"/>
                <a:gd name="T63" fmla="*/ 247 h 248"/>
                <a:gd name="T64" fmla="*/ 138 w 249"/>
                <a:gd name="T65" fmla="*/ 248 h 248"/>
                <a:gd name="T66" fmla="*/ 145 w 249"/>
                <a:gd name="T67" fmla="*/ 242 h 248"/>
                <a:gd name="T68" fmla="*/ 168 w 249"/>
                <a:gd name="T69" fmla="*/ 236 h 248"/>
                <a:gd name="T70" fmla="*/ 174 w 249"/>
                <a:gd name="T71" fmla="*/ 238 h 248"/>
                <a:gd name="T72" fmla="*/ 201 w 249"/>
                <a:gd name="T73" fmla="*/ 223 h 248"/>
                <a:gd name="T74" fmla="*/ 194 w 249"/>
                <a:gd name="T75" fmla="*/ 202 h 248"/>
                <a:gd name="T76" fmla="*/ 218 w 249"/>
                <a:gd name="T77" fmla="*/ 199 h 248"/>
                <a:gd name="T78" fmla="*/ 227 w 249"/>
                <a:gd name="T79" fmla="*/ 196 h 248"/>
                <a:gd name="T80" fmla="*/ 240 w 249"/>
                <a:gd name="T81" fmla="*/ 169 h 248"/>
                <a:gd name="T82" fmla="*/ 223 w 249"/>
                <a:gd name="T83" fmla="*/ 158 h 248"/>
                <a:gd name="T84" fmla="*/ 245 w 249"/>
                <a:gd name="T85" fmla="*/ 142 h 248"/>
                <a:gd name="T86" fmla="*/ 249 w 249"/>
                <a:gd name="T87" fmla="*/ 110 h 248"/>
                <a:gd name="T88" fmla="*/ 245 w 249"/>
                <a:gd name="T89" fmla="*/ 104 h 248"/>
                <a:gd name="T90" fmla="*/ 125 w 249"/>
                <a:gd name="T91" fmla="*/ 175 h 248"/>
                <a:gd name="T92" fmla="*/ 88 w 249"/>
                <a:gd name="T93" fmla="*/ 160 h 248"/>
                <a:gd name="T94" fmla="*/ 73 w 249"/>
                <a:gd name="T95" fmla="*/ 123 h 248"/>
                <a:gd name="T96" fmla="*/ 81 w 249"/>
                <a:gd name="T97" fmla="*/ 95 h 248"/>
                <a:gd name="T98" fmla="*/ 113 w 249"/>
                <a:gd name="T99" fmla="*/ 74 h 248"/>
                <a:gd name="T100" fmla="*/ 144 w 249"/>
                <a:gd name="T101" fmla="*/ 76 h 248"/>
                <a:gd name="T102" fmla="*/ 171 w 249"/>
                <a:gd name="T103" fmla="*/ 104 h 248"/>
                <a:gd name="T104" fmla="*/ 174 w 249"/>
                <a:gd name="T105" fmla="*/ 134 h 248"/>
                <a:gd name="T106" fmla="*/ 153 w 249"/>
                <a:gd name="T107" fmla="*/ 167 h 248"/>
                <a:gd name="T108" fmla="*/ 125 w 249"/>
                <a:gd name="T109" fmla="*/ 17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9" h="248">
                  <a:moveTo>
                    <a:pt x="243" y="104"/>
                  </a:moveTo>
                  <a:lnTo>
                    <a:pt x="227" y="104"/>
                  </a:lnTo>
                  <a:lnTo>
                    <a:pt x="227" y="104"/>
                  </a:lnTo>
                  <a:lnTo>
                    <a:pt x="223" y="88"/>
                  </a:lnTo>
                  <a:lnTo>
                    <a:pt x="236" y="80"/>
                  </a:lnTo>
                  <a:lnTo>
                    <a:pt x="236" y="80"/>
                  </a:lnTo>
                  <a:lnTo>
                    <a:pt x="237" y="79"/>
                  </a:lnTo>
                  <a:lnTo>
                    <a:pt x="238" y="76"/>
                  </a:lnTo>
                  <a:lnTo>
                    <a:pt x="238" y="74"/>
                  </a:lnTo>
                  <a:lnTo>
                    <a:pt x="238" y="72"/>
                  </a:lnTo>
                  <a:lnTo>
                    <a:pt x="224" y="49"/>
                  </a:lnTo>
                  <a:lnTo>
                    <a:pt x="224" y="49"/>
                  </a:lnTo>
                  <a:lnTo>
                    <a:pt x="223" y="47"/>
                  </a:lnTo>
                  <a:lnTo>
                    <a:pt x="221" y="47"/>
                  </a:lnTo>
                  <a:lnTo>
                    <a:pt x="218" y="46"/>
                  </a:lnTo>
                  <a:lnTo>
                    <a:pt x="216" y="47"/>
                  </a:lnTo>
                  <a:lnTo>
                    <a:pt x="203" y="54"/>
                  </a:lnTo>
                  <a:lnTo>
                    <a:pt x="203" y="54"/>
                  </a:lnTo>
                  <a:lnTo>
                    <a:pt x="191" y="43"/>
                  </a:lnTo>
                  <a:lnTo>
                    <a:pt x="199" y="31"/>
                  </a:lnTo>
                  <a:lnTo>
                    <a:pt x="199" y="31"/>
                  </a:lnTo>
                  <a:lnTo>
                    <a:pt x="200" y="28"/>
                  </a:lnTo>
                  <a:lnTo>
                    <a:pt x="200" y="26"/>
                  </a:lnTo>
                  <a:lnTo>
                    <a:pt x="199" y="23"/>
                  </a:lnTo>
                  <a:lnTo>
                    <a:pt x="196" y="22"/>
                  </a:lnTo>
                  <a:lnTo>
                    <a:pt x="174" y="9"/>
                  </a:lnTo>
                  <a:lnTo>
                    <a:pt x="174" y="9"/>
                  </a:lnTo>
                  <a:lnTo>
                    <a:pt x="171" y="9"/>
                  </a:lnTo>
                  <a:lnTo>
                    <a:pt x="169" y="9"/>
                  </a:lnTo>
                  <a:lnTo>
                    <a:pt x="168" y="10"/>
                  </a:lnTo>
                  <a:lnTo>
                    <a:pt x="165" y="11"/>
                  </a:lnTo>
                  <a:lnTo>
                    <a:pt x="158" y="25"/>
                  </a:lnTo>
                  <a:lnTo>
                    <a:pt x="158" y="25"/>
                  </a:lnTo>
                  <a:lnTo>
                    <a:pt x="142" y="21"/>
                  </a:lnTo>
                  <a:lnTo>
                    <a:pt x="142" y="6"/>
                  </a:lnTo>
                  <a:lnTo>
                    <a:pt x="142" y="6"/>
                  </a:lnTo>
                  <a:lnTo>
                    <a:pt x="142" y="4"/>
                  </a:lnTo>
                  <a:lnTo>
                    <a:pt x="141" y="1"/>
                  </a:lnTo>
                  <a:lnTo>
                    <a:pt x="138" y="0"/>
                  </a:lnTo>
                  <a:lnTo>
                    <a:pt x="136" y="0"/>
                  </a:lnTo>
                  <a:lnTo>
                    <a:pt x="110" y="0"/>
                  </a:lnTo>
                  <a:lnTo>
                    <a:pt x="110" y="0"/>
                  </a:lnTo>
                  <a:lnTo>
                    <a:pt x="107" y="0"/>
                  </a:lnTo>
                  <a:lnTo>
                    <a:pt x="106" y="1"/>
                  </a:lnTo>
                  <a:lnTo>
                    <a:pt x="104" y="4"/>
                  </a:lnTo>
                  <a:lnTo>
                    <a:pt x="104" y="6"/>
                  </a:lnTo>
                  <a:lnTo>
                    <a:pt x="104" y="21"/>
                  </a:lnTo>
                  <a:lnTo>
                    <a:pt x="104" y="21"/>
                  </a:lnTo>
                  <a:lnTo>
                    <a:pt x="88" y="26"/>
                  </a:lnTo>
                  <a:lnTo>
                    <a:pt x="80" y="12"/>
                  </a:lnTo>
                  <a:lnTo>
                    <a:pt x="80" y="12"/>
                  </a:lnTo>
                  <a:lnTo>
                    <a:pt x="79" y="11"/>
                  </a:lnTo>
                  <a:lnTo>
                    <a:pt x="76" y="10"/>
                  </a:lnTo>
                  <a:lnTo>
                    <a:pt x="74" y="10"/>
                  </a:lnTo>
                  <a:lnTo>
                    <a:pt x="71" y="10"/>
                  </a:lnTo>
                  <a:lnTo>
                    <a:pt x="49" y="23"/>
                  </a:lnTo>
                  <a:lnTo>
                    <a:pt x="49" y="23"/>
                  </a:lnTo>
                  <a:lnTo>
                    <a:pt x="48" y="25"/>
                  </a:lnTo>
                  <a:lnTo>
                    <a:pt x="47" y="27"/>
                  </a:lnTo>
                  <a:lnTo>
                    <a:pt x="47" y="30"/>
                  </a:lnTo>
                  <a:lnTo>
                    <a:pt x="47" y="32"/>
                  </a:lnTo>
                  <a:lnTo>
                    <a:pt x="55" y="46"/>
                  </a:lnTo>
                  <a:lnTo>
                    <a:pt x="55" y="46"/>
                  </a:lnTo>
                  <a:lnTo>
                    <a:pt x="43" y="57"/>
                  </a:lnTo>
                  <a:lnTo>
                    <a:pt x="31" y="49"/>
                  </a:lnTo>
                  <a:lnTo>
                    <a:pt x="31" y="49"/>
                  </a:lnTo>
                  <a:lnTo>
                    <a:pt x="28" y="48"/>
                  </a:lnTo>
                  <a:lnTo>
                    <a:pt x="26" y="49"/>
                  </a:lnTo>
                  <a:lnTo>
                    <a:pt x="23" y="49"/>
                  </a:lnTo>
                  <a:lnTo>
                    <a:pt x="22" y="52"/>
                  </a:lnTo>
                  <a:lnTo>
                    <a:pt x="10" y="74"/>
                  </a:lnTo>
                  <a:lnTo>
                    <a:pt x="10" y="74"/>
                  </a:lnTo>
                  <a:lnTo>
                    <a:pt x="9" y="76"/>
                  </a:lnTo>
                  <a:lnTo>
                    <a:pt x="9" y="79"/>
                  </a:lnTo>
                  <a:lnTo>
                    <a:pt x="10" y="81"/>
                  </a:lnTo>
                  <a:lnTo>
                    <a:pt x="11" y="83"/>
                  </a:lnTo>
                  <a:lnTo>
                    <a:pt x="25" y="90"/>
                  </a:lnTo>
                  <a:lnTo>
                    <a:pt x="25" y="90"/>
                  </a:lnTo>
                  <a:lnTo>
                    <a:pt x="21" y="106"/>
                  </a:lnTo>
                  <a:lnTo>
                    <a:pt x="6" y="106"/>
                  </a:lnTo>
                  <a:lnTo>
                    <a:pt x="6" y="106"/>
                  </a:lnTo>
                  <a:lnTo>
                    <a:pt x="4" y="106"/>
                  </a:lnTo>
                  <a:lnTo>
                    <a:pt x="1" y="109"/>
                  </a:lnTo>
                  <a:lnTo>
                    <a:pt x="0" y="110"/>
                  </a:lnTo>
                  <a:lnTo>
                    <a:pt x="0" y="112"/>
                  </a:lnTo>
                  <a:lnTo>
                    <a:pt x="0" y="138"/>
                  </a:lnTo>
                  <a:lnTo>
                    <a:pt x="0" y="138"/>
                  </a:lnTo>
                  <a:lnTo>
                    <a:pt x="0" y="141"/>
                  </a:lnTo>
                  <a:lnTo>
                    <a:pt x="1" y="143"/>
                  </a:lnTo>
                  <a:lnTo>
                    <a:pt x="4" y="144"/>
                  </a:lnTo>
                  <a:lnTo>
                    <a:pt x="6" y="144"/>
                  </a:lnTo>
                  <a:lnTo>
                    <a:pt x="21" y="144"/>
                  </a:lnTo>
                  <a:lnTo>
                    <a:pt x="21" y="144"/>
                  </a:lnTo>
                  <a:lnTo>
                    <a:pt x="26" y="160"/>
                  </a:lnTo>
                  <a:lnTo>
                    <a:pt x="14" y="168"/>
                  </a:lnTo>
                  <a:lnTo>
                    <a:pt x="14" y="168"/>
                  </a:lnTo>
                  <a:lnTo>
                    <a:pt x="11" y="169"/>
                  </a:lnTo>
                  <a:lnTo>
                    <a:pt x="10" y="171"/>
                  </a:lnTo>
                  <a:lnTo>
                    <a:pt x="10" y="174"/>
                  </a:lnTo>
                  <a:lnTo>
                    <a:pt x="11" y="176"/>
                  </a:lnTo>
                  <a:lnTo>
                    <a:pt x="23" y="199"/>
                  </a:lnTo>
                  <a:lnTo>
                    <a:pt x="23" y="199"/>
                  </a:lnTo>
                  <a:lnTo>
                    <a:pt x="25" y="201"/>
                  </a:lnTo>
                  <a:lnTo>
                    <a:pt x="27" y="201"/>
                  </a:lnTo>
                  <a:lnTo>
                    <a:pt x="30" y="202"/>
                  </a:lnTo>
                  <a:lnTo>
                    <a:pt x="32" y="201"/>
                  </a:lnTo>
                  <a:lnTo>
                    <a:pt x="46" y="194"/>
                  </a:lnTo>
                  <a:lnTo>
                    <a:pt x="46" y="194"/>
                  </a:lnTo>
                  <a:lnTo>
                    <a:pt x="57" y="205"/>
                  </a:lnTo>
                  <a:lnTo>
                    <a:pt x="49" y="217"/>
                  </a:lnTo>
                  <a:lnTo>
                    <a:pt x="49" y="217"/>
                  </a:lnTo>
                  <a:lnTo>
                    <a:pt x="49" y="220"/>
                  </a:lnTo>
                  <a:lnTo>
                    <a:pt x="49" y="222"/>
                  </a:lnTo>
                  <a:lnTo>
                    <a:pt x="51" y="224"/>
                  </a:lnTo>
                  <a:lnTo>
                    <a:pt x="52" y="226"/>
                  </a:lnTo>
                  <a:lnTo>
                    <a:pt x="74" y="239"/>
                  </a:lnTo>
                  <a:lnTo>
                    <a:pt x="74" y="239"/>
                  </a:lnTo>
                  <a:lnTo>
                    <a:pt x="76" y="239"/>
                  </a:lnTo>
                  <a:lnTo>
                    <a:pt x="79" y="239"/>
                  </a:lnTo>
                  <a:lnTo>
                    <a:pt x="81" y="238"/>
                  </a:lnTo>
                  <a:lnTo>
                    <a:pt x="83" y="237"/>
                  </a:lnTo>
                  <a:lnTo>
                    <a:pt x="91" y="223"/>
                  </a:lnTo>
                  <a:lnTo>
                    <a:pt x="91" y="223"/>
                  </a:lnTo>
                  <a:lnTo>
                    <a:pt x="106" y="227"/>
                  </a:lnTo>
                  <a:lnTo>
                    <a:pt x="106" y="242"/>
                  </a:lnTo>
                  <a:lnTo>
                    <a:pt x="106" y="242"/>
                  </a:lnTo>
                  <a:lnTo>
                    <a:pt x="107" y="244"/>
                  </a:lnTo>
                  <a:lnTo>
                    <a:pt x="108" y="247"/>
                  </a:lnTo>
                  <a:lnTo>
                    <a:pt x="111" y="248"/>
                  </a:lnTo>
                  <a:lnTo>
                    <a:pt x="113" y="248"/>
                  </a:lnTo>
                  <a:lnTo>
                    <a:pt x="138" y="248"/>
                  </a:lnTo>
                  <a:lnTo>
                    <a:pt x="138" y="248"/>
                  </a:lnTo>
                  <a:lnTo>
                    <a:pt x="141" y="248"/>
                  </a:lnTo>
                  <a:lnTo>
                    <a:pt x="143" y="247"/>
                  </a:lnTo>
                  <a:lnTo>
                    <a:pt x="144" y="244"/>
                  </a:lnTo>
                  <a:lnTo>
                    <a:pt x="145" y="242"/>
                  </a:lnTo>
                  <a:lnTo>
                    <a:pt x="145" y="227"/>
                  </a:lnTo>
                  <a:lnTo>
                    <a:pt x="145" y="227"/>
                  </a:lnTo>
                  <a:lnTo>
                    <a:pt x="160" y="222"/>
                  </a:lnTo>
                  <a:lnTo>
                    <a:pt x="168" y="236"/>
                  </a:lnTo>
                  <a:lnTo>
                    <a:pt x="168" y="236"/>
                  </a:lnTo>
                  <a:lnTo>
                    <a:pt x="170" y="237"/>
                  </a:lnTo>
                  <a:lnTo>
                    <a:pt x="171" y="238"/>
                  </a:lnTo>
                  <a:lnTo>
                    <a:pt x="174" y="238"/>
                  </a:lnTo>
                  <a:lnTo>
                    <a:pt x="176" y="238"/>
                  </a:lnTo>
                  <a:lnTo>
                    <a:pt x="199" y="224"/>
                  </a:lnTo>
                  <a:lnTo>
                    <a:pt x="199" y="224"/>
                  </a:lnTo>
                  <a:lnTo>
                    <a:pt x="201" y="223"/>
                  </a:lnTo>
                  <a:lnTo>
                    <a:pt x="202" y="221"/>
                  </a:lnTo>
                  <a:lnTo>
                    <a:pt x="202" y="218"/>
                  </a:lnTo>
                  <a:lnTo>
                    <a:pt x="201" y="216"/>
                  </a:lnTo>
                  <a:lnTo>
                    <a:pt x="194" y="202"/>
                  </a:lnTo>
                  <a:lnTo>
                    <a:pt x="194" y="202"/>
                  </a:lnTo>
                  <a:lnTo>
                    <a:pt x="205" y="191"/>
                  </a:lnTo>
                  <a:lnTo>
                    <a:pt x="218" y="199"/>
                  </a:lnTo>
                  <a:lnTo>
                    <a:pt x="218" y="199"/>
                  </a:lnTo>
                  <a:lnTo>
                    <a:pt x="219" y="200"/>
                  </a:lnTo>
                  <a:lnTo>
                    <a:pt x="222" y="199"/>
                  </a:lnTo>
                  <a:lnTo>
                    <a:pt x="224" y="199"/>
                  </a:lnTo>
                  <a:lnTo>
                    <a:pt x="227" y="196"/>
                  </a:lnTo>
                  <a:lnTo>
                    <a:pt x="239" y="174"/>
                  </a:lnTo>
                  <a:lnTo>
                    <a:pt x="239" y="174"/>
                  </a:lnTo>
                  <a:lnTo>
                    <a:pt x="240" y="171"/>
                  </a:lnTo>
                  <a:lnTo>
                    <a:pt x="240" y="169"/>
                  </a:lnTo>
                  <a:lnTo>
                    <a:pt x="239" y="167"/>
                  </a:lnTo>
                  <a:lnTo>
                    <a:pt x="237" y="165"/>
                  </a:lnTo>
                  <a:lnTo>
                    <a:pt x="223" y="158"/>
                  </a:lnTo>
                  <a:lnTo>
                    <a:pt x="223" y="158"/>
                  </a:lnTo>
                  <a:lnTo>
                    <a:pt x="228" y="142"/>
                  </a:lnTo>
                  <a:lnTo>
                    <a:pt x="243" y="142"/>
                  </a:lnTo>
                  <a:lnTo>
                    <a:pt x="243" y="142"/>
                  </a:lnTo>
                  <a:lnTo>
                    <a:pt x="245" y="142"/>
                  </a:lnTo>
                  <a:lnTo>
                    <a:pt x="247" y="139"/>
                  </a:lnTo>
                  <a:lnTo>
                    <a:pt x="248" y="138"/>
                  </a:lnTo>
                  <a:lnTo>
                    <a:pt x="249" y="136"/>
                  </a:lnTo>
                  <a:lnTo>
                    <a:pt x="249" y="110"/>
                  </a:lnTo>
                  <a:lnTo>
                    <a:pt x="249" y="110"/>
                  </a:lnTo>
                  <a:lnTo>
                    <a:pt x="248" y="107"/>
                  </a:lnTo>
                  <a:lnTo>
                    <a:pt x="247" y="105"/>
                  </a:lnTo>
                  <a:lnTo>
                    <a:pt x="245" y="104"/>
                  </a:lnTo>
                  <a:lnTo>
                    <a:pt x="243" y="104"/>
                  </a:lnTo>
                  <a:lnTo>
                    <a:pt x="243" y="104"/>
                  </a:lnTo>
                  <a:close/>
                  <a:moveTo>
                    <a:pt x="125" y="175"/>
                  </a:moveTo>
                  <a:lnTo>
                    <a:pt x="125" y="175"/>
                  </a:lnTo>
                  <a:lnTo>
                    <a:pt x="113" y="174"/>
                  </a:lnTo>
                  <a:lnTo>
                    <a:pt x="105" y="171"/>
                  </a:lnTo>
                  <a:lnTo>
                    <a:pt x="96" y="167"/>
                  </a:lnTo>
                  <a:lnTo>
                    <a:pt x="88" y="160"/>
                  </a:lnTo>
                  <a:lnTo>
                    <a:pt x="81" y="153"/>
                  </a:lnTo>
                  <a:lnTo>
                    <a:pt x="78" y="144"/>
                  </a:lnTo>
                  <a:lnTo>
                    <a:pt x="74" y="134"/>
                  </a:lnTo>
                  <a:lnTo>
                    <a:pt x="73" y="123"/>
                  </a:lnTo>
                  <a:lnTo>
                    <a:pt x="73" y="123"/>
                  </a:lnTo>
                  <a:lnTo>
                    <a:pt x="74" y="113"/>
                  </a:lnTo>
                  <a:lnTo>
                    <a:pt x="78" y="104"/>
                  </a:lnTo>
                  <a:lnTo>
                    <a:pt x="81" y="95"/>
                  </a:lnTo>
                  <a:lnTo>
                    <a:pt x="88" y="88"/>
                  </a:lnTo>
                  <a:lnTo>
                    <a:pt x="96" y="81"/>
                  </a:lnTo>
                  <a:lnTo>
                    <a:pt x="105" y="76"/>
                  </a:lnTo>
                  <a:lnTo>
                    <a:pt x="113" y="74"/>
                  </a:lnTo>
                  <a:lnTo>
                    <a:pt x="125" y="73"/>
                  </a:lnTo>
                  <a:lnTo>
                    <a:pt x="125" y="73"/>
                  </a:lnTo>
                  <a:lnTo>
                    <a:pt x="134" y="74"/>
                  </a:lnTo>
                  <a:lnTo>
                    <a:pt x="144" y="76"/>
                  </a:lnTo>
                  <a:lnTo>
                    <a:pt x="153" y="81"/>
                  </a:lnTo>
                  <a:lnTo>
                    <a:pt x="160" y="88"/>
                  </a:lnTo>
                  <a:lnTo>
                    <a:pt x="166" y="95"/>
                  </a:lnTo>
                  <a:lnTo>
                    <a:pt x="171" y="104"/>
                  </a:lnTo>
                  <a:lnTo>
                    <a:pt x="174" y="113"/>
                  </a:lnTo>
                  <a:lnTo>
                    <a:pt x="175" y="123"/>
                  </a:lnTo>
                  <a:lnTo>
                    <a:pt x="175" y="123"/>
                  </a:lnTo>
                  <a:lnTo>
                    <a:pt x="174" y="134"/>
                  </a:lnTo>
                  <a:lnTo>
                    <a:pt x="171" y="144"/>
                  </a:lnTo>
                  <a:lnTo>
                    <a:pt x="166" y="153"/>
                  </a:lnTo>
                  <a:lnTo>
                    <a:pt x="160" y="160"/>
                  </a:lnTo>
                  <a:lnTo>
                    <a:pt x="153" y="167"/>
                  </a:lnTo>
                  <a:lnTo>
                    <a:pt x="144" y="171"/>
                  </a:lnTo>
                  <a:lnTo>
                    <a:pt x="134" y="174"/>
                  </a:lnTo>
                  <a:lnTo>
                    <a:pt x="125" y="175"/>
                  </a:lnTo>
                  <a:lnTo>
                    <a:pt x="125" y="175"/>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3" name="Freeform 271">
              <a:extLst>
                <a:ext uri="{FF2B5EF4-FFF2-40B4-BE49-F238E27FC236}">
                  <a16:creationId xmlns:a16="http://schemas.microsoft.com/office/drawing/2014/main" id="{B71EB9B3-279F-CE36-DA0A-BC391A2E9EE9}"/>
                </a:ext>
              </a:extLst>
            </p:cNvPr>
            <p:cNvSpPr>
              <a:spLocks/>
            </p:cNvSpPr>
            <p:nvPr/>
          </p:nvSpPr>
          <p:spPr bwMode="auto">
            <a:xfrm>
              <a:off x="7531844" y="3344027"/>
              <a:ext cx="180133" cy="334485"/>
            </a:xfrm>
            <a:custGeom>
              <a:avLst/>
              <a:gdLst>
                <a:gd name="T0" fmla="*/ 122 w 122"/>
                <a:gd name="T1" fmla="*/ 190 h 248"/>
                <a:gd name="T2" fmla="*/ 97 w 122"/>
                <a:gd name="T3" fmla="*/ 185 h 248"/>
                <a:gd name="T4" fmla="*/ 76 w 122"/>
                <a:gd name="T5" fmla="*/ 170 h 248"/>
                <a:gd name="T6" fmla="*/ 63 w 122"/>
                <a:gd name="T7" fmla="*/ 149 h 248"/>
                <a:gd name="T8" fmla="*/ 58 w 122"/>
                <a:gd name="T9" fmla="*/ 123 h 248"/>
                <a:gd name="T10" fmla="*/ 59 w 122"/>
                <a:gd name="T11" fmla="*/ 111 h 248"/>
                <a:gd name="T12" fmla="*/ 69 w 122"/>
                <a:gd name="T13" fmla="*/ 88 h 248"/>
                <a:gd name="T14" fmla="*/ 86 w 122"/>
                <a:gd name="T15" fmla="*/ 69 h 248"/>
                <a:gd name="T16" fmla="*/ 108 w 122"/>
                <a:gd name="T17" fmla="*/ 59 h 248"/>
                <a:gd name="T18" fmla="*/ 122 w 122"/>
                <a:gd name="T19" fmla="*/ 0 h 248"/>
                <a:gd name="T20" fmla="*/ 110 w 122"/>
                <a:gd name="T21" fmla="*/ 0 h 248"/>
                <a:gd name="T22" fmla="*/ 106 w 122"/>
                <a:gd name="T23" fmla="*/ 1 h 248"/>
                <a:gd name="T24" fmla="*/ 104 w 122"/>
                <a:gd name="T25" fmla="*/ 6 h 248"/>
                <a:gd name="T26" fmla="*/ 104 w 122"/>
                <a:gd name="T27" fmla="*/ 21 h 248"/>
                <a:gd name="T28" fmla="*/ 80 w 122"/>
                <a:gd name="T29" fmla="*/ 12 h 248"/>
                <a:gd name="T30" fmla="*/ 79 w 122"/>
                <a:gd name="T31" fmla="*/ 11 h 248"/>
                <a:gd name="T32" fmla="*/ 74 w 122"/>
                <a:gd name="T33" fmla="*/ 10 h 248"/>
                <a:gd name="T34" fmla="*/ 49 w 122"/>
                <a:gd name="T35" fmla="*/ 23 h 248"/>
                <a:gd name="T36" fmla="*/ 48 w 122"/>
                <a:gd name="T37" fmla="*/ 25 h 248"/>
                <a:gd name="T38" fmla="*/ 47 w 122"/>
                <a:gd name="T39" fmla="*/ 30 h 248"/>
                <a:gd name="T40" fmla="*/ 55 w 122"/>
                <a:gd name="T41" fmla="*/ 46 h 248"/>
                <a:gd name="T42" fmla="*/ 43 w 122"/>
                <a:gd name="T43" fmla="*/ 57 h 248"/>
                <a:gd name="T44" fmla="*/ 31 w 122"/>
                <a:gd name="T45" fmla="*/ 49 h 248"/>
                <a:gd name="T46" fmla="*/ 26 w 122"/>
                <a:gd name="T47" fmla="*/ 49 h 248"/>
                <a:gd name="T48" fmla="*/ 22 w 122"/>
                <a:gd name="T49" fmla="*/ 52 h 248"/>
                <a:gd name="T50" fmla="*/ 10 w 122"/>
                <a:gd name="T51" fmla="*/ 74 h 248"/>
                <a:gd name="T52" fmla="*/ 9 w 122"/>
                <a:gd name="T53" fmla="*/ 79 h 248"/>
                <a:gd name="T54" fmla="*/ 11 w 122"/>
                <a:gd name="T55" fmla="*/ 83 h 248"/>
                <a:gd name="T56" fmla="*/ 25 w 122"/>
                <a:gd name="T57" fmla="*/ 90 h 248"/>
                <a:gd name="T58" fmla="*/ 6 w 122"/>
                <a:gd name="T59" fmla="*/ 106 h 248"/>
                <a:gd name="T60" fmla="*/ 4 w 122"/>
                <a:gd name="T61" fmla="*/ 106 h 248"/>
                <a:gd name="T62" fmla="*/ 0 w 122"/>
                <a:gd name="T63" fmla="*/ 110 h 248"/>
                <a:gd name="T64" fmla="*/ 0 w 122"/>
                <a:gd name="T65" fmla="*/ 138 h 248"/>
                <a:gd name="T66" fmla="*/ 0 w 122"/>
                <a:gd name="T67" fmla="*/ 141 h 248"/>
                <a:gd name="T68" fmla="*/ 4 w 122"/>
                <a:gd name="T69" fmla="*/ 144 h 248"/>
                <a:gd name="T70" fmla="*/ 21 w 122"/>
                <a:gd name="T71" fmla="*/ 144 h 248"/>
                <a:gd name="T72" fmla="*/ 26 w 122"/>
                <a:gd name="T73" fmla="*/ 160 h 248"/>
                <a:gd name="T74" fmla="*/ 14 w 122"/>
                <a:gd name="T75" fmla="*/ 168 h 248"/>
                <a:gd name="T76" fmla="*/ 10 w 122"/>
                <a:gd name="T77" fmla="*/ 171 h 248"/>
                <a:gd name="T78" fmla="*/ 11 w 122"/>
                <a:gd name="T79" fmla="*/ 176 h 248"/>
                <a:gd name="T80" fmla="*/ 23 w 122"/>
                <a:gd name="T81" fmla="*/ 199 h 248"/>
                <a:gd name="T82" fmla="*/ 27 w 122"/>
                <a:gd name="T83" fmla="*/ 201 h 248"/>
                <a:gd name="T84" fmla="*/ 32 w 122"/>
                <a:gd name="T85" fmla="*/ 201 h 248"/>
                <a:gd name="T86" fmla="*/ 46 w 122"/>
                <a:gd name="T87" fmla="*/ 194 h 248"/>
                <a:gd name="T88" fmla="*/ 49 w 122"/>
                <a:gd name="T89" fmla="*/ 217 h 248"/>
                <a:gd name="T90" fmla="*/ 49 w 122"/>
                <a:gd name="T91" fmla="*/ 220 h 248"/>
                <a:gd name="T92" fmla="*/ 51 w 122"/>
                <a:gd name="T93" fmla="*/ 224 h 248"/>
                <a:gd name="T94" fmla="*/ 74 w 122"/>
                <a:gd name="T95" fmla="*/ 239 h 248"/>
                <a:gd name="T96" fmla="*/ 76 w 122"/>
                <a:gd name="T97" fmla="*/ 239 h 248"/>
                <a:gd name="T98" fmla="*/ 81 w 122"/>
                <a:gd name="T99" fmla="*/ 238 h 248"/>
                <a:gd name="T100" fmla="*/ 91 w 122"/>
                <a:gd name="T101" fmla="*/ 223 h 248"/>
                <a:gd name="T102" fmla="*/ 106 w 122"/>
                <a:gd name="T103" fmla="*/ 227 h 248"/>
                <a:gd name="T104" fmla="*/ 106 w 122"/>
                <a:gd name="T105" fmla="*/ 242 h 248"/>
                <a:gd name="T106" fmla="*/ 108 w 122"/>
                <a:gd name="T107" fmla="*/ 247 h 248"/>
                <a:gd name="T108" fmla="*/ 113 w 122"/>
                <a:gd name="T109" fmla="*/ 248 h 248"/>
                <a:gd name="T110" fmla="*/ 122 w 122"/>
                <a:gd name="T111" fmla="*/ 19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2" h="248">
                  <a:moveTo>
                    <a:pt x="122" y="190"/>
                  </a:moveTo>
                  <a:lnTo>
                    <a:pt x="122" y="190"/>
                  </a:lnTo>
                  <a:lnTo>
                    <a:pt x="108" y="189"/>
                  </a:lnTo>
                  <a:lnTo>
                    <a:pt x="97" y="185"/>
                  </a:lnTo>
                  <a:lnTo>
                    <a:pt x="86" y="179"/>
                  </a:lnTo>
                  <a:lnTo>
                    <a:pt x="76" y="170"/>
                  </a:lnTo>
                  <a:lnTo>
                    <a:pt x="69" y="160"/>
                  </a:lnTo>
                  <a:lnTo>
                    <a:pt x="63" y="149"/>
                  </a:lnTo>
                  <a:lnTo>
                    <a:pt x="59" y="137"/>
                  </a:lnTo>
                  <a:lnTo>
                    <a:pt x="58" y="123"/>
                  </a:lnTo>
                  <a:lnTo>
                    <a:pt x="58" y="123"/>
                  </a:lnTo>
                  <a:lnTo>
                    <a:pt x="59" y="111"/>
                  </a:lnTo>
                  <a:lnTo>
                    <a:pt x="63" y="99"/>
                  </a:lnTo>
                  <a:lnTo>
                    <a:pt x="69" y="88"/>
                  </a:lnTo>
                  <a:lnTo>
                    <a:pt x="76" y="78"/>
                  </a:lnTo>
                  <a:lnTo>
                    <a:pt x="86" y="69"/>
                  </a:lnTo>
                  <a:lnTo>
                    <a:pt x="97" y="63"/>
                  </a:lnTo>
                  <a:lnTo>
                    <a:pt x="108" y="59"/>
                  </a:lnTo>
                  <a:lnTo>
                    <a:pt x="122" y="58"/>
                  </a:lnTo>
                  <a:lnTo>
                    <a:pt x="122" y="0"/>
                  </a:lnTo>
                  <a:lnTo>
                    <a:pt x="110" y="0"/>
                  </a:lnTo>
                  <a:lnTo>
                    <a:pt x="110" y="0"/>
                  </a:lnTo>
                  <a:lnTo>
                    <a:pt x="107" y="0"/>
                  </a:lnTo>
                  <a:lnTo>
                    <a:pt x="106" y="1"/>
                  </a:lnTo>
                  <a:lnTo>
                    <a:pt x="104" y="4"/>
                  </a:lnTo>
                  <a:lnTo>
                    <a:pt x="104" y="6"/>
                  </a:lnTo>
                  <a:lnTo>
                    <a:pt x="104" y="21"/>
                  </a:lnTo>
                  <a:lnTo>
                    <a:pt x="104" y="21"/>
                  </a:lnTo>
                  <a:lnTo>
                    <a:pt x="88" y="26"/>
                  </a:lnTo>
                  <a:lnTo>
                    <a:pt x="80" y="12"/>
                  </a:lnTo>
                  <a:lnTo>
                    <a:pt x="80" y="12"/>
                  </a:lnTo>
                  <a:lnTo>
                    <a:pt x="79" y="11"/>
                  </a:lnTo>
                  <a:lnTo>
                    <a:pt x="76" y="10"/>
                  </a:lnTo>
                  <a:lnTo>
                    <a:pt x="74" y="10"/>
                  </a:lnTo>
                  <a:lnTo>
                    <a:pt x="71" y="10"/>
                  </a:lnTo>
                  <a:lnTo>
                    <a:pt x="49" y="23"/>
                  </a:lnTo>
                  <a:lnTo>
                    <a:pt x="49" y="23"/>
                  </a:lnTo>
                  <a:lnTo>
                    <a:pt x="48" y="25"/>
                  </a:lnTo>
                  <a:lnTo>
                    <a:pt x="47" y="27"/>
                  </a:lnTo>
                  <a:lnTo>
                    <a:pt x="47" y="30"/>
                  </a:lnTo>
                  <a:lnTo>
                    <a:pt x="47" y="32"/>
                  </a:lnTo>
                  <a:lnTo>
                    <a:pt x="55" y="46"/>
                  </a:lnTo>
                  <a:lnTo>
                    <a:pt x="55" y="46"/>
                  </a:lnTo>
                  <a:lnTo>
                    <a:pt x="43" y="57"/>
                  </a:lnTo>
                  <a:lnTo>
                    <a:pt x="31" y="49"/>
                  </a:lnTo>
                  <a:lnTo>
                    <a:pt x="31" y="49"/>
                  </a:lnTo>
                  <a:lnTo>
                    <a:pt x="28" y="48"/>
                  </a:lnTo>
                  <a:lnTo>
                    <a:pt x="26" y="49"/>
                  </a:lnTo>
                  <a:lnTo>
                    <a:pt x="23" y="49"/>
                  </a:lnTo>
                  <a:lnTo>
                    <a:pt x="22" y="52"/>
                  </a:lnTo>
                  <a:lnTo>
                    <a:pt x="10" y="74"/>
                  </a:lnTo>
                  <a:lnTo>
                    <a:pt x="10" y="74"/>
                  </a:lnTo>
                  <a:lnTo>
                    <a:pt x="9" y="76"/>
                  </a:lnTo>
                  <a:lnTo>
                    <a:pt x="9" y="79"/>
                  </a:lnTo>
                  <a:lnTo>
                    <a:pt x="10" y="81"/>
                  </a:lnTo>
                  <a:lnTo>
                    <a:pt x="11" y="83"/>
                  </a:lnTo>
                  <a:lnTo>
                    <a:pt x="25" y="90"/>
                  </a:lnTo>
                  <a:lnTo>
                    <a:pt x="25" y="90"/>
                  </a:lnTo>
                  <a:lnTo>
                    <a:pt x="21" y="106"/>
                  </a:lnTo>
                  <a:lnTo>
                    <a:pt x="6" y="106"/>
                  </a:lnTo>
                  <a:lnTo>
                    <a:pt x="6" y="106"/>
                  </a:lnTo>
                  <a:lnTo>
                    <a:pt x="4" y="106"/>
                  </a:lnTo>
                  <a:lnTo>
                    <a:pt x="1" y="109"/>
                  </a:lnTo>
                  <a:lnTo>
                    <a:pt x="0" y="110"/>
                  </a:lnTo>
                  <a:lnTo>
                    <a:pt x="0" y="112"/>
                  </a:lnTo>
                  <a:lnTo>
                    <a:pt x="0" y="138"/>
                  </a:lnTo>
                  <a:lnTo>
                    <a:pt x="0" y="138"/>
                  </a:lnTo>
                  <a:lnTo>
                    <a:pt x="0" y="141"/>
                  </a:lnTo>
                  <a:lnTo>
                    <a:pt x="1" y="143"/>
                  </a:lnTo>
                  <a:lnTo>
                    <a:pt x="4" y="144"/>
                  </a:lnTo>
                  <a:lnTo>
                    <a:pt x="6" y="144"/>
                  </a:lnTo>
                  <a:lnTo>
                    <a:pt x="21" y="144"/>
                  </a:lnTo>
                  <a:lnTo>
                    <a:pt x="21" y="144"/>
                  </a:lnTo>
                  <a:lnTo>
                    <a:pt x="26" y="160"/>
                  </a:lnTo>
                  <a:lnTo>
                    <a:pt x="14" y="168"/>
                  </a:lnTo>
                  <a:lnTo>
                    <a:pt x="14" y="168"/>
                  </a:lnTo>
                  <a:lnTo>
                    <a:pt x="11" y="169"/>
                  </a:lnTo>
                  <a:lnTo>
                    <a:pt x="10" y="171"/>
                  </a:lnTo>
                  <a:lnTo>
                    <a:pt x="10" y="174"/>
                  </a:lnTo>
                  <a:lnTo>
                    <a:pt x="11" y="176"/>
                  </a:lnTo>
                  <a:lnTo>
                    <a:pt x="23" y="199"/>
                  </a:lnTo>
                  <a:lnTo>
                    <a:pt x="23" y="199"/>
                  </a:lnTo>
                  <a:lnTo>
                    <a:pt x="25" y="201"/>
                  </a:lnTo>
                  <a:lnTo>
                    <a:pt x="27" y="201"/>
                  </a:lnTo>
                  <a:lnTo>
                    <a:pt x="30" y="202"/>
                  </a:lnTo>
                  <a:lnTo>
                    <a:pt x="32" y="201"/>
                  </a:lnTo>
                  <a:lnTo>
                    <a:pt x="46" y="194"/>
                  </a:lnTo>
                  <a:lnTo>
                    <a:pt x="46" y="194"/>
                  </a:lnTo>
                  <a:lnTo>
                    <a:pt x="57" y="205"/>
                  </a:lnTo>
                  <a:lnTo>
                    <a:pt x="49" y="217"/>
                  </a:lnTo>
                  <a:lnTo>
                    <a:pt x="49" y="217"/>
                  </a:lnTo>
                  <a:lnTo>
                    <a:pt x="49" y="220"/>
                  </a:lnTo>
                  <a:lnTo>
                    <a:pt x="49" y="222"/>
                  </a:lnTo>
                  <a:lnTo>
                    <a:pt x="51" y="224"/>
                  </a:lnTo>
                  <a:lnTo>
                    <a:pt x="52" y="226"/>
                  </a:lnTo>
                  <a:lnTo>
                    <a:pt x="74" y="239"/>
                  </a:lnTo>
                  <a:lnTo>
                    <a:pt x="74" y="239"/>
                  </a:lnTo>
                  <a:lnTo>
                    <a:pt x="76" y="239"/>
                  </a:lnTo>
                  <a:lnTo>
                    <a:pt x="79" y="239"/>
                  </a:lnTo>
                  <a:lnTo>
                    <a:pt x="81" y="238"/>
                  </a:lnTo>
                  <a:lnTo>
                    <a:pt x="83" y="237"/>
                  </a:lnTo>
                  <a:lnTo>
                    <a:pt x="91" y="223"/>
                  </a:lnTo>
                  <a:lnTo>
                    <a:pt x="91" y="223"/>
                  </a:lnTo>
                  <a:lnTo>
                    <a:pt x="106" y="227"/>
                  </a:lnTo>
                  <a:lnTo>
                    <a:pt x="106" y="242"/>
                  </a:lnTo>
                  <a:lnTo>
                    <a:pt x="106" y="242"/>
                  </a:lnTo>
                  <a:lnTo>
                    <a:pt x="107" y="244"/>
                  </a:lnTo>
                  <a:lnTo>
                    <a:pt x="108" y="247"/>
                  </a:lnTo>
                  <a:lnTo>
                    <a:pt x="111" y="248"/>
                  </a:lnTo>
                  <a:lnTo>
                    <a:pt x="113" y="248"/>
                  </a:lnTo>
                  <a:lnTo>
                    <a:pt x="122" y="248"/>
                  </a:lnTo>
                  <a:lnTo>
                    <a:pt x="122" y="190"/>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4" name="Freeform 272">
              <a:extLst>
                <a:ext uri="{FF2B5EF4-FFF2-40B4-BE49-F238E27FC236}">
                  <a16:creationId xmlns:a16="http://schemas.microsoft.com/office/drawing/2014/main" id="{C170E87F-9CAF-9586-6C3A-631ADEBB1B0B}"/>
                </a:ext>
              </a:extLst>
            </p:cNvPr>
            <p:cNvSpPr>
              <a:spLocks noEditPoints="1"/>
            </p:cNvSpPr>
            <p:nvPr/>
          </p:nvSpPr>
          <p:spPr bwMode="auto">
            <a:xfrm>
              <a:off x="7595334" y="3402023"/>
              <a:ext cx="239193" cy="218494"/>
            </a:xfrm>
            <a:custGeom>
              <a:avLst/>
              <a:gdLst>
                <a:gd name="T0" fmla="*/ 82 w 162"/>
                <a:gd name="T1" fmla="*/ 0 h 162"/>
                <a:gd name="T2" fmla="*/ 65 w 162"/>
                <a:gd name="T3" fmla="*/ 1 h 162"/>
                <a:gd name="T4" fmla="*/ 49 w 162"/>
                <a:gd name="T5" fmla="*/ 6 h 162"/>
                <a:gd name="T6" fmla="*/ 36 w 162"/>
                <a:gd name="T7" fmla="*/ 14 h 162"/>
                <a:gd name="T8" fmla="*/ 24 w 162"/>
                <a:gd name="T9" fmla="*/ 24 h 162"/>
                <a:gd name="T10" fmla="*/ 14 w 162"/>
                <a:gd name="T11" fmla="*/ 36 h 162"/>
                <a:gd name="T12" fmla="*/ 6 w 162"/>
                <a:gd name="T13" fmla="*/ 50 h 162"/>
                <a:gd name="T14" fmla="*/ 3 w 162"/>
                <a:gd name="T15" fmla="*/ 64 h 162"/>
                <a:gd name="T16" fmla="*/ 0 w 162"/>
                <a:gd name="T17" fmla="*/ 82 h 162"/>
                <a:gd name="T18" fmla="*/ 1 w 162"/>
                <a:gd name="T19" fmla="*/ 89 h 162"/>
                <a:gd name="T20" fmla="*/ 4 w 162"/>
                <a:gd name="T21" fmla="*/ 105 h 162"/>
                <a:gd name="T22" fmla="*/ 10 w 162"/>
                <a:gd name="T23" fmla="*/ 120 h 162"/>
                <a:gd name="T24" fmla="*/ 19 w 162"/>
                <a:gd name="T25" fmla="*/ 132 h 162"/>
                <a:gd name="T26" fmla="*/ 30 w 162"/>
                <a:gd name="T27" fmla="*/ 143 h 162"/>
                <a:gd name="T28" fmla="*/ 43 w 162"/>
                <a:gd name="T29" fmla="*/ 152 h 162"/>
                <a:gd name="T30" fmla="*/ 57 w 162"/>
                <a:gd name="T31" fmla="*/ 158 h 162"/>
                <a:gd name="T32" fmla="*/ 73 w 162"/>
                <a:gd name="T33" fmla="*/ 162 h 162"/>
                <a:gd name="T34" fmla="*/ 82 w 162"/>
                <a:gd name="T35" fmla="*/ 162 h 162"/>
                <a:gd name="T36" fmla="*/ 98 w 162"/>
                <a:gd name="T37" fmla="*/ 161 h 162"/>
                <a:gd name="T38" fmla="*/ 112 w 162"/>
                <a:gd name="T39" fmla="*/ 156 h 162"/>
                <a:gd name="T40" fmla="*/ 126 w 162"/>
                <a:gd name="T41" fmla="*/ 148 h 162"/>
                <a:gd name="T42" fmla="*/ 138 w 162"/>
                <a:gd name="T43" fmla="*/ 138 h 162"/>
                <a:gd name="T44" fmla="*/ 148 w 162"/>
                <a:gd name="T45" fmla="*/ 126 h 162"/>
                <a:gd name="T46" fmla="*/ 156 w 162"/>
                <a:gd name="T47" fmla="*/ 112 h 162"/>
                <a:gd name="T48" fmla="*/ 160 w 162"/>
                <a:gd name="T49" fmla="*/ 98 h 162"/>
                <a:gd name="T50" fmla="*/ 162 w 162"/>
                <a:gd name="T51" fmla="*/ 82 h 162"/>
                <a:gd name="T52" fmla="*/ 162 w 162"/>
                <a:gd name="T53" fmla="*/ 73 h 162"/>
                <a:gd name="T54" fmla="*/ 158 w 162"/>
                <a:gd name="T55" fmla="*/ 57 h 162"/>
                <a:gd name="T56" fmla="*/ 152 w 162"/>
                <a:gd name="T57" fmla="*/ 42 h 162"/>
                <a:gd name="T58" fmla="*/ 143 w 162"/>
                <a:gd name="T59" fmla="*/ 30 h 162"/>
                <a:gd name="T60" fmla="*/ 133 w 162"/>
                <a:gd name="T61" fmla="*/ 19 h 162"/>
                <a:gd name="T62" fmla="*/ 120 w 162"/>
                <a:gd name="T63" fmla="*/ 10 h 162"/>
                <a:gd name="T64" fmla="*/ 105 w 162"/>
                <a:gd name="T65" fmla="*/ 4 h 162"/>
                <a:gd name="T66" fmla="*/ 89 w 162"/>
                <a:gd name="T67" fmla="*/ 0 h 162"/>
                <a:gd name="T68" fmla="*/ 82 w 162"/>
                <a:gd name="T69" fmla="*/ 0 h 162"/>
                <a:gd name="T70" fmla="*/ 82 w 162"/>
                <a:gd name="T71" fmla="*/ 147 h 162"/>
                <a:gd name="T72" fmla="*/ 56 w 162"/>
                <a:gd name="T73" fmla="*/ 142 h 162"/>
                <a:gd name="T74" fmla="*/ 35 w 162"/>
                <a:gd name="T75" fmla="*/ 128 h 162"/>
                <a:gd name="T76" fmla="*/ 20 w 162"/>
                <a:gd name="T77" fmla="*/ 106 h 162"/>
                <a:gd name="T78" fmla="*/ 15 w 162"/>
                <a:gd name="T79" fmla="*/ 80 h 162"/>
                <a:gd name="T80" fmla="*/ 16 w 162"/>
                <a:gd name="T81" fmla="*/ 68 h 162"/>
                <a:gd name="T82" fmla="*/ 26 w 162"/>
                <a:gd name="T83" fmla="*/ 43 h 162"/>
                <a:gd name="T84" fmla="*/ 45 w 162"/>
                <a:gd name="T85" fmla="*/ 26 h 162"/>
                <a:gd name="T86" fmla="*/ 68 w 162"/>
                <a:gd name="T87" fmla="*/ 16 h 162"/>
                <a:gd name="T88" fmla="*/ 82 w 162"/>
                <a:gd name="T89" fmla="*/ 15 h 162"/>
                <a:gd name="T90" fmla="*/ 107 w 162"/>
                <a:gd name="T91" fmla="*/ 20 h 162"/>
                <a:gd name="T92" fmla="*/ 128 w 162"/>
                <a:gd name="T93" fmla="*/ 33 h 162"/>
                <a:gd name="T94" fmla="*/ 142 w 162"/>
                <a:gd name="T95" fmla="*/ 56 h 162"/>
                <a:gd name="T96" fmla="*/ 148 w 162"/>
                <a:gd name="T97" fmla="*/ 80 h 162"/>
                <a:gd name="T98" fmla="*/ 147 w 162"/>
                <a:gd name="T99" fmla="*/ 94 h 162"/>
                <a:gd name="T100" fmla="*/ 136 w 162"/>
                <a:gd name="T101" fmla="*/ 119 h 162"/>
                <a:gd name="T102" fmla="*/ 119 w 162"/>
                <a:gd name="T103" fmla="*/ 136 h 162"/>
                <a:gd name="T104" fmla="*/ 95 w 162"/>
                <a:gd name="T105" fmla="*/ 146 h 162"/>
                <a:gd name="T106" fmla="*/ 82 w 162"/>
                <a:gd name="T107" fmla="*/ 147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2" h="162">
                  <a:moveTo>
                    <a:pt x="82" y="0"/>
                  </a:moveTo>
                  <a:lnTo>
                    <a:pt x="82" y="0"/>
                  </a:lnTo>
                  <a:lnTo>
                    <a:pt x="73" y="0"/>
                  </a:lnTo>
                  <a:lnTo>
                    <a:pt x="65" y="1"/>
                  </a:lnTo>
                  <a:lnTo>
                    <a:pt x="57" y="4"/>
                  </a:lnTo>
                  <a:lnTo>
                    <a:pt x="49" y="6"/>
                  </a:lnTo>
                  <a:lnTo>
                    <a:pt x="43" y="10"/>
                  </a:lnTo>
                  <a:lnTo>
                    <a:pt x="36" y="14"/>
                  </a:lnTo>
                  <a:lnTo>
                    <a:pt x="30" y="19"/>
                  </a:lnTo>
                  <a:lnTo>
                    <a:pt x="24" y="24"/>
                  </a:lnTo>
                  <a:lnTo>
                    <a:pt x="19" y="30"/>
                  </a:lnTo>
                  <a:lnTo>
                    <a:pt x="14" y="36"/>
                  </a:lnTo>
                  <a:lnTo>
                    <a:pt x="10" y="42"/>
                  </a:lnTo>
                  <a:lnTo>
                    <a:pt x="6" y="50"/>
                  </a:lnTo>
                  <a:lnTo>
                    <a:pt x="4" y="57"/>
                  </a:lnTo>
                  <a:lnTo>
                    <a:pt x="3" y="64"/>
                  </a:lnTo>
                  <a:lnTo>
                    <a:pt x="1" y="73"/>
                  </a:lnTo>
                  <a:lnTo>
                    <a:pt x="0" y="82"/>
                  </a:lnTo>
                  <a:lnTo>
                    <a:pt x="0" y="82"/>
                  </a:lnTo>
                  <a:lnTo>
                    <a:pt x="1" y="89"/>
                  </a:lnTo>
                  <a:lnTo>
                    <a:pt x="3" y="98"/>
                  </a:lnTo>
                  <a:lnTo>
                    <a:pt x="4" y="105"/>
                  </a:lnTo>
                  <a:lnTo>
                    <a:pt x="6" y="112"/>
                  </a:lnTo>
                  <a:lnTo>
                    <a:pt x="10" y="120"/>
                  </a:lnTo>
                  <a:lnTo>
                    <a:pt x="14" y="126"/>
                  </a:lnTo>
                  <a:lnTo>
                    <a:pt x="19" y="132"/>
                  </a:lnTo>
                  <a:lnTo>
                    <a:pt x="24" y="138"/>
                  </a:lnTo>
                  <a:lnTo>
                    <a:pt x="30" y="143"/>
                  </a:lnTo>
                  <a:lnTo>
                    <a:pt x="36" y="148"/>
                  </a:lnTo>
                  <a:lnTo>
                    <a:pt x="43" y="152"/>
                  </a:lnTo>
                  <a:lnTo>
                    <a:pt x="49" y="156"/>
                  </a:lnTo>
                  <a:lnTo>
                    <a:pt x="57" y="158"/>
                  </a:lnTo>
                  <a:lnTo>
                    <a:pt x="65" y="161"/>
                  </a:lnTo>
                  <a:lnTo>
                    <a:pt x="73" y="162"/>
                  </a:lnTo>
                  <a:lnTo>
                    <a:pt x="82" y="162"/>
                  </a:lnTo>
                  <a:lnTo>
                    <a:pt x="82" y="162"/>
                  </a:lnTo>
                  <a:lnTo>
                    <a:pt x="89" y="162"/>
                  </a:lnTo>
                  <a:lnTo>
                    <a:pt x="98" y="161"/>
                  </a:lnTo>
                  <a:lnTo>
                    <a:pt x="105" y="158"/>
                  </a:lnTo>
                  <a:lnTo>
                    <a:pt x="112" y="156"/>
                  </a:lnTo>
                  <a:lnTo>
                    <a:pt x="120" y="152"/>
                  </a:lnTo>
                  <a:lnTo>
                    <a:pt x="126" y="148"/>
                  </a:lnTo>
                  <a:lnTo>
                    <a:pt x="133" y="143"/>
                  </a:lnTo>
                  <a:lnTo>
                    <a:pt x="138" y="138"/>
                  </a:lnTo>
                  <a:lnTo>
                    <a:pt x="143" y="132"/>
                  </a:lnTo>
                  <a:lnTo>
                    <a:pt x="148" y="126"/>
                  </a:lnTo>
                  <a:lnTo>
                    <a:pt x="152" y="120"/>
                  </a:lnTo>
                  <a:lnTo>
                    <a:pt x="156" y="112"/>
                  </a:lnTo>
                  <a:lnTo>
                    <a:pt x="158" y="105"/>
                  </a:lnTo>
                  <a:lnTo>
                    <a:pt x="160" y="98"/>
                  </a:lnTo>
                  <a:lnTo>
                    <a:pt x="162" y="89"/>
                  </a:lnTo>
                  <a:lnTo>
                    <a:pt x="162" y="82"/>
                  </a:lnTo>
                  <a:lnTo>
                    <a:pt x="162" y="82"/>
                  </a:lnTo>
                  <a:lnTo>
                    <a:pt x="162" y="73"/>
                  </a:lnTo>
                  <a:lnTo>
                    <a:pt x="160" y="64"/>
                  </a:lnTo>
                  <a:lnTo>
                    <a:pt x="158" y="57"/>
                  </a:lnTo>
                  <a:lnTo>
                    <a:pt x="156" y="50"/>
                  </a:lnTo>
                  <a:lnTo>
                    <a:pt x="152" y="42"/>
                  </a:lnTo>
                  <a:lnTo>
                    <a:pt x="148" y="36"/>
                  </a:lnTo>
                  <a:lnTo>
                    <a:pt x="143" y="30"/>
                  </a:lnTo>
                  <a:lnTo>
                    <a:pt x="138" y="24"/>
                  </a:lnTo>
                  <a:lnTo>
                    <a:pt x="133" y="19"/>
                  </a:lnTo>
                  <a:lnTo>
                    <a:pt x="126" y="14"/>
                  </a:lnTo>
                  <a:lnTo>
                    <a:pt x="120" y="10"/>
                  </a:lnTo>
                  <a:lnTo>
                    <a:pt x="112" y="6"/>
                  </a:lnTo>
                  <a:lnTo>
                    <a:pt x="105" y="4"/>
                  </a:lnTo>
                  <a:lnTo>
                    <a:pt x="98" y="1"/>
                  </a:lnTo>
                  <a:lnTo>
                    <a:pt x="89" y="0"/>
                  </a:lnTo>
                  <a:lnTo>
                    <a:pt x="82" y="0"/>
                  </a:lnTo>
                  <a:lnTo>
                    <a:pt x="82" y="0"/>
                  </a:lnTo>
                  <a:close/>
                  <a:moveTo>
                    <a:pt x="82" y="147"/>
                  </a:moveTo>
                  <a:lnTo>
                    <a:pt x="82" y="147"/>
                  </a:lnTo>
                  <a:lnTo>
                    <a:pt x="68" y="146"/>
                  </a:lnTo>
                  <a:lnTo>
                    <a:pt x="56" y="142"/>
                  </a:lnTo>
                  <a:lnTo>
                    <a:pt x="45" y="136"/>
                  </a:lnTo>
                  <a:lnTo>
                    <a:pt x="35" y="128"/>
                  </a:lnTo>
                  <a:lnTo>
                    <a:pt x="26" y="119"/>
                  </a:lnTo>
                  <a:lnTo>
                    <a:pt x="20" y="106"/>
                  </a:lnTo>
                  <a:lnTo>
                    <a:pt x="16" y="94"/>
                  </a:lnTo>
                  <a:lnTo>
                    <a:pt x="15" y="80"/>
                  </a:lnTo>
                  <a:lnTo>
                    <a:pt x="15" y="80"/>
                  </a:lnTo>
                  <a:lnTo>
                    <a:pt x="16" y="68"/>
                  </a:lnTo>
                  <a:lnTo>
                    <a:pt x="20" y="56"/>
                  </a:lnTo>
                  <a:lnTo>
                    <a:pt x="26" y="43"/>
                  </a:lnTo>
                  <a:lnTo>
                    <a:pt x="35" y="33"/>
                  </a:lnTo>
                  <a:lnTo>
                    <a:pt x="45" y="26"/>
                  </a:lnTo>
                  <a:lnTo>
                    <a:pt x="56" y="20"/>
                  </a:lnTo>
                  <a:lnTo>
                    <a:pt x="68" y="16"/>
                  </a:lnTo>
                  <a:lnTo>
                    <a:pt x="82" y="15"/>
                  </a:lnTo>
                  <a:lnTo>
                    <a:pt x="82" y="15"/>
                  </a:lnTo>
                  <a:lnTo>
                    <a:pt x="95" y="16"/>
                  </a:lnTo>
                  <a:lnTo>
                    <a:pt x="107" y="20"/>
                  </a:lnTo>
                  <a:lnTo>
                    <a:pt x="119" y="26"/>
                  </a:lnTo>
                  <a:lnTo>
                    <a:pt x="128" y="33"/>
                  </a:lnTo>
                  <a:lnTo>
                    <a:pt x="136" y="43"/>
                  </a:lnTo>
                  <a:lnTo>
                    <a:pt x="142" y="56"/>
                  </a:lnTo>
                  <a:lnTo>
                    <a:pt x="147" y="68"/>
                  </a:lnTo>
                  <a:lnTo>
                    <a:pt x="148" y="80"/>
                  </a:lnTo>
                  <a:lnTo>
                    <a:pt x="148" y="80"/>
                  </a:lnTo>
                  <a:lnTo>
                    <a:pt x="147" y="94"/>
                  </a:lnTo>
                  <a:lnTo>
                    <a:pt x="142" y="106"/>
                  </a:lnTo>
                  <a:lnTo>
                    <a:pt x="136" y="119"/>
                  </a:lnTo>
                  <a:lnTo>
                    <a:pt x="128" y="128"/>
                  </a:lnTo>
                  <a:lnTo>
                    <a:pt x="119" y="136"/>
                  </a:lnTo>
                  <a:lnTo>
                    <a:pt x="107" y="142"/>
                  </a:lnTo>
                  <a:lnTo>
                    <a:pt x="95" y="146"/>
                  </a:lnTo>
                  <a:lnTo>
                    <a:pt x="82" y="147"/>
                  </a:lnTo>
                  <a:lnTo>
                    <a:pt x="82" y="147"/>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5" name="Freeform 273">
              <a:extLst>
                <a:ext uri="{FF2B5EF4-FFF2-40B4-BE49-F238E27FC236}">
                  <a16:creationId xmlns:a16="http://schemas.microsoft.com/office/drawing/2014/main" id="{BE8517B8-2A5B-0151-E4B1-F64B276D4AB2}"/>
                </a:ext>
              </a:extLst>
            </p:cNvPr>
            <p:cNvSpPr>
              <a:spLocks/>
            </p:cNvSpPr>
            <p:nvPr/>
          </p:nvSpPr>
          <p:spPr bwMode="auto">
            <a:xfrm>
              <a:off x="7711978" y="3402023"/>
              <a:ext cx="122550" cy="218494"/>
            </a:xfrm>
            <a:custGeom>
              <a:avLst/>
              <a:gdLst>
                <a:gd name="T0" fmla="*/ 3 w 83"/>
                <a:gd name="T1" fmla="*/ 0 h 162"/>
                <a:gd name="T2" fmla="*/ 0 w 83"/>
                <a:gd name="T3" fmla="*/ 15 h 162"/>
                <a:gd name="T4" fmla="*/ 3 w 83"/>
                <a:gd name="T5" fmla="*/ 15 h 162"/>
                <a:gd name="T6" fmla="*/ 16 w 83"/>
                <a:gd name="T7" fmla="*/ 16 h 162"/>
                <a:gd name="T8" fmla="*/ 40 w 83"/>
                <a:gd name="T9" fmla="*/ 26 h 162"/>
                <a:gd name="T10" fmla="*/ 57 w 83"/>
                <a:gd name="T11" fmla="*/ 43 h 162"/>
                <a:gd name="T12" fmla="*/ 68 w 83"/>
                <a:gd name="T13" fmla="*/ 68 h 162"/>
                <a:gd name="T14" fmla="*/ 69 w 83"/>
                <a:gd name="T15" fmla="*/ 80 h 162"/>
                <a:gd name="T16" fmla="*/ 63 w 83"/>
                <a:gd name="T17" fmla="*/ 106 h 162"/>
                <a:gd name="T18" fmla="*/ 49 w 83"/>
                <a:gd name="T19" fmla="*/ 128 h 162"/>
                <a:gd name="T20" fmla="*/ 28 w 83"/>
                <a:gd name="T21" fmla="*/ 142 h 162"/>
                <a:gd name="T22" fmla="*/ 3 w 83"/>
                <a:gd name="T23" fmla="*/ 147 h 162"/>
                <a:gd name="T24" fmla="*/ 0 w 83"/>
                <a:gd name="T25" fmla="*/ 147 h 162"/>
                <a:gd name="T26" fmla="*/ 0 w 83"/>
                <a:gd name="T27" fmla="*/ 162 h 162"/>
                <a:gd name="T28" fmla="*/ 3 w 83"/>
                <a:gd name="T29" fmla="*/ 162 h 162"/>
                <a:gd name="T30" fmla="*/ 19 w 83"/>
                <a:gd name="T31" fmla="*/ 161 h 162"/>
                <a:gd name="T32" fmla="*/ 33 w 83"/>
                <a:gd name="T33" fmla="*/ 156 h 162"/>
                <a:gd name="T34" fmla="*/ 47 w 83"/>
                <a:gd name="T35" fmla="*/ 148 h 162"/>
                <a:gd name="T36" fmla="*/ 59 w 83"/>
                <a:gd name="T37" fmla="*/ 138 h 162"/>
                <a:gd name="T38" fmla="*/ 69 w 83"/>
                <a:gd name="T39" fmla="*/ 126 h 162"/>
                <a:gd name="T40" fmla="*/ 77 w 83"/>
                <a:gd name="T41" fmla="*/ 112 h 162"/>
                <a:gd name="T42" fmla="*/ 81 w 83"/>
                <a:gd name="T43" fmla="*/ 98 h 162"/>
                <a:gd name="T44" fmla="*/ 83 w 83"/>
                <a:gd name="T45" fmla="*/ 82 h 162"/>
                <a:gd name="T46" fmla="*/ 83 w 83"/>
                <a:gd name="T47" fmla="*/ 73 h 162"/>
                <a:gd name="T48" fmla="*/ 79 w 83"/>
                <a:gd name="T49" fmla="*/ 57 h 162"/>
                <a:gd name="T50" fmla="*/ 73 w 83"/>
                <a:gd name="T51" fmla="*/ 42 h 162"/>
                <a:gd name="T52" fmla="*/ 64 w 83"/>
                <a:gd name="T53" fmla="*/ 30 h 162"/>
                <a:gd name="T54" fmla="*/ 54 w 83"/>
                <a:gd name="T55" fmla="*/ 19 h 162"/>
                <a:gd name="T56" fmla="*/ 41 w 83"/>
                <a:gd name="T57" fmla="*/ 10 h 162"/>
                <a:gd name="T58" fmla="*/ 26 w 83"/>
                <a:gd name="T59" fmla="*/ 4 h 162"/>
                <a:gd name="T60" fmla="*/ 10 w 83"/>
                <a:gd name="T61" fmla="*/ 0 h 162"/>
                <a:gd name="T62" fmla="*/ 3 w 83"/>
                <a:gd name="T63"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 h="162">
                  <a:moveTo>
                    <a:pt x="3" y="0"/>
                  </a:moveTo>
                  <a:lnTo>
                    <a:pt x="3" y="0"/>
                  </a:lnTo>
                  <a:lnTo>
                    <a:pt x="0" y="0"/>
                  </a:lnTo>
                  <a:lnTo>
                    <a:pt x="0" y="15"/>
                  </a:lnTo>
                  <a:lnTo>
                    <a:pt x="0" y="15"/>
                  </a:lnTo>
                  <a:lnTo>
                    <a:pt x="3" y="15"/>
                  </a:lnTo>
                  <a:lnTo>
                    <a:pt x="3" y="15"/>
                  </a:lnTo>
                  <a:lnTo>
                    <a:pt x="16" y="16"/>
                  </a:lnTo>
                  <a:lnTo>
                    <a:pt x="28" y="20"/>
                  </a:lnTo>
                  <a:lnTo>
                    <a:pt x="40" y="26"/>
                  </a:lnTo>
                  <a:lnTo>
                    <a:pt x="49" y="33"/>
                  </a:lnTo>
                  <a:lnTo>
                    <a:pt x="57" y="43"/>
                  </a:lnTo>
                  <a:lnTo>
                    <a:pt x="63" y="56"/>
                  </a:lnTo>
                  <a:lnTo>
                    <a:pt x="68" y="68"/>
                  </a:lnTo>
                  <a:lnTo>
                    <a:pt x="69" y="80"/>
                  </a:lnTo>
                  <a:lnTo>
                    <a:pt x="69" y="80"/>
                  </a:lnTo>
                  <a:lnTo>
                    <a:pt x="68" y="94"/>
                  </a:lnTo>
                  <a:lnTo>
                    <a:pt x="63" y="106"/>
                  </a:lnTo>
                  <a:lnTo>
                    <a:pt x="57" y="119"/>
                  </a:lnTo>
                  <a:lnTo>
                    <a:pt x="49" y="128"/>
                  </a:lnTo>
                  <a:lnTo>
                    <a:pt x="40" y="136"/>
                  </a:lnTo>
                  <a:lnTo>
                    <a:pt x="28" y="142"/>
                  </a:lnTo>
                  <a:lnTo>
                    <a:pt x="16" y="146"/>
                  </a:lnTo>
                  <a:lnTo>
                    <a:pt x="3" y="147"/>
                  </a:lnTo>
                  <a:lnTo>
                    <a:pt x="3" y="147"/>
                  </a:lnTo>
                  <a:lnTo>
                    <a:pt x="0" y="147"/>
                  </a:lnTo>
                  <a:lnTo>
                    <a:pt x="0" y="162"/>
                  </a:lnTo>
                  <a:lnTo>
                    <a:pt x="0" y="162"/>
                  </a:lnTo>
                  <a:lnTo>
                    <a:pt x="3" y="162"/>
                  </a:lnTo>
                  <a:lnTo>
                    <a:pt x="3" y="162"/>
                  </a:lnTo>
                  <a:lnTo>
                    <a:pt x="10" y="162"/>
                  </a:lnTo>
                  <a:lnTo>
                    <a:pt x="19" y="161"/>
                  </a:lnTo>
                  <a:lnTo>
                    <a:pt x="26" y="158"/>
                  </a:lnTo>
                  <a:lnTo>
                    <a:pt x="33" y="156"/>
                  </a:lnTo>
                  <a:lnTo>
                    <a:pt x="41" y="152"/>
                  </a:lnTo>
                  <a:lnTo>
                    <a:pt x="47" y="148"/>
                  </a:lnTo>
                  <a:lnTo>
                    <a:pt x="54" y="143"/>
                  </a:lnTo>
                  <a:lnTo>
                    <a:pt x="59" y="138"/>
                  </a:lnTo>
                  <a:lnTo>
                    <a:pt x="64" y="132"/>
                  </a:lnTo>
                  <a:lnTo>
                    <a:pt x="69" y="126"/>
                  </a:lnTo>
                  <a:lnTo>
                    <a:pt x="73" y="120"/>
                  </a:lnTo>
                  <a:lnTo>
                    <a:pt x="77" y="112"/>
                  </a:lnTo>
                  <a:lnTo>
                    <a:pt x="79" y="105"/>
                  </a:lnTo>
                  <a:lnTo>
                    <a:pt x="81" y="98"/>
                  </a:lnTo>
                  <a:lnTo>
                    <a:pt x="83" y="89"/>
                  </a:lnTo>
                  <a:lnTo>
                    <a:pt x="83" y="82"/>
                  </a:lnTo>
                  <a:lnTo>
                    <a:pt x="83" y="82"/>
                  </a:lnTo>
                  <a:lnTo>
                    <a:pt x="83" y="73"/>
                  </a:lnTo>
                  <a:lnTo>
                    <a:pt x="81" y="64"/>
                  </a:lnTo>
                  <a:lnTo>
                    <a:pt x="79" y="57"/>
                  </a:lnTo>
                  <a:lnTo>
                    <a:pt x="77" y="50"/>
                  </a:lnTo>
                  <a:lnTo>
                    <a:pt x="73" y="42"/>
                  </a:lnTo>
                  <a:lnTo>
                    <a:pt x="69" y="36"/>
                  </a:lnTo>
                  <a:lnTo>
                    <a:pt x="64" y="30"/>
                  </a:lnTo>
                  <a:lnTo>
                    <a:pt x="59" y="24"/>
                  </a:lnTo>
                  <a:lnTo>
                    <a:pt x="54" y="19"/>
                  </a:lnTo>
                  <a:lnTo>
                    <a:pt x="47" y="14"/>
                  </a:lnTo>
                  <a:lnTo>
                    <a:pt x="41" y="10"/>
                  </a:lnTo>
                  <a:lnTo>
                    <a:pt x="33" y="6"/>
                  </a:lnTo>
                  <a:lnTo>
                    <a:pt x="26" y="4"/>
                  </a:lnTo>
                  <a:lnTo>
                    <a:pt x="19" y="1"/>
                  </a:lnTo>
                  <a:lnTo>
                    <a:pt x="10" y="0"/>
                  </a:lnTo>
                  <a:lnTo>
                    <a:pt x="3" y="0"/>
                  </a:lnTo>
                  <a:lnTo>
                    <a:pt x="3" y="0"/>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6" name="Freeform 274">
              <a:extLst>
                <a:ext uri="{FF2B5EF4-FFF2-40B4-BE49-F238E27FC236}">
                  <a16:creationId xmlns:a16="http://schemas.microsoft.com/office/drawing/2014/main" id="{E9BE0CEE-FB80-F49F-1EB5-C7385CCFFB8D}"/>
                </a:ext>
              </a:extLst>
            </p:cNvPr>
            <p:cNvSpPr>
              <a:spLocks/>
            </p:cNvSpPr>
            <p:nvPr/>
          </p:nvSpPr>
          <p:spPr bwMode="auto">
            <a:xfrm>
              <a:off x="7711978" y="3420905"/>
              <a:ext cx="103355" cy="180730"/>
            </a:xfrm>
            <a:custGeom>
              <a:avLst/>
              <a:gdLst>
                <a:gd name="T0" fmla="*/ 3 w 70"/>
                <a:gd name="T1" fmla="*/ 0 h 134"/>
                <a:gd name="T2" fmla="*/ 3 w 70"/>
                <a:gd name="T3" fmla="*/ 0 h 134"/>
                <a:gd name="T4" fmla="*/ 0 w 70"/>
                <a:gd name="T5" fmla="*/ 0 h 134"/>
                <a:gd name="T6" fmla="*/ 0 w 70"/>
                <a:gd name="T7" fmla="*/ 11 h 134"/>
                <a:gd name="T8" fmla="*/ 0 w 70"/>
                <a:gd name="T9" fmla="*/ 11 h 134"/>
                <a:gd name="T10" fmla="*/ 3 w 70"/>
                <a:gd name="T11" fmla="*/ 11 h 134"/>
                <a:gd name="T12" fmla="*/ 3 w 70"/>
                <a:gd name="T13" fmla="*/ 11 h 134"/>
                <a:gd name="T14" fmla="*/ 14 w 70"/>
                <a:gd name="T15" fmla="*/ 12 h 134"/>
                <a:gd name="T16" fmla="*/ 23 w 70"/>
                <a:gd name="T17" fmla="*/ 16 h 134"/>
                <a:gd name="T18" fmla="*/ 33 w 70"/>
                <a:gd name="T19" fmla="*/ 21 h 134"/>
                <a:gd name="T20" fmla="*/ 42 w 70"/>
                <a:gd name="T21" fmla="*/ 28 h 134"/>
                <a:gd name="T22" fmla="*/ 48 w 70"/>
                <a:gd name="T23" fmla="*/ 36 h 134"/>
                <a:gd name="T24" fmla="*/ 53 w 70"/>
                <a:gd name="T25" fmla="*/ 45 h 134"/>
                <a:gd name="T26" fmla="*/ 57 w 70"/>
                <a:gd name="T27" fmla="*/ 55 h 134"/>
                <a:gd name="T28" fmla="*/ 58 w 70"/>
                <a:gd name="T29" fmla="*/ 66 h 134"/>
                <a:gd name="T30" fmla="*/ 58 w 70"/>
                <a:gd name="T31" fmla="*/ 66 h 134"/>
                <a:gd name="T32" fmla="*/ 57 w 70"/>
                <a:gd name="T33" fmla="*/ 79 h 134"/>
                <a:gd name="T34" fmla="*/ 53 w 70"/>
                <a:gd name="T35" fmla="*/ 89 h 134"/>
                <a:gd name="T36" fmla="*/ 48 w 70"/>
                <a:gd name="T37" fmla="*/ 98 h 134"/>
                <a:gd name="T38" fmla="*/ 42 w 70"/>
                <a:gd name="T39" fmla="*/ 106 h 134"/>
                <a:gd name="T40" fmla="*/ 33 w 70"/>
                <a:gd name="T41" fmla="*/ 113 h 134"/>
                <a:gd name="T42" fmla="*/ 23 w 70"/>
                <a:gd name="T43" fmla="*/ 118 h 134"/>
                <a:gd name="T44" fmla="*/ 14 w 70"/>
                <a:gd name="T45" fmla="*/ 122 h 134"/>
                <a:gd name="T46" fmla="*/ 3 w 70"/>
                <a:gd name="T47" fmla="*/ 123 h 134"/>
                <a:gd name="T48" fmla="*/ 3 w 70"/>
                <a:gd name="T49" fmla="*/ 123 h 134"/>
                <a:gd name="T50" fmla="*/ 0 w 70"/>
                <a:gd name="T51" fmla="*/ 123 h 134"/>
                <a:gd name="T52" fmla="*/ 0 w 70"/>
                <a:gd name="T53" fmla="*/ 134 h 134"/>
                <a:gd name="T54" fmla="*/ 0 w 70"/>
                <a:gd name="T55" fmla="*/ 134 h 134"/>
                <a:gd name="T56" fmla="*/ 3 w 70"/>
                <a:gd name="T57" fmla="*/ 134 h 134"/>
                <a:gd name="T58" fmla="*/ 3 w 70"/>
                <a:gd name="T59" fmla="*/ 134 h 134"/>
                <a:gd name="T60" fmla="*/ 16 w 70"/>
                <a:gd name="T61" fmla="*/ 133 h 134"/>
                <a:gd name="T62" fmla="*/ 28 w 70"/>
                <a:gd name="T63" fmla="*/ 129 h 134"/>
                <a:gd name="T64" fmla="*/ 41 w 70"/>
                <a:gd name="T65" fmla="*/ 123 h 134"/>
                <a:gd name="T66" fmla="*/ 51 w 70"/>
                <a:gd name="T67" fmla="*/ 114 h 134"/>
                <a:gd name="T68" fmla="*/ 58 w 70"/>
                <a:gd name="T69" fmla="*/ 105 h 134"/>
                <a:gd name="T70" fmla="*/ 64 w 70"/>
                <a:gd name="T71" fmla="*/ 93 h 134"/>
                <a:gd name="T72" fmla="*/ 69 w 70"/>
                <a:gd name="T73" fmla="*/ 81 h 134"/>
                <a:gd name="T74" fmla="*/ 70 w 70"/>
                <a:gd name="T75" fmla="*/ 68 h 134"/>
                <a:gd name="T76" fmla="*/ 70 w 70"/>
                <a:gd name="T77" fmla="*/ 68 h 134"/>
                <a:gd name="T78" fmla="*/ 69 w 70"/>
                <a:gd name="T79" fmla="*/ 53 h 134"/>
                <a:gd name="T80" fmla="*/ 64 w 70"/>
                <a:gd name="T81" fmla="*/ 40 h 134"/>
                <a:gd name="T82" fmla="*/ 58 w 70"/>
                <a:gd name="T83" fmla="*/ 29 h 134"/>
                <a:gd name="T84" fmla="*/ 51 w 70"/>
                <a:gd name="T85" fmla="*/ 19 h 134"/>
                <a:gd name="T86" fmla="*/ 41 w 70"/>
                <a:gd name="T87" fmla="*/ 11 h 134"/>
                <a:gd name="T88" fmla="*/ 28 w 70"/>
                <a:gd name="T89" fmla="*/ 5 h 134"/>
                <a:gd name="T90" fmla="*/ 16 w 70"/>
                <a:gd name="T91" fmla="*/ 1 h 134"/>
                <a:gd name="T92" fmla="*/ 3 w 70"/>
                <a:gd name="T93" fmla="*/ 0 h 134"/>
                <a:gd name="T94" fmla="*/ 3 w 70"/>
                <a:gd name="T95"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0" h="134">
                  <a:moveTo>
                    <a:pt x="3" y="0"/>
                  </a:moveTo>
                  <a:lnTo>
                    <a:pt x="3" y="0"/>
                  </a:lnTo>
                  <a:lnTo>
                    <a:pt x="0" y="0"/>
                  </a:lnTo>
                  <a:lnTo>
                    <a:pt x="0" y="11"/>
                  </a:lnTo>
                  <a:lnTo>
                    <a:pt x="0" y="11"/>
                  </a:lnTo>
                  <a:lnTo>
                    <a:pt x="3" y="11"/>
                  </a:lnTo>
                  <a:lnTo>
                    <a:pt x="3" y="11"/>
                  </a:lnTo>
                  <a:lnTo>
                    <a:pt x="14" y="12"/>
                  </a:lnTo>
                  <a:lnTo>
                    <a:pt x="23" y="16"/>
                  </a:lnTo>
                  <a:lnTo>
                    <a:pt x="33" y="21"/>
                  </a:lnTo>
                  <a:lnTo>
                    <a:pt x="42" y="28"/>
                  </a:lnTo>
                  <a:lnTo>
                    <a:pt x="48" y="36"/>
                  </a:lnTo>
                  <a:lnTo>
                    <a:pt x="53" y="45"/>
                  </a:lnTo>
                  <a:lnTo>
                    <a:pt x="57" y="55"/>
                  </a:lnTo>
                  <a:lnTo>
                    <a:pt x="58" y="66"/>
                  </a:lnTo>
                  <a:lnTo>
                    <a:pt x="58" y="66"/>
                  </a:lnTo>
                  <a:lnTo>
                    <a:pt x="57" y="79"/>
                  </a:lnTo>
                  <a:lnTo>
                    <a:pt x="53" y="89"/>
                  </a:lnTo>
                  <a:lnTo>
                    <a:pt x="48" y="98"/>
                  </a:lnTo>
                  <a:lnTo>
                    <a:pt x="42" y="106"/>
                  </a:lnTo>
                  <a:lnTo>
                    <a:pt x="33" y="113"/>
                  </a:lnTo>
                  <a:lnTo>
                    <a:pt x="23" y="118"/>
                  </a:lnTo>
                  <a:lnTo>
                    <a:pt x="14" y="122"/>
                  </a:lnTo>
                  <a:lnTo>
                    <a:pt x="3" y="123"/>
                  </a:lnTo>
                  <a:lnTo>
                    <a:pt x="3" y="123"/>
                  </a:lnTo>
                  <a:lnTo>
                    <a:pt x="0" y="123"/>
                  </a:lnTo>
                  <a:lnTo>
                    <a:pt x="0" y="134"/>
                  </a:lnTo>
                  <a:lnTo>
                    <a:pt x="0" y="134"/>
                  </a:lnTo>
                  <a:lnTo>
                    <a:pt x="3" y="134"/>
                  </a:lnTo>
                  <a:lnTo>
                    <a:pt x="3" y="134"/>
                  </a:lnTo>
                  <a:lnTo>
                    <a:pt x="16" y="133"/>
                  </a:lnTo>
                  <a:lnTo>
                    <a:pt x="28" y="129"/>
                  </a:lnTo>
                  <a:lnTo>
                    <a:pt x="41" y="123"/>
                  </a:lnTo>
                  <a:lnTo>
                    <a:pt x="51" y="114"/>
                  </a:lnTo>
                  <a:lnTo>
                    <a:pt x="58" y="105"/>
                  </a:lnTo>
                  <a:lnTo>
                    <a:pt x="64" y="93"/>
                  </a:lnTo>
                  <a:lnTo>
                    <a:pt x="69" y="81"/>
                  </a:lnTo>
                  <a:lnTo>
                    <a:pt x="70" y="68"/>
                  </a:lnTo>
                  <a:lnTo>
                    <a:pt x="70" y="68"/>
                  </a:lnTo>
                  <a:lnTo>
                    <a:pt x="69" y="53"/>
                  </a:lnTo>
                  <a:lnTo>
                    <a:pt x="64" y="40"/>
                  </a:lnTo>
                  <a:lnTo>
                    <a:pt x="58" y="29"/>
                  </a:lnTo>
                  <a:lnTo>
                    <a:pt x="51" y="19"/>
                  </a:lnTo>
                  <a:lnTo>
                    <a:pt x="41" y="11"/>
                  </a:lnTo>
                  <a:lnTo>
                    <a:pt x="28" y="5"/>
                  </a:lnTo>
                  <a:lnTo>
                    <a:pt x="16" y="1"/>
                  </a:lnTo>
                  <a:lnTo>
                    <a:pt x="3" y="0"/>
                  </a:lnTo>
                  <a:lnTo>
                    <a:pt x="3" y="0"/>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grpSp>
        <p:nvGrpSpPr>
          <p:cNvPr id="455" name="Group 454">
            <a:extLst>
              <a:ext uri="{FF2B5EF4-FFF2-40B4-BE49-F238E27FC236}">
                <a16:creationId xmlns:a16="http://schemas.microsoft.com/office/drawing/2014/main" id="{93549622-0A9F-8A24-238D-AE2CA8EA3BB2}"/>
              </a:ext>
            </a:extLst>
          </p:cNvPr>
          <p:cNvGrpSpPr/>
          <p:nvPr/>
        </p:nvGrpSpPr>
        <p:grpSpPr>
          <a:xfrm>
            <a:off x="9501686" y="2629395"/>
            <a:ext cx="1285115" cy="1139420"/>
            <a:chOff x="8933974" y="1324350"/>
            <a:chExt cx="1112838" cy="1114425"/>
          </a:xfrm>
        </p:grpSpPr>
        <p:sp>
          <p:nvSpPr>
            <p:cNvPr id="442" name="Freeform 5">
              <a:extLst>
                <a:ext uri="{FF2B5EF4-FFF2-40B4-BE49-F238E27FC236}">
                  <a16:creationId xmlns:a16="http://schemas.microsoft.com/office/drawing/2014/main" id="{E45B3AFF-8726-4CF6-A6FF-E0F07C7E1A5E}"/>
                </a:ext>
              </a:extLst>
            </p:cNvPr>
            <p:cNvSpPr>
              <a:spLocks/>
            </p:cNvSpPr>
            <p:nvPr/>
          </p:nvSpPr>
          <p:spPr bwMode="auto">
            <a:xfrm>
              <a:off x="8933974" y="1324350"/>
              <a:ext cx="1112838" cy="1114425"/>
            </a:xfrm>
            <a:custGeom>
              <a:avLst/>
              <a:gdLst>
                <a:gd name="T0" fmla="*/ 333 w 701"/>
                <a:gd name="T1" fmla="*/ 701 h 702"/>
                <a:gd name="T2" fmla="*/ 280 w 701"/>
                <a:gd name="T3" fmla="*/ 695 h 702"/>
                <a:gd name="T4" fmla="*/ 231 w 701"/>
                <a:gd name="T5" fmla="*/ 680 h 702"/>
                <a:gd name="T6" fmla="*/ 184 w 701"/>
                <a:gd name="T7" fmla="*/ 659 h 702"/>
                <a:gd name="T8" fmla="*/ 141 w 701"/>
                <a:gd name="T9" fmla="*/ 632 h 702"/>
                <a:gd name="T10" fmla="*/ 102 w 701"/>
                <a:gd name="T11" fmla="*/ 598 h 702"/>
                <a:gd name="T12" fmla="*/ 70 w 701"/>
                <a:gd name="T13" fmla="*/ 561 h 702"/>
                <a:gd name="T14" fmla="*/ 43 w 701"/>
                <a:gd name="T15" fmla="*/ 518 h 702"/>
                <a:gd name="T16" fmla="*/ 21 w 701"/>
                <a:gd name="T17" fmla="*/ 471 h 702"/>
                <a:gd name="T18" fmla="*/ 7 w 701"/>
                <a:gd name="T19" fmla="*/ 422 h 702"/>
                <a:gd name="T20" fmla="*/ 1 w 701"/>
                <a:gd name="T21" fmla="*/ 369 h 702"/>
                <a:gd name="T22" fmla="*/ 1 w 701"/>
                <a:gd name="T23" fmla="*/ 333 h 702"/>
                <a:gd name="T24" fmla="*/ 7 w 701"/>
                <a:gd name="T25" fmla="*/ 280 h 702"/>
                <a:gd name="T26" fmla="*/ 21 w 701"/>
                <a:gd name="T27" fmla="*/ 231 h 702"/>
                <a:gd name="T28" fmla="*/ 43 w 701"/>
                <a:gd name="T29" fmla="*/ 184 h 702"/>
                <a:gd name="T30" fmla="*/ 70 w 701"/>
                <a:gd name="T31" fmla="*/ 142 h 702"/>
                <a:gd name="T32" fmla="*/ 102 w 701"/>
                <a:gd name="T33" fmla="*/ 104 h 702"/>
                <a:gd name="T34" fmla="*/ 141 w 701"/>
                <a:gd name="T35" fmla="*/ 70 h 702"/>
                <a:gd name="T36" fmla="*/ 184 w 701"/>
                <a:gd name="T37" fmla="*/ 43 h 702"/>
                <a:gd name="T38" fmla="*/ 231 w 701"/>
                <a:gd name="T39" fmla="*/ 22 h 702"/>
                <a:gd name="T40" fmla="*/ 280 w 701"/>
                <a:gd name="T41" fmla="*/ 7 h 702"/>
                <a:gd name="T42" fmla="*/ 333 w 701"/>
                <a:gd name="T43" fmla="*/ 1 h 702"/>
                <a:gd name="T44" fmla="*/ 369 w 701"/>
                <a:gd name="T45" fmla="*/ 1 h 702"/>
                <a:gd name="T46" fmla="*/ 422 w 701"/>
                <a:gd name="T47" fmla="*/ 7 h 702"/>
                <a:gd name="T48" fmla="*/ 471 w 701"/>
                <a:gd name="T49" fmla="*/ 22 h 702"/>
                <a:gd name="T50" fmla="*/ 518 w 701"/>
                <a:gd name="T51" fmla="*/ 43 h 702"/>
                <a:gd name="T52" fmla="*/ 560 w 701"/>
                <a:gd name="T53" fmla="*/ 70 h 702"/>
                <a:gd name="T54" fmla="*/ 598 w 701"/>
                <a:gd name="T55" fmla="*/ 104 h 702"/>
                <a:gd name="T56" fmla="*/ 631 w 701"/>
                <a:gd name="T57" fmla="*/ 142 h 702"/>
                <a:gd name="T58" fmla="*/ 659 w 701"/>
                <a:gd name="T59" fmla="*/ 184 h 702"/>
                <a:gd name="T60" fmla="*/ 680 w 701"/>
                <a:gd name="T61" fmla="*/ 231 h 702"/>
                <a:gd name="T62" fmla="*/ 694 w 701"/>
                <a:gd name="T63" fmla="*/ 280 h 702"/>
                <a:gd name="T64" fmla="*/ 701 w 701"/>
                <a:gd name="T65" fmla="*/ 333 h 702"/>
                <a:gd name="T66" fmla="*/ 701 w 701"/>
                <a:gd name="T67" fmla="*/ 369 h 702"/>
                <a:gd name="T68" fmla="*/ 694 w 701"/>
                <a:gd name="T69" fmla="*/ 422 h 702"/>
                <a:gd name="T70" fmla="*/ 680 w 701"/>
                <a:gd name="T71" fmla="*/ 471 h 702"/>
                <a:gd name="T72" fmla="*/ 659 w 701"/>
                <a:gd name="T73" fmla="*/ 518 h 702"/>
                <a:gd name="T74" fmla="*/ 631 w 701"/>
                <a:gd name="T75" fmla="*/ 561 h 702"/>
                <a:gd name="T76" fmla="*/ 598 w 701"/>
                <a:gd name="T77" fmla="*/ 598 h 702"/>
                <a:gd name="T78" fmla="*/ 560 w 701"/>
                <a:gd name="T79" fmla="*/ 632 h 702"/>
                <a:gd name="T80" fmla="*/ 518 w 701"/>
                <a:gd name="T81" fmla="*/ 659 h 702"/>
                <a:gd name="T82" fmla="*/ 471 w 701"/>
                <a:gd name="T83" fmla="*/ 680 h 702"/>
                <a:gd name="T84" fmla="*/ 422 w 701"/>
                <a:gd name="T85" fmla="*/ 695 h 702"/>
                <a:gd name="T86" fmla="*/ 369 w 701"/>
                <a:gd name="T87" fmla="*/ 70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2">
                  <a:moveTo>
                    <a:pt x="350" y="702"/>
                  </a:moveTo>
                  <a:lnTo>
                    <a:pt x="350" y="702"/>
                  </a:lnTo>
                  <a:lnTo>
                    <a:pt x="333" y="701"/>
                  </a:lnTo>
                  <a:lnTo>
                    <a:pt x="315" y="699"/>
                  </a:lnTo>
                  <a:lnTo>
                    <a:pt x="297" y="697"/>
                  </a:lnTo>
                  <a:lnTo>
                    <a:pt x="280" y="695"/>
                  </a:lnTo>
                  <a:lnTo>
                    <a:pt x="263" y="691"/>
                  </a:lnTo>
                  <a:lnTo>
                    <a:pt x="247" y="686"/>
                  </a:lnTo>
                  <a:lnTo>
                    <a:pt x="231" y="680"/>
                  </a:lnTo>
                  <a:lnTo>
                    <a:pt x="215" y="674"/>
                  </a:lnTo>
                  <a:lnTo>
                    <a:pt x="199" y="667"/>
                  </a:lnTo>
                  <a:lnTo>
                    <a:pt x="184" y="659"/>
                  </a:lnTo>
                  <a:lnTo>
                    <a:pt x="169" y="651"/>
                  </a:lnTo>
                  <a:lnTo>
                    <a:pt x="155" y="641"/>
                  </a:lnTo>
                  <a:lnTo>
                    <a:pt x="141" y="632"/>
                  </a:lnTo>
                  <a:lnTo>
                    <a:pt x="128" y="622"/>
                  </a:lnTo>
                  <a:lnTo>
                    <a:pt x="115" y="611"/>
                  </a:lnTo>
                  <a:lnTo>
                    <a:pt x="102" y="598"/>
                  </a:lnTo>
                  <a:lnTo>
                    <a:pt x="91" y="587"/>
                  </a:lnTo>
                  <a:lnTo>
                    <a:pt x="80" y="574"/>
                  </a:lnTo>
                  <a:lnTo>
                    <a:pt x="70" y="561"/>
                  </a:lnTo>
                  <a:lnTo>
                    <a:pt x="60" y="546"/>
                  </a:lnTo>
                  <a:lnTo>
                    <a:pt x="51" y="533"/>
                  </a:lnTo>
                  <a:lnTo>
                    <a:pt x="43" y="518"/>
                  </a:lnTo>
                  <a:lnTo>
                    <a:pt x="35" y="503"/>
                  </a:lnTo>
                  <a:lnTo>
                    <a:pt x="28" y="487"/>
                  </a:lnTo>
                  <a:lnTo>
                    <a:pt x="21" y="471"/>
                  </a:lnTo>
                  <a:lnTo>
                    <a:pt x="16" y="455"/>
                  </a:lnTo>
                  <a:lnTo>
                    <a:pt x="11" y="439"/>
                  </a:lnTo>
                  <a:lnTo>
                    <a:pt x="7" y="422"/>
                  </a:lnTo>
                  <a:lnTo>
                    <a:pt x="5" y="405"/>
                  </a:lnTo>
                  <a:lnTo>
                    <a:pt x="2" y="387"/>
                  </a:lnTo>
                  <a:lnTo>
                    <a:pt x="1" y="369"/>
                  </a:lnTo>
                  <a:lnTo>
                    <a:pt x="0" y="352"/>
                  </a:lnTo>
                  <a:lnTo>
                    <a:pt x="0" y="352"/>
                  </a:lnTo>
                  <a:lnTo>
                    <a:pt x="1" y="333"/>
                  </a:lnTo>
                  <a:lnTo>
                    <a:pt x="2" y="316"/>
                  </a:lnTo>
                  <a:lnTo>
                    <a:pt x="5" y="297"/>
                  </a:lnTo>
                  <a:lnTo>
                    <a:pt x="7" y="280"/>
                  </a:lnTo>
                  <a:lnTo>
                    <a:pt x="11" y="264"/>
                  </a:lnTo>
                  <a:lnTo>
                    <a:pt x="16" y="247"/>
                  </a:lnTo>
                  <a:lnTo>
                    <a:pt x="21" y="231"/>
                  </a:lnTo>
                  <a:lnTo>
                    <a:pt x="28" y="215"/>
                  </a:lnTo>
                  <a:lnTo>
                    <a:pt x="35" y="199"/>
                  </a:lnTo>
                  <a:lnTo>
                    <a:pt x="43" y="184"/>
                  </a:lnTo>
                  <a:lnTo>
                    <a:pt x="51" y="169"/>
                  </a:lnTo>
                  <a:lnTo>
                    <a:pt x="60" y="155"/>
                  </a:lnTo>
                  <a:lnTo>
                    <a:pt x="70" y="142"/>
                  </a:lnTo>
                  <a:lnTo>
                    <a:pt x="80" y="128"/>
                  </a:lnTo>
                  <a:lnTo>
                    <a:pt x="91" y="116"/>
                  </a:lnTo>
                  <a:lnTo>
                    <a:pt x="102" y="104"/>
                  </a:lnTo>
                  <a:lnTo>
                    <a:pt x="115" y="91"/>
                  </a:lnTo>
                  <a:lnTo>
                    <a:pt x="128" y="80"/>
                  </a:lnTo>
                  <a:lnTo>
                    <a:pt x="141" y="70"/>
                  </a:lnTo>
                  <a:lnTo>
                    <a:pt x="155" y="60"/>
                  </a:lnTo>
                  <a:lnTo>
                    <a:pt x="169" y="52"/>
                  </a:lnTo>
                  <a:lnTo>
                    <a:pt x="184" y="43"/>
                  </a:lnTo>
                  <a:lnTo>
                    <a:pt x="199" y="35"/>
                  </a:lnTo>
                  <a:lnTo>
                    <a:pt x="215" y="28"/>
                  </a:lnTo>
                  <a:lnTo>
                    <a:pt x="231" y="22"/>
                  </a:lnTo>
                  <a:lnTo>
                    <a:pt x="247" y="16"/>
                  </a:lnTo>
                  <a:lnTo>
                    <a:pt x="263" y="11"/>
                  </a:lnTo>
                  <a:lnTo>
                    <a:pt x="280" y="7"/>
                  </a:lnTo>
                  <a:lnTo>
                    <a:pt x="297" y="5"/>
                  </a:lnTo>
                  <a:lnTo>
                    <a:pt x="315" y="2"/>
                  </a:lnTo>
                  <a:lnTo>
                    <a:pt x="333" y="1"/>
                  </a:lnTo>
                  <a:lnTo>
                    <a:pt x="350" y="0"/>
                  </a:lnTo>
                  <a:lnTo>
                    <a:pt x="350" y="0"/>
                  </a:lnTo>
                  <a:lnTo>
                    <a:pt x="369" y="1"/>
                  </a:lnTo>
                  <a:lnTo>
                    <a:pt x="386" y="2"/>
                  </a:lnTo>
                  <a:lnTo>
                    <a:pt x="405" y="5"/>
                  </a:lnTo>
                  <a:lnTo>
                    <a:pt x="422" y="7"/>
                  </a:lnTo>
                  <a:lnTo>
                    <a:pt x="438" y="11"/>
                  </a:lnTo>
                  <a:lnTo>
                    <a:pt x="455" y="16"/>
                  </a:lnTo>
                  <a:lnTo>
                    <a:pt x="471" y="22"/>
                  </a:lnTo>
                  <a:lnTo>
                    <a:pt x="487" y="28"/>
                  </a:lnTo>
                  <a:lnTo>
                    <a:pt x="503" y="35"/>
                  </a:lnTo>
                  <a:lnTo>
                    <a:pt x="518" y="43"/>
                  </a:lnTo>
                  <a:lnTo>
                    <a:pt x="533" y="52"/>
                  </a:lnTo>
                  <a:lnTo>
                    <a:pt x="546" y="60"/>
                  </a:lnTo>
                  <a:lnTo>
                    <a:pt x="560" y="70"/>
                  </a:lnTo>
                  <a:lnTo>
                    <a:pt x="574" y="80"/>
                  </a:lnTo>
                  <a:lnTo>
                    <a:pt x="586" y="91"/>
                  </a:lnTo>
                  <a:lnTo>
                    <a:pt x="598" y="104"/>
                  </a:lnTo>
                  <a:lnTo>
                    <a:pt x="611" y="116"/>
                  </a:lnTo>
                  <a:lnTo>
                    <a:pt x="622" y="128"/>
                  </a:lnTo>
                  <a:lnTo>
                    <a:pt x="631" y="142"/>
                  </a:lnTo>
                  <a:lnTo>
                    <a:pt x="641" y="155"/>
                  </a:lnTo>
                  <a:lnTo>
                    <a:pt x="650" y="169"/>
                  </a:lnTo>
                  <a:lnTo>
                    <a:pt x="659" y="184"/>
                  </a:lnTo>
                  <a:lnTo>
                    <a:pt x="666" y="199"/>
                  </a:lnTo>
                  <a:lnTo>
                    <a:pt x="673" y="215"/>
                  </a:lnTo>
                  <a:lnTo>
                    <a:pt x="680" y="231"/>
                  </a:lnTo>
                  <a:lnTo>
                    <a:pt x="686" y="247"/>
                  </a:lnTo>
                  <a:lnTo>
                    <a:pt x="691" y="264"/>
                  </a:lnTo>
                  <a:lnTo>
                    <a:pt x="694" y="280"/>
                  </a:lnTo>
                  <a:lnTo>
                    <a:pt x="697" y="297"/>
                  </a:lnTo>
                  <a:lnTo>
                    <a:pt x="699" y="316"/>
                  </a:lnTo>
                  <a:lnTo>
                    <a:pt x="701" y="333"/>
                  </a:lnTo>
                  <a:lnTo>
                    <a:pt x="701" y="352"/>
                  </a:lnTo>
                  <a:lnTo>
                    <a:pt x="701" y="352"/>
                  </a:lnTo>
                  <a:lnTo>
                    <a:pt x="701" y="369"/>
                  </a:lnTo>
                  <a:lnTo>
                    <a:pt x="699" y="387"/>
                  </a:lnTo>
                  <a:lnTo>
                    <a:pt x="697" y="405"/>
                  </a:lnTo>
                  <a:lnTo>
                    <a:pt x="694" y="422"/>
                  </a:lnTo>
                  <a:lnTo>
                    <a:pt x="691" y="439"/>
                  </a:lnTo>
                  <a:lnTo>
                    <a:pt x="686" y="455"/>
                  </a:lnTo>
                  <a:lnTo>
                    <a:pt x="680" y="471"/>
                  </a:lnTo>
                  <a:lnTo>
                    <a:pt x="673" y="487"/>
                  </a:lnTo>
                  <a:lnTo>
                    <a:pt x="666" y="503"/>
                  </a:lnTo>
                  <a:lnTo>
                    <a:pt x="659" y="518"/>
                  </a:lnTo>
                  <a:lnTo>
                    <a:pt x="650" y="533"/>
                  </a:lnTo>
                  <a:lnTo>
                    <a:pt x="641" y="546"/>
                  </a:lnTo>
                  <a:lnTo>
                    <a:pt x="631" y="561"/>
                  </a:lnTo>
                  <a:lnTo>
                    <a:pt x="622" y="574"/>
                  </a:lnTo>
                  <a:lnTo>
                    <a:pt x="611" y="587"/>
                  </a:lnTo>
                  <a:lnTo>
                    <a:pt x="598" y="598"/>
                  </a:lnTo>
                  <a:lnTo>
                    <a:pt x="586" y="611"/>
                  </a:lnTo>
                  <a:lnTo>
                    <a:pt x="574" y="622"/>
                  </a:lnTo>
                  <a:lnTo>
                    <a:pt x="560" y="632"/>
                  </a:lnTo>
                  <a:lnTo>
                    <a:pt x="546" y="641"/>
                  </a:lnTo>
                  <a:lnTo>
                    <a:pt x="533" y="651"/>
                  </a:lnTo>
                  <a:lnTo>
                    <a:pt x="518" y="659"/>
                  </a:lnTo>
                  <a:lnTo>
                    <a:pt x="503" y="667"/>
                  </a:lnTo>
                  <a:lnTo>
                    <a:pt x="487" y="674"/>
                  </a:lnTo>
                  <a:lnTo>
                    <a:pt x="471" y="680"/>
                  </a:lnTo>
                  <a:lnTo>
                    <a:pt x="455" y="686"/>
                  </a:lnTo>
                  <a:lnTo>
                    <a:pt x="438" y="691"/>
                  </a:lnTo>
                  <a:lnTo>
                    <a:pt x="422" y="695"/>
                  </a:lnTo>
                  <a:lnTo>
                    <a:pt x="405" y="697"/>
                  </a:lnTo>
                  <a:lnTo>
                    <a:pt x="386" y="699"/>
                  </a:lnTo>
                  <a:lnTo>
                    <a:pt x="369" y="701"/>
                  </a:lnTo>
                  <a:lnTo>
                    <a:pt x="350" y="702"/>
                  </a:lnTo>
                  <a:lnTo>
                    <a:pt x="350" y="702"/>
                  </a:lnTo>
                  <a:close/>
                </a:path>
              </a:pathLst>
            </a:custGeom>
            <a:solidFill>
              <a:srgbClr val="470A6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4" name="Rectangle 127">
              <a:extLst>
                <a:ext uri="{FF2B5EF4-FFF2-40B4-BE49-F238E27FC236}">
                  <a16:creationId xmlns:a16="http://schemas.microsoft.com/office/drawing/2014/main" id="{6432ABE3-2AC8-1B00-F3C7-41B91B33969C}"/>
                </a:ext>
              </a:extLst>
            </p:cNvPr>
            <p:cNvSpPr>
              <a:spLocks noChangeArrowheads="1"/>
            </p:cNvSpPr>
            <p:nvPr/>
          </p:nvSpPr>
          <p:spPr bwMode="auto">
            <a:xfrm>
              <a:off x="9438799" y="1997450"/>
              <a:ext cx="131763" cy="42863"/>
            </a:xfrm>
            <a:prstGeom prst="rect">
              <a:avLst/>
            </a:prstGeom>
            <a:solidFill>
              <a:srgbClr val="F99B1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5" name="Freeform 128">
              <a:extLst>
                <a:ext uri="{FF2B5EF4-FFF2-40B4-BE49-F238E27FC236}">
                  <a16:creationId xmlns:a16="http://schemas.microsoft.com/office/drawing/2014/main" id="{4454BEB6-7DFB-98F4-B2AE-C0D75774CD01}"/>
                </a:ext>
              </a:extLst>
            </p:cNvPr>
            <p:cNvSpPr>
              <a:spLocks/>
            </p:cNvSpPr>
            <p:nvPr/>
          </p:nvSpPr>
          <p:spPr bwMode="auto">
            <a:xfrm>
              <a:off x="9356249" y="1595813"/>
              <a:ext cx="296863" cy="309563"/>
            </a:xfrm>
            <a:custGeom>
              <a:avLst/>
              <a:gdLst>
                <a:gd name="T0" fmla="*/ 8 w 187"/>
                <a:gd name="T1" fmla="*/ 0 h 195"/>
                <a:gd name="T2" fmla="*/ 8 w 187"/>
                <a:gd name="T3" fmla="*/ 0 h 195"/>
                <a:gd name="T4" fmla="*/ 4 w 187"/>
                <a:gd name="T5" fmla="*/ 12 h 195"/>
                <a:gd name="T6" fmla="*/ 2 w 187"/>
                <a:gd name="T7" fmla="*/ 24 h 195"/>
                <a:gd name="T8" fmla="*/ 0 w 187"/>
                <a:gd name="T9" fmla="*/ 36 h 195"/>
                <a:gd name="T10" fmla="*/ 0 w 187"/>
                <a:gd name="T11" fmla="*/ 49 h 195"/>
                <a:gd name="T12" fmla="*/ 0 w 187"/>
                <a:gd name="T13" fmla="*/ 49 h 195"/>
                <a:gd name="T14" fmla="*/ 0 w 187"/>
                <a:gd name="T15" fmla="*/ 61 h 195"/>
                <a:gd name="T16" fmla="*/ 2 w 187"/>
                <a:gd name="T17" fmla="*/ 72 h 195"/>
                <a:gd name="T18" fmla="*/ 4 w 187"/>
                <a:gd name="T19" fmla="*/ 84 h 195"/>
                <a:gd name="T20" fmla="*/ 7 w 187"/>
                <a:gd name="T21" fmla="*/ 95 h 195"/>
                <a:gd name="T22" fmla="*/ 10 w 187"/>
                <a:gd name="T23" fmla="*/ 107 h 195"/>
                <a:gd name="T24" fmla="*/ 15 w 187"/>
                <a:gd name="T25" fmla="*/ 116 h 195"/>
                <a:gd name="T26" fmla="*/ 20 w 187"/>
                <a:gd name="T27" fmla="*/ 128 h 195"/>
                <a:gd name="T28" fmla="*/ 26 w 187"/>
                <a:gd name="T29" fmla="*/ 137 h 195"/>
                <a:gd name="T30" fmla="*/ 32 w 187"/>
                <a:gd name="T31" fmla="*/ 146 h 195"/>
                <a:gd name="T32" fmla="*/ 40 w 187"/>
                <a:gd name="T33" fmla="*/ 155 h 195"/>
                <a:gd name="T34" fmla="*/ 47 w 187"/>
                <a:gd name="T35" fmla="*/ 163 h 195"/>
                <a:gd name="T36" fmla="*/ 56 w 187"/>
                <a:gd name="T37" fmla="*/ 171 h 195"/>
                <a:gd name="T38" fmla="*/ 65 w 187"/>
                <a:gd name="T39" fmla="*/ 178 h 195"/>
                <a:gd name="T40" fmla="*/ 73 w 187"/>
                <a:gd name="T41" fmla="*/ 184 h 195"/>
                <a:gd name="T42" fmla="*/ 83 w 187"/>
                <a:gd name="T43" fmla="*/ 190 h 195"/>
                <a:gd name="T44" fmla="*/ 93 w 187"/>
                <a:gd name="T45" fmla="*/ 195 h 195"/>
                <a:gd name="T46" fmla="*/ 93 w 187"/>
                <a:gd name="T47" fmla="*/ 195 h 195"/>
                <a:gd name="T48" fmla="*/ 103 w 187"/>
                <a:gd name="T49" fmla="*/ 190 h 195"/>
                <a:gd name="T50" fmla="*/ 113 w 187"/>
                <a:gd name="T51" fmla="*/ 184 h 195"/>
                <a:gd name="T52" fmla="*/ 123 w 187"/>
                <a:gd name="T53" fmla="*/ 178 h 195"/>
                <a:gd name="T54" fmla="*/ 131 w 187"/>
                <a:gd name="T55" fmla="*/ 171 h 195"/>
                <a:gd name="T56" fmla="*/ 139 w 187"/>
                <a:gd name="T57" fmla="*/ 163 h 195"/>
                <a:gd name="T58" fmla="*/ 147 w 187"/>
                <a:gd name="T59" fmla="*/ 155 h 195"/>
                <a:gd name="T60" fmla="*/ 153 w 187"/>
                <a:gd name="T61" fmla="*/ 146 h 195"/>
                <a:gd name="T62" fmla="*/ 161 w 187"/>
                <a:gd name="T63" fmla="*/ 137 h 195"/>
                <a:gd name="T64" fmla="*/ 166 w 187"/>
                <a:gd name="T65" fmla="*/ 128 h 195"/>
                <a:gd name="T66" fmla="*/ 172 w 187"/>
                <a:gd name="T67" fmla="*/ 116 h 195"/>
                <a:gd name="T68" fmla="*/ 176 w 187"/>
                <a:gd name="T69" fmla="*/ 107 h 195"/>
                <a:gd name="T70" fmla="*/ 179 w 187"/>
                <a:gd name="T71" fmla="*/ 95 h 195"/>
                <a:gd name="T72" fmla="*/ 183 w 187"/>
                <a:gd name="T73" fmla="*/ 84 h 195"/>
                <a:gd name="T74" fmla="*/ 184 w 187"/>
                <a:gd name="T75" fmla="*/ 72 h 195"/>
                <a:gd name="T76" fmla="*/ 185 w 187"/>
                <a:gd name="T77" fmla="*/ 61 h 195"/>
                <a:gd name="T78" fmla="*/ 187 w 187"/>
                <a:gd name="T79" fmla="*/ 49 h 195"/>
                <a:gd name="T80" fmla="*/ 187 w 187"/>
                <a:gd name="T81" fmla="*/ 49 h 195"/>
                <a:gd name="T82" fmla="*/ 185 w 187"/>
                <a:gd name="T83" fmla="*/ 36 h 195"/>
                <a:gd name="T84" fmla="*/ 184 w 187"/>
                <a:gd name="T85" fmla="*/ 24 h 195"/>
                <a:gd name="T86" fmla="*/ 182 w 187"/>
                <a:gd name="T87" fmla="*/ 12 h 195"/>
                <a:gd name="T88" fmla="*/ 179 w 187"/>
                <a:gd name="T89" fmla="*/ 0 h 195"/>
                <a:gd name="T90" fmla="*/ 8 w 187"/>
                <a:gd name="T91"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7" h="195">
                  <a:moveTo>
                    <a:pt x="8" y="0"/>
                  </a:moveTo>
                  <a:lnTo>
                    <a:pt x="8" y="0"/>
                  </a:lnTo>
                  <a:lnTo>
                    <a:pt x="4" y="12"/>
                  </a:lnTo>
                  <a:lnTo>
                    <a:pt x="2" y="24"/>
                  </a:lnTo>
                  <a:lnTo>
                    <a:pt x="0" y="36"/>
                  </a:lnTo>
                  <a:lnTo>
                    <a:pt x="0" y="49"/>
                  </a:lnTo>
                  <a:lnTo>
                    <a:pt x="0" y="49"/>
                  </a:lnTo>
                  <a:lnTo>
                    <a:pt x="0" y="61"/>
                  </a:lnTo>
                  <a:lnTo>
                    <a:pt x="2" y="72"/>
                  </a:lnTo>
                  <a:lnTo>
                    <a:pt x="4" y="84"/>
                  </a:lnTo>
                  <a:lnTo>
                    <a:pt x="7" y="95"/>
                  </a:lnTo>
                  <a:lnTo>
                    <a:pt x="10" y="107"/>
                  </a:lnTo>
                  <a:lnTo>
                    <a:pt x="15" y="116"/>
                  </a:lnTo>
                  <a:lnTo>
                    <a:pt x="20" y="128"/>
                  </a:lnTo>
                  <a:lnTo>
                    <a:pt x="26" y="137"/>
                  </a:lnTo>
                  <a:lnTo>
                    <a:pt x="32" y="146"/>
                  </a:lnTo>
                  <a:lnTo>
                    <a:pt x="40" y="155"/>
                  </a:lnTo>
                  <a:lnTo>
                    <a:pt x="47" y="163"/>
                  </a:lnTo>
                  <a:lnTo>
                    <a:pt x="56" y="171"/>
                  </a:lnTo>
                  <a:lnTo>
                    <a:pt x="65" y="178"/>
                  </a:lnTo>
                  <a:lnTo>
                    <a:pt x="73" y="184"/>
                  </a:lnTo>
                  <a:lnTo>
                    <a:pt x="83" y="190"/>
                  </a:lnTo>
                  <a:lnTo>
                    <a:pt x="93" y="195"/>
                  </a:lnTo>
                  <a:lnTo>
                    <a:pt x="93" y="195"/>
                  </a:lnTo>
                  <a:lnTo>
                    <a:pt x="103" y="190"/>
                  </a:lnTo>
                  <a:lnTo>
                    <a:pt x="113" y="184"/>
                  </a:lnTo>
                  <a:lnTo>
                    <a:pt x="123" y="178"/>
                  </a:lnTo>
                  <a:lnTo>
                    <a:pt x="131" y="171"/>
                  </a:lnTo>
                  <a:lnTo>
                    <a:pt x="139" y="163"/>
                  </a:lnTo>
                  <a:lnTo>
                    <a:pt x="147" y="155"/>
                  </a:lnTo>
                  <a:lnTo>
                    <a:pt x="153" y="146"/>
                  </a:lnTo>
                  <a:lnTo>
                    <a:pt x="161" y="137"/>
                  </a:lnTo>
                  <a:lnTo>
                    <a:pt x="166" y="128"/>
                  </a:lnTo>
                  <a:lnTo>
                    <a:pt x="172" y="116"/>
                  </a:lnTo>
                  <a:lnTo>
                    <a:pt x="176" y="107"/>
                  </a:lnTo>
                  <a:lnTo>
                    <a:pt x="179" y="95"/>
                  </a:lnTo>
                  <a:lnTo>
                    <a:pt x="183" y="84"/>
                  </a:lnTo>
                  <a:lnTo>
                    <a:pt x="184" y="72"/>
                  </a:lnTo>
                  <a:lnTo>
                    <a:pt x="185" y="61"/>
                  </a:lnTo>
                  <a:lnTo>
                    <a:pt x="187" y="49"/>
                  </a:lnTo>
                  <a:lnTo>
                    <a:pt x="187" y="49"/>
                  </a:lnTo>
                  <a:lnTo>
                    <a:pt x="185" y="36"/>
                  </a:lnTo>
                  <a:lnTo>
                    <a:pt x="184" y="24"/>
                  </a:lnTo>
                  <a:lnTo>
                    <a:pt x="182" y="12"/>
                  </a:lnTo>
                  <a:lnTo>
                    <a:pt x="179" y="0"/>
                  </a:lnTo>
                  <a:lnTo>
                    <a:pt x="8" y="0"/>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6" name="Freeform 129">
              <a:extLst>
                <a:ext uri="{FF2B5EF4-FFF2-40B4-BE49-F238E27FC236}">
                  <a16:creationId xmlns:a16="http://schemas.microsoft.com/office/drawing/2014/main" id="{C8BEF39D-C145-5334-F0D0-36CC4F788F55}"/>
                </a:ext>
              </a:extLst>
            </p:cNvPr>
            <p:cNvSpPr>
              <a:spLocks noEditPoints="1"/>
            </p:cNvSpPr>
            <p:nvPr/>
          </p:nvSpPr>
          <p:spPr bwMode="auto">
            <a:xfrm>
              <a:off x="9272112" y="1610100"/>
              <a:ext cx="204788" cy="252413"/>
            </a:xfrm>
            <a:custGeom>
              <a:avLst/>
              <a:gdLst>
                <a:gd name="T0" fmla="*/ 129 w 129"/>
                <a:gd name="T1" fmla="*/ 159 h 159"/>
                <a:gd name="T2" fmla="*/ 119 w 129"/>
                <a:gd name="T3" fmla="*/ 158 h 159"/>
                <a:gd name="T4" fmla="*/ 119 w 129"/>
                <a:gd name="T5" fmla="*/ 158 h 159"/>
                <a:gd name="T6" fmla="*/ 106 w 129"/>
                <a:gd name="T7" fmla="*/ 157 h 159"/>
                <a:gd name="T8" fmla="*/ 94 w 129"/>
                <a:gd name="T9" fmla="*/ 153 h 159"/>
                <a:gd name="T10" fmla="*/ 83 w 129"/>
                <a:gd name="T11" fmla="*/ 149 h 159"/>
                <a:gd name="T12" fmla="*/ 72 w 129"/>
                <a:gd name="T13" fmla="*/ 143 h 159"/>
                <a:gd name="T14" fmla="*/ 62 w 129"/>
                <a:gd name="T15" fmla="*/ 137 h 159"/>
                <a:gd name="T16" fmla="*/ 52 w 129"/>
                <a:gd name="T17" fmla="*/ 130 h 159"/>
                <a:gd name="T18" fmla="*/ 42 w 129"/>
                <a:gd name="T19" fmla="*/ 121 h 159"/>
                <a:gd name="T20" fmla="*/ 35 w 129"/>
                <a:gd name="T21" fmla="*/ 112 h 159"/>
                <a:gd name="T22" fmla="*/ 26 w 129"/>
                <a:gd name="T23" fmla="*/ 102 h 159"/>
                <a:gd name="T24" fmla="*/ 20 w 129"/>
                <a:gd name="T25" fmla="*/ 91 h 159"/>
                <a:gd name="T26" fmla="*/ 14 w 129"/>
                <a:gd name="T27" fmla="*/ 80 h 159"/>
                <a:gd name="T28" fmla="*/ 9 w 129"/>
                <a:gd name="T29" fmla="*/ 69 h 159"/>
                <a:gd name="T30" fmla="*/ 5 w 129"/>
                <a:gd name="T31" fmla="*/ 57 h 159"/>
                <a:gd name="T32" fmla="*/ 3 w 129"/>
                <a:gd name="T33" fmla="*/ 43 h 159"/>
                <a:gd name="T34" fmla="*/ 2 w 129"/>
                <a:gd name="T35" fmla="*/ 30 h 159"/>
                <a:gd name="T36" fmla="*/ 0 w 129"/>
                <a:gd name="T37" fmla="*/ 16 h 159"/>
                <a:gd name="T38" fmla="*/ 0 w 129"/>
                <a:gd name="T39" fmla="*/ 16 h 159"/>
                <a:gd name="T40" fmla="*/ 0 w 129"/>
                <a:gd name="T41" fmla="*/ 9 h 159"/>
                <a:gd name="T42" fmla="*/ 2 w 129"/>
                <a:gd name="T43" fmla="*/ 0 h 159"/>
                <a:gd name="T44" fmla="*/ 129 w 129"/>
                <a:gd name="T45" fmla="*/ 0 h 159"/>
                <a:gd name="T46" fmla="*/ 129 w 129"/>
                <a:gd name="T47" fmla="*/ 159 h 159"/>
                <a:gd name="T48" fmla="*/ 129 w 129"/>
                <a:gd name="T49" fmla="*/ 159 h 159"/>
                <a:gd name="T50" fmla="*/ 18 w 129"/>
                <a:gd name="T51" fmla="*/ 17 h 159"/>
                <a:gd name="T52" fmla="*/ 18 w 129"/>
                <a:gd name="T53" fmla="*/ 17 h 159"/>
                <a:gd name="T54" fmla="*/ 19 w 129"/>
                <a:gd name="T55" fmla="*/ 28 h 159"/>
                <a:gd name="T56" fmla="*/ 20 w 129"/>
                <a:gd name="T57" fmla="*/ 40 h 159"/>
                <a:gd name="T58" fmla="*/ 23 w 129"/>
                <a:gd name="T59" fmla="*/ 51 h 159"/>
                <a:gd name="T60" fmla="*/ 25 w 129"/>
                <a:gd name="T61" fmla="*/ 61 h 159"/>
                <a:gd name="T62" fmla="*/ 29 w 129"/>
                <a:gd name="T63" fmla="*/ 70 h 159"/>
                <a:gd name="T64" fmla="*/ 34 w 129"/>
                <a:gd name="T65" fmla="*/ 80 h 159"/>
                <a:gd name="T66" fmla="*/ 39 w 129"/>
                <a:gd name="T67" fmla="*/ 89 h 159"/>
                <a:gd name="T68" fmla="*/ 45 w 129"/>
                <a:gd name="T69" fmla="*/ 98 h 159"/>
                <a:gd name="T70" fmla="*/ 51 w 129"/>
                <a:gd name="T71" fmla="*/ 105 h 159"/>
                <a:gd name="T72" fmla="*/ 58 w 129"/>
                <a:gd name="T73" fmla="*/ 112 h 159"/>
                <a:gd name="T74" fmla="*/ 66 w 129"/>
                <a:gd name="T75" fmla="*/ 119 h 159"/>
                <a:gd name="T76" fmla="*/ 74 w 129"/>
                <a:gd name="T77" fmla="*/ 125 h 159"/>
                <a:gd name="T78" fmla="*/ 83 w 129"/>
                <a:gd name="T79" fmla="*/ 130 h 159"/>
                <a:gd name="T80" fmla="*/ 92 w 129"/>
                <a:gd name="T81" fmla="*/ 133 h 159"/>
                <a:gd name="T82" fmla="*/ 102 w 129"/>
                <a:gd name="T83" fmla="*/ 137 h 159"/>
                <a:gd name="T84" fmla="*/ 111 w 129"/>
                <a:gd name="T85" fmla="*/ 139 h 159"/>
                <a:gd name="T86" fmla="*/ 111 w 129"/>
                <a:gd name="T87" fmla="*/ 17 h 159"/>
                <a:gd name="T88" fmla="*/ 18 w 129"/>
                <a:gd name="T89" fmla="*/ 17 h 159"/>
                <a:gd name="T90" fmla="*/ 18 w 129"/>
                <a:gd name="T91" fmla="*/ 1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9" h="159">
                  <a:moveTo>
                    <a:pt x="129" y="159"/>
                  </a:moveTo>
                  <a:lnTo>
                    <a:pt x="119" y="158"/>
                  </a:lnTo>
                  <a:lnTo>
                    <a:pt x="119" y="158"/>
                  </a:lnTo>
                  <a:lnTo>
                    <a:pt x="106" y="157"/>
                  </a:lnTo>
                  <a:lnTo>
                    <a:pt x="94" y="153"/>
                  </a:lnTo>
                  <a:lnTo>
                    <a:pt x="83" y="149"/>
                  </a:lnTo>
                  <a:lnTo>
                    <a:pt x="72" y="143"/>
                  </a:lnTo>
                  <a:lnTo>
                    <a:pt x="62" y="137"/>
                  </a:lnTo>
                  <a:lnTo>
                    <a:pt x="52" y="130"/>
                  </a:lnTo>
                  <a:lnTo>
                    <a:pt x="42" y="121"/>
                  </a:lnTo>
                  <a:lnTo>
                    <a:pt x="35" y="112"/>
                  </a:lnTo>
                  <a:lnTo>
                    <a:pt x="26" y="102"/>
                  </a:lnTo>
                  <a:lnTo>
                    <a:pt x="20" y="91"/>
                  </a:lnTo>
                  <a:lnTo>
                    <a:pt x="14" y="80"/>
                  </a:lnTo>
                  <a:lnTo>
                    <a:pt x="9" y="69"/>
                  </a:lnTo>
                  <a:lnTo>
                    <a:pt x="5" y="57"/>
                  </a:lnTo>
                  <a:lnTo>
                    <a:pt x="3" y="43"/>
                  </a:lnTo>
                  <a:lnTo>
                    <a:pt x="2" y="30"/>
                  </a:lnTo>
                  <a:lnTo>
                    <a:pt x="0" y="16"/>
                  </a:lnTo>
                  <a:lnTo>
                    <a:pt x="0" y="16"/>
                  </a:lnTo>
                  <a:lnTo>
                    <a:pt x="0" y="9"/>
                  </a:lnTo>
                  <a:lnTo>
                    <a:pt x="2" y="0"/>
                  </a:lnTo>
                  <a:lnTo>
                    <a:pt x="129" y="0"/>
                  </a:lnTo>
                  <a:lnTo>
                    <a:pt x="129" y="159"/>
                  </a:lnTo>
                  <a:lnTo>
                    <a:pt x="129" y="159"/>
                  </a:lnTo>
                  <a:close/>
                  <a:moveTo>
                    <a:pt x="18" y="17"/>
                  </a:moveTo>
                  <a:lnTo>
                    <a:pt x="18" y="17"/>
                  </a:lnTo>
                  <a:lnTo>
                    <a:pt x="19" y="28"/>
                  </a:lnTo>
                  <a:lnTo>
                    <a:pt x="20" y="40"/>
                  </a:lnTo>
                  <a:lnTo>
                    <a:pt x="23" y="51"/>
                  </a:lnTo>
                  <a:lnTo>
                    <a:pt x="25" y="61"/>
                  </a:lnTo>
                  <a:lnTo>
                    <a:pt x="29" y="70"/>
                  </a:lnTo>
                  <a:lnTo>
                    <a:pt x="34" y="80"/>
                  </a:lnTo>
                  <a:lnTo>
                    <a:pt x="39" y="89"/>
                  </a:lnTo>
                  <a:lnTo>
                    <a:pt x="45" y="98"/>
                  </a:lnTo>
                  <a:lnTo>
                    <a:pt x="51" y="105"/>
                  </a:lnTo>
                  <a:lnTo>
                    <a:pt x="58" y="112"/>
                  </a:lnTo>
                  <a:lnTo>
                    <a:pt x="66" y="119"/>
                  </a:lnTo>
                  <a:lnTo>
                    <a:pt x="74" y="125"/>
                  </a:lnTo>
                  <a:lnTo>
                    <a:pt x="83" y="130"/>
                  </a:lnTo>
                  <a:lnTo>
                    <a:pt x="92" y="133"/>
                  </a:lnTo>
                  <a:lnTo>
                    <a:pt x="102" y="137"/>
                  </a:lnTo>
                  <a:lnTo>
                    <a:pt x="111" y="139"/>
                  </a:lnTo>
                  <a:lnTo>
                    <a:pt x="111" y="17"/>
                  </a:lnTo>
                  <a:lnTo>
                    <a:pt x="18" y="17"/>
                  </a:lnTo>
                  <a:lnTo>
                    <a:pt x="18" y="17"/>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7" name="Freeform 130">
              <a:extLst>
                <a:ext uri="{FF2B5EF4-FFF2-40B4-BE49-F238E27FC236}">
                  <a16:creationId xmlns:a16="http://schemas.microsoft.com/office/drawing/2014/main" id="{4EA0AFC3-0A46-389A-E249-3DDCF709C73A}"/>
                </a:ext>
              </a:extLst>
            </p:cNvPr>
            <p:cNvSpPr>
              <a:spLocks noEditPoints="1"/>
            </p:cNvSpPr>
            <p:nvPr/>
          </p:nvSpPr>
          <p:spPr bwMode="auto">
            <a:xfrm>
              <a:off x="9530874" y="1610100"/>
              <a:ext cx="206375" cy="252413"/>
            </a:xfrm>
            <a:custGeom>
              <a:avLst/>
              <a:gdLst>
                <a:gd name="T0" fmla="*/ 0 w 130"/>
                <a:gd name="T1" fmla="*/ 159 h 159"/>
                <a:gd name="T2" fmla="*/ 0 w 130"/>
                <a:gd name="T3" fmla="*/ 0 h 159"/>
                <a:gd name="T4" fmla="*/ 128 w 130"/>
                <a:gd name="T5" fmla="*/ 0 h 159"/>
                <a:gd name="T6" fmla="*/ 128 w 130"/>
                <a:gd name="T7" fmla="*/ 9 h 159"/>
                <a:gd name="T8" fmla="*/ 128 w 130"/>
                <a:gd name="T9" fmla="*/ 9 h 159"/>
                <a:gd name="T10" fmla="*/ 130 w 130"/>
                <a:gd name="T11" fmla="*/ 16 h 159"/>
                <a:gd name="T12" fmla="*/ 130 w 130"/>
                <a:gd name="T13" fmla="*/ 16 h 159"/>
                <a:gd name="T14" fmla="*/ 128 w 130"/>
                <a:gd name="T15" fmla="*/ 30 h 159"/>
                <a:gd name="T16" fmla="*/ 127 w 130"/>
                <a:gd name="T17" fmla="*/ 43 h 159"/>
                <a:gd name="T18" fmla="*/ 124 w 130"/>
                <a:gd name="T19" fmla="*/ 57 h 159"/>
                <a:gd name="T20" fmla="*/ 120 w 130"/>
                <a:gd name="T21" fmla="*/ 69 h 159"/>
                <a:gd name="T22" fmla="*/ 115 w 130"/>
                <a:gd name="T23" fmla="*/ 80 h 159"/>
                <a:gd name="T24" fmla="*/ 110 w 130"/>
                <a:gd name="T25" fmla="*/ 91 h 159"/>
                <a:gd name="T26" fmla="*/ 103 w 130"/>
                <a:gd name="T27" fmla="*/ 102 h 159"/>
                <a:gd name="T28" fmla="*/ 95 w 130"/>
                <a:gd name="T29" fmla="*/ 112 h 159"/>
                <a:gd name="T30" fmla="*/ 87 w 130"/>
                <a:gd name="T31" fmla="*/ 121 h 159"/>
                <a:gd name="T32" fmla="*/ 78 w 130"/>
                <a:gd name="T33" fmla="*/ 130 h 159"/>
                <a:gd name="T34" fmla="*/ 68 w 130"/>
                <a:gd name="T35" fmla="*/ 137 h 159"/>
                <a:gd name="T36" fmla="*/ 57 w 130"/>
                <a:gd name="T37" fmla="*/ 143 h 159"/>
                <a:gd name="T38" fmla="*/ 47 w 130"/>
                <a:gd name="T39" fmla="*/ 149 h 159"/>
                <a:gd name="T40" fmla="*/ 35 w 130"/>
                <a:gd name="T41" fmla="*/ 153 h 159"/>
                <a:gd name="T42" fmla="*/ 22 w 130"/>
                <a:gd name="T43" fmla="*/ 157 h 159"/>
                <a:gd name="T44" fmla="*/ 10 w 130"/>
                <a:gd name="T45" fmla="*/ 158 h 159"/>
                <a:gd name="T46" fmla="*/ 0 w 130"/>
                <a:gd name="T47" fmla="*/ 159 h 159"/>
                <a:gd name="T48" fmla="*/ 0 w 130"/>
                <a:gd name="T49" fmla="*/ 159 h 159"/>
                <a:gd name="T50" fmla="*/ 19 w 130"/>
                <a:gd name="T51" fmla="*/ 17 h 159"/>
                <a:gd name="T52" fmla="*/ 19 w 130"/>
                <a:gd name="T53" fmla="*/ 139 h 159"/>
                <a:gd name="T54" fmla="*/ 19 w 130"/>
                <a:gd name="T55" fmla="*/ 139 h 159"/>
                <a:gd name="T56" fmla="*/ 29 w 130"/>
                <a:gd name="T57" fmla="*/ 137 h 159"/>
                <a:gd name="T58" fmla="*/ 37 w 130"/>
                <a:gd name="T59" fmla="*/ 133 h 159"/>
                <a:gd name="T60" fmla="*/ 47 w 130"/>
                <a:gd name="T61" fmla="*/ 130 h 159"/>
                <a:gd name="T62" fmla="*/ 56 w 130"/>
                <a:gd name="T63" fmla="*/ 125 h 159"/>
                <a:gd name="T64" fmla="*/ 63 w 130"/>
                <a:gd name="T65" fmla="*/ 119 h 159"/>
                <a:gd name="T66" fmla="*/ 70 w 130"/>
                <a:gd name="T67" fmla="*/ 112 h 159"/>
                <a:gd name="T68" fmla="*/ 78 w 130"/>
                <a:gd name="T69" fmla="*/ 105 h 159"/>
                <a:gd name="T70" fmla="*/ 85 w 130"/>
                <a:gd name="T71" fmla="*/ 98 h 159"/>
                <a:gd name="T72" fmla="*/ 90 w 130"/>
                <a:gd name="T73" fmla="*/ 89 h 159"/>
                <a:gd name="T74" fmla="*/ 96 w 130"/>
                <a:gd name="T75" fmla="*/ 80 h 159"/>
                <a:gd name="T76" fmla="*/ 100 w 130"/>
                <a:gd name="T77" fmla="*/ 70 h 159"/>
                <a:gd name="T78" fmla="*/ 104 w 130"/>
                <a:gd name="T79" fmla="*/ 61 h 159"/>
                <a:gd name="T80" fmla="*/ 107 w 130"/>
                <a:gd name="T81" fmla="*/ 51 h 159"/>
                <a:gd name="T82" fmla="*/ 110 w 130"/>
                <a:gd name="T83" fmla="*/ 40 h 159"/>
                <a:gd name="T84" fmla="*/ 111 w 130"/>
                <a:gd name="T85" fmla="*/ 28 h 159"/>
                <a:gd name="T86" fmla="*/ 111 w 130"/>
                <a:gd name="T87" fmla="*/ 17 h 159"/>
                <a:gd name="T88" fmla="*/ 19 w 130"/>
                <a:gd name="T89" fmla="*/ 17 h 159"/>
                <a:gd name="T90" fmla="*/ 19 w 130"/>
                <a:gd name="T91" fmla="*/ 1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 h="159">
                  <a:moveTo>
                    <a:pt x="0" y="159"/>
                  </a:moveTo>
                  <a:lnTo>
                    <a:pt x="0" y="0"/>
                  </a:lnTo>
                  <a:lnTo>
                    <a:pt x="128" y="0"/>
                  </a:lnTo>
                  <a:lnTo>
                    <a:pt x="128" y="9"/>
                  </a:lnTo>
                  <a:lnTo>
                    <a:pt x="128" y="9"/>
                  </a:lnTo>
                  <a:lnTo>
                    <a:pt x="130" y="16"/>
                  </a:lnTo>
                  <a:lnTo>
                    <a:pt x="130" y="16"/>
                  </a:lnTo>
                  <a:lnTo>
                    <a:pt x="128" y="30"/>
                  </a:lnTo>
                  <a:lnTo>
                    <a:pt x="127" y="43"/>
                  </a:lnTo>
                  <a:lnTo>
                    <a:pt x="124" y="57"/>
                  </a:lnTo>
                  <a:lnTo>
                    <a:pt x="120" y="69"/>
                  </a:lnTo>
                  <a:lnTo>
                    <a:pt x="115" y="80"/>
                  </a:lnTo>
                  <a:lnTo>
                    <a:pt x="110" y="91"/>
                  </a:lnTo>
                  <a:lnTo>
                    <a:pt x="103" y="102"/>
                  </a:lnTo>
                  <a:lnTo>
                    <a:pt x="95" y="112"/>
                  </a:lnTo>
                  <a:lnTo>
                    <a:pt x="87" y="121"/>
                  </a:lnTo>
                  <a:lnTo>
                    <a:pt x="78" y="130"/>
                  </a:lnTo>
                  <a:lnTo>
                    <a:pt x="68" y="137"/>
                  </a:lnTo>
                  <a:lnTo>
                    <a:pt x="57" y="143"/>
                  </a:lnTo>
                  <a:lnTo>
                    <a:pt x="47" y="149"/>
                  </a:lnTo>
                  <a:lnTo>
                    <a:pt x="35" y="153"/>
                  </a:lnTo>
                  <a:lnTo>
                    <a:pt x="22" y="157"/>
                  </a:lnTo>
                  <a:lnTo>
                    <a:pt x="10" y="158"/>
                  </a:lnTo>
                  <a:lnTo>
                    <a:pt x="0" y="159"/>
                  </a:lnTo>
                  <a:lnTo>
                    <a:pt x="0" y="159"/>
                  </a:lnTo>
                  <a:close/>
                  <a:moveTo>
                    <a:pt x="19" y="17"/>
                  </a:moveTo>
                  <a:lnTo>
                    <a:pt x="19" y="139"/>
                  </a:lnTo>
                  <a:lnTo>
                    <a:pt x="19" y="139"/>
                  </a:lnTo>
                  <a:lnTo>
                    <a:pt x="29" y="137"/>
                  </a:lnTo>
                  <a:lnTo>
                    <a:pt x="37" y="133"/>
                  </a:lnTo>
                  <a:lnTo>
                    <a:pt x="47" y="130"/>
                  </a:lnTo>
                  <a:lnTo>
                    <a:pt x="56" y="125"/>
                  </a:lnTo>
                  <a:lnTo>
                    <a:pt x="63" y="119"/>
                  </a:lnTo>
                  <a:lnTo>
                    <a:pt x="70" y="112"/>
                  </a:lnTo>
                  <a:lnTo>
                    <a:pt x="78" y="105"/>
                  </a:lnTo>
                  <a:lnTo>
                    <a:pt x="85" y="98"/>
                  </a:lnTo>
                  <a:lnTo>
                    <a:pt x="90" y="89"/>
                  </a:lnTo>
                  <a:lnTo>
                    <a:pt x="96" y="80"/>
                  </a:lnTo>
                  <a:lnTo>
                    <a:pt x="100" y="70"/>
                  </a:lnTo>
                  <a:lnTo>
                    <a:pt x="104" y="61"/>
                  </a:lnTo>
                  <a:lnTo>
                    <a:pt x="107" y="51"/>
                  </a:lnTo>
                  <a:lnTo>
                    <a:pt x="110" y="40"/>
                  </a:lnTo>
                  <a:lnTo>
                    <a:pt x="111" y="28"/>
                  </a:lnTo>
                  <a:lnTo>
                    <a:pt x="111" y="17"/>
                  </a:lnTo>
                  <a:lnTo>
                    <a:pt x="19" y="17"/>
                  </a:lnTo>
                  <a:lnTo>
                    <a:pt x="19" y="17"/>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8" name="Rectangle 131">
              <a:extLst>
                <a:ext uri="{FF2B5EF4-FFF2-40B4-BE49-F238E27FC236}">
                  <a16:creationId xmlns:a16="http://schemas.microsoft.com/office/drawing/2014/main" id="{96E832FC-02F0-E7F2-6644-5D603889B61A}"/>
                </a:ext>
              </a:extLst>
            </p:cNvPr>
            <p:cNvSpPr>
              <a:spLocks noChangeArrowheads="1"/>
            </p:cNvSpPr>
            <p:nvPr/>
          </p:nvSpPr>
          <p:spPr bwMode="auto">
            <a:xfrm>
              <a:off x="9484837" y="1852988"/>
              <a:ext cx="39688" cy="174625"/>
            </a:xfrm>
            <a:prstGeom prst="rect">
              <a:avLst/>
            </a:prstGeom>
            <a:solidFill>
              <a:srgbClr val="F99B1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9" name="Freeform 132">
              <a:extLst>
                <a:ext uri="{FF2B5EF4-FFF2-40B4-BE49-F238E27FC236}">
                  <a16:creationId xmlns:a16="http://schemas.microsoft.com/office/drawing/2014/main" id="{CD66BB9F-C88A-6BA1-D90A-527353B15322}"/>
                </a:ext>
              </a:extLst>
            </p:cNvPr>
            <p:cNvSpPr>
              <a:spLocks/>
            </p:cNvSpPr>
            <p:nvPr/>
          </p:nvSpPr>
          <p:spPr bwMode="auto">
            <a:xfrm>
              <a:off x="9389587" y="2011738"/>
              <a:ext cx="230188" cy="31750"/>
            </a:xfrm>
            <a:custGeom>
              <a:avLst/>
              <a:gdLst>
                <a:gd name="T0" fmla="*/ 145 w 145"/>
                <a:gd name="T1" fmla="*/ 20 h 20"/>
                <a:gd name="T2" fmla="*/ 145 w 145"/>
                <a:gd name="T3" fmla="*/ 11 h 20"/>
                <a:gd name="T4" fmla="*/ 145 w 145"/>
                <a:gd name="T5" fmla="*/ 11 h 20"/>
                <a:gd name="T6" fmla="*/ 143 w 145"/>
                <a:gd name="T7" fmla="*/ 6 h 20"/>
                <a:gd name="T8" fmla="*/ 142 w 145"/>
                <a:gd name="T9" fmla="*/ 4 h 20"/>
                <a:gd name="T10" fmla="*/ 139 w 145"/>
                <a:gd name="T11" fmla="*/ 1 h 20"/>
                <a:gd name="T12" fmla="*/ 136 w 145"/>
                <a:gd name="T13" fmla="*/ 0 h 20"/>
                <a:gd name="T14" fmla="*/ 9 w 145"/>
                <a:gd name="T15" fmla="*/ 0 h 20"/>
                <a:gd name="T16" fmla="*/ 9 w 145"/>
                <a:gd name="T17" fmla="*/ 0 h 20"/>
                <a:gd name="T18" fmla="*/ 5 w 145"/>
                <a:gd name="T19" fmla="*/ 1 h 20"/>
                <a:gd name="T20" fmla="*/ 3 w 145"/>
                <a:gd name="T21" fmla="*/ 4 h 20"/>
                <a:gd name="T22" fmla="*/ 0 w 145"/>
                <a:gd name="T23" fmla="*/ 6 h 20"/>
                <a:gd name="T24" fmla="*/ 0 w 145"/>
                <a:gd name="T25" fmla="*/ 11 h 20"/>
                <a:gd name="T26" fmla="*/ 0 w 145"/>
                <a:gd name="T27" fmla="*/ 20 h 20"/>
                <a:gd name="T28" fmla="*/ 145 w 145"/>
                <a:gd name="T2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5" h="20">
                  <a:moveTo>
                    <a:pt x="145" y="20"/>
                  </a:moveTo>
                  <a:lnTo>
                    <a:pt x="145" y="11"/>
                  </a:lnTo>
                  <a:lnTo>
                    <a:pt x="145" y="11"/>
                  </a:lnTo>
                  <a:lnTo>
                    <a:pt x="143" y="6"/>
                  </a:lnTo>
                  <a:lnTo>
                    <a:pt x="142" y="4"/>
                  </a:lnTo>
                  <a:lnTo>
                    <a:pt x="139" y="1"/>
                  </a:lnTo>
                  <a:lnTo>
                    <a:pt x="136" y="0"/>
                  </a:lnTo>
                  <a:lnTo>
                    <a:pt x="9" y="0"/>
                  </a:lnTo>
                  <a:lnTo>
                    <a:pt x="9" y="0"/>
                  </a:lnTo>
                  <a:lnTo>
                    <a:pt x="5" y="1"/>
                  </a:lnTo>
                  <a:lnTo>
                    <a:pt x="3" y="4"/>
                  </a:lnTo>
                  <a:lnTo>
                    <a:pt x="0" y="6"/>
                  </a:lnTo>
                  <a:lnTo>
                    <a:pt x="0" y="11"/>
                  </a:lnTo>
                  <a:lnTo>
                    <a:pt x="0" y="20"/>
                  </a:lnTo>
                  <a:lnTo>
                    <a:pt x="145" y="20"/>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50" name="Freeform 133">
              <a:extLst>
                <a:ext uri="{FF2B5EF4-FFF2-40B4-BE49-F238E27FC236}">
                  <a16:creationId xmlns:a16="http://schemas.microsoft.com/office/drawing/2014/main" id="{97E8BBAD-70C3-20A3-EC48-76878A1AB9FB}"/>
                </a:ext>
              </a:extLst>
            </p:cNvPr>
            <p:cNvSpPr>
              <a:spLocks/>
            </p:cNvSpPr>
            <p:nvPr/>
          </p:nvSpPr>
          <p:spPr bwMode="auto">
            <a:xfrm>
              <a:off x="9356249" y="1595813"/>
              <a:ext cx="146050" cy="401638"/>
            </a:xfrm>
            <a:custGeom>
              <a:avLst/>
              <a:gdLst>
                <a:gd name="T0" fmla="*/ 8 w 92"/>
                <a:gd name="T1" fmla="*/ 0 h 253"/>
                <a:gd name="T2" fmla="*/ 8 w 92"/>
                <a:gd name="T3" fmla="*/ 0 h 253"/>
                <a:gd name="T4" fmla="*/ 4 w 92"/>
                <a:gd name="T5" fmla="*/ 12 h 253"/>
                <a:gd name="T6" fmla="*/ 2 w 92"/>
                <a:gd name="T7" fmla="*/ 24 h 253"/>
                <a:gd name="T8" fmla="*/ 0 w 92"/>
                <a:gd name="T9" fmla="*/ 36 h 253"/>
                <a:gd name="T10" fmla="*/ 0 w 92"/>
                <a:gd name="T11" fmla="*/ 49 h 253"/>
                <a:gd name="T12" fmla="*/ 0 w 92"/>
                <a:gd name="T13" fmla="*/ 49 h 253"/>
                <a:gd name="T14" fmla="*/ 0 w 92"/>
                <a:gd name="T15" fmla="*/ 60 h 253"/>
                <a:gd name="T16" fmla="*/ 2 w 92"/>
                <a:gd name="T17" fmla="*/ 71 h 253"/>
                <a:gd name="T18" fmla="*/ 7 w 92"/>
                <a:gd name="T19" fmla="*/ 92 h 253"/>
                <a:gd name="T20" fmla="*/ 13 w 92"/>
                <a:gd name="T21" fmla="*/ 111 h 253"/>
                <a:gd name="T22" fmla="*/ 23 w 92"/>
                <a:gd name="T23" fmla="*/ 130 h 253"/>
                <a:gd name="T24" fmla="*/ 34 w 92"/>
                <a:gd name="T25" fmla="*/ 147 h 253"/>
                <a:gd name="T26" fmla="*/ 47 w 92"/>
                <a:gd name="T27" fmla="*/ 163 h 253"/>
                <a:gd name="T28" fmla="*/ 63 w 92"/>
                <a:gd name="T29" fmla="*/ 177 h 253"/>
                <a:gd name="T30" fmla="*/ 81 w 92"/>
                <a:gd name="T31" fmla="*/ 189 h 253"/>
                <a:gd name="T32" fmla="*/ 81 w 92"/>
                <a:gd name="T33" fmla="*/ 253 h 253"/>
                <a:gd name="T34" fmla="*/ 92 w 92"/>
                <a:gd name="T35" fmla="*/ 253 h 253"/>
                <a:gd name="T36" fmla="*/ 92 w 92"/>
                <a:gd name="T37" fmla="*/ 162 h 253"/>
                <a:gd name="T38" fmla="*/ 92 w 92"/>
                <a:gd name="T39" fmla="*/ 0 h 253"/>
                <a:gd name="T40" fmla="*/ 8 w 92"/>
                <a:gd name="T4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253">
                  <a:moveTo>
                    <a:pt x="8" y="0"/>
                  </a:moveTo>
                  <a:lnTo>
                    <a:pt x="8" y="0"/>
                  </a:lnTo>
                  <a:lnTo>
                    <a:pt x="4" y="12"/>
                  </a:lnTo>
                  <a:lnTo>
                    <a:pt x="2" y="24"/>
                  </a:lnTo>
                  <a:lnTo>
                    <a:pt x="0" y="36"/>
                  </a:lnTo>
                  <a:lnTo>
                    <a:pt x="0" y="49"/>
                  </a:lnTo>
                  <a:lnTo>
                    <a:pt x="0" y="49"/>
                  </a:lnTo>
                  <a:lnTo>
                    <a:pt x="0" y="60"/>
                  </a:lnTo>
                  <a:lnTo>
                    <a:pt x="2" y="71"/>
                  </a:lnTo>
                  <a:lnTo>
                    <a:pt x="7" y="92"/>
                  </a:lnTo>
                  <a:lnTo>
                    <a:pt x="13" y="111"/>
                  </a:lnTo>
                  <a:lnTo>
                    <a:pt x="23" y="130"/>
                  </a:lnTo>
                  <a:lnTo>
                    <a:pt x="34" y="147"/>
                  </a:lnTo>
                  <a:lnTo>
                    <a:pt x="47" y="163"/>
                  </a:lnTo>
                  <a:lnTo>
                    <a:pt x="63" y="177"/>
                  </a:lnTo>
                  <a:lnTo>
                    <a:pt x="81" y="189"/>
                  </a:lnTo>
                  <a:lnTo>
                    <a:pt x="81" y="253"/>
                  </a:lnTo>
                  <a:lnTo>
                    <a:pt x="92" y="253"/>
                  </a:lnTo>
                  <a:lnTo>
                    <a:pt x="92" y="162"/>
                  </a:lnTo>
                  <a:lnTo>
                    <a:pt x="92" y="0"/>
                  </a:lnTo>
                  <a:lnTo>
                    <a:pt x="8" y="0"/>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51" name="Freeform 134">
              <a:extLst>
                <a:ext uri="{FF2B5EF4-FFF2-40B4-BE49-F238E27FC236}">
                  <a16:creationId xmlns:a16="http://schemas.microsoft.com/office/drawing/2014/main" id="{73BFBA3B-AD09-8087-64C4-5C5CA17FA7F7}"/>
                </a:ext>
              </a:extLst>
            </p:cNvPr>
            <p:cNvSpPr>
              <a:spLocks/>
            </p:cNvSpPr>
            <p:nvPr/>
          </p:nvSpPr>
          <p:spPr bwMode="auto">
            <a:xfrm>
              <a:off x="9389587" y="2011738"/>
              <a:ext cx="112713" cy="31750"/>
            </a:xfrm>
            <a:custGeom>
              <a:avLst/>
              <a:gdLst>
                <a:gd name="T0" fmla="*/ 31 w 71"/>
                <a:gd name="T1" fmla="*/ 0 h 20"/>
                <a:gd name="T2" fmla="*/ 9 w 71"/>
                <a:gd name="T3" fmla="*/ 0 h 20"/>
                <a:gd name="T4" fmla="*/ 9 w 71"/>
                <a:gd name="T5" fmla="*/ 0 h 20"/>
                <a:gd name="T6" fmla="*/ 5 w 71"/>
                <a:gd name="T7" fmla="*/ 1 h 20"/>
                <a:gd name="T8" fmla="*/ 3 w 71"/>
                <a:gd name="T9" fmla="*/ 4 h 20"/>
                <a:gd name="T10" fmla="*/ 0 w 71"/>
                <a:gd name="T11" fmla="*/ 6 h 20"/>
                <a:gd name="T12" fmla="*/ 0 w 71"/>
                <a:gd name="T13" fmla="*/ 11 h 20"/>
                <a:gd name="T14" fmla="*/ 0 w 71"/>
                <a:gd name="T15" fmla="*/ 20 h 20"/>
                <a:gd name="T16" fmla="*/ 71 w 71"/>
                <a:gd name="T17" fmla="*/ 20 h 20"/>
                <a:gd name="T18" fmla="*/ 71 w 71"/>
                <a:gd name="T19" fmla="*/ 0 h 20"/>
                <a:gd name="T20" fmla="*/ 60 w 71"/>
                <a:gd name="T21" fmla="*/ 0 h 20"/>
                <a:gd name="T22" fmla="*/ 31 w 71"/>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20">
                  <a:moveTo>
                    <a:pt x="31" y="0"/>
                  </a:moveTo>
                  <a:lnTo>
                    <a:pt x="9" y="0"/>
                  </a:lnTo>
                  <a:lnTo>
                    <a:pt x="9" y="0"/>
                  </a:lnTo>
                  <a:lnTo>
                    <a:pt x="5" y="1"/>
                  </a:lnTo>
                  <a:lnTo>
                    <a:pt x="3" y="4"/>
                  </a:lnTo>
                  <a:lnTo>
                    <a:pt x="0" y="6"/>
                  </a:lnTo>
                  <a:lnTo>
                    <a:pt x="0" y="11"/>
                  </a:lnTo>
                  <a:lnTo>
                    <a:pt x="0" y="20"/>
                  </a:lnTo>
                  <a:lnTo>
                    <a:pt x="71" y="20"/>
                  </a:lnTo>
                  <a:lnTo>
                    <a:pt x="71" y="0"/>
                  </a:lnTo>
                  <a:lnTo>
                    <a:pt x="60" y="0"/>
                  </a:lnTo>
                  <a:lnTo>
                    <a:pt x="31" y="0"/>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52" name="Rectangle 135">
              <a:extLst>
                <a:ext uri="{FF2B5EF4-FFF2-40B4-BE49-F238E27FC236}">
                  <a16:creationId xmlns:a16="http://schemas.microsoft.com/office/drawing/2014/main" id="{F4F5DBE2-CF1F-2E9E-1C8C-F115282C7E93}"/>
                </a:ext>
              </a:extLst>
            </p:cNvPr>
            <p:cNvSpPr>
              <a:spLocks noChangeArrowheads="1"/>
            </p:cNvSpPr>
            <p:nvPr/>
          </p:nvSpPr>
          <p:spPr bwMode="auto">
            <a:xfrm>
              <a:off x="9361012" y="2040313"/>
              <a:ext cx="287338" cy="141288"/>
            </a:xfrm>
            <a:prstGeom prst="rect">
              <a:avLst/>
            </a:prstGeom>
            <a:solidFill>
              <a:srgbClr val="15B0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53" name="Rectangle 136">
              <a:extLst>
                <a:ext uri="{FF2B5EF4-FFF2-40B4-BE49-F238E27FC236}">
                  <a16:creationId xmlns:a16="http://schemas.microsoft.com/office/drawing/2014/main" id="{AB71E4A7-7442-5353-16FB-C709CD1B59A8}"/>
                </a:ext>
              </a:extLst>
            </p:cNvPr>
            <p:cNvSpPr>
              <a:spLocks noChangeArrowheads="1"/>
            </p:cNvSpPr>
            <p:nvPr/>
          </p:nvSpPr>
          <p:spPr bwMode="auto">
            <a:xfrm>
              <a:off x="9394349" y="2073650"/>
              <a:ext cx="219075" cy="74613"/>
            </a:xfrm>
            <a:prstGeom prst="rect">
              <a:avLst/>
            </a:prstGeom>
            <a:solidFill>
              <a:srgbClr val="1695A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54" name="Rectangle 137">
              <a:extLst>
                <a:ext uri="{FF2B5EF4-FFF2-40B4-BE49-F238E27FC236}">
                  <a16:creationId xmlns:a16="http://schemas.microsoft.com/office/drawing/2014/main" id="{62DE5E67-6589-F322-A861-D5D3D20BD860}"/>
                </a:ext>
              </a:extLst>
            </p:cNvPr>
            <p:cNvSpPr>
              <a:spLocks noChangeArrowheads="1"/>
            </p:cNvSpPr>
            <p:nvPr/>
          </p:nvSpPr>
          <p:spPr bwMode="auto">
            <a:xfrm>
              <a:off x="9348312" y="2176838"/>
              <a:ext cx="309563" cy="34925"/>
            </a:xfrm>
            <a:prstGeom prst="rect">
              <a:avLst/>
            </a:prstGeom>
            <a:solidFill>
              <a:srgbClr val="1695A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sp>
        <p:nvSpPr>
          <p:cNvPr id="2" name="Rectangle 1">
            <a:extLst>
              <a:ext uri="{FF2B5EF4-FFF2-40B4-BE49-F238E27FC236}">
                <a16:creationId xmlns:a16="http://schemas.microsoft.com/office/drawing/2014/main" id="{85178BD6-701C-22B3-7CF0-90D7526F207E}"/>
              </a:ext>
            </a:extLst>
          </p:cNvPr>
          <p:cNvSpPr/>
          <p:nvPr/>
        </p:nvSpPr>
        <p:spPr>
          <a:xfrm>
            <a:off x="3172571" y="2016578"/>
            <a:ext cx="7954234" cy="3814067"/>
          </a:xfrm>
          <a:prstGeom prst="rect">
            <a:avLst/>
          </a:prstGeom>
          <a:solidFill>
            <a:schemeClr val="bg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Arial" panose="020B0604020202020204" pitchFamily="34" charset="0"/>
            </a:endParaRPr>
          </a:p>
        </p:txBody>
      </p:sp>
    </p:spTree>
    <p:custDataLst>
      <p:tags r:id="rId1"/>
    </p:custDataLst>
    <p:extLst>
      <p:ext uri="{BB962C8B-B14F-4D97-AF65-F5344CB8AC3E}">
        <p14:creationId xmlns:p14="http://schemas.microsoft.com/office/powerpoint/2010/main" val="4400022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93454D1-0AA4-4009-C336-671DABB44F76}"/>
              </a:ext>
            </a:extLst>
          </p:cNvPr>
          <p:cNvSpPr>
            <a:spLocks noGrp="1"/>
          </p:cNvSpPr>
          <p:nvPr>
            <p:ph type="title"/>
          </p:nvPr>
        </p:nvSpPr>
        <p:spPr/>
        <p:txBody>
          <a:bodyPr/>
          <a:lstStyle/>
          <a:p>
            <a:r>
              <a:rPr lang="en-US">
                <a:latin typeface="+mn-lt"/>
              </a:rPr>
              <a:t>Opt-in Course</a:t>
            </a:r>
          </a:p>
        </p:txBody>
      </p:sp>
      <p:sp>
        <p:nvSpPr>
          <p:cNvPr id="5" name="Content Placeholder 2">
            <a:extLst>
              <a:ext uri="{FF2B5EF4-FFF2-40B4-BE49-F238E27FC236}">
                <a16:creationId xmlns:a16="http://schemas.microsoft.com/office/drawing/2014/main" id="{4610D94D-738A-67E6-B0F7-7875E5ECC43B}"/>
              </a:ext>
            </a:extLst>
          </p:cNvPr>
          <p:cNvSpPr txBox="1">
            <a:spLocks/>
          </p:cNvSpPr>
          <p:nvPr/>
        </p:nvSpPr>
        <p:spPr>
          <a:xfrm>
            <a:off x="565194" y="1782295"/>
            <a:ext cx="5530806" cy="3271714"/>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solidFill>
                  <a:schemeClr val="bg1"/>
                </a:solidFill>
              </a:rPr>
              <a:t>This e-learning is required for Applicants to complete in order to opt-in to F-ROC. </a:t>
            </a:r>
          </a:p>
          <a:p>
            <a:r>
              <a:rPr lang="en-US" sz="1800" b="1">
                <a:solidFill>
                  <a:schemeClr val="bg1"/>
                </a:solidFill>
              </a:rPr>
              <a:t>Description: </a:t>
            </a:r>
            <a:r>
              <a:rPr lang="en-US" sz="1800">
                <a:solidFill>
                  <a:schemeClr val="bg1"/>
                </a:solidFill>
              </a:rPr>
              <a:t>Provides an overview of the F-ROC opt-in process, including requirements and steps. Participants will be provided with guidance on how to successfully opt-in to F-ROC. </a:t>
            </a:r>
          </a:p>
          <a:p>
            <a:r>
              <a:rPr lang="en-US" sz="1800" b="1">
                <a:solidFill>
                  <a:schemeClr val="bg1"/>
                </a:solidFill>
              </a:rPr>
              <a:t>Duration: </a:t>
            </a:r>
            <a:r>
              <a:rPr lang="en-US" sz="1800">
                <a:solidFill>
                  <a:schemeClr val="bg1"/>
                </a:solidFill>
              </a:rPr>
              <a:t>1 hour</a:t>
            </a:r>
          </a:p>
          <a:p>
            <a:r>
              <a:rPr lang="en-US" sz="1800" b="1">
                <a:solidFill>
                  <a:schemeClr val="bg1"/>
                </a:solidFill>
              </a:rPr>
              <a:t>Target Audience: </a:t>
            </a:r>
            <a:r>
              <a:rPr lang="en-US" sz="1800">
                <a:solidFill>
                  <a:schemeClr val="bg1"/>
                </a:solidFill>
              </a:rPr>
              <a:t>Appropriate, authorized Public Assistance Representatives</a:t>
            </a:r>
          </a:p>
          <a:p>
            <a:r>
              <a:rPr lang="en-US" sz="1800" b="1">
                <a:solidFill>
                  <a:schemeClr val="bg1"/>
                </a:solidFill>
              </a:rPr>
              <a:t>Availability</a:t>
            </a:r>
            <a:r>
              <a:rPr lang="en-US" sz="1800">
                <a:solidFill>
                  <a:schemeClr val="bg1"/>
                </a:solidFill>
              </a:rPr>
              <a:t>: Mid-June 2023</a:t>
            </a:r>
          </a:p>
        </p:txBody>
      </p:sp>
      <p:pic>
        <p:nvPicPr>
          <p:cNvPr id="13" name="Picture 12">
            <a:extLst>
              <a:ext uri="{FF2B5EF4-FFF2-40B4-BE49-F238E27FC236}">
                <a16:creationId xmlns:a16="http://schemas.microsoft.com/office/drawing/2014/main" id="{8112755F-7F34-9133-0117-11392B3933CC}"/>
              </a:ext>
            </a:extLst>
          </p:cNvPr>
          <p:cNvPicPr>
            <a:picLocks noChangeAspect="1"/>
          </p:cNvPicPr>
          <p:nvPr/>
        </p:nvPicPr>
        <p:blipFill rotWithShape="1">
          <a:blip r:embed="rId3"/>
          <a:srcRect b="3890"/>
          <a:stretch/>
        </p:blipFill>
        <p:spPr>
          <a:xfrm>
            <a:off x="0" y="1158257"/>
            <a:ext cx="12208650" cy="5691792"/>
          </a:xfrm>
          <a:prstGeom prst="rect">
            <a:avLst/>
          </a:prstGeom>
        </p:spPr>
      </p:pic>
      <p:sp>
        <p:nvSpPr>
          <p:cNvPr id="18" name="Rectangle 17">
            <a:extLst>
              <a:ext uri="{FF2B5EF4-FFF2-40B4-BE49-F238E27FC236}">
                <a16:creationId xmlns:a16="http://schemas.microsoft.com/office/drawing/2014/main" id="{89AB0A37-889D-0379-95FC-F992860D4F72}"/>
              </a:ext>
            </a:extLst>
          </p:cNvPr>
          <p:cNvSpPr/>
          <p:nvPr/>
        </p:nvSpPr>
        <p:spPr>
          <a:xfrm>
            <a:off x="1598213" y="1817981"/>
            <a:ext cx="7832034" cy="4158586"/>
          </a:xfrm>
          <a:prstGeom prst="rect">
            <a:avLst/>
          </a:prstGeom>
          <a:solidFill>
            <a:schemeClr val="bg1"/>
          </a:solidFill>
          <a:ln w="28575">
            <a:solidFill>
              <a:srgbClr val="0910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7" name="Content Placeholder 2">
            <a:extLst>
              <a:ext uri="{FF2B5EF4-FFF2-40B4-BE49-F238E27FC236}">
                <a16:creationId xmlns:a16="http://schemas.microsoft.com/office/drawing/2014/main" id="{920E97CF-2934-7977-28B0-F35C4E367BAE}"/>
              </a:ext>
            </a:extLst>
          </p:cNvPr>
          <p:cNvSpPr txBox="1">
            <a:spLocks/>
          </p:cNvSpPr>
          <p:nvPr/>
        </p:nvSpPr>
        <p:spPr>
          <a:xfrm>
            <a:off x="1965948" y="2099381"/>
            <a:ext cx="7273468" cy="3415907"/>
          </a:xfrm>
          <a:prstGeom prst="rect">
            <a:avLst/>
          </a:prstGeom>
        </p:spPr>
        <p:txBody>
          <a:bodyPr lIns="91440" tIns="45720" rIns="91440" bIns="45720" anchor="t">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a:solidFill>
                  <a:srgbClr val="00338D"/>
                </a:solidFill>
                <a:latin typeface="+mn-lt"/>
                <a:cs typeface="Arial"/>
              </a:rPr>
              <a:t>This eLearning is required for Applicants to complete in order to opt-in to F-ROC. </a:t>
            </a:r>
            <a:endParaRPr lang="en-US" sz="2400">
              <a:solidFill>
                <a:srgbClr val="00338D"/>
              </a:solidFill>
              <a:latin typeface="+mn-lt"/>
            </a:endParaRPr>
          </a:p>
          <a:p>
            <a:r>
              <a:rPr lang="en-US" sz="2400" b="1">
                <a:solidFill>
                  <a:srgbClr val="00338D"/>
                </a:solidFill>
                <a:latin typeface="+mn-lt"/>
                <a:cs typeface="Arial"/>
              </a:rPr>
              <a:t>Description: </a:t>
            </a:r>
            <a:r>
              <a:rPr lang="en-US" sz="2400">
                <a:solidFill>
                  <a:srgbClr val="00338D"/>
                </a:solidFill>
                <a:latin typeface="+mn-lt"/>
                <a:cs typeface="Arial"/>
              </a:rPr>
              <a:t>Provides an overview of the F-ROC opt-in process, including requirements and steps. Participants will be provided with guidance on how to successfully opt-in to F-ROC. </a:t>
            </a:r>
            <a:endParaRPr lang="en-US">
              <a:latin typeface="+mn-lt"/>
            </a:endParaRPr>
          </a:p>
          <a:p>
            <a:r>
              <a:rPr lang="en-US" sz="2400" b="1">
                <a:solidFill>
                  <a:srgbClr val="00338D"/>
                </a:solidFill>
                <a:latin typeface="+mn-lt"/>
                <a:cs typeface="Arial"/>
              </a:rPr>
              <a:t>Duration: </a:t>
            </a:r>
            <a:r>
              <a:rPr lang="en-US" sz="2400">
                <a:solidFill>
                  <a:srgbClr val="00338D"/>
                </a:solidFill>
                <a:latin typeface="+mn-lt"/>
                <a:cs typeface="Arial"/>
              </a:rPr>
              <a:t>1 hour</a:t>
            </a:r>
          </a:p>
          <a:p>
            <a:r>
              <a:rPr lang="en-US" sz="2400" b="1">
                <a:solidFill>
                  <a:srgbClr val="00338D"/>
                </a:solidFill>
                <a:latin typeface="+mn-lt"/>
                <a:cs typeface="Arial"/>
              </a:rPr>
              <a:t>Target Audience: </a:t>
            </a:r>
            <a:r>
              <a:rPr lang="en-US" sz="2400">
                <a:solidFill>
                  <a:srgbClr val="00338D"/>
                </a:solidFill>
                <a:latin typeface="+mn-lt"/>
                <a:cs typeface="Arial"/>
              </a:rPr>
              <a:t>Appropriate, authorized Public Assistance Representatives</a:t>
            </a:r>
          </a:p>
          <a:p>
            <a:r>
              <a:rPr lang="en-US" sz="2400" b="1">
                <a:solidFill>
                  <a:srgbClr val="00338D"/>
                </a:solidFill>
                <a:latin typeface="+mn-lt"/>
                <a:cs typeface="Arial"/>
              </a:rPr>
              <a:t>Availability</a:t>
            </a:r>
            <a:r>
              <a:rPr lang="en-US" sz="2400">
                <a:solidFill>
                  <a:srgbClr val="00338D"/>
                </a:solidFill>
                <a:latin typeface="+mn-lt"/>
                <a:cs typeface="Arial"/>
              </a:rPr>
              <a:t>: June 16, 2023</a:t>
            </a:r>
          </a:p>
        </p:txBody>
      </p:sp>
    </p:spTree>
    <p:custDataLst>
      <p:tags r:id="rId1"/>
    </p:custDataLst>
    <p:extLst>
      <p:ext uri="{BB962C8B-B14F-4D97-AF65-F5344CB8AC3E}">
        <p14:creationId xmlns:p14="http://schemas.microsoft.com/office/powerpoint/2010/main" val="35824284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6CB8937-80A2-4EAB-FAB4-43A5D2CAAACD}"/>
              </a:ext>
            </a:extLst>
          </p:cNvPr>
          <p:cNvSpPr/>
          <p:nvPr/>
        </p:nvSpPr>
        <p:spPr>
          <a:xfrm>
            <a:off x="8878" y="1166604"/>
            <a:ext cx="12183122" cy="569139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AD2ECCA3-03D9-E235-DA4D-24F08577C104}"/>
              </a:ext>
            </a:extLst>
          </p:cNvPr>
          <p:cNvSpPr>
            <a:spLocks noGrp="1"/>
          </p:cNvSpPr>
          <p:nvPr>
            <p:ph type="title"/>
          </p:nvPr>
        </p:nvSpPr>
        <p:spPr/>
        <p:txBody>
          <a:bodyPr/>
          <a:lstStyle/>
          <a:p>
            <a:r>
              <a:rPr lang="en-US">
                <a:latin typeface="+mn-lt"/>
              </a:rPr>
              <a:t>F-ROC Applicant Process</a:t>
            </a:r>
          </a:p>
        </p:txBody>
      </p:sp>
      <p:sp>
        <p:nvSpPr>
          <p:cNvPr id="7" name="Rectangle 6">
            <a:extLst>
              <a:ext uri="{FF2B5EF4-FFF2-40B4-BE49-F238E27FC236}">
                <a16:creationId xmlns:a16="http://schemas.microsoft.com/office/drawing/2014/main" id="{25C30CE7-C5C8-EFD5-D053-584693747171}"/>
              </a:ext>
            </a:extLst>
          </p:cNvPr>
          <p:cNvSpPr/>
          <p:nvPr/>
        </p:nvSpPr>
        <p:spPr>
          <a:xfrm>
            <a:off x="1238008" y="2016578"/>
            <a:ext cx="1912181" cy="3773693"/>
          </a:xfrm>
          <a:prstGeom prst="rect">
            <a:avLst/>
          </a:prstGeom>
          <a:solidFill>
            <a:sysClr val="window" lastClr="FFFFFF"/>
          </a:solidFill>
          <a:ln w="6350" cap="flat" cmpd="sng" algn="ctr">
            <a:solidFill>
              <a:srgbClr val="00338D"/>
            </a:solidFill>
            <a:prstDash val="solid"/>
          </a:ln>
          <a:effectLst/>
        </p:spPr>
        <p:txBody>
          <a:bodyPr lIns="84406" tIns="1941342" rIns="84406" rtlCol="0" anchor="t"/>
          <a:lstStyle/>
          <a:p>
            <a:pPr marL="4397" algn="ctr"/>
            <a:r>
              <a:rPr lang="en-US" sz="2000" b="1">
                <a:solidFill>
                  <a:srgbClr val="00338D"/>
                </a:solidFill>
                <a:cs typeface="Arial" panose="020B0604020202020204" pitchFamily="34" charset="0"/>
              </a:rPr>
              <a:t>Complete Opt-in Course</a:t>
            </a:r>
          </a:p>
        </p:txBody>
      </p:sp>
      <p:sp>
        <p:nvSpPr>
          <p:cNvPr id="8" name="Pentagon 7">
            <a:extLst>
              <a:ext uri="{FF2B5EF4-FFF2-40B4-BE49-F238E27FC236}">
                <a16:creationId xmlns:a16="http://schemas.microsoft.com/office/drawing/2014/main" id="{A6F79AC1-6481-5218-6686-7778CFFC5582}"/>
              </a:ext>
            </a:extLst>
          </p:cNvPr>
          <p:cNvSpPr/>
          <p:nvPr/>
        </p:nvSpPr>
        <p:spPr>
          <a:xfrm>
            <a:off x="1213182" y="2119526"/>
            <a:ext cx="1397821" cy="294439"/>
          </a:xfrm>
          <a:prstGeom prst="homePlate">
            <a:avLst/>
          </a:prstGeom>
          <a:solidFill>
            <a:srgbClr val="00338D"/>
          </a:solidFill>
          <a:ln w="25400" cap="flat" cmpd="sng" algn="ctr">
            <a:solidFill>
              <a:srgbClr val="00338D"/>
            </a:solidFill>
            <a:prstDash val="solid"/>
          </a:ln>
          <a:effectLst/>
        </p:spPr>
        <p:txBody>
          <a:bodyPr rtlCol="0" anchor="ctr"/>
          <a:lstStyle/>
          <a:p>
            <a:pPr algn="ctr" defTabSz="844083">
              <a:defRPr/>
            </a:pPr>
            <a:r>
              <a:rPr lang="en-US" sz="1846" b="1" kern="0">
                <a:solidFill>
                  <a:sysClr val="window" lastClr="FFFFFF"/>
                </a:solidFill>
                <a:cs typeface="Arial" pitchFamily="34" charset="0"/>
              </a:rPr>
              <a:t>1</a:t>
            </a:r>
          </a:p>
        </p:txBody>
      </p:sp>
      <p:sp>
        <p:nvSpPr>
          <p:cNvPr id="11" name="Rectangle 10">
            <a:extLst>
              <a:ext uri="{FF2B5EF4-FFF2-40B4-BE49-F238E27FC236}">
                <a16:creationId xmlns:a16="http://schemas.microsoft.com/office/drawing/2014/main" id="{85C03193-E826-C1FC-7A27-53EC3951225F}"/>
              </a:ext>
            </a:extLst>
          </p:cNvPr>
          <p:cNvSpPr/>
          <p:nvPr/>
        </p:nvSpPr>
        <p:spPr>
          <a:xfrm>
            <a:off x="3216914" y="2021025"/>
            <a:ext cx="1912181" cy="3773693"/>
          </a:xfrm>
          <a:prstGeom prst="rect">
            <a:avLst/>
          </a:prstGeom>
          <a:solidFill>
            <a:sysClr val="window" lastClr="FFFFFF"/>
          </a:solidFill>
          <a:ln w="6350" cap="flat" cmpd="sng" algn="ctr">
            <a:solidFill>
              <a:srgbClr val="005EB8"/>
            </a:solidFill>
            <a:prstDash val="solid"/>
          </a:ln>
          <a:effectLst/>
        </p:spPr>
        <p:txBody>
          <a:bodyPr lIns="84406" tIns="1941342" rIns="84406" rtlCol="0" anchor="t"/>
          <a:lstStyle/>
          <a:p>
            <a:pPr marL="4397" algn="ctr"/>
            <a:r>
              <a:rPr lang="en-US" sz="2000" b="1">
                <a:solidFill>
                  <a:srgbClr val="005EB8"/>
                </a:solidFill>
                <a:cs typeface="Arial" panose="020B0604020202020204" pitchFamily="34" charset="0"/>
              </a:rPr>
              <a:t>Sign Participation Request Form </a:t>
            </a:r>
          </a:p>
        </p:txBody>
      </p:sp>
      <p:sp>
        <p:nvSpPr>
          <p:cNvPr id="12" name="Pentagon 11">
            <a:extLst>
              <a:ext uri="{FF2B5EF4-FFF2-40B4-BE49-F238E27FC236}">
                <a16:creationId xmlns:a16="http://schemas.microsoft.com/office/drawing/2014/main" id="{DEA40AF6-C61D-49A3-0DC7-7EE8DA585431}"/>
              </a:ext>
            </a:extLst>
          </p:cNvPr>
          <p:cNvSpPr/>
          <p:nvPr/>
        </p:nvSpPr>
        <p:spPr>
          <a:xfrm>
            <a:off x="3184292" y="2119526"/>
            <a:ext cx="1397821" cy="294438"/>
          </a:xfrm>
          <a:prstGeom prst="homePlate">
            <a:avLst/>
          </a:prstGeom>
          <a:solidFill>
            <a:srgbClr val="005EB8"/>
          </a:solidFill>
          <a:ln w="25400" cap="flat" cmpd="sng" algn="ctr">
            <a:noFill/>
            <a:prstDash val="solid"/>
          </a:ln>
          <a:effectLst/>
        </p:spPr>
        <p:txBody>
          <a:bodyPr rtlCol="0" anchor="ctr"/>
          <a:lstStyle/>
          <a:p>
            <a:pPr algn="ctr" defTabSz="844083">
              <a:defRPr/>
            </a:pPr>
            <a:r>
              <a:rPr lang="en-US" sz="1846" b="1" kern="0">
                <a:solidFill>
                  <a:sysClr val="window" lastClr="FFFFFF"/>
                </a:solidFill>
                <a:cs typeface="Arial" pitchFamily="34" charset="0"/>
              </a:rPr>
              <a:t>2</a:t>
            </a:r>
          </a:p>
        </p:txBody>
      </p:sp>
      <p:sp>
        <p:nvSpPr>
          <p:cNvPr id="14" name="Rectangle 13">
            <a:extLst>
              <a:ext uri="{FF2B5EF4-FFF2-40B4-BE49-F238E27FC236}">
                <a16:creationId xmlns:a16="http://schemas.microsoft.com/office/drawing/2014/main" id="{7D5159CA-4E9A-8FE6-3EEF-FD4FA095A2BB}"/>
              </a:ext>
            </a:extLst>
          </p:cNvPr>
          <p:cNvSpPr/>
          <p:nvPr/>
        </p:nvSpPr>
        <p:spPr>
          <a:xfrm>
            <a:off x="5198164" y="2016578"/>
            <a:ext cx="1912181" cy="3773693"/>
          </a:xfrm>
          <a:prstGeom prst="rect">
            <a:avLst/>
          </a:prstGeom>
          <a:solidFill>
            <a:sysClr val="window" lastClr="FFFFFF"/>
          </a:solidFill>
          <a:ln w="6350" cap="flat" cmpd="sng" algn="ctr">
            <a:solidFill>
              <a:srgbClr val="0091DA"/>
            </a:solidFill>
            <a:prstDash val="solid"/>
          </a:ln>
          <a:effectLst/>
        </p:spPr>
        <p:txBody>
          <a:bodyPr lIns="84406" tIns="1941342" rIns="84406" rtlCol="0" anchor="t"/>
          <a:lstStyle/>
          <a:p>
            <a:pPr marL="4397" algn="ctr"/>
            <a:r>
              <a:rPr lang="en-US" sz="2000" b="1">
                <a:solidFill>
                  <a:srgbClr val="0091DA"/>
                </a:solidFill>
                <a:cs typeface="Arial" panose="020B0604020202020204" pitchFamily="34" charset="0"/>
              </a:rPr>
              <a:t>Complete Disaster Readiness Assessment</a:t>
            </a:r>
          </a:p>
        </p:txBody>
      </p:sp>
      <p:sp>
        <p:nvSpPr>
          <p:cNvPr id="15" name="Pentagon 14">
            <a:extLst>
              <a:ext uri="{FF2B5EF4-FFF2-40B4-BE49-F238E27FC236}">
                <a16:creationId xmlns:a16="http://schemas.microsoft.com/office/drawing/2014/main" id="{2F25347C-B6B3-93AC-E1A8-25D3E8FE4DDA}"/>
              </a:ext>
            </a:extLst>
          </p:cNvPr>
          <p:cNvSpPr/>
          <p:nvPr/>
        </p:nvSpPr>
        <p:spPr>
          <a:xfrm>
            <a:off x="5166022" y="2119526"/>
            <a:ext cx="1397821" cy="294438"/>
          </a:xfrm>
          <a:prstGeom prst="homePlate">
            <a:avLst/>
          </a:prstGeom>
          <a:solidFill>
            <a:srgbClr val="0091DA"/>
          </a:solidFill>
          <a:ln w="25400" cap="flat" cmpd="sng" algn="ctr">
            <a:noFill/>
            <a:prstDash val="solid"/>
          </a:ln>
          <a:effectLst/>
        </p:spPr>
        <p:txBody>
          <a:bodyPr rtlCol="0" anchor="ctr"/>
          <a:lstStyle/>
          <a:p>
            <a:pPr algn="ctr" defTabSz="844083">
              <a:defRPr/>
            </a:pPr>
            <a:r>
              <a:rPr lang="en-US" sz="1846" b="1" kern="0">
                <a:solidFill>
                  <a:sysClr val="window" lastClr="FFFFFF"/>
                </a:solidFill>
                <a:cs typeface="Arial" pitchFamily="34" charset="0"/>
              </a:rPr>
              <a:t>3</a:t>
            </a:r>
          </a:p>
        </p:txBody>
      </p:sp>
      <p:sp>
        <p:nvSpPr>
          <p:cNvPr id="17" name="Rectangle 16">
            <a:extLst>
              <a:ext uri="{FF2B5EF4-FFF2-40B4-BE49-F238E27FC236}">
                <a16:creationId xmlns:a16="http://schemas.microsoft.com/office/drawing/2014/main" id="{F0C1E350-F1CF-B835-1256-FD3AB2931220}"/>
              </a:ext>
            </a:extLst>
          </p:cNvPr>
          <p:cNvSpPr/>
          <p:nvPr/>
        </p:nvSpPr>
        <p:spPr>
          <a:xfrm>
            <a:off x="7171732" y="2016578"/>
            <a:ext cx="1912181" cy="3773693"/>
          </a:xfrm>
          <a:prstGeom prst="rect">
            <a:avLst/>
          </a:prstGeom>
          <a:solidFill>
            <a:sysClr val="window" lastClr="FFFFFF"/>
          </a:solidFill>
          <a:ln w="6350" cap="flat" cmpd="sng" algn="ctr">
            <a:solidFill>
              <a:srgbClr val="483698"/>
            </a:solidFill>
            <a:prstDash val="solid"/>
          </a:ln>
          <a:effectLst/>
        </p:spPr>
        <p:txBody>
          <a:bodyPr lIns="84406" tIns="1941342" rIns="84406" rtlCol="0" anchor="t"/>
          <a:lstStyle/>
          <a:p>
            <a:pPr marL="4397" algn="ctr"/>
            <a:r>
              <a:rPr lang="en-US" sz="2000" b="1">
                <a:solidFill>
                  <a:srgbClr val="483698"/>
                </a:solidFill>
                <a:cs typeface="Arial" panose="020B0604020202020204" pitchFamily="34" charset="0"/>
              </a:rPr>
              <a:t>Create Customized Abatement Plan (based on your options)</a:t>
            </a:r>
          </a:p>
        </p:txBody>
      </p:sp>
      <p:sp>
        <p:nvSpPr>
          <p:cNvPr id="18" name="Pentagon 17">
            <a:extLst>
              <a:ext uri="{FF2B5EF4-FFF2-40B4-BE49-F238E27FC236}">
                <a16:creationId xmlns:a16="http://schemas.microsoft.com/office/drawing/2014/main" id="{814A4920-3EE0-7729-71BA-266602FCDC35}"/>
              </a:ext>
            </a:extLst>
          </p:cNvPr>
          <p:cNvSpPr/>
          <p:nvPr/>
        </p:nvSpPr>
        <p:spPr>
          <a:xfrm>
            <a:off x="7142487" y="2119526"/>
            <a:ext cx="1397821" cy="294438"/>
          </a:xfrm>
          <a:prstGeom prst="homePlate">
            <a:avLst/>
          </a:prstGeom>
          <a:solidFill>
            <a:srgbClr val="483698"/>
          </a:solidFill>
          <a:ln w="25400" cap="flat" cmpd="sng" algn="ctr">
            <a:noFill/>
            <a:prstDash val="solid"/>
          </a:ln>
          <a:effectLst/>
        </p:spPr>
        <p:txBody>
          <a:bodyPr rtlCol="0" anchor="ctr"/>
          <a:lstStyle/>
          <a:p>
            <a:pPr algn="ctr" defTabSz="844083">
              <a:defRPr/>
            </a:pPr>
            <a:r>
              <a:rPr lang="en-US" sz="1846" b="1" kern="0">
                <a:solidFill>
                  <a:sysClr val="window" lastClr="FFFFFF"/>
                </a:solidFill>
                <a:cs typeface="Arial" pitchFamily="34" charset="0"/>
              </a:rPr>
              <a:t>4</a:t>
            </a:r>
          </a:p>
        </p:txBody>
      </p:sp>
      <p:sp>
        <p:nvSpPr>
          <p:cNvPr id="20" name="Rectangle 19">
            <a:extLst>
              <a:ext uri="{FF2B5EF4-FFF2-40B4-BE49-F238E27FC236}">
                <a16:creationId xmlns:a16="http://schemas.microsoft.com/office/drawing/2014/main" id="{26138A86-4184-02A1-42CA-B26D25A8DEC8}"/>
              </a:ext>
            </a:extLst>
          </p:cNvPr>
          <p:cNvSpPr/>
          <p:nvPr/>
        </p:nvSpPr>
        <p:spPr>
          <a:xfrm>
            <a:off x="9152983" y="2019221"/>
            <a:ext cx="1913915" cy="3773693"/>
          </a:xfrm>
          <a:prstGeom prst="rect">
            <a:avLst/>
          </a:prstGeom>
          <a:solidFill>
            <a:sysClr val="window" lastClr="FFFFFF"/>
          </a:solidFill>
          <a:ln w="6350" cap="flat" cmpd="sng" algn="ctr">
            <a:solidFill>
              <a:srgbClr val="470A68"/>
            </a:solidFill>
            <a:prstDash val="solid"/>
          </a:ln>
          <a:effectLst/>
        </p:spPr>
        <p:txBody>
          <a:bodyPr lIns="84406" tIns="1941342" rIns="84406" rtlCol="0" anchor="t"/>
          <a:lstStyle/>
          <a:p>
            <a:pPr marL="4397" algn="ctr"/>
            <a:r>
              <a:rPr lang="en-US" sz="2000" b="1">
                <a:solidFill>
                  <a:srgbClr val="470A68"/>
                </a:solidFill>
                <a:cs typeface="Arial" panose="020B0604020202020204" pitchFamily="34" charset="0"/>
              </a:rPr>
              <a:t>Complete and Submit Post Disaster Questionnaire</a:t>
            </a:r>
          </a:p>
        </p:txBody>
      </p:sp>
      <p:sp>
        <p:nvSpPr>
          <p:cNvPr id="21" name="Pentagon 20">
            <a:extLst>
              <a:ext uri="{FF2B5EF4-FFF2-40B4-BE49-F238E27FC236}">
                <a16:creationId xmlns:a16="http://schemas.microsoft.com/office/drawing/2014/main" id="{F890A4B6-17D0-DADD-B1A2-6432B9B20335}"/>
              </a:ext>
            </a:extLst>
          </p:cNvPr>
          <p:cNvSpPr/>
          <p:nvPr/>
        </p:nvSpPr>
        <p:spPr>
          <a:xfrm>
            <a:off x="9128489" y="2119526"/>
            <a:ext cx="1397821" cy="294438"/>
          </a:xfrm>
          <a:prstGeom prst="homePlate">
            <a:avLst/>
          </a:prstGeom>
          <a:solidFill>
            <a:srgbClr val="470A68"/>
          </a:solidFill>
          <a:ln w="25400" cap="flat" cmpd="sng" algn="ctr">
            <a:noFill/>
            <a:prstDash val="solid"/>
          </a:ln>
          <a:effectLst/>
        </p:spPr>
        <p:txBody>
          <a:bodyPr rtlCol="0" anchor="ctr"/>
          <a:lstStyle/>
          <a:p>
            <a:pPr algn="ctr" defTabSz="844083">
              <a:defRPr/>
            </a:pPr>
            <a:r>
              <a:rPr lang="en-US" sz="1846" b="1" kern="0">
                <a:solidFill>
                  <a:sysClr val="window" lastClr="FFFFFF"/>
                </a:solidFill>
                <a:cs typeface="Arial" pitchFamily="34" charset="0"/>
              </a:rPr>
              <a:t>5</a:t>
            </a:r>
          </a:p>
        </p:txBody>
      </p:sp>
      <p:grpSp>
        <p:nvGrpSpPr>
          <p:cNvPr id="438" name="Group 437">
            <a:extLst>
              <a:ext uri="{FF2B5EF4-FFF2-40B4-BE49-F238E27FC236}">
                <a16:creationId xmlns:a16="http://schemas.microsoft.com/office/drawing/2014/main" id="{FD30B32F-BD69-8F16-1F24-D5E6D2DB961D}"/>
              </a:ext>
            </a:extLst>
          </p:cNvPr>
          <p:cNvGrpSpPr/>
          <p:nvPr/>
        </p:nvGrpSpPr>
        <p:grpSpPr>
          <a:xfrm>
            <a:off x="3502725" y="2594832"/>
            <a:ext cx="1279601" cy="1141859"/>
            <a:chOff x="503700" y="2768118"/>
            <a:chExt cx="1015408" cy="946810"/>
          </a:xfrm>
        </p:grpSpPr>
        <p:sp>
          <p:nvSpPr>
            <p:cNvPr id="368" name="Freeform 23">
              <a:extLst>
                <a:ext uri="{FF2B5EF4-FFF2-40B4-BE49-F238E27FC236}">
                  <a16:creationId xmlns:a16="http://schemas.microsoft.com/office/drawing/2014/main" id="{1CFC8EEE-8A93-24E0-102F-4EE63D14096E}"/>
                </a:ext>
              </a:extLst>
            </p:cNvPr>
            <p:cNvSpPr>
              <a:spLocks/>
            </p:cNvSpPr>
            <p:nvPr/>
          </p:nvSpPr>
          <p:spPr bwMode="auto">
            <a:xfrm>
              <a:off x="503700" y="2768118"/>
              <a:ext cx="1015408" cy="946810"/>
            </a:xfrm>
            <a:custGeom>
              <a:avLst/>
              <a:gdLst>
                <a:gd name="T0" fmla="*/ 332 w 701"/>
                <a:gd name="T1" fmla="*/ 701 h 701"/>
                <a:gd name="T2" fmla="*/ 280 w 701"/>
                <a:gd name="T3" fmla="*/ 694 h 701"/>
                <a:gd name="T4" fmla="*/ 230 w 701"/>
                <a:gd name="T5" fmla="*/ 680 h 701"/>
                <a:gd name="T6" fmla="*/ 184 w 701"/>
                <a:gd name="T7" fmla="*/ 659 h 701"/>
                <a:gd name="T8" fmla="*/ 141 w 701"/>
                <a:gd name="T9" fmla="*/ 631 h 701"/>
                <a:gd name="T10" fmla="*/ 103 w 701"/>
                <a:gd name="T11" fmla="*/ 598 h 701"/>
                <a:gd name="T12" fmla="*/ 69 w 701"/>
                <a:gd name="T13" fmla="*/ 560 h 701"/>
                <a:gd name="T14" fmla="*/ 42 w 701"/>
                <a:gd name="T15" fmla="*/ 518 h 701"/>
                <a:gd name="T16" fmla="*/ 21 w 701"/>
                <a:gd name="T17" fmla="*/ 471 h 701"/>
                <a:gd name="T18" fmla="*/ 8 w 701"/>
                <a:gd name="T19" fmla="*/ 421 h 701"/>
                <a:gd name="T20" fmla="*/ 0 w 701"/>
                <a:gd name="T21" fmla="*/ 369 h 701"/>
                <a:gd name="T22" fmla="*/ 0 w 701"/>
                <a:gd name="T23" fmla="*/ 333 h 701"/>
                <a:gd name="T24" fmla="*/ 8 w 701"/>
                <a:gd name="T25" fmla="*/ 280 h 701"/>
                <a:gd name="T26" fmla="*/ 21 w 701"/>
                <a:gd name="T27" fmla="*/ 231 h 701"/>
                <a:gd name="T28" fmla="*/ 42 w 701"/>
                <a:gd name="T29" fmla="*/ 184 h 701"/>
                <a:gd name="T30" fmla="*/ 69 w 701"/>
                <a:gd name="T31" fmla="*/ 141 h 701"/>
                <a:gd name="T32" fmla="*/ 103 w 701"/>
                <a:gd name="T33" fmla="*/ 102 h 701"/>
                <a:gd name="T34" fmla="*/ 141 w 701"/>
                <a:gd name="T35" fmla="*/ 70 h 701"/>
                <a:gd name="T36" fmla="*/ 184 w 701"/>
                <a:gd name="T37" fmla="*/ 42 h 701"/>
                <a:gd name="T38" fmla="*/ 230 w 701"/>
                <a:gd name="T39" fmla="*/ 21 h 701"/>
                <a:gd name="T40" fmla="*/ 280 w 701"/>
                <a:gd name="T41" fmla="*/ 7 h 701"/>
                <a:gd name="T42" fmla="*/ 332 w 701"/>
                <a:gd name="T43" fmla="*/ 0 h 701"/>
                <a:gd name="T44" fmla="*/ 369 w 701"/>
                <a:gd name="T45" fmla="*/ 0 h 701"/>
                <a:gd name="T46" fmla="*/ 421 w 701"/>
                <a:gd name="T47" fmla="*/ 7 h 701"/>
                <a:gd name="T48" fmla="*/ 472 w 701"/>
                <a:gd name="T49" fmla="*/ 21 h 701"/>
                <a:gd name="T50" fmla="*/ 517 w 701"/>
                <a:gd name="T51" fmla="*/ 42 h 701"/>
                <a:gd name="T52" fmla="*/ 560 w 701"/>
                <a:gd name="T53" fmla="*/ 70 h 701"/>
                <a:gd name="T54" fmla="*/ 599 w 701"/>
                <a:gd name="T55" fmla="*/ 102 h 701"/>
                <a:gd name="T56" fmla="*/ 632 w 701"/>
                <a:gd name="T57" fmla="*/ 141 h 701"/>
                <a:gd name="T58" fmla="*/ 659 w 701"/>
                <a:gd name="T59" fmla="*/ 184 h 701"/>
                <a:gd name="T60" fmla="*/ 680 w 701"/>
                <a:gd name="T61" fmla="*/ 231 h 701"/>
                <a:gd name="T62" fmla="*/ 694 w 701"/>
                <a:gd name="T63" fmla="*/ 280 h 701"/>
                <a:gd name="T64" fmla="*/ 701 w 701"/>
                <a:gd name="T65" fmla="*/ 333 h 701"/>
                <a:gd name="T66" fmla="*/ 701 w 701"/>
                <a:gd name="T67" fmla="*/ 369 h 701"/>
                <a:gd name="T68" fmla="*/ 694 w 701"/>
                <a:gd name="T69" fmla="*/ 421 h 701"/>
                <a:gd name="T70" fmla="*/ 680 w 701"/>
                <a:gd name="T71" fmla="*/ 471 h 701"/>
                <a:gd name="T72" fmla="*/ 659 w 701"/>
                <a:gd name="T73" fmla="*/ 518 h 701"/>
                <a:gd name="T74" fmla="*/ 632 w 701"/>
                <a:gd name="T75" fmla="*/ 560 h 701"/>
                <a:gd name="T76" fmla="*/ 599 w 701"/>
                <a:gd name="T77" fmla="*/ 598 h 701"/>
                <a:gd name="T78" fmla="*/ 560 w 701"/>
                <a:gd name="T79" fmla="*/ 631 h 701"/>
                <a:gd name="T80" fmla="*/ 517 w 701"/>
                <a:gd name="T81" fmla="*/ 659 h 701"/>
                <a:gd name="T82" fmla="*/ 472 w 701"/>
                <a:gd name="T83" fmla="*/ 680 h 701"/>
                <a:gd name="T84" fmla="*/ 421 w 701"/>
                <a:gd name="T85" fmla="*/ 694 h 701"/>
                <a:gd name="T86" fmla="*/ 369 w 701"/>
                <a:gd name="T87" fmla="*/ 701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1">
                  <a:moveTo>
                    <a:pt x="351" y="701"/>
                  </a:moveTo>
                  <a:lnTo>
                    <a:pt x="351" y="701"/>
                  </a:lnTo>
                  <a:lnTo>
                    <a:pt x="332" y="701"/>
                  </a:lnTo>
                  <a:lnTo>
                    <a:pt x="315" y="699"/>
                  </a:lnTo>
                  <a:lnTo>
                    <a:pt x="298" y="697"/>
                  </a:lnTo>
                  <a:lnTo>
                    <a:pt x="280" y="694"/>
                  </a:lnTo>
                  <a:lnTo>
                    <a:pt x="263" y="689"/>
                  </a:lnTo>
                  <a:lnTo>
                    <a:pt x="247" y="686"/>
                  </a:lnTo>
                  <a:lnTo>
                    <a:pt x="230" y="680"/>
                  </a:lnTo>
                  <a:lnTo>
                    <a:pt x="214" y="673"/>
                  </a:lnTo>
                  <a:lnTo>
                    <a:pt x="199" y="666"/>
                  </a:lnTo>
                  <a:lnTo>
                    <a:pt x="184" y="659"/>
                  </a:lnTo>
                  <a:lnTo>
                    <a:pt x="169" y="650"/>
                  </a:lnTo>
                  <a:lnTo>
                    <a:pt x="155" y="641"/>
                  </a:lnTo>
                  <a:lnTo>
                    <a:pt x="141" y="631"/>
                  </a:lnTo>
                  <a:lnTo>
                    <a:pt x="127" y="620"/>
                  </a:lnTo>
                  <a:lnTo>
                    <a:pt x="115" y="611"/>
                  </a:lnTo>
                  <a:lnTo>
                    <a:pt x="103" y="598"/>
                  </a:lnTo>
                  <a:lnTo>
                    <a:pt x="92" y="586"/>
                  </a:lnTo>
                  <a:lnTo>
                    <a:pt x="81" y="573"/>
                  </a:lnTo>
                  <a:lnTo>
                    <a:pt x="69" y="560"/>
                  </a:lnTo>
                  <a:lnTo>
                    <a:pt x="60" y="546"/>
                  </a:lnTo>
                  <a:lnTo>
                    <a:pt x="51" y="533"/>
                  </a:lnTo>
                  <a:lnTo>
                    <a:pt x="42" y="518"/>
                  </a:lnTo>
                  <a:lnTo>
                    <a:pt x="35" y="502"/>
                  </a:lnTo>
                  <a:lnTo>
                    <a:pt x="28" y="487"/>
                  </a:lnTo>
                  <a:lnTo>
                    <a:pt x="21" y="471"/>
                  </a:lnTo>
                  <a:lnTo>
                    <a:pt x="16" y="455"/>
                  </a:lnTo>
                  <a:lnTo>
                    <a:pt x="11" y="438"/>
                  </a:lnTo>
                  <a:lnTo>
                    <a:pt x="8" y="421"/>
                  </a:lnTo>
                  <a:lnTo>
                    <a:pt x="4" y="403"/>
                  </a:lnTo>
                  <a:lnTo>
                    <a:pt x="2" y="386"/>
                  </a:lnTo>
                  <a:lnTo>
                    <a:pt x="0" y="369"/>
                  </a:lnTo>
                  <a:lnTo>
                    <a:pt x="0" y="350"/>
                  </a:lnTo>
                  <a:lnTo>
                    <a:pt x="0" y="350"/>
                  </a:lnTo>
                  <a:lnTo>
                    <a:pt x="0" y="333"/>
                  </a:lnTo>
                  <a:lnTo>
                    <a:pt x="2" y="314"/>
                  </a:lnTo>
                  <a:lnTo>
                    <a:pt x="4" y="297"/>
                  </a:lnTo>
                  <a:lnTo>
                    <a:pt x="8" y="280"/>
                  </a:lnTo>
                  <a:lnTo>
                    <a:pt x="11" y="263"/>
                  </a:lnTo>
                  <a:lnTo>
                    <a:pt x="16" y="247"/>
                  </a:lnTo>
                  <a:lnTo>
                    <a:pt x="21" y="231"/>
                  </a:lnTo>
                  <a:lnTo>
                    <a:pt x="28" y="215"/>
                  </a:lnTo>
                  <a:lnTo>
                    <a:pt x="35" y="198"/>
                  </a:lnTo>
                  <a:lnTo>
                    <a:pt x="42" y="184"/>
                  </a:lnTo>
                  <a:lnTo>
                    <a:pt x="51" y="169"/>
                  </a:lnTo>
                  <a:lnTo>
                    <a:pt x="60" y="154"/>
                  </a:lnTo>
                  <a:lnTo>
                    <a:pt x="69" y="141"/>
                  </a:lnTo>
                  <a:lnTo>
                    <a:pt x="81" y="127"/>
                  </a:lnTo>
                  <a:lnTo>
                    <a:pt x="92" y="115"/>
                  </a:lnTo>
                  <a:lnTo>
                    <a:pt x="103" y="102"/>
                  </a:lnTo>
                  <a:lnTo>
                    <a:pt x="115" y="91"/>
                  </a:lnTo>
                  <a:lnTo>
                    <a:pt x="127" y="80"/>
                  </a:lnTo>
                  <a:lnTo>
                    <a:pt x="141" y="70"/>
                  </a:lnTo>
                  <a:lnTo>
                    <a:pt x="155" y="60"/>
                  </a:lnTo>
                  <a:lnTo>
                    <a:pt x="169" y="50"/>
                  </a:lnTo>
                  <a:lnTo>
                    <a:pt x="184" y="42"/>
                  </a:lnTo>
                  <a:lnTo>
                    <a:pt x="199" y="34"/>
                  </a:lnTo>
                  <a:lnTo>
                    <a:pt x="214" y="27"/>
                  </a:lnTo>
                  <a:lnTo>
                    <a:pt x="230" y="21"/>
                  </a:lnTo>
                  <a:lnTo>
                    <a:pt x="247" y="16"/>
                  </a:lnTo>
                  <a:lnTo>
                    <a:pt x="263" y="11"/>
                  </a:lnTo>
                  <a:lnTo>
                    <a:pt x="280" y="7"/>
                  </a:lnTo>
                  <a:lnTo>
                    <a:pt x="298" y="4"/>
                  </a:lnTo>
                  <a:lnTo>
                    <a:pt x="315" y="2"/>
                  </a:lnTo>
                  <a:lnTo>
                    <a:pt x="332" y="0"/>
                  </a:lnTo>
                  <a:lnTo>
                    <a:pt x="351" y="0"/>
                  </a:lnTo>
                  <a:lnTo>
                    <a:pt x="351" y="0"/>
                  </a:lnTo>
                  <a:lnTo>
                    <a:pt x="369" y="0"/>
                  </a:lnTo>
                  <a:lnTo>
                    <a:pt x="386" y="2"/>
                  </a:lnTo>
                  <a:lnTo>
                    <a:pt x="404" y="4"/>
                  </a:lnTo>
                  <a:lnTo>
                    <a:pt x="421" y="7"/>
                  </a:lnTo>
                  <a:lnTo>
                    <a:pt x="438" y="11"/>
                  </a:lnTo>
                  <a:lnTo>
                    <a:pt x="456" y="16"/>
                  </a:lnTo>
                  <a:lnTo>
                    <a:pt x="472" y="21"/>
                  </a:lnTo>
                  <a:lnTo>
                    <a:pt x="488" y="27"/>
                  </a:lnTo>
                  <a:lnTo>
                    <a:pt x="502" y="34"/>
                  </a:lnTo>
                  <a:lnTo>
                    <a:pt x="517" y="42"/>
                  </a:lnTo>
                  <a:lnTo>
                    <a:pt x="532" y="50"/>
                  </a:lnTo>
                  <a:lnTo>
                    <a:pt x="547" y="60"/>
                  </a:lnTo>
                  <a:lnTo>
                    <a:pt x="560" y="70"/>
                  </a:lnTo>
                  <a:lnTo>
                    <a:pt x="574" y="80"/>
                  </a:lnTo>
                  <a:lnTo>
                    <a:pt x="586" y="91"/>
                  </a:lnTo>
                  <a:lnTo>
                    <a:pt x="599" y="102"/>
                  </a:lnTo>
                  <a:lnTo>
                    <a:pt x="610" y="115"/>
                  </a:lnTo>
                  <a:lnTo>
                    <a:pt x="621" y="127"/>
                  </a:lnTo>
                  <a:lnTo>
                    <a:pt x="632" y="141"/>
                  </a:lnTo>
                  <a:lnTo>
                    <a:pt x="642" y="154"/>
                  </a:lnTo>
                  <a:lnTo>
                    <a:pt x="650" y="169"/>
                  </a:lnTo>
                  <a:lnTo>
                    <a:pt x="659" y="184"/>
                  </a:lnTo>
                  <a:lnTo>
                    <a:pt x="666" y="198"/>
                  </a:lnTo>
                  <a:lnTo>
                    <a:pt x="674" y="215"/>
                  </a:lnTo>
                  <a:lnTo>
                    <a:pt x="680" y="231"/>
                  </a:lnTo>
                  <a:lnTo>
                    <a:pt x="685" y="247"/>
                  </a:lnTo>
                  <a:lnTo>
                    <a:pt x="690" y="263"/>
                  </a:lnTo>
                  <a:lnTo>
                    <a:pt x="694" y="280"/>
                  </a:lnTo>
                  <a:lnTo>
                    <a:pt x="697" y="297"/>
                  </a:lnTo>
                  <a:lnTo>
                    <a:pt x="700" y="314"/>
                  </a:lnTo>
                  <a:lnTo>
                    <a:pt x="701" y="333"/>
                  </a:lnTo>
                  <a:lnTo>
                    <a:pt x="701" y="350"/>
                  </a:lnTo>
                  <a:lnTo>
                    <a:pt x="701" y="350"/>
                  </a:lnTo>
                  <a:lnTo>
                    <a:pt x="701" y="369"/>
                  </a:lnTo>
                  <a:lnTo>
                    <a:pt x="700" y="386"/>
                  </a:lnTo>
                  <a:lnTo>
                    <a:pt x="697" y="403"/>
                  </a:lnTo>
                  <a:lnTo>
                    <a:pt x="694" y="421"/>
                  </a:lnTo>
                  <a:lnTo>
                    <a:pt x="690" y="438"/>
                  </a:lnTo>
                  <a:lnTo>
                    <a:pt x="685" y="455"/>
                  </a:lnTo>
                  <a:lnTo>
                    <a:pt x="680" y="471"/>
                  </a:lnTo>
                  <a:lnTo>
                    <a:pt x="674" y="487"/>
                  </a:lnTo>
                  <a:lnTo>
                    <a:pt x="666" y="502"/>
                  </a:lnTo>
                  <a:lnTo>
                    <a:pt x="659" y="518"/>
                  </a:lnTo>
                  <a:lnTo>
                    <a:pt x="650" y="533"/>
                  </a:lnTo>
                  <a:lnTo>
                    <a:pt x="642" y="546"/>
                  </a:lnTo>
                  <a:lnTo>
                    <a:pt x="632" y="560"/>
                  </a:lnTo>
                  <a:lnTo>
                    <a:pt x="621" y="573"/>
                  </a:lnTo>
                  <a:lnTo>
                    <a:pt x="610" y="586"/>
                  </a:lnTo>
                  <a:lnTo>
                    <a:pt x="599" y="598"/>
                  </a:lnTo>
                  <a:lnTo>
                    <a:pt x="586" y="611"/>
                  </a:lnTo>
                  <a:lnTo>
                    <a:pt x="574" y="620"/>
                  </a:lnTo>
                  <a:lnTo>
                    <a:pt x="560" y="631"/>
                  </a:lnTo>
                  <a:lnTo>
                    <a:pt x="547" y="641"/>
                  </a:lnTo>
                  <a:lnTo>
                    <a:pt x="532" y="650"/>
                  </a:lnTo>
                  <a:lnTo>
                    <a:pt x="517" y="659"/>
                  </a:lnTo>
                  <a:lnTo>
                    <a:pt x="502" y="666"/>
                  </a:lnTo>
                  <a:lnTo>
                    <a:pt x="488" y="673"/>
                  </a:lnTo>
                  <a:lnTo>
                    <a:pt x="472" y="680"/>
                  </a:lnTo>
                  <a:lnTo>
                    <a:pt x="456" y="686"/>
                  </a:lnTo>
                  <a:lnTo>
                    <a:pt x="438" y="689"/>
                  </a:lnTo>
                  <a:lnTo>
                    <a:pt x="421" y="694"/>
                  </a:lnTo>
                  <a:lnTo>
                    <a:pt x="404" y="697"/>
                  </a:lnTo>
                  <a:lnTo>
                    <a:pt x="386" y="699"/>
                  </a:lnTo>
                  <a:lnTo>
                    <a:pt x="369" y="701"/>
                  </a:lnTo>
                  <a:lnTo>
                    <a:pt x="351" y="701"/>
                  </a:lnTo>
                  <a:lnTo>
                    <a:pt x="351" y="701"/>
                  </a:lnTo>
                  <a:close/>
                </a:path>
              </a:pathLst>
            </a:custGeom>
            <a:solidFill>
              <a:srgbClr val="005EB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0" name="Freeform 325">
              <a:extLst>
                <a:ext uri="{FF2B5EF4-FFF2-40B4-BE49-F238E27FC236}">
                  <a16:creationId xmlns:a16="http://schemas.microsoft.com/office/drawing/2014/main" id="{68EAA97D-F64E-15DA-F2A6-839F06F2152A}"/>
                </a:ext>
              </a:extLst>
            </p:cNvPr>
            <p:cNvSpPr>
              <a:spLocks/>
            </p:cNvSpPr>
            <p:nvPr/>
          </p:nvSpPr>
          <p:spPr bwMode="auto">
            <a:xfrm>
              <a:off x="776020" y="2990977"/>
              <a:ext cx="398342" cy="507847"/>
            </a:xfrm>
            <a:custGeom>
              <a:avLst/>
              <a:gdLst>
                <a:gd name="T0" fmla="*/ 0 w 275"/>
                <a:gd name="T1" fmla="*/ 376 h 376"/>
                <a:gd name="T2" fmla="*/ 0 w 275"/>
                <a:gd name="T3" fmla="*/ 174 h 376"/>
                <a:gd name="T4" fmla="*/ 0 w 275"/>
                <a:gd name="T5" fmla="*/ 73 h 376"/>
                <a:gd name="T6" fmla="*/ 71 w 275"/>
                <a:gd name="T7" fmla="*/ 0 h 376"/>
                <a:gd name="T8" fmla="*/ 275 w 275"/>
                <a:gd name="T9" fmla="*/ 0 h 376"/>
                <a:gd name="T10" fmla="*/ 275 w 275"/>
                <a:gd name="T11" fmla="*/ 75 h 376"/>
                <a:gd name="T12" fmla="*/ 275 w 275"/>
                <a:gd name="T13" fmla="*/ 174 h 376"/>
                <a:gd name="T14" fmla="*/ 275 w 275"/>
                <a:gd name="T15" fmla="*/ 376 h 376"/>
                <a:gd name="T16" fmla="*/ 0 w 275"/>
                <a:gd name="T17" fmla="*/ 37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 h="376">
                  <a:moveTo>
                    <a:pt x="0" y="376"/>
                  </a:moveTo>
                  <a:lnTo>
                    <a:pt x="0" y="174"/>
                  </a:lnTo>
                  <a:lnTo>
                    <a:pt x="0" y="73"/>
                  </a:lnTo>
                  <a:lnTo>
                    <a:pt x="71" y="0"/>
                  </a:lnTo>
                  <a:lnTo>
                    <a:pt x="275" y="0"/>
                  </a:lnTo>
                  <a:lnTo>
                    <a:pt x="275" y="75"/>
                  </a:lnTo>
                  <a:lnTo>
                    <a:pt x="275" y="174"/>
                  </a:lnTo>
                  <a:lnTo>
                    <a:pt x="275" y="376"/>
                  </a:lnTo>
                  <a:lnTo>
                    <a:pt x="0" y="3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1" name="Freeform 326">
              <a:extLst>
                <a:ext uri="{FF2B5EF4-FFF2-40B4-BE49-F238E27FC236}">
                  <a16:creationId xmlns:a16="http://schemas.microsoft.com/office/drawing/2014/main" id="{87C7CDF8-AAE3-3215-7FD2-1A97B7E3D2A2}"/>
                </a:ext>
              </a:extLst>
            </p:cNvPr>
            <p:cNvSpPr>
              <a:spLocks/>
            </p:cNvSpPr>
            <p:nvPr/>
          </p:nvSpPr>
          <p:spPr bwMode="auto">
            <a:xfrm>
              <a:off x="776020" y="2990977"/>
              <a:ext cx="102845" cy="98598"/>
            </a:xfrm>
            <a:custGeom>
              <a:avLst/>
              <a:gdLst>
                <a:gd name="T0" fmla="*/ 71 w 71"/>
                <a:gd name="T1" fmla="*/ 73 h 73"/>
                <a:gd name="T2" fmla="*/ 0 w 71"/>
                <a:gd name="T3" fmla="*/ 73 h 73"/>
                <a:gd name="T4" fmla="*/ 71 w 71"/>
                <a:gd name="T5" fmla="*/ 0 h 73"/>
                <a:gd name="T6" fmla="*/ 71 w 71"/>
                <a:gd name="T7" fmla="*/ 73 h 73"/>
              </a:gdLst>
              <a:ahLst/>
              <a:cxnLst>
                <a:cxn ang="0">
                  <a:pos x="T0" y="T1"/>
                </a:cxn>
                <a:cxn ang="0">
                  <a:pos x="T2" y="T3"/>
                </a:cxn>
                <a:cxn ang="0">
                  <a:pos x="T4" y="T5"/>
                </a:cxn>
                <a:cxn ang="0">
                  <a:pos x="T6" y="T7"/>
                </a:cxn>
              </a:cxnLst>
              <a:rect l="0" t="0" r="r" b="b"/>
              <a:pathLst>
                <a:path w="71" h="73">
                  <a:moveTo>
                    <a:pt x="71" y="73"/>
                  </a:moveTo>
                  <a:lnTo>
                    <a:pt x="0" y="73"/>
                  </a:lnTo>
                  <a:lnTo>
                    <a:pt x="71" y="0"/>
                  </a:lnTo>
                  <a:lnTo>
                    <a:pt x="71" y="73"/>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2" name="Freeform 327">
              <a:extLst>
                <a:ext uri="{FF2B5EF4-FFF2-40B4-BE49-F238E27FC236}">
                  <a16:creationId xmlns:a16="http://schemas.microsoft.com/office/drawing/2014/main" id="{FA31AB41-0E90-AAA3-F534-0DFC3AB46707}"/>
                </a:ext>
              </a:extLst>
            </p:cNvPr>
            <p:cNvSpPr>
              <a:spLocks/>
            </p:cNvSpPr>
            <p:nvPr/>
          </p:nvSpPr>
          <p:spPr bwMode="auto">
            <a:xfrm>
              <a:off x="776020" y="3089574"/>
              <a:ext cx="102845" cy="98598"/>
            </a:xfrm>
            <a:custGeom>
              <a:avLst/>
              <a:gdLst>
                <a:gd name="T0" fmla="*/ 0 w 71"/>
                <a:gd name="T1" fmla="*/ 0 h 73"/>
                <a:gd name="T2" fmla="*/ 71 w 71"/>
                <a:gd name="T3" fmla="*/ 0 h 73"/>
                <a:gd name="T4" fmla="*/ 0 w 71"/>
                <a:gd name="T5" fmla="*/ 73 h 73"/>
                <a:gd name="T6" fmla="*/ 0 w 71"/>
                <a:gd name="T7" fmla="*/ 0 h 73"/>
              </a:gdLst>
              <a:ahLst/>
              <a:cxnLst>
                <a:cxn ang="0">
                  <a:pos x="T0" y="T1"/>
                </a:cxn>
                <a:cxn ang="0">
                  <a:pos x="T2" y="T3"/>
                </a:cxn>
                <a:cxn ang="0">
                  <a:pos x="T4" y="T5"/>
                </a:cxn>
                <a:cxn ang="0">
                  <a:pos x="T6" y="T7"/>
                </a:cxn>
              </a:cxnLst>
              <a:rect l="0" t="0" r="r" b="b"/>
              <a:pathLst>
                <a:path w="71" h="73">
                  <a:moveTo>
                    <a:pt x="0" y="0"/>
                  </a:moveTo>
                  <a:lnTo>
                    <a:pt x="71" y="0"/>
                  </a:lnTo>
                  <a:lnTo>
                    <a:pt x="0" y="73"/>
                  </a:lnTo>
                  <a:lnTo>
                    <a:pt x="0" y="0"/>
                  </a:lnTo>
                  <a:close/>
                </a:path>
              </a:pathLst>
            </a:custGeom>
            <a:solidFill>
              <a:srgbClr val="D1E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3" name="Freeform 328">
              <a:extLst>
                <a:ext uri="{FF2B5EF4-FFF2-40B4-BE49-F238E27FC236}">
                  <a16:creationId xmlns:a16="http://schemas.microsoft.com/office/drawing/2014/main" id="{6086F631-692B-9E16-E0DE-E23BAE157A3F}"/>
                </a:ext>
              </a:extLst>
            </p:cNvPr>
            <p:cNvSpPr>
              <a:spLocks/>
            </p:cNvSpPr>
            <p:nvPr/>
          </p:nvSpPr>
          <p:spPr bwMode="auto">
            <a:xfrm>
              <a:off x="897696" y="3296225"/>
              <a:ext cx="163682" cy="155326"/>
            </a:xfrm>
            <a:custGeom>
              <a:avLst/>
              <a:gdLst>
                <a:gd name="T0" fmla="*/ 18 w 113"/>
                <a:gd name="T1" fmla="*/ 43 h 115"/>
                <a:gd name="T2" fmla="*/ 18 w 113"/>
                <a:gd name="T3" fmla="*/ 43 h 115"/>
                <a:gd name="T4" fmla="*/ 21 w 113"/>
                <a:gd name="T5" fmla="*/ 49 h 115"/>
                <a:gd name="T6" fmla="*/ 22 w 113"/>
                <a:gd name="T7" fmla="*/ 55 h 115"/>
                <a:gd name="T8" fmla="*/ 21 w 113"/>
                <a:gd name="T9" fmla="*/ 63 h 115"/>
                <a:gd name="T10" fmla="*/ 19 w 113"/>
                <a:gd name="T11" fmla="*/ 71 h 115"/>
                <a:gd name="T12" fmla="*/ 16 w 113"/>
                <a:gd name="T13" fmla="*/ 80 h 115"/>
                <a:gd name="T14" fmla="*/ 12 w 113"/>
                <a:gd name="T15" fmla="*/ 89 h 115"/>
                <a:gd name="T16" fmla="*/ 6 w 113"/>
                <a:gd name="T17" fmla="*/ 97 h 115"/>
                <a:gd name="T18" fmla="*/ 0 w 113"/>
                <a:gd name="T19" fmla="*/ 106 h 115"/>
                <a:gd name="T20" fmla="*/ 2 w 113"/>
                <a:gd name="T21" fmla="*/ 108 h 115"/>
                <a:gd name="T22" fmla="*/ 2 w 113"/>
                <a:gd name="T23" fmla="*/ 108 h 115"/>
                <a:gd name="T24" fmla="*/ 48 w 113"/>
                <a:gd name="T25" fmla="*/ 63 h 115"/>
                <a:gd name="T26" fmla="*/ 48 w 113"/>
                <a:gd name="T27" fmla="*/ 63 h 115"/>
                <a:gd name="T28" fmla="*/ 47 w 113"/>
                <a:gd name="T29" fmla="*/ 59 h 115"/>
                <a:gd name="T30" fmla="*/ 49 w 113"/>
                <a:gd name="T31" fmla="*/ 55 h 115"/>
                <a:gd name="T32" fmla="*/ 49 w 113"/>
                <a:gd name="T33" fmla="*/ 55 h 115"/>
                <a:gd name="T34" fmla="*/ 50 w 113"/>
                <a:gd name="T35" fmla="*/ 54 h 115"/>
                <a:gd name="T36" fmla="*/ 53 w 113"/>
                <a:gd name="T37" fmla="*/ 54 h 115"/>
                <a:gd name="T38" fmla="*/ 55 w 113"/>
                <a:gd name="T39" fmla="*/ 54 h 115"/>
                <a:gd name="T40" fmla="*/ 58 w 113"/>
                <a:gd name="T41" fmla="*/ 55 h 115"/>
                <a:gd name="T42" fmla="*/ 58 w 113"/>
                <a:gd name="T43" fmla="*/ 55 h 115"/>
                <a:gd name="T44" fmla="*/ 59 w 113"/>
                <a:gd name="T45" fmla="*/ 58 h 115"/>
                <a:gd name="T46" fmla="*/ 59 w 113"/>
                <a:gd name="T47" fmla="*/ 60 h 115"/>
                <a:gd name="T48" fmla="*/ 59 w 113"/>
                <a:gd name="T49" fmla="*/ 63 h 115"/>
                <a:gd name="T50" fmla="*/ 58 w 113"/>
                <a:gd name="T51" fmla="*/ 64 h 115"/>
                <a:gd name="T52" fmla="*/ 58 w 113"/>
                <a:gd name="T53" fmla="*/ 64 h 115"/>
                <a:gd name="T54" fmla="*/ 54 w 113"/>
                <a:gd name="T55" fmla="*/ 67 h 115"/>
                <a:gd name="T56" fmla="*/ 50 w 113"/>
                <a:gd name="T57" fmla="*/ 65 h 115"/>
                <a:gd name="T58" fmla="*/ 5 w 113"/>
                <a:gd name="T59" fmla="*/ 111 h 115"/>
                <a:gd name="T60" fmla="*/ 5 w 113"/>
                <a:gd name="T61" fmla="*/ 111 h 115"/>
                <a:gd name="T62" fmla="*/ 7 w 113"/>
                <a:gd name="T63" fmla="*/ 115 h 115"/>
                <a:gd name="T64" fmla="*/ 7 w 113"/>
                <a:gd name="T65" fmla="*/ 115 h 115"/>
                <a:gd name="T66" fmla="*/ 16 w 113"/>
                <a:gd name="T67" fmla="*/ 107 h 115"/>
                <a:gd name="T68" fmla="*/ 24 w 113"/>
                <a:gd name="T69" fmla="*/ 102 h 115"/>
                <a:gd name="T70" fmla="*/ 33 w 113"/>
                <a:gd name="T71" fmla="*/ 97 h 115"/>
                <a:gd name="T72" fmla="*/ 42 w 113"/>
                <a:gd name="T73" fmla="*/ 94 h 115"/>
                <a:gd name="T74" fmla="*/ 50 w 113"/>
                <a:gd name="T75" fmla="*/ 92 h 115"/>
                <a:gd name="T76" fmla="*/ 58 w 113"/>
                <a:gd name="T77" fmla="*/ 91 h 115"/>
                <a:gd name="T78" fmla="*/ 65 w 113"/>
                <a:gd name="T79" fmla="*/ 92 h 115"/>
                <a:gd name="T80" fmla="*/ 71 w 113"/>
                <a:gd name="T81" fmla="*/ 95 h 115"/>
                <a:gd name="T82" fmla="*/ 71 w 113"/>
                <a:gd name="T83" fmla="*/ 95 h 115"/>
                <a:gd name="T84" fmla="*/ 80 w 113"/>
                <a:gd name="T85" fmla="*/ 81 h 115"/>
                <a:gd name="T86" fmla="*/ 90 w 113"/>
                <a:gd name="T87" fmla="*/ 67 h 115"/>
                <a:gd name="T88" fmla="*/ 90 w 113"/>
                <a:gd name="T89" fmla="*/ 67 h 115"/>
                <a:gd name="T90" fmla="*/ 102 w 113"/>
                <a:gd name="T91" fmla="*/ 54 h 115"/>
                <a:gd name="T92" fmla="*/ 113 w 113"/>
                <a:gd name="T93" fmla="*/ 43 h 115"/>
                <a:gd name="T94" fmla="*/ 113 w 113"/>
                <a:gd name="T95" fmla="*/ 43 h 115"/>
                <a:gd name="T96" fmla="*/ 102 w 113"/>
                <a:gd name="T97" fmla="*/ 34 h 115"/>
                <a:gd name="T98" fmla="*/ 90 w 113"/>
                <a:gd name="T99" fmla="*/ 23 h 115"/>
                <a:gd name="T100" fmla="*/ 90 w 113"/>
                <a:gd name="T101" fmla="*/ 23 h 115"/>
                <a:gd name="T102" fmla="*/ 80 w 113"/>
                <a:gd name="T103" fmla="*/ 12 h 115"/>
                <a:gd name="T104" fmla="*/ 70 w 113"/>
                <a:gd name="T105" fmla="*/ 0 h 115"/>
                <a:gd name="T106" fmla="*/ 70 w 113"/>
                <a:gd name="T107" fmla="*/ 0 h 115"/>
                <a:gd name="T108" fmla="*/ 59 w 113"/>
                <a:gd name="T109" fmla="*/ 12 h 115"/>
                <a:gd name="T110" fmla="*/ 47 w 113"/>
                <a:gd name="T111" fmla="*/ 23 h 115"/>
                <a:gd name="T112" fmla="*/ 47 w 113"/>
                <a:gd name="T113" fmla="*/ 23 h 115"/>
                <a:gd name="T114" fmla="*/ 33 w 113"/>
                <a:gd name="T115" fmla="*/ 33 h 115"/>
                <a:gd name="T116" fmla="*/ 18 w 113"/>
                <a:gd name="T117" fmla="*/ 43 h 115"/>
                <a:gd name="T118" fmla="*/ 18 w 113"/>
                <a:gd name="T119" fmla="*/ 4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 h="115">
                  <a:moveTo>
                    <a:pt x="18" y="43"/>
                  </a:moveTo>
                  <a:lnTo>
                    <a:pt x="18" y="43"/>
                  </a:lnTo>
                  <a:lnTo>
                    <a:pt x="21" y="49"/>
                  </a:lnTo>
                  <a:lnTo>
                    <a:pt x="22" y="55"/>
                  </a:lnTo>
                  <a:lnTo>
                    <a:pt x="21" y="63"/>
                  </a:lnTo>
                  <a:lnTo>
                    <a:pt x="19" y="71"/>
                  </a:lnTo>
                  <a:lnTo>
                    <a:pt x="16" y="80"/>
                  </a:lnTo>
                  <a:lnTo>
                    <a:pt x="12" y="89"/>
                  </a:lnTo>
                  <a:lnTo>
                    <a:pt x="6" y="97"/>
                  </a:lnTo>
                  <a:lnTo>
                    <a:pt x="0" y="106"/>
                  </a:lnTo>
                  <a:lnTo>
                    <a:pt x="2" y="108"/>
                  </a:lnTo>
                  <a:lnTo>
                    <a:pt x="2" y="108"/>
                  </a:lnTo>
                  <a:lnTo>
                    <a:pt x="48" y="63"/>
                  </a:lnTo>
                  <a:lnTo>
                    <a:pt x="48" y="63"/>
                  </a:lnTo>
                  <a:lnTo>
                    <a:pt x="47" y="59"/>
                  </a:lnTo>
                  <a:lnTo>
                    <a:pt x="49" y="55"/>
                  </a:lnTo>
                  <a:lnTo>
                    <a:pt x="49" y="55"/>
                  </a:lnTo>
                  <a:lnTo>
                    <a:pt x="50" y="54"/>
                  </a:lnTo>
                  <a:lnTo>
                    <a:pt x="53" y="54"/>
                  </a:lnTo>
                  <a:lnTo>
                    <a:pt x="55" y="54"/>
                  </a:lnTo>
                  <a:lnTo>
                    <a:pt x="58" y="55"/>
                  </a:lnTo>
                  <a:lnTo>
                    <a:pt x="58" y="55"/>
                  </a:lnTo>
                  <a:lnTo>
                    <a:pt x="59" y="58"/>
                  </a:lnTo>
                  <a:lnTo>
                    <a:pt x="59" y="60"/>
                  </a:lnTo>
                  <a:lnTo>
                    <a:pt x="59" y="63"/>
                  </a:lnTo>
                  <a:lnTo>
                    <a:pt x="58" y="64"/>
                  </a:lnTo>
                  <a:lnTo>
                    <a:pt x="58" y="64"/>
                  </a:lnTo>
                  <a:lnTo>
                    <a:pt x="54" y="67"/>
                  </a:lnTo>
                  <a:lnTo>
                    <a:pt x="50" y="65"/>
                  </a:lnTo>
                  <a:lnTo>
                    <a:pt x="5" y="111"/>
                  </a:lnTo>
                  <a:lnTo>
                    <a:pt x="5" y="111"/>
                  </a:lnTo>
                  <a:lnTo>
                    <a:pt x="7" y="115"/>
                  </a:lnTo>
                  <a:lnTo>
                    <a:pt x="7" y="115"/>
                  </a:lnTo>
                  <a:lnTo>
                    <a:pt x="16" y="107"/>
                  </a:lnTo>
                  <a:lnTo>
                    <a:pt x="24" y="102"/>
                  </a:lnTo>
                  <a:lnTo>
                    <a:pt x="33" y="97"/>
                  </a:lnTo>
                  <a:lnTo>
                    <a:pt x="42" y="94"/>
                  </a:lnTo>
                  <a:lnTo>
                    <a:pt x="50" y="92"/>
                  </a:lnTo>
                  <a:lnTo>
                    <a:pt x="58" y="91"/>
                  </a:lnTo>
                  <a:lnTo>
                    <a:pt x="65" y="92"/>
                  </a:lnTo>
                  <a:lnTo>
                    <a:pt x="71" y="95"/>
                  </a:lnTo>
                  <a:lnTo>
                    <a:pt x="71" y="95"/>
                  </a:lnTo>
                  <a:lnTo>
                    <a:pt x="80" y="81"/>
                  </a:lnTo>
                  <a:lnTo>
                    <a:pt x="90" y="67"/>
                  </a:lnTo>
                  <a:lnTo>
                    <a:pt x="90" y="67"/>
                  </a:lnTo>
                  <a:lnTo>
                    <a:pt x="102" y="54"/>
                  </a:lnTo>
                  <a:lnTo>
                    <a:pt x="113" y="43"/>
                  </a:lnTo>
                  <a:lnTo>
                    <a:pt x="113" y="43"/>
                  </a:lnTo>
                  <a:lnTo>
                    <a:pt x="102" y="34"/>
                  </a:lnTo>
                  <a:lnTo>
                    <a:pt x="90" y="23"/>
                  </a:lnTo>
                  <a:lnTo>
                    <a:pt x="90" y="23"/>
                  </a:lnTo>
                  <a:lnTo>
                    <a:pt x="80" y="12"/>
                  </a:lnTo>
                  <a:lnTo>
                    <a:pt x="70" y="0"/>
                  </a:lnTo>
                  <a:lnTo>
                    <a:pt x="70" y="0"/>
                  </a:lnTo>
                  <a:lnTo>
                    <a:pt x="59" y="12"/>
                  </a:lnTo>
                  <a:lnTo>
                    <a:pt x="47" y="23"/>
                  </a:lnTo>
                  <a:lnTo>
                    <a:pt x="47" y="23"/>
                  </a:lnTo>
                  <a:lnTo>
                    <a:pt x="33" y="33"/>
                  </a:lnTo>
                  <a:lnTo>
                    <a:pt x="18" y="43"/>
                  </a:lnTo>
                  <a:lnTo>
                    <a:pt x="18" y="43"/>
                  </a:lnTo>
                  <a:close/>
                </a:path>
              </a:pathLst>
            </a:custGeom>
            <a:solidFill>
              <a:srgbClr val="0E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4" name="Freeform 329">
              <a:extLst>
                <a:ext uri="{FF2B5EF4-FFF2-40B4-BE49-F238E27FC236}">
                  <a16:creationId xmlns:a16="http://schemas.microsoft.com/office/drawing/2014/main" id="{DB0329E2-41D0-3D1C-3B79-F87226C94258}"/>
                </a:ext>
              </a:extLst>
            </p:cNvPr>
            <p:cNvSpPr>
              <a:spLocks/>
            </p:cNvSpPr>
            <p:nvPr/>
          </p:nvSpPr>
          <p:spPr bwMode="auto">
            <a:xfrm>
              <a:off x="1000539" y="3131445"/>
              <a:ext cx="237556" cy="222859"/>
            </a:xfrm>
            <a:custGeom>
              <a:avLst/>
              <a:gdLst>
                <a:gd name="T0" fmla="*/ 156 w 164"/>
                <a:gd name="T1" fmla="*/ 45 h 165"/>
                <a:gd name="T2" fmla="*/ 156 w 164"/>
                <a:gd name="T3" fmla="*/ 45 h 165"/>
                <a:gd name="T4" fmla="*/ 159 w 164"/>
                <a:gd name="T5" fmla="*/ 41 h 165"/>
                <a:gd name="T6" fmla="*/ 162 w 164"/>
                <a:gd name="T7" fmla="*/ 36 h 165"/>
                <a:gd name="T8" fmla="*/ 164 w 164"/>
                <a:gd name="T9" fmla="*/ 31 h 165"/>
                <a:gd name="T10" fmla="*/ 164 w 164"/>
                <a:gd name="T11" fmla="*/ 24 h 165"/>
                <a:gd name="T12" fmla="*/ 164 w 164"/>
                <a:gd name="T13" fmla="*/ 20 h 165"/>
                <a:gd name="T14" fmla="*/ 162 w 164"/>
                <a:gd name="T15" fmla="*/ 16 h 165"/>
                <a:gd name="T16" fmla="*/ 159 w 164"/>
                <a:gd name="T17" fmla="*/ 11 h 165"/>
                <a:gd name="T18" fmla="*/ 157 w 164"/>
                <a:gd name="T19" fmla="*/ 7 h 165"/>
                <a:gd name="T20" fmla="*/ 153 w 164"/>
                <a:gd name="T21" fmla="*/ 5 h 165"/>
                <a:gd name="T22" fmla="*/ 148 w 164"/>
                <a:gd name="T23" fmla="*/ 2 h 165"/>
                <a:gd name="T24" fmla="*/ 145 w 164"/>
                <a:gd name="T25" fmla="*/ 1 h 165"/>
                <a:gd name="T26" fmla="*/ 140 w 164"/>
                <a:gd name="T27" fmla="*/ 0 h 165"/>
                <a:gd name="T28" fmla="*/ 135 w 164"/>
                <a:gd name="T29" fmla="*/ 0 h 165"/>
                <a:gd name="T30" fmla="*/ 129 w 164"/>
                <a:gd name="T31" fmla="*/ 2 h 165"/>
                <a:gd name="T32" fmla="*/ 124 w 164"/>
                <a:gd name="T33" fmla="*/ 5 h 165"/>
                <a:gd name="T34" fmla="*/ 119 w 164"/>
                <a:gd name="T35" fmla="*/ 8 h 165"/>
                <a:gd name="T36" fmla="*/ 119 w 164"/>
                <a:gd name="T37" fmla="*/ 8 h 165"/>
                <a:gd name="T38" fmla="*/ 0 w 164"/>
                <a:gd name="T39" fmla="*/ 123 h 165"/>
                <a:gd name="T40" fmla="*/ 0 w 164"/>
                <a:gd name="T41" fmla="*/ 123 h 165"/>
                <a:gd name="T42" fmla="*/ 42 w 164"/>
                <a:gd name="T43" fmla="*/ 165 h 165"/>
                <a:gd name="T44" fmla="*/ 42 w 164"/>
                <a:gd name="T45" fmla="*/ 165 h 165"/>
                <a:gd name="T46" fmla="*/ 156 w 164"/>
                <a:gd name="T47" fmla="*/ 45 h 165"/>
                <a:gd name="T48" fmla="*/ 156 w 164"/>
                <a:gd name="T49" fmla="*/ 4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4" h="165">
                  <a:moveTo>
                    <a:pt x="156" y="45"/>
                  </a:moveTo>
                  <a:lnTo>
                    <a:pt x="156" y="45"/>
                  </a:lnTo>
                  <a:lnTo>
                    <a:pt x="159" y="41"/>
                  </a:lnTo>
                  <a:lnTo>
                    <a:pt x="162" y="36"/>
                  </a:lnTo>
                  <a:lnTo>
                    <a:pt x="164" y="31"/>
                  </a:lnTo>
                  <a:lnTo>
                    <a:pt x="164" y="24"/>
                  </a:lnTo>
                  <a:lnTo>
                    <a:pt x="164" y="20"/>
                  </a:lnTo>
                  <a:lnTo>
                    <a:pt x="162" y="16"/>
                  </a:lnTo>
                  <a:lnTo>
                    <a:pt x="159" y="11"/>
                  </a:lnTo>
                  <a:lnTo>
                    <a:pt x="157" y="7"/>
                  </a:lnTo>
                  <a:lnTo>
                    <a:pt x="153" y="5"/>
                  </a:lnTo>
                  <a:lnTo>
                    <a:pt x="148" y="2"/>
                  </a:lnTo>
                  <a:lnTo>
                    <a:pt x="145" y="1"/>
                  </a:lnTo>
                  <a:lnTo>
                    <a:pt x="140" y="0"/>
                  </a:lnTo>
                  <a:lnTo>
                    <a:pt x="135" y="0"/>
                  </a:lnTo>
                  <a:lnTo>
                    <a:pt x="129" y="2"/>
                  </a:lnTo>
                  <a:lnTo>
                    <a:pt x="124" y="5"/>
                  </a:lnTo>
                  <a:lnTo>
                    <a:pt x="119" y="8"/>
                  </a:lnTo>
                  <a:lnTo>
                    <a:pt x="119" y="8"/>
                  </a:lnTo>
                  <a:lnTo>
                    <a:pt x="0" y="123"/>
                  </a:lnTo>
                  <a:lnTo>
                    <a:pt x="0" y="123"/>
                  </a:lnTo>
                  <a:lnTo>
                    <a:pt x="42" y="165"/>
                  </a:lnTo>
                  <a:lnTo>
                    <a:pt x="42" y="165"/>
                  </a:lnTo>
                  <a:lnTo>
                    <a:pt x="156" y="45"/>
                  </a:lnTo>
                  <a:lnTo>
                    <a:pt x="156" y="45"/>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5" name="Freeform 330">
              <a:extLst>
                <a:ext uri="{FF2B5EF4-FFF2-40B4-BE49-F238E27FC236}">
                  <a16:creationId xmlns:a16="http://schemas.microsoft.com/office/drawing/2014/main" id="{CD3EEAC0-3B59-86FD-5244-16D778DB5BA9}"/>
                </a:ext>
              </a:extLst>
            </p:cNvPr>
            <p:cNvSpPr>
              <a:spLocks/>
            </p:cNvSpPr>
            <p:nvPr/>
          </p:nvSpPr>
          <p:spPr bwMode="auto">
            <a:xfrm>
              <a:off x="990400" y="3296225"/>
              <a:ext cx="70978" cy="66183"/>
            </a:xfrm>
            <a:custGeom>
              <a:avLst/>
              <a:gdLst>
                <a:gd name="T0" fmla="*/ 49 w 49"/>
                <a:gd name="T1" fmla="*/ 43 h 49"/>
                <a:gd name="T2" fmla="*/ 6 w 49"/>
                <a:gd name="T3" fmla="*/ 0 h 49"/>
                <a:gd name="T4" fmla="*/ 0 w 49"/>
                <a:gd name="T5" fmla="*/ 6 h 49"/>
                <a:gd name="T6" fmla="*/ 43 w 49"/>
                <a:gd name="T7" fmla="*/ 49 h 49"/>
                <a:gd name="T8" fmla="*/ 49 w 49"/>
                <a:gd name="T9" fmla="*/ 43 h 49"/>
              </a:gdLst>
              <a:ahLst/>
              <a:cxnLst>
                <a:cxn ang="0">
                  <a:pos x="T0" y="T1"/>
                </a:cxn>
                <a:cxn ang="0">
                  <a:pos x="T2" y="T3"/>
                </a:cxn>
                <a:cxn ang="0">
                  <a:pos x="T4" y="T5"/>
                </a:cxn>
                <a:cxn ang="0">
                  <a:pos x="T6" y="T7"/>
                </a:cxn>
                <a:cxn ang="0">
                  <a:pos x="T8" y="T9"/>
                </a:cxn>
              </a:cxnLst>
              <a:rect l="0" t="0" r="r" b="b"/>
              <a:pathLst>
                <a:path w="49" h="49">
                  <a:moveTo>
                    <a:pt x="49" y="43"/>
                  </a:moveTo>
                  <a:lnTo>
                    <a:pt x="6" y="0"/>
                  </a:lnTo>
                  <a:lnTo>
                    <a:pt x="0" y="6"/>
                  </a:lnTo>
                  <a:lnTo>
                    <a:pt x="43" y="49"/>
                  </a:lnTo>
                  <a:lnTo>
                    <a:pt x="49" y="43"/>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6" name="Freeform 331">
              <a:extLst>
                <a:ext uri="{FF2B5EF4-FFF2-40B4-BE49-F238E27FC236}">
                  <a16:creationId xmlns:a16="http://schemas.microsoft.com/office/drawing/2014/main" id="{4BEEFC0A-1F42-65F3-2948-D33224628389}"/>
                </a:ext>
              </a:extLst>
            </p:cNvPr>
            <p:cNvSpPr>
              <a:spLocks/>
            </p:cNvSpPr>
            <p:nvPr/>
          </p:nvSpPr>
          <p:spPr bwMode="auto">
            <a:xfrm>
              <a:off x="1083105" y="3067964"/>
              <a:ext cx="224520" cy="209352"/>
            </a:xfrm>
            <a:custGeom>
              <a:avLst/>
              <a:gdLst>
                <a:gd name="T0" fmla="*/ 52 w 155"/>
                <a:gd name="T1" fmla="*/ 155 h 155"/>
                <a:gd name="T2" fmla="*/ 148 w 155"/>
                <a:gd name="T3" fmla="*/ 59 h 155"/>
                <a:gd name="T4" fmla="*/ 148 w 155"/>
                <a:gd name="T5" fmla="*/ 59 h 155"/>
                <a:gd name="T6" fmla="*/ 150 w 155"/>
                <a:gd name="T7" fmla="*/ 55 h 155"/>
                <a:gd name="T8" fmla="*/ 153 w 155"/>
                <a:gd name="T9" fmla="*/ 50 h 155"/>
                <a:gd name="T10" fmla="*/ 154 w 155"/>
                <a:gd name="T11" fmla="*/ 46 h 155"/>
                <a:gd name="T12" fmla="*/ 155 w 155"/>
                <a:gd name="T13" fmla="*/ 41 h 155"/>
                <a:gd name="T14" fmla="*/ 154 w 155"/>
                <a:gd name="T15" fmla="*/ 36 h 155"/>
                <a:gd name="T16" fmla="*/ 153 w 155"/>
                <a:gd name="T17" fmla="*/ 31 h 155"/>
                <a:gd name="T18" fmla="*/ 150 w 155"/>
                <a:gd name="T19" fmla="*/ 26 h 155"/>
                <a:gd name="T20" fmla="*/ 147 w 155"/>
                <a:gd name="T21" fmla="*/ 21 h 155"/>
                <a:gd name="T22" fmla="*/ 133 w 155"/>
                <a:gd name="T23" fmla="*/ 9 h 155"/>
                <a:gd name="T24" fmla="*/ 133 w 155"/>
                <a:gd name="T25" fmla="*/ 9 h 155"/>
                <a:gd name="T26" fmla="*/ 130 w 155"/>
                <a:gd name="T27" fmla="*/ 5 h 155"/>
                <a:gd name="T28" fmla="*/ 125 w 155"/>
                <a:gd name="T29" fmla="*/ 2 h 155"/>
                <a:gd name="T30" fmla="*/ 120 w 155"/>
                <a:gd name="T31" fmla="*/ 1 h 155"/>
                <a:gd name="T32" fmla="*/ 115 w 155"/>
                <a:gd name="T33" fmla="*/ 0 h 155"/>
                <a:gd name="T34" fmla="*/ 110 w 155"/>
                <a:gd name="T35" fmla="*/ 1 h 155"/>
                <a:gd name="T36" fmla="*/ 105 w 155"/>
                <a:gd name="T37" fmla="*/ 2 h 155"/>
                <a:gd name="T38" fmla="*/ 100 w 155"/>
                <a:gd name="T39" fmla="*/ 5 h 155"/>
                <a:gd name="T40" fmla="*/ 96 w 155"/>
                <a:gd name="T41" fmla="*/ 7 h 155"/>
                <a:gd name="T42" fmla="*/ 0 w 155"/>
                <a:gd name="T43" fmla="*/ 104 h 155"/>
                <a:gd name="T44" fmla="*/ 52 w 155"/>
                <a:gd name="T45"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5" h="155">
                  <a:moveTo>
                    <a:pt x="52" y="155"/>
                  </a:moveTo>
                  <a:lnTo>
                    <a:pt x="148" y="59"/>
                  </a:lnTo>
                  <a:lnTo>
                    <a:pt x="148" y="59"/>
                  </a:lnTo>
                  <a:lnTo>
                    <a:pt x="150" y="55"/>
                  </a:lnTo>
                  <a:lnTo>
                    <a:pt x="153" y="50"/>
                  </a:lnTo>
                  <a:lnTo>
                    <a:pt x="154" y="46"/>
                  </a:lnTo>
                  <a:lnTo>
                    <a:pt x="155" y="41"/>
                  </a:lnTo>
                  <a:lnTo>
                    <a:pt x="154" y="36"/>
                  </a:lnTo>
                  <a:lnTo>
                    <a:pt x="153" y="31"/>
                  </a:lnTo>
                  <a:lnTo>
                    <a:pt x="150" y="26"/>
                  </a:lnTo>
                  <a:lnTo>
                    <a:pt x="147" y="21"/>
                  </a:lnTo>
                  <a:lnTo>
                    <a:pt x="133" y="9"/>
                  </a:lnTo>
                  <a:lnTo>
                    <a:pt x="133" y="9"/>
                  </a:lnTo>
                  <a:lnTo>
                    <a:pt x="130" y="5"/>
                  </a:lnTo>
                  <a:lnTo>
                    <a:pt x="125" y="2"/>
                  </a:lnTo>
                  <a:lnTo>
                    <a:pt x="120" y="1"/>
                  </a:lnTo>
                  <a:lnTo>
                    <a:pt x="115" y="0"/>
                  </a:lnTo>
                  <a:lnTo>
                    <a:pt x="110" y="1"/>
                  </a:lnTo>
                  <a:lnTo>
                    <a:pt x="105" y="2"/>
                  </a:lnTo>
                  <a:lnTo>
                    <a:pt x="100" y="5"/>
                  </a:lnTo>
                  <a:lnTo>
                    <a:pt x="96" y="7"/>
                  </a:lnTo>
                  <a:lnTo>
                    <a:pt x="0" y="104"/>
                  </a:lnTo>
                  <a:lnTo>
                    <a:pt x="52" y="155"/>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7" name="Freeform 332">
              <a:extLst>
                <a:ext uri="{FF2B5EF4-FFF2-40B4-BE49-F238E27FC236}">
                  <a16:creationId xmlns:a16="http://schemas.microsoft.com/office/drawing/2014/main" id="{6D0D0B8D-0D91-7CFA-9D23-3AE4785A944A}"/>
                </a:ext>
              </a:extLst>
            </p:cNvPr>
            <p:cNvSpPr>
              <a:spLocks/>
            </p:cNvSpPr>
            <p:nvPr/>
          </p:nvSpPr>
          <p:spPr bwMode="auto">
            <a:xfrm>
              <a:off x="1083105" y="3074717"/>
              <a:ext cx="215829" cy="99949"/>
            </a:xfrm>
            <a:custGeom>
              <a:avLst/>
              <a:gdLst>
                <a:gd name="T0" fmla="*/ 148 w 149"/>
                <a:gd name="T1" fmla="*/ 59 h 74"/>
                <a:gd name="T2" fmla="*/ 96 w 149"/>
                <a:gd name="T3" fmla="*/ 7 h 74"/>
                <a:gd name="T4" fmla="*/ 96 w 149"/>
                <a:gd name="T5" fmla="*/ 7 h 74"/>
                <a:gd name="T6" fmla="*/ 93 w 149"/>
                <a:gd name="T7" fmla="*/ 5 h 74"/>
                <a:gd name="T8" fmla="*/ 89 w 149"/>
                <a:gd name="T9" fmla="*/ 2 h 74"/>
                <a:gd name="T10" fmla="*/ 84 w 149"/>
                <a:gd name="T11" fmla="*/ 1 h 74"/>
                <a:gd name="T12" fmla="*/ 80 w 149"/>
                <a:gd name="T13" fmla="*/ 0 h 74"/>
                <a:gd name="T14" fmla="*/ 75 w 149"/>
                <a:gd name="T15" fmla="*/ 0 h 74"/>
                <a:gd name="T16" fmla="*/ 72 w 149"/>
                <a:gd name="T17" fmla="*/ 1 h 74"/>
                <a:gd name="T18" fmla="*/ 68 w 149"/>
                <a:gd name="T19" fmla="*/ 2 h 74"/>
                <a:gd name="T20" fmla="*/ 64 w 149"/>
                <a:gd name="T21" fmla="*/ 6 h 74"/>
                <a:gd name="T22" fmla="*/ 9 w 149"/>
                <a:gd name="T23" fmla="*/ 60 h 74"/>
                <a:gd name="T24" fmla="*/ 9 w 149"/>
                <a:gd name="T25" fmla="*/ 60 h 74"/>
                <a:gd name="T26" fmla="*/ 0 w 149"/>
                <a:gd name="T27" fmla="*/ 70 h 74"/>
                <a:gd name="T28" fmla="*/ 0 w 149"/>
                <a:gd name="T29" fmla="*/ 70 h 74"/>
                <a:gd name="T30" fmla="*/ 6 w 149"/>
                <a:gd name="T31" fmla="*/ 73 h 74"/>
                <a:gd name="T32" fmla="*/ 12 w 149"/>
                <a:gd name="T33" fmla="*/ 74 h 74"/>
                <a:gd name="T34" fmla="*/ 19 w 149"/>
                <a:gd name="T35" fmla="*/ 73 h 74"/>
                <a:gd name="T36" fmla="*/ 22 w 149"/>
                <a:gd name="T37" fmla="*/ 70 h 74"/>
                <a:gd name="T38" fmla="*/ 22 w 149"/>
                <a:gd name="T39" fmla="*/ 70 h 74"/>
                <a:gd name="T40" fmla="*/ 25 w 149"/>
                <a:gd name="T41" fmla="*/ 65 h 74"/>
                <a:gd name="T42" fmla="*/ 25 w 149"/>
                <a:gd name="T43" fmla="*/ 62 h 74"/>
                <a:gd name="T44" fmla="*/ 73 w 149"/>
                <a:gd name="T45" fmla="*/ 13 h 74"/>
                <a:gd name="T46" fmla="*/ 73 w 149"/>
                <a:gd name="T47" fmla="*/ 13 h 74"/>
                <a:gd name="T48" fmla="*/ 76 w 149"/>
                <a:gd name="T49" fmla="*/ 11 h 74"/>
                <a:gd name="T50" fmla="*/ 80 w 149"/>
                <a:gd name="T51" fmla="*/ 11 h 74"/>
                <a:gd name="T52" fmla="*/ 85 w 149"/>
                <a:gd name="T53" fmla="*/ 11 h 74"/>
                <a:gd name="T54" fmla="*/ 90 w 149"/>
                <a:gd name="T55" fmla="*/ 15 h 74"/>
                <a:gd name="T56" fmla="*/ 141 w 149"/>
                <a:gd name="T57" fmla="*/ 66 h 74"/>
                <a:gd name="T58" fmla="*/ 141 w 149"/>
                <a:gd name="T59" fmla="*/ 66 h 74"/>
                <a:gd name="T60" fmla="*/ 143 w 149"/>
                <a:gd name="T61" fmla="*/ 68 h 74"/>
                <a:gd name="T62" fmla="*/ 144 w 149"/>
                <a:gd name="T63" fmla="*/ 68 h 74"/>
                <a:gd name="T64" fmla="*/ 147 w 149"/>
                <a:gd name="T65" fmla="*/ 68 h 74"/>
                <a:gd name="T66" fmla="*/ 148 w 149"/>
                <a:gd name="T67" fmla="*/ 66 h 74"/>
                <a:gd name="T68" fmla="*/ 148 w 149"/>
                <a:gd name="T69" fmla="*/ 66 h 74"/>
                <a:gd name="T70" fmla="*/ 149 w 149"/>
                <a:gd name="T71" fmla="*/ 65 h 74"/>
                <a:gd name="T72" fmla="*/ 149 w 149"/>
                <a:gd name="T73" fmla="*/ 63 h 74"/>
                <a:gd name="T74" fmla="*/ 149 w 149"/>
                <a:gd name="T75" fmla="*/ 60 h 74"/>
                <a:gd name="T76" fmla="*/ 148 w 149"/>
                <a:gd name="T77" fmla="*/ 59 h 74"/>
                <a:gd name="T78" fmla="*/ 148 w 149"/>
                <a:gd name="T79" fmla="*/ 5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9" h="74">
                  <a:moveTo>
                    <a:pt x="148" y="59"/>
                  </a:moveTo>
                  <a:lnTo>
                    <a:pt x="96" y="7"/>
                  </a:lnTo>
                  <a:lnTo>
                    <a:pt x="96" y="7"/>
                  </a:lnTo>
                  <a:lnTo>
                    <a:pt x="93" y="5"/>
                  </a:lnTo>
                  <a:lnTo>
                    <a:pt x="89" y="2"/>
                  </a:lnTo>
                  <a:lnTo>
                    <a:pt x="84" y="1"/>
                  </a:lnTo>
                  <a:lnTo>
                    <a:pt x="80" y="0"/>
                  </a:lnTo>
                  <a:lnTo>
                    <a:pt x="75" y="0"/>
                  </a:lnTo>
                  <a:lnTo>
                    <a:pt x="72" y="1"/>
                  </a:lnTo>
                  <a:lnTo>
                    <a:pt x="68" y="2"/>
                  </a:lnTo>
                  <a:lnTo>
                    <a:pt x="64" y="6"/>
                  </a:lnTo>
                  <a:lnTo>
                    <a:pt x="9" y="60"/>
                  </a:lnTo>
                  <a:lnTo>
                    <a:pt x="9" y="60"/>
                  </a:lnTo>
                  <a:lnTo>
                    <a:pt x="0" y="70"/>
                  </a:lnTo>
                  <a:lnTo>
                    <a:pt x="0" y="70"/>
                  </a:lnTo>
                  <a:lnTo>
                    <a:pt x="6" y="73"/>
                  </a:lnTo>
                  <a:lnTo>
                    <a:pt x="12" y="74"/>
                  </a:lnTo>
                  <a:lnTo>
                    <a:pt x="19" y="73"/>
                  </a:lnTo>
                  <a:lnTo>
                    <a:pt x="22" y="70"/>
                  </a:lnTo>
                  <a:lnTo>
                    <a:pt x="22" y="70"/>
                  </a:lnTo>
                  <a:lnTo>
                    <a:pt x="25" y="65"/>
                  </a:lnTo>
                  <a:lnTo>
                    <a:pt x="25" y="62"/>
                  </a:lnTo>
                  <a:lnTo>
                    <a:pt x="73" y="13"/>
                  </a:lnTo>
                  <a:lnTo>
                    <a:pt x="73" y="13"/>
                  </a:lnTo>
                  <a:lnTo>
                    <a:pt x="76" y="11"/>
                  </a:lnTo>
                  <a:lnTo>
                    <a:pt x="80" y="11"/>
                  </a:lnTo>
                  <a:lnTo>
                    <a:pt x="85" y="11"/>
                  </a:lnTo>
                  <a:lnTo>
                    <a:pt x="90" y="15"/>
                  </a:lnTo>
                  <a:lnTo>
                    <a:pt x="141" y="66"/>
                  </a:lnTo>
                  <a:lnTo>
                    <a:pt x="141" y="66"/>
                  </a:lnTo>
                  <a:lnTo>
                    <a:pt x="143" y="68"/>
                  </a:lnTo>
                  <a:lnTo>
                    <a:pt x="144" y="68"/>
                  </a:lnTo>
                  <a:lnTo>
                    <a:pt x="147" y="68"/>
                  </a:lnTo>
                  <a:lnTo>
                    <a:pt x="148" y="66"/>
                  </a:lnTo>
                  <a:lnTo>
                    <a:pt x="148" y="66"/>
                  </a:lnTo>
                  <a:lnTo>
                    <a:pt x="149" y="65"/>
                  </a:lnTo>
                  <a:lnTo>
                    <a:pt x="149" y="63"/>
                  </a:lnTo>
                  <a:lnTo>
                    <a:pt x="149" y="60"/>
                  </a:lnTo>
                  <a:lnTo>
                    <a:pt x="148" y="59"/>
                  </a:lnTo>
                  <a:lnTo>
                    <a:pt x="148" y="59"/>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grpSp>
        <p:nvGrpSpPr>
          <p:cNvPr id="463" name="Group 462">
            <a:extLst>
              <a:ext uri="{FF2B5EF4-FFF2-40B4-BE49-F238E27FC236}">
                <a16:creationId xmlns:a16="http://schemas.microsoft.com/office/drawing/2014/main" id="{CE4340AC-6735-38E8-9631-5234748CF3B5}"/>
              </a:ext>
            </a:extLst>
          </p:cNvPr>
          <p:cNvGrpSpPr/>
          <p:nvPr/>
        </p:nvGrpSpPr>
        <p:grpSpPr>
          <a:xfrm>
            <a:off x="5567487" y="2635426"/>
            <a:ext cx="1264209" cy="1139881"/>
            <a:chOff x="5552619" y="2943755"/>
            <a:chExt cx="1003177" cy="955950"/>
          </a:xfrm>
        </p:grpSpPr>
        <p:grpSp>
          <p:nvGrpSpPr>
            <p:cNvPr id="439" name="Group 438">
              <a:extLst>
                <a:ext uri="{FF2B5EF4-FFF2-40B4-BE49-F238E27FC236}">
                  <a16:creationId xmlns:a16="http://schemas.microsoft.com/office/drawing/2014/main" id="{FFAC5487-F2F3-E522-3C12-CA8CA9935E41}"/>
                </a:ext>
              </a:extLst>
            </p:cNvPr>
            <p:cNvGrpSpPr/>
            <p:nvPr/>
          </p:nvGrpSpPr>
          <p:grpSpPr>
            <a:xfrm>
              <a:off x="5552619" y="2943755"/>
              <a:ext cx="1003177" cy="955950"/>
              <a:chOff x="5552619" y="2943755"/>
              <a:chExt cx="1003177" cy="955950"/>
            </a:xfrm>
          </p:grpSpPr>
          <p:sp>
            <p:nvSpPr>
              <p:cNvPr id="379" name="Freeform 16">
                <a:extLst>
                  <a:ext uri="{FF2B5EF4-FFF2-40B4-BE49-F238E27FC236}">
                    <a16:creationId xmlns:a16="http://schemas.microsoft.com/office/drawing/2014/main" id="{3D10B883-EDCD-A727-3D3B-207C6655B8EA}"/>
                  </a:ext>
                </a:extLst>
              </p:cNvPr>
              <p:cNvSpPr>
                <a:spLocks/>
              </p:cNvSpPr>
              <p:nvPr/>
            </p:nvSpPr>
            <p:spPr bwMode="auto">
              <a:xfrm>
                <a:off x="5552619" y="2943755"/>
                <a:ext cx="1003177" cy="955950"/>
              </a:xfrm>
              <a:custGeom>
                <a:avLst/>
                <a:gdLst>
                  <a:gd name="T0" fmla="*/ 333 w 702"/>
                  <a:gd name="T1" fmla="*/ 700 h 700"/>
                  <a:gd name="T2" fmla="*/ 280 w 702"/>
                  <a:gd name="T3" fmla="*/ 693 h 700"/>
                  <a:gd name="T4" fmla="*/ 231 w 702"/>
                  <a:gd name="T5" fmla="*/ 679 h 700"/>
                  <a:gd name="T6" fmla="*/ 184 w 702"/>
                  <a:gd name="T7" fmla="*/ 658 h 700"/>
                  <a:gd name="T8" fmla="*/ 142 w 702"/>
                  <a:gd name="T9" fmla="*/ 631 h 700"/>
                  <a:gd name="T10" fmla="*/ 104 w 702"/>
                  <a:gd name="T11" fmla="*/ 598 h 700"/>
                  <a:gd name="T12" fmla="*/ 70 w 702"/>
                  <a:gd name="T13" fmla="*/ 560 h 700"/>
                  <a:gd name="T14" fmla="*/ 43 w 702"/>
                  <a:gd name="T15" fmla="*/ 517 h 700"/>
                  <a:gd name="T16" fmla="*/ 22 w 702"/>
                  <a:gd name="T17" fmla="*/ 471 h 700"/>
                  <a:gd name="T18" fmla="*/ 7 w 702"/>
                  <a:gd name="T19" fmla="*/ 420 h 700"/>
                  <a:gd name="T20" fmla="*/ 1 w 702"/>
                  <a:gd name="T21" fmla="*/ 369 h 700"/>
                  <a:gd name="T22" fmla="*/ 1 w 702"/>
                  <a:gd name="T23" fmla="*/ 331 h 700"/>
                  <a:gd name="T24" fmla="*/ 7 w 702"/>
                  <a:gd name="T25" fmla="*/ 280 h 700"/>
                  <a:gd name="T26" fmla="*/ 22 w 702"/>
                  <a:gd name="T27" fmla="*/ 229 h 700"/>
                  <a:gd name="T28" fmla="*/ 43 w 702"/>
                  <a:gd name="T29" fmla="*/ 183 h 700"/>
                  <a:gd name="T30" fmla="*/ 70 w 702"/>
                  <a:gd name="T31" fmla="*/ 140 h 700"/>
                  <a:gd name="T32" fmla="*/ 104 w 702"/>
                  <a:gd name="T33" fmla="*/ 102 h 700"/>
                  <a:gd name="T34" fmla="*/ 142 w 702"/>
                  <a:gd name="T35" fmla="*/ 69 h 700"/>
                  <a:gd name="T36" fmla="*/ 184 w 702"/>
                  <a:gd name="T37" fmla="*/ 42 h 700"/>
                  <a:gd name="T38" fmla="*/ 231 w 702"/>
                  <a:gd name="T39" fmla="*/ 21 h 700"/>
                  <a:gd name="T40" fmla="*/ 280 w 702"/>
                  <a:gd name="T41" fmla="*/ 7 h 700"/>
                  <a:gd name="T42" fmla="*/ 333 w 702"/>
                  <a:gd name="T43" fmla="*/ 0 h 700"/>
                  <a:gd name="T44" fmla="*/ 369 w 702"/>
                  <a:gd name="T45" fmla="*/ 0 h 700"/>
                  <a:gd name="T46" fmla="*/ 422 w 702"/>
                  <a:gd name="T47" fmla="*/ 7 h 700"/>
                  <a:gd name="T48" fmla="*/ 471 w 702"/>
                  <a:gd name="T49" fmla="*/ 21 h 700"/>
                  <a:gd name="T50" fmla="*/ 518 w 702"/>
                  <a:gd name="T51" fmla="*/ 42 h 700"/>
                  <a:gd name="T52" fmla="*/ 561 w 702"/>
                  <a:gd name="T53" fmla="*/ 69 h 700"/>
                  <a:gd name="T54" fmla="*/ 598 w 702"/>
                  <a:gd name="T55" fmla="*/ 102 h 700"/>
                  <a:gd name="T56" fmla="*/ 632 w 702"/>
                  <a:gd name="T57" fmla="*/ 140 h 700"/>
                  <a:gd name="T58" fmla="*/ 659 w 702"/>
                  <a:gd name="T59" fmla="*/ 183 h 700"/>
                  <a:gd name="T60" fmla="*/ 680 w 702"/>
                  <a:gd name="T61" fmla="*/ 229 h 700"/>
                  <a:gd name="T62" fmla="*/ 694 w 702"/>
                  <a:gd name="T63" fmla="*/ 280 h 700"/>
                  <a:gd name="T64" fmla="*/ 701 w 702"/>
                  <a:gd name="T65" fmla="*/ 331 h 700"/>
                  <a:gd name="T66" fmla="*/ 701 w 702"/>
                  <a:gd name="T67" fmla="*/ 369 h 700"/>
                  <a:gd name="T68" fmla="*/ 694 w 702"/>
                  <a:gd name="T69" fmla="*/ 420 h 700"/>
                  <a:gd name="T70" fmla="*/ 680 w 702"/>
                  <a:gd name="T71" fmla="*/ 471 h 700"/>
                  <a:gd name="T72" fmla="*/ 659 w 702"/>
                  <a:gd name="T73" fmla="*/ 517 h 700"/>
                  <a:gd name="T74" fmla="*/ 632 w 702"/>
                  <a:gd name="T75" fmla="*/ 560 h 700"/>
                  <a:gd name="T76" fmla="*/ 598 w 702"/>
                  <a:gd name="T77" fmla="*/ 598 h 700"/>
                  <a:gd name="T78" fmla="*/ 561 w 702"/>
                  <a:gd name="T79" fmla="*/ 631 h 700"/>
                  <a:gd name="T80" fmla="*/ 518 w 702"/>
                  <a:gd name="T81" fmla="*/ 658 h 700"/>
                  <a:gd name="T82" fmla="*/ 471 w 702"/>
                  <a:gd name="T83" fmla="*/ 679 h 700"/>
                  <a:gd name="T84" fmla="*/ 422 w 702"/>
                  <a:gd name="T85" fmla="*/ 693 h 700"/>
                  <a:gd name="T86" fmla="*/ 369 w 702"/>
                  <a:gd name="T87" fmla="*/ 70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2" h="700">
                    <a:moveTo>
                      <a:pt x="352" y="700"/>
                    </a:moveTo>
                    <a:lnTo>
                      <a:pt x="352" y="700"/>
                    </a:lnTo>
                    <a:lnTo>
                      <a:pt x="333" y="700"/>
                    </a:lnTo>
                    <a:lnTo>
                      <a:pt x="316" y="699"/>
                    </a:lnTo>
                    <a:lnTo>
                      <a:pt x="297" y="697"/>
                    </a:lnTo>
                    <a:lnTo>
                      <a:pt x="280" y="693"/>
                    </a:lnTo>
                    <a:lnTo>
                      <a:pt x="264" y="689"/>
                    </a:lnTo>
                    <a:lnTo>
                      <a:pt x="247" y="684"/>
                    </a:lnTo>
                    <a:lnTo>
                      <a:pt x="231" y="679"/>
                    </a:lnTo>
                    <a:lnTo>
                      <a:pt x="215" y="673"/>
                    </a:lnTo>
                    <a:lnTo>
                      <a:pt x="199" y="666"/>
                    </a:lnTo>
                    <a:lnTo>
                      <a:pt x="184" y="658"/>
                    </a:lnTo>
                    <a:lnTo>
                      <a:pt x="169" y="650"/>
                    </a:lnTo>
                    <a:lnTo>
                      <a:pt x="155" y="641"/>
                    </a:lnTo>
                    <a:lnTo>
                      <a:pt x="142" y="631"/>
                    </a:lnTo>
                    <a:lnTo>
                      <a:pt x="128" y="620"/>
                    </a:lnTo>
                    <a:lnTo>
                      <a:pt x="116" y="609"/>
                    </a:lnTo>
                    <a:lnTo>
                      <a:pt x="104" y="598"/>
                    </a:lnTo>
                    <a:lnTo>
                      <a:pt x="91" y="586"/>
                    </a:lnTo>
                    <a:lnTo>
                      <a:pt x="80" y="573"/>
                    </a:lnTo>
                    <a:lnTo>
                      <a:pt x="70" y="560"/>
                    </a:lnTo>
                    <a:lnTo>
                      <a:pt x="60" y="546"/>
                    </a:lnTo>
                    <a:lnTo>
                      <a:pt x="52" y="531"/>
                    </a:lnTo>
                    <a:lnTo>
                      <a:pt x="43" y="517"/>
                    </a:lnTo>
                    <a:lnTo>
                      <a:pt x="35" y="502"/>
                    </a:lnTo>
                    <a:lnTo>
                      <a:pt x="28" y="487"/>
                    </a:lnTo>
                    <a:lnTo>
                      <a:pt x="22" y="471"/>
                    </a:lnTo>
                    <a:lnTo>
                      <a:pt x="16" y="454"/>
                    </a:lnTo>
                    <a:lnTo>
                      <a:pt x="11" y="438"/>
                    </a:lnTo>
                    <a:lnTo>
                      <a:pt x="7" y="420"/>
                    </a:lnTo>
                    <a:lnTo>
                      <a:pt x="5" y="403"/>
                    </a:lnTo>
                    <a:lnTo>
                      <a:pt x="3" y="386"/>
                    </a:lnTo>
                    <a:lnTo>
                      <a:pt x="1" y="369"/>
                    </a:lnTo>
                    <a:lnTo>
                      <a:pt x="0" y="350"/>
                    </a:lnTo>
                    <a:lnTo>
                      <a:pt x="0" y="350"/>
                    </a:lnTo>
                    <a:lnTo>
                      <a:pt x="1" y="331"/>
                    </a:lnTo>
                    <a:lnTo>
                      <a:pt x="3" y="314"/>
                    </a:lnTo>
                    <a:lnTo>
                      <a:pt x="5" y="297"/>
                    </a:lnTo>
                    <a:lnTo>
                      <a:pt x="7" y="280"/>
                    </a:lnTo>
                    <a:lnTo>
                      <a:pt x="11" y="262"/>
                    </a:lnTo>
                    <a:lnTo>
                      <a:pt x="16" y="246"/>
                    </a:lnTo>
                    <a:lnTo>
                      <a:pt x="22" y="229"/>
                    </a:lnTo>
                    <a:lnTo>
                      <a:pt x="28" y="213"/>
                    </a:lnTo>
                    <a:lnTo>
                      <a:pt x="35" y="198"/>
                    </a:lnTo>
                    <a:lnTo>
                      <a:pt x="43" y="183"/>
                    </a:lnTo>
                    <a:lnTo>
                      <a:pt x="52" y="169"/>
                    </a:lnTo>
                    <a:lnTo>
                      <a:pt x="60" y="154"/>
                    </a:lnTo>
                    <a:lnTo>
                      <a:pt x="70" y="140"/>
                    </a:lnTo>
                    <a:lnTo>
                      <a:pt x="80" y="127"/>
                    </a:lnTo>
                    <a:lnTo>
                      <a:pt x="91" y="114"/>
                    </a:lnTo>
                    <a:lnTo>
                      <a:pt x="104" y="102"/>
                    </a:lnTo>
                    <a:lnTo>
                      <a:pt x="116" y="91"/>
                    </a:lnTo>
                    <a:lnTo>
                      <a:pt x="128" y="80"/>
                    </a:lnTo>
                    <a:lnTo>
                      <a:pt x="142" y="69"/>
                    </a:lnTo>
                    <a:lnTo>
                      <a:pt x="155" y="59"/>
                    </a:lnTo>
                    <a:lnTo>
                      <a:pt x="169" y="50"/>
                    </a:lnTo>
                    <a:lnTo>
                      <a:pt x="184" y="42"/>
                    </a:lnTo>
                    <a:lnTo>
                      <a:pt x="199" y="34"/>
                    </a:lnTo>
                    <a:lnTo>
                      <a:pt x="215" y="27"/>
                    </a:lnTo>
                    <a:lnTo>
                      <a:pt x="231" y="21"/>
                    </a:lnTo>
                    <a:lnTo>
                      <a:pt x="247" y="16"/>
                    </a:lnTo>
                    <a:lnTo>
                      <a:pt x="264" y="11"/>
                    </a:lnTo>
                    <a:lnTo>
                      <a:pt x="280" y="7"/>
                    </a:lnTo>
                    <a:lnTo>
                      <a:pt x="297" y="3"/>
                    </a:lnTo>
                    <a:lnTo>
                      <a:pt x="316" y="1"/>
                    </a:lnTo>
                    <a:lnTo>
                      <a:pt x="333" y="0"/>
                    </a:lnTo>
                    <a:lnTo>
                      <a:pt x="352" y="0"/>
                    </a:lnTo>
                    <a:lnTo>
                      <a:pt x="352" y="0"/>
                    </a:lnTo>
                    <a:lnTo>
                      <a:pt x="369" y="0"/>
                    </a:lnTo>
                    <a:lnTo>
                      <a:pt x="387" y="1"/>
                    </a:lnTo>
                    <a:lnTo>
                      <a:pt x="405" y="3"/>
                    </a:lnTo>
                    <a:lnTo>
                      <a:pt x="422" y="7"/>
                    </a:lnTo>
                    <a:lnTo>
                      <a:pt x="439" y="11"/>
                    </a:lnTo>
                    <a:lnTo>
                      <a:pt x="455" y="16"/>
                    </a:lnTo>
                    <a:lnTo>
                      <a:pt x="471" y="21"/>
                    </a:lnTo>
                    <a:lnTo>
                      <a:pt x="487" y="27"/>
                    </a:lnTo>
                    <a:lnTo>
                      <a:pt x="503" y="34"/>
                    </a:lnTo>
                    <a:lnTo>
                      <a:pt x="518" y="42"/>
                    </a:lnTo>
                    <a:lnTo>
                      <a:pt x="533" y="50"/>
                    </a:lnTo>
                    <a:lnTo>
                      <a:pt x="546" y="59"/>
                    </a:lnTo>
                    <a:lnTo>
                      <a:pt x="561" y="69"/>
                    </a:lnTo>
                    <a:lnTo>
                      <a:pt x="574" y="80"/>
                    </a:lnTo>
                    <a:lnTo>
                      <a:pt x="587" y="91"/>
                    </a:lnTo>
                    <a:lnTo>
                      <a:pt x="598" y="102"/>
                    </a:lnTo>
                    <a:lnTo>
                      <a:pt x="611" y="114"/>
                    </a:lnTo>
                    <a:lnTo>
                      <a:pt x="622" y="127"/>
                    </a:lnTo>
                    <a:lnTo>
                      <a:pt x="632" y="140"/>
                    </a:lnTo>
                    <a:lnTo>
                      <a:pt x="641" y="154"/>
                    </a:lnTo>
                    <a:lnTo>
                      <a:pt x="651" y="169"/>
                    </a:lnTo>
                    <a:lnTo>
                      <a:pt x="659" y="183"/>
                    </a:lnTo>
                    <a:lnTo>
                      <a:pt x="667" y="198"/>
                    </a:lnTo>
                    <a:lnTo>
                      <a:pt x="673" y="213"/>
                    </a:lnTo>
                    <a:lnTo>
                      <a:pt x="680" y="229"/>
                    </a:lnTo>
                    <a:lnTo>
                      <a:pt x="686" y="246"/>
                    </a:lnTo>
                    <a:lnTo>
                      <a:pt x="691" y="262"/>
                    </a:lnTo>
                    <a:lnTo>
                      <a:pt x="694" y="280"/>
                    </a:lnTo>
                    <a:lnTo>
                      <a:pt x="697" y="297"/>
                    </a:lnTo>
                    <a:lnTo>
                      <a:pt x="699" y="314"/>
                    </a:lnTo>
                    <a:lnTo>
                      <a:pt x="701" y="331"/>
                    </a:lnTo>
                    <a:lnTo>
                      <a:pt x="702" y="350"/>
                    </a:lnTo>
                    <a:lnTo>
                      <a:pt x="702" y="350"/>
                    </a:lnTo>
                    <a:lnTo>
                      <a:pt x="701" y="369"/>
                    </a:lnTo>
                    <a:lnTo>
                      <a:pt x="699" y="386"/>
                    </a:lnTo>
                    <a:lnTo>
                      <a:pt x="697" y="403"/>
                    </a:lnTo>
                    <a:lnTo>
                      <a:pt x="694" y="420"/>
                    </a:lnTo>
                    <a:lnTo>
                      <a:pt x="691" y="438"/>
                    </a:lnTo>
                    <a:lnTo>
                      <a:pt x="686" y="454"/>
                    </a:lnTo>
                    <a:lnTo>
                      <a:pt x="680" y="471"/>
                    </a:lnTo>
                    <a:lnTo>
                      <a:pt x="673" y="487"/>
                    </a:lnTo>
                    <a:lnTo>
                      <a:pt x="667" y="502"/>
                    </a:lnTo>
                    <a:lnTo>
                      <a:pt x="659" y="517"/>
                    </a:lnTo>
                    <a:lnTo>
                      <a:pt x="651" y="531"/>
                    </a:lnTo>
                    <a:lnTo>
                      <a:pt x="641" y="546"/>
                    </a:lnTo>
                    <a:lnTo>
                      <a:pt x="632" y="560"/>
                    </a:lnTo>
                    <a:lnTo>
                      <a:pt x="622" y="573"/>
                    </a:lnTo>
                    <a:lnTo>
                      <a:pt x="611" y="586"/>
                    </a:lnTo>
                    <a:lnTo>
                      <a:pt x="598" y="598"/>
                    </a:lnTo>
                    <a:lnTo>
                      <a:pt x="587" y="609"/>
                    </a:lnTo>
                    <a:lnTo>
                      <a:pt x="574" y="620"/>
                    </a:lnTo>
                    <a:lnTo>
                      <a:pt x="561" y="631"/>
                    </a:lnTo>
                    <a:lnTo>
                      <a:pt x="546" y="641"/>
                    </a:lnTo>
                    <a:lnTo>
                      <a:pt x="533" y="650"/>
                    </a:lnTo>
                    <a:lnTo>
                      <a:pt x="518" y="658"/>
                    </a:lnTo>
                    <a:lnTo>
                      <a:pt x="503" y="666"/>
                    </a:lnTo>
                    <a:lnTo>
                      <a:pt x="487" y="673"/>
                    </a:lnTo>
                    <a:lnTo>
                      <a:pt x="471" y="679"/>
                    </a:lnTo>
                    <a:lnTo>
                      <a:pt x="455" y="684"/>
                    </a:lnTo>
                    <a:lnTo>
                      <a:pt x="439" y="689"/>
                    </a:lnTo>
                    <a:lnTo>
                      <a:pt x="422" y="693"/>
                    </a:lnTo>
                    <a:lnTo>
                      <a:pt x="405" y="697"/>
                    </a:lnTo>
                    <a:lnTo>
                      <a:pt x="387" y="699"/>
                    </a:lnTo>
                    <a:lnTo>
                      <a:pt x="369" y="700"/>
                    </a:lnTo>
                    <a:lnTo>
                      <a:pt x="352" y="700"/>
                    </a:lnTo>
                    <a:lnTo>
                      <a:pt x="352" y="700"/>
                    </a:lnTo>
                    <a:close/>
                  </a:path>
                </a:pathLst>
              </a:custGeom>
              <a:solidFill>
                <a:srgbClr val="0091D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1" name="Freeform 61">
                <a:extLst>
                  <a:ext uri="{FF2B5EF4-FFF2-40B4-BE49-F238E27FC236}">
                    <a16:creationId xmlns:a16="http://schemas.microsoft.com/office/drawing/2014/main" id="{7C6C5397-7B55-71B3-C7DD-AECAFCE6BA28}"/>
                  </a:ext>
                </a:extLst>
              </p:cNvPr>
              <p:cNvSpPr>
                <a:spLocks/>
              </p:cNvSpPr>
              <p:nvPr/>
            </p:nvSpPr>
            <p:spPr bwMode="auto">
              <a:xfrm>
                <a:off x="5824134" y="3149968"/>
                <a:ext cx="410131" cy="539429"/>
              </a:xfrm>
              <a:custGeom>
                <a:avLst/>
                <a:gdLst>
                  <a:gd name="T0" fmla="*/ 0 w 287"/>
                  <a:gd name="T1" fmla="*/ 395 h 395"/>
                  <a:gd name="T2" fmla="*/ 0 w 287"/>
                  <a:gd name="T3" fmla="*/ 183 h 395"/>
                  <a:gd name="T4" fmla="*/ 0 w 287"/>
                  <a:gd name="T5" fmla="*/ 77 h 395"/>
                  <a:gd name="T6" fmla="*/ 75 w 287"/>
                  <a:gd name="T7" fmla="*/ 0 h 395"/>
                  <a:gd name="T8" fmla="*/ 287 w 287"/>
                  <a:gd name="T9" fmla="*/ 0 h 395"/>
                  <a:gd name="T10" fmla="*/ 287 w 287"/>
                  <a:gd name="T11" fmla="*/ 79 h 395"/>
                  <a:gd name="T12" fmla="*/ 287 w 287"/>
                  <a:gd name="T13" fmla="*/ 183 h 395"/>
                  <a:gd name="T14" fmla="*/ 287 w 287"/>
                  <a:gd name="T15" fmla="*/ 395 h 395"/>
                  <a:gd name="T16" fmla="*/ 0 w 287"/>
                  <a:gd name="T17" fmla="*/ 39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7" h="395">
                    <a:moveTo>
                      <a:pt x="0" y="395"/>
                    </a:moveTo>
                    <a:lnTo>
                      <a:pt x="0" y="183"/>
                    </a:lnTo>
                    <a:lnTo>
                      <a:pt x="0" y="77"/>
                    </a:lnTo>
                    <a:lnTo>
                      <a:pt x="75" y="0"/>
                    </a:lnTo>
                    <a:lnTo>
                      <a:pt x="287" y="0"/>
                    </a:lnTo>
                    <a:lnTo>
                      <a:pt x="287" y="79"/>
                    </a:lnTo>
                    <a:lnTo>
                      <a:pt x="287" y="183"/>
                    </a:lnTo>
                    <a:lnTo>
                      <a:pt x="287" y="395"/>
                    </a:lnTo>
                    <a:lnTo>
                      <a:pt x="0" y="3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sp>
          <p:nvSpPr>
            <p:cNvPr id="382" name="Freeform 62">
              <a:extLst>
                <a:ext uri="{FF2B5EF4-FFF2-40B4-BE49-F238E27FC236}">
                  <a16:creationId xmlns:a16="http://schemas.microsoft.com/office/drawing/2014/main" id="{6836A92B-0D4F-2B35-1F99-8F4EB7E6336C}"/>
                </a:ext>
              </a:extLst>
            </p:cNvPr>
            <p:cNvSpPr>
              <a:spLocks/>
            </p:cNvSpPr>
            <p:nvPr/>
          </p:nvSpPr>
          <p:spPr bwMode="auto">
            <a:xfrm>
              <a:off x="5824134" y="3149968"/>
              <a:ext cx="107177" cy="105155"/>
            </a:xfrm>
            <a:custGeom>
              <a:avLst/>
              <a:gdLst>
                <a:gd name="T0" fmla="*/ 75 w 75"/>
                <a:gd name="T1" fmla="*/ 77 h 77"/>
                <a:gd name="T2" fmla="*/ 0 w 75"/>
                <a:gd name="T3" fmla="*/ 77 h 77"/>
                <a:gd name="T4" fmla="*/ 75 w 75"/>
                <a:gd name="T5" fmla="*/ 0 h 77"/>
                <a:gd name="T6" fmla="*/ 75 w 75"/>
                <a:gd name="T7" fmla="*/ 77 h 77"/>
              </a:gdLst>
              <a:ahLst/>
              <a:cxnLst>
                <a:cxn ang="0">
                  <a:pos x="T0" y="T1"/>
                </a:cxn>
                <a:cxn ang="0">
                  <a:pos x="T2" y="T3"/>
                </a:cxn>
                <a:cxn ang="0">
                  <a:pos x="T4" y="T5"/>
                </a:cxn>
                <a:cxn ang="0">
                  <a:pos x="T6" y="T7"/>
                </a:cxn>
              </a:cxnLst>
              <a:rect l="0" t="0" r="r" b="b"/>
              <a:pathLst>
                <a:path w="75" h="77">
                  <a:moveTo>
                    <a:pt x="75" y="77"/>
                  </a:moveTo>
                  <a:lnTo>
                    <a:pt x="0" y="77"/>
                  </a:lnTo>
                  <a:lnTo>
                    <a:pt x="75" y="0"/>
                  </a:lnTo>
                  <a:lnTo>
                    <a:pt x="75" y="77"/>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3" name="Freeform 63">
              <a:extLst>
                <a:ext uri="{FF2B5EF4-FFF2-40B4-BE49-F238E27FC236}">
                  <a16:creationId xmlns:a16="http://schemas.microsoft.com/office/drawing/2014/main" id="{FE928E08-9172-AD02-AF25-9B5D47267D5A}"/>
                </a:ext>
              </a:extLst>
            </p:cNvPr>
            <p:cNvSpPr>
              <a:spLocks/>
            </p:cNvSpPr>
            <p:nvPr/>
          </p:nvSpPr>
          <p:spPr bwMode="auto">
            <a:xfrm>
              <a:off x="5824134" y="3255122"/>
              <a:ext cx="107177" cy="103789"/>
            </a:xfrm>
            <a:custGeom>
              <a:avLst/>
              <a:gdLst>
                <a:gd name="T0" fmla="*/ 0 w 75"/>
                <a:gd name="T1" fmla="*/ 0 h 76"/>
                <a:gd name="T2" fmla="*/ 75 w 75"/>
                <a:gd name="T3" fmla="*/ 0 h 76"/>
                <a:gd name="T4" fmla="*/ 0 w 75"/>
                <a:gd name="T5" fmla="*/ 76 h 76"/>
                <a:gd name="T6" fmla="*/ 0 w 75"/>
                <a:gd name="T7" fmla="*/ 0 h 76"/>
              </a:gdLst>
              <a:ahLst/>
              <a:cxnLst>
                <a:cxn ang="0">
                  <a:pos x="T0" y="T1"/>
                </a:cxn>
                <a:cxn ang="0">
                  <a:pos x="T2" y="T3"/>
                </a:cxn>
                <a:cxn ang="0">
                  <a:pos x="T4" y="T5"/>
                </a:cxn>
                <a:cxn ang="0">
                  <a:pos x="T6" y="T7"/>
                </a:cxn>
              </a:cxnLst>
              <a:rect l="0" t="0" r="r" b="b"/>
              <a:pathLst>
                <a:path w="75" h="76">
                  <a:moveTo>
                    <a:pt x="0" y="0"/>
                  </a:moveTo>
                  <a:lnTo>
                    <a:pt x="75" y="0"/>
                  </a:lnTo>
                  <a:lnTo>
                    <a:pt x="0" y="76"/>
                  </a:lnTo>
                  <a:lnTo>
                    <a:pt x="0" y="0"/>
                  </a:lnTo>
                  <a:close/>
                </a:path>
              </a:pathLst>
            </a:custGeom>
            <a:solidFill>
              <a:srgbClr val="D1E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4" name="Freeform 64">
              <a:extLst>
                <a:ext uri="{FF2B5EF4-FFF2-40B4-BE49-F238E27FC236}">
                  <a16:creationId xmlns:a16="http://schemas.microsoft.com/office/drawing/2014/main" id="{32D2778C-5DC7-BFE0-261B-E72F9A69330F}"/>
                </a:ext>
              </a:extLst>
            </p:cNvPr>
            <p:cNvSpPr>
              <a:spLocks/>
            </p:cNvSpPr>
            <p:nvPr/>
          </p:nvSpPr>
          <p:spPr bwMode="auto">
            <a:xfrm>
              <a:off x="5861289" y="3506400"/>
              <a:ext cx="134329" cy="127005"/>
            </a:xfrm>
            <a:custGeom>
              <a:avLst/>
              <a:gdLst>
                <a:gd name="T0" fmla="*/ 43 w 94"/>
                <a:gd name="T1" fmla="*/ 49 h 93"/>
                <a:gd name="T2" fmla="*/ 43 w 94"/>
                <a:gd name="T3" fmla="*/ 0 h 93"/>
                <a:gd name="T4" fmla="*/ 43 w 94"/>
                <a:gd name="T5" fmla="*/ 0 h 93"/>
                <a:gd name="T6" fmla="*/ 34 w 94"/>
                <a:gd name="T7" fmla="*/ 1 h 93"/>
                <a:gd name="T8" fmla="*/ 27 w 94"/>
                <a:gd name="T9" fmla="*/ 5 h 93"/>
                <a:gd name="T10" fmla="*/ 20 w 94"/>
                <a:gd name="T11" fmla="*/ 8 h 93"/>
                <a:gd name="T12" fmla="*/ 12 w 94"/>
                <a:gd name="T13" fmla="*/ 14 h 93"/>
                <a:gd name="T14" fmla="*/ 7 w 94"/>
                <a:gd name="T15" fmla="*/ 21 h 93"/>
                <a:gd name="T16" fmla="*/ 4 w 94"/>
                <a:gd name="T17" fmla="*/ 29 h 93"/>
                <a:gd name="T18" fmla="*/ 1 w 94"/>
                <a:gd name="T19" fmla="*/ 37 h 93"/>
                <a:gd name="T20" fmla="*/ 0 w 94"/>
                <a:gd name="T21" fmla="*/ 47 h 93"/>
                <a:gd name="T22" fmla="*/ 0 w 94"/>
                <a:gd name="T23" fmla="*/ 47 h 93"/>
                <a:gd name="T24" fmla="*/ 1 w 94"/>
                <a:gd name="T25" fmla="*/ 55 h 93"/>
                <a:gd name="T26" fmla="*/ 4 w 94"/>
                <a:gd name="T27" fmla="*/ 64 h 93"/>
                <a:gd name="T28" fmla="*/ 9 w 94"/>
                <a:gd name="T29" fmla="*/ 72 h 93"/>
                <a:gd name="T30" fmla="*/ 13 w 94"/>
                <a:gd name="T31" fmla="*/ 79 h 93"/>
                <a:gd name="T32" fmla="*/ 21 w 94"/>
                <a:gd name="T33" fmla="*/ 85 h 93"/>
                <a:gd name="T34" fmla="*/ 28 w 94"/>
                <a:gd name="T35" fmla="*/ 90 h 93"/>
                <a:gd name="T36" fmla="*/ 37 w 94"/>
                <a:gd name="T37" fmla="*/ 92 h 93"/>
                <a:gd name="T38" fmla="*/ 47 w 94"/>
                <a:gd name="T39" fmla="*/ 93 h 93"/>
                <a:gd name="T40" fmla="*/ 47 w 94"/>
                <a:gd name="T41" fmla="*/ 93 h 93"/>
                <a:gd name="T42" fmla="*/ 55 w 94"/>
                <a:gd name="T43" fmla="*/ 92 h 93"/>
                <a:gd name="T44" fmla="*/ 64 w 94"/>
                <a:gd name="T45" fmla="*/ 90 h 93"/>
                <a:gd name="T46" fmla="*/ 71 w 94"/>
                <a:gd name="T47" fmla="*/ 86 h 93"/>
                <a:gd name="T48" fmla="*/ 79 w 94"/>
                <a:gd name="T49" fmla="*/ 80 h 93"/>
                <a:gd name="T50" fmla="*/ 84 w 94"/>
                <a:gd name="T51" fmla="*/ 74 h 93"/>
                <a:gd name="T52" fmla="*/ 89 w 94"/>
                <a:gd name="T53" fmla="*/ 66 h 93"/>
                <a:gd name="T54" fmla="*/ 91 w 94"/>
                <a:gd name="T55" fmla="*/ 58 h 93"/>
                <a:gd name="T56" fmla="*/ 94 w 94"/>
                <a:gd name="T57" fmla="*/ 49 h 93"/>
                <a:gd name="T58" fmla="*/ 43 w 94"/>
                <a:gd name="T59" fmla="*/ 4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4" h="93">
                  <a:moveTo>
                    <a:pt x="43" y="49"/>
                  </a:moveTo>
                  <a:lnTo>
                    <a:pt x="43" y="0"/>
                  </a:lnTo>
                  <a:lnTo>
                    <a:pt x="43" y="0"/>
                  </a:lnTo>
                  <a:lnTo>
                    <a:pt x="34" y="1"/>
                  </a:lnTo>
                  <a:lnTo>
                    <a:pt x="27" y="5"/>
                  </a:lnTo>
                  <a:lnTo>
                    <a:pt x="20" y="8"/>
                  </a:lnTo>
                  <a:lnTo>
                    <a:pt x="12" y="14"/>
                  </a:lnTo>
                  <a:lnTo>
                    <a:pt x="7" y="21"/>
                  </a:lnTo>
                  <a:lnTo>
                    <a:pt x="4" y="29"/>
                  </a:lnTo>
                  <a:lnTo>
                    <a:pt x="1" y="37"/>
                  </a:lnTo>
                  <a:lnTo>
                    <a:pt x="0" y="47"/>
                  </a:lnTo>
                  <a:lnTo>
                    <a:pt x="0" y="47"/>
                  </a:lnTo>
                  <a:lnTo>
                    <a:pt x="1" y="55"/>
                  </a:lnTo>
                  <a:lnTo>
                    <a:pt x="4" y="64"/>
                  </a:lnTo>
                  <a:lnTo>
                    <a:pt x="9" y="72"/>
                  </a:lnTo>
                  <a:lnTo>
                    <a:pt x="13" y="79"/>
                  </a:lnTo>
                  <a:lnTo>
                    <a:pt x="21" y="85"/>
                  </a:lnTo>
                  <a:lnTo>
                    <a:pt x="28" y="90"/>
                  </a:lnTo>
                  <a:lnTo>
                    <a:pt x="37" y="92"/>
                  </a:lnTo>
                  <a:lnTo>
                    <a:pt x="47" y="93"/>
                  </a:lnTo>
                  <a:lnTo>
                    <a:pt x="47" y="93"/>
                  </a:lnTo>
                  <a:lnTo>
                    <a:pt x="55" y="92"/>
                  </a:lnTo>
                  <a:lnTo>
                    <a:pt x="64" y="90"/>
                  </a:lnTo>
                  <a:lnTo>
                    <a:pt x="71" y="86"/>
                  </a:lnTo>
                  <a:lnTo>
                    <a:pt x="79" y="80"/>
                  </a:lnTo>
                  <a:lnTo>
                    <a:pt x="84" y="74"/>
                  </a:lnTo>
                  <a:lnTo>
                    <a:pt x="89" y="66"/>
                  </a:lnTo>
                  <a:lnTo>
                    <a:pt x="91" y="58"/>
                  </a:lnTo>
                  <a:lnTo>
                    <a:pt x="94" y="49"/>
                  </a:lnTo>
                  <a:lnTo>
                    <a:pt x="43" y="49"/>
                  </a:lnTo>
                  <a:close/>
                </a:path>
              </a:pathLst>
            </a:custGeom>
            <a:solidFill>
              <a:srgbClr val="2C58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5" name="Freeform 65">
              <a:extLst>
                <a:ext uri="{FF2B5EF4-FFF2-40B4-BE49-F238E27FC236}">
                  <a16:creationId xmlns:a16="http://schemas.microsoft.com/office/drawing/2014/main" id="{C3C909CE-604F-4DF6-18BC-6CBC0E0C11CD}"/>
                </a:ext>
              </a:extLst>
            </p:cNvPr>
            <p:cNvSpPr>
              <a:spLocks/>
            </p:cNvSpPr>
            <p:nvPr/>
          </p:nvSpPr>
          <p:spPr bwMode="auto">
            <a:xfrm>
              <a:off x="5942744" y="3509131"/>
              <a:ext cx="48587" cy="49163"/>
            </a:xfrm>
            <a:custGeom>
              <a:avLst/>
              <a:gdLst>
                <a:gd name="T0" fmla="*/ 34 w 34"/>
                <a:gd name="T1" fmla="*/ 36 h 36"/>
                <a:gd name="T2" fmla="*/ 34 w 34"/>
                <a:gd name="T3" fmla="*/ 36 h 36"/>
                <a:gd name="T4" fmla="*/ 33 w 34"/>
                <a:gd name="T5" fmla="*/ 29 h 36"/>
                <a:gd name="T6" fmla="*/ 32 w 34"/>
                <a:gd name="T7" fmla="*/ 22 h 36"/>
                <a:gd name="T8" fmla="*/ 28 w 34"/>
                <a:gd name="T9" fmla="*/ 16 h 36"/>
                <a:gd name="T10" fmla="*/ 24 w 34"/>
                <a:gd name="T11" fmla="*/ 11 h 36"/>
                <a:gd name="T12" fmla="*/ 18 w 34"/>
                <a:gd name="T13" fmla="*/ 6 h 36"/>
                <a:gd name="T14" fmla="*/ 13 w 34"/>
                <a:gd name="T15" fmla="*/ 4 h 36"/>
                <a:gd name="T16" fmla="*/ 6 w 34"/>
                <a:gd name="T17" fmla="*/ 1 h 36"/>
                <a:gd name="T18" fmla="*/ 0 w 34"/>
                <a:gd name="T19" fmla="*/ 0 h 36"/>
                <a:gd name="T20" fmla="*/ 0 w 34"/>
                <a:gd name="T21" fmla="*/ 36 h 36"/>
                <a:gd name="T22" fmla="*/ 34 w 34"/>
                <a:gd name="T2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6">
                  <a:moveTo>
                    <a:pt x="34" y="36"/>
                  </a:moveTo>
                  <a:lnTo>
                    <a:pt x="34" y="36"/>
                  </a:lnTo>
                  <a:lnTo>
                    <a:pt x="33" y="29"/>
                  </a:lnTo>
                  <a:lnTo>
                    <a:pt x="32" y="22"/>
                  </a:lnTo>
                  <a:lnTo>
                    <a:pt x="28" y="16"/>
                  </a:lnTo>
                  <a:lnTo>
                    <a:pt x="24" y="11"/>
                  </a:lnTo>
                  <a:lnTo>
                    <a:pt x="18" y="6"/>
                  </a:lnTo>
                  <a:lnTo>
                    <a:pt x="13" y="4"/>
                  </a:lnTo>
                  <a:lnTo>
                    <a:pt x="6" y="1"/>
                  </a:lnTo>
                  <a:lnTo>
                    <a:pt x="0" y="0"/>
                  </a:lnTo>
                  <a:lnTo>
                    <a:pt x="0" y="36"/>
                  </a:lnTo>
                  <a:lnTo>
                    <a:pt x="34" y="36"/>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6" name="Freeform 66">
              <a:extLst>
                <a:ext uri="{FF2B5EF4-FFF2-40B4-BE49-F238E27FC236}">
                  <a16:creationId xmlns:a16="http://schemas.microsoft.com/office/drawing/2014/main" id="{A4C918D4-A62E-5F2D-8179-7A0DB9D0653D}"/>
                </a:ext>
              </a:extLst>
            </p:cNvPr>
            <p:cNvSpPr>
              <a:spLocks/>
            </p:cNvSpPr>
            <p:nvPr/>
          </p:nvSpPr>
          <p:spPr bwMode="auto">
            <a:xfrm>
              <a:off x="5949889" y="3376664"/>
              <a:ext cx="42871" cy="39604"/>
            </a:xfrm>
            <a:custGeom>
              <a:avLst/>
              <a:gdLst>
                <a:gd name="T0" fmla="*/ 4 w 30"/>
                <a:gd name="T1" fmla="*/ 0 h 29"/>
                <a:gd name="T2" fmla="*/ 4 w 30"/>
                <a:gd name="T3" fmla="*/ 0 h 29"/>
                <a:gd name="T4" fmla="*/ 2 w 30"/>
                <a:gd name="T5" fmla="*/ 5 h 29"/>
                <a:gd name="T6" fmla="*/ 0 w 30"/>
                <a:gd name="T7" fmla="*/ 8 h 29"/>
                <a:gd name="T8" fmla="*/ 16 w 30"/>
                <a:gd name="T9" fmla="*/ 29 h 29"/>
                <a:gd name="T10" fmla="*/ 16 w 30"/>
                <a:gd name="T11" fmla="*/ 29 h 29"/>
                <a:gd name="T12" fmla="*/ 21 w 30"/>
                <a:gd name="T13" fmla="*/ 23 h 29"/>
                <a:gd name="T14" fmla="*/ 24 w 30"/>
                <a:gd name="T15" fmla="*/ 17 h 29"/>
                <a:gd name="T16" fmla="*/ 28 w 30"/>
                <a:gd name="T17" fmla="*/ 11 h 29"/>
                <a:gd name="T18" fmla="*/ 30 w 30"/>
                <a:gd name="T19" fmla="*/ 3 h 29"/>
                <a:gd name="T20" fmla="*/ 4 w 30"/>
                <a:gd name="T2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29">
                  <a:moveTo>
                    <a:pt x="4" y="0"/>
                  </a:moveTo>
                  <a:lnTo>
                    <a:pt x="4" y="0"/>
                  </a:lnTo>
                  <a:lnTo>
                    <a:pt x="2" y="5"/>
                  </a:lnTo>
                  <a:lnTo>
                    <a:pt x="0" y="8"/>
                  </a:lnTo>
                  <a:lnTo>
                    <a:pt x="16" y="29"/>
                  </a:lnTo>
                  <a:lnTo>
                    <a:pt x="16" y="29"/>
                  </a:lnTo>
                  <a:lnTo>
                    <a:pt x="21" y="23"/>
                  </a:lnTo>
                  <a:lnTo>
                    <a:pt x="24" y="17"/>
                  </a:lnTo>
                  <a:lnTo>
                    <a:pt x="28" y="11"/>
                  </a:lnTo>
                  <a:lnTo>
                    <a:pt x="30" y="3"/>
                  </a:lnTo>
                  <a:lnTo>
                    <a:pt x="4" y="0"/>
                  </a:ln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7" name="Freeform 67">
              <a:extLst>
                <a:ext uri="{FF2B5EF4-FFF2-40B4-BE49-F238E27FC236}">
                  <a16:creationId xmlns:a16="http://schemas.microsoft.com/office/drawing/2014/main" id="{1AC0E4BE-4B02-05F1-C6EF-2C59C7C05246}"/>
                </a:ext>
              </a:extLst>
            </p:cNvPr>
            <p:cNvSpPr>
              <a:spLocks/>
            </p:cNvSpPr>
            <p:nvPr/>
          </p:nvSpPr>
          <p:spPr bwMode="auto">
            <a:xfrm>
              <a:off x="5932740" y="3304285"/>
              <a:ext cx="62877" cy="65551"/>
            </a:xfrm>
            <a:custGeom>
              <a:avLst/>
              <a:gdLst>
                <a:gd name="T0" fmla="*/ 0 w 44"/>
                <a:gd name="T1" fmla="*/ 27 h 48"/>
                <a:gd name="T2" fmla="*/ 0 w 44"/>
                <a:gd name="T3" fmla="*/ 27 h 48"/>
                <a:gd name="T4" fmla="*/ 7 w 44"/>
                <a:gd name="T5" fmla="*/ 28 h 48"/>
                <a:gd name="T6" fmla="*/ 12 w 44"/>
                <a:gd name="T7" fmla="*/ 33 h 48"/>
                <a:gd name="T8" fmla="*/ 15 w 44"/>
                <a:gd name="T9" fmla="*/ 38 h 48"/>
                <a:gd name="T10" fmla="*/ 18 w 44"/>
                <a:gd name="T11" fmla="*/ 44 h 48"/>
                <a:gd name="T12" fmla="*/ 44 w 44"/>
                <a:gd name="T13" fmla="*/ 48 h 48"/>
                <a:gd name="T14" fmla="*/ 44 w 44"/>
                <a:gd name="T15" fmla="*/ 48 h 48"/>
                <a:gd name="T16" fmla="*/ 44 w 44"/>
                <a:gd name="T17" fmla="*/ 47 h 48"/>
                <a:gd name="T18" fmla="*/ 44 w 44"/>
                <a:gd name="T19" fmla="*/ 47 h 48"/>
                <a:gd name="T20" fmla="*/ 42 w 44"/>
                <a:gd name="T21" fmla="*/ 38 h 48"/>
                <a:gd name="T22" fmla="*/ 40 w 44"/>
                <a:gd name="T23" fmla="*/ 29 h 48"/>
                <a:gd name="T24" fmla="*/ 36 w 44"/>
                <a:gd name="T25" fmla="*/ 22 h 48"/>
                <a:gd name="T26" fmla="*/ 31 w 44"/>
                <a:gd name="T27" fmla="*/ 16 h 48"/>
                <a:gd name="T28" fmla="*/ 25 w 44"/>
                <a:gd name="T29" fmla="*/ 10 h 48"/>
                <a:gd name="T30" fmla="*/ 18 w 44"/>
                <a:gd name="T31" fmla="*/ 5 h 48"/>
                <a:gd name="T32" fmla="*/ 9 w 44"/>
                <a:gd name="T33" fmla="*/ 2 h 48"/>
                <a:gd name="T34" fmla="*/ 0 w 44"/>
                <a:gd name="T35" fmla="*/ 0 h 48"/>
                <a:gd name="T36" fmla="*/ 0 w 44"/>
                <a:gd name="T37" fmla="*/ 2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 h="48">
                  <a:moveTo>
                    <a:pt x="0" y="27"/>
                  </a:moveTo>
                  <a:lnTo>
                    <a:pt x="0" y="27"/>
                  </a:lnTo>
                  <a:lnTo>
                    <a:pt x="7" y="28"/>
                  </a:lnTo>
                  <a:lnTo>
                    <a:pt x="12" y="33"/>
                  </a:lnTo>
                  <a:lnTo>
                    <a:pt x="15" y="38"/>
                  </a:lnTo>
                  <a:lnTo>
                    <a:pt x="18" y="44"/>
                  </a:lnTo>
                  <a:lnTo>
                    <a:pt x="44" y="48"/>
                  </a:lnTo>
                  <a:lnTo>
                    <a:pt x="44" y="48"/>
                  </a:lnTo>
                  <a:lnTo>
                    <a:pt x="44" y="47"/>
                  </a:lnTo>
                  <a:lnTo>
                    <a:pt x="44" y="47"/>
                  </a:lnTo>
                  <a:lnTo>
                    <a:pt x="42" y="38"/>
                  </a:lnTo>
                  <a:lnTo>
                    <a:pt x="40" y="29"/>
                  </a:lnTo>
                  <a:lnTo>
                    <a:pt x="36" y="22"/>
                  </a:lnTo>
                  <a:lnTo>
                    <a:pt x="31" y="16"/>
                  </a:lnTo>
                  <a:lnTo>
                    <a:pt x="25" y="10"/>
                  </a:lnTo>
                  <a:lnTo>
                    <a:pt x="18" y="5"/>
                  </a:lnTo>
                  <a:lnTo>
                    <a:pt x="9" y="2"/>
                  </a:lnTo>
                  <a:lnTo>
                    <a:pt x="0" y="0"/>
                  </a:lnTo>
                  <a:lnTo>
                    <a:pt x="0" y="27"/>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8" name="Freeform 68">
              <a:extLst>
                <a:ext uri="{FF2B5EF4-FFF2-40B4-BE49-F238E27FC236}">
                  <a16:creationId xmlns:a16="http://schemas.microsoft.com/office/drawing/2014/main" id="{1FC6C340-EC7A-7A2F-A6B7-D1A4F01820A1}"/>
                </a:ext>
              </a:extLst>
            </p:cNvPr>
            <p:cNvSpPr>
              <a:spLocks/>
            </p:cNvSpPr>
            <p:nvPr/>
          </p:nvSpPr>
          <p:spPr bwMode="auto">
            <a:xfrm>
              <a:off x="5874151" y="3304285"/>
              <a:ext cx="47158" cy="45067"/>
            </a:xfrm>
            <a:custGeom>
              <a:avLst/>
              <a:gdLst>
                <a:gd name="T0" fmla="*/ 22 w 33"/>
                <a:gd name="T1" fmla="*/ 33 h 33"/>
                <a:gd name="T2" fmla="*/ 22 w 33"/>
                <a:gd name="T3" fmla="*/ 33 h 33"/>
                <a:gd name="T4" fmla="*/ 27 w 33"/>
                <a:gd name="T5" fmla="*/ 28 h 33"/>
                <a:gd name="T6" fmla="*/ 33 w 33"/>
                <a:gd name="T7" fmla="*/ 27 h 33"/>
                <a:gd name="T8" fmla="*/ 33 w 33"/>
                <a:gd name="T9" fmla="*/ 0 h 33"/>
                <a:gd name="T10" fmla="*/ 33 w 33"/>
                <a:gd name="T11" fmla="*/ 0 h 33"/>
                <a:gd name="T12" fmla="*/ 23 w 33"/>
                <a:gd name="T13" fmla="*/ 2 h 33"/>
                <a:gd name="T14" fmla="*/ 14 w 33"/>
                <a:gd name="T15" fmla="*/ 6 h 33"/>
                <a:gd name="T16" fmla="*/ 7 w 33"/>
                <a:gd name="T17" fmla="*/ 12 h 33"/>
                <a:gd name="T18" fmla="*/ 0 w 33"/>
                <a:gd name="T19" fmla="*/ 19 h 33"/>
                <a:gd name="T20" fmla="*/ 22 w 33"/>
                <a:gd name="T21"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3">
                  <a:moveTo>
                    <a:pt x="22" y="33"/>
                  </a:moveTo>
                  <a:lnTo>
                    <a:pt x="22" y="33"/>
                  </a:lnTo>
                  <a:lnTo>
                    <a:pt x="27" y="28"/>
                  </a:lnTo>
                  <a:lnTo>
                    <a:pt x="33" y="27"/>
                  </a:lnTo>
                  <a:lnTo>
                    <a:pt x="33" y="0"/>
                  </a:lnTo>
                  <a:lnTo>
                    <a:pt x="33" y="0"/>
                  </a:lnTo>
                  <a:lnTo>
                    <a:pt x="23" y="2"/>
                  </a:lnTo>
                  <a:lnTo>
                    <a:pt x="14" y="6"/>
                  </a:lnTo>
                  <a:lnTo>
                    <a:pt x="7" y="12"/>
                  </a:lnTo>
                  <a:lnTo>
                    <a:pt x="0" y="19"/>
                  </a:lnTo>
                  <a:lnTo>
                    <a:pt x="22" y="33"/>
                  </a:lnTo>
                  <a:close/>
                </a:path>
              </a:pathLst>
            </a:custGeom>
            <a:solidFill>
              <a:srgbClr val="15B0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9" name="Freeform 69">
              <a:extLst>
                <a:ext uri="{FF2B5EF4-FFF2-40B4-BE49-F238E27FC236}">
                  <a16:creationId xmlns:a16="http://schemas.microsoft.com/office/drawing/2014/main" id="{1D1BC845-C7E8-577D-187A-844046C58903}"/>
                </a:ext>
              </a:extLst>
            </p:cNvPr>
            <p:cNvSpPr>
              <a:spLocks/>
            </p:cNvSpPr>
            <p:nvPr/>
          </p:nvSpPr>
          <p:spPr bwMode="auto">
            <a:xfrm>
              <a:off x="5861289" y="3341158"/>
              <a:ext cx="100032" cy="90132"/>
            </a:xfrm>
            <a:custGeom>
              <a:avLst/>
              <a:gdLst>
                <a:gd name="T0" fmla="*/ 55 w 70"/>
                <a:gd name="T1" fmla="*/ 39 h 66"/>
                <a:gd name="T2" fmla="*/ 55 w 70"/>
                <a:gd name="T3" fmla="*/ 39 h 66"/>
                <a:gd name="T4" fmla="*/ 50 w 70"/>
                <a:gd name="T5" fmla="*/ 40 h 66"/>
                <a:gd name="T6" fmla="*/ 47 w 70"/>
                <a:gd name="T7" fmla="*/ 40 h 66"/>
                <a:gd name="T8" fmla="*/ 47 w 70"/>
                <a:gd name="T9" fmla="*/ 40 h 66"/>
                <a:gd name="T10" fmla="*/ 42 w 70"/>
                <a:gd name="T11" fmla="*/ 40 h 66"/>
                <a:gd name="T12" fmla="*/ 38 w 70"/>
                <a:gd name="T13" fmla="*/ 39 h 66"/>
                <a:gd name="T14" fmla="*/ 34 w 70"/>
                <a:gd name="T15" fmla="*/ 37 h 66"/>
                <a:gd name="T16" fmla="*/ 32 w 70"/>
                <a:gd name="T17" fmla="*/ 34 h 66"/>
                <a:gd name="T18" fmla="*/ 29 w 70"/>
                <a:gd name="T19" fmla="*/ 32 h 66"/>
                <a:gd name="T20" fmla="*/ 27 w 70"/>
                <a:gd name="T21" fmla="*/ 28 h 66"/>
                <a:gd name="T22" fmla="*/ 26 w 70"/>
                <a:gd name="T23" fmla="*/ 24 h 66"/>
                <a:gd name="T24" fmla="*/ 26 w 70"/>
                <a:gd name="T25" fmla="*/ 20 h 66"/>
                <a:gd name="T26" fmla="*/ 26 w 70"/>
                <a:gd name="T27" fmla="*/ 20 h 66"/>
                <a:gd name="T28" fmla="*/ 27 w 70"/>
                <a:gd name="T29" fmla="*/ 13 h 66"/>
                <a:gd name="T30" fmla="*/ 5 w 70"/>
                <a:gd name="T31" fmla="*/ 0 h 66"/>
                <a:gd name="T32" fmla="*/ 5 w 70"/>
                <a:gd name="T33" fmla="*/ 0 h 66"/>
                <a:gd name="T34" fmla="*/ 1 w 70"/>
                <a:gd name="T35" fmla="*/ 10 h 66"/>
                <a:gd name="T36" fmla="*/ 0 w 70"/>
                <a:gd name="T37" fmla="*/ 20 h 66"/>
                <a:gd name="T38" fmla="*/ 0 w 70"/>
                <a:gd name="T39" fmla="*/ 20 h 66"/>
                <a:gd name="T40" fmla="*/ 1 w 70"/>
                <a:gd name="T41" fmla="*/ 29 h 66"/>
                <a:gd name="T42" fmla="*/ 4 w 70"/>
                <a:gd name="T43" fmla="*/ 38 h 66"/>
                <a:gd name="T44" fmla="*/ 9 w 70"/>
                <a:gd name="T45" fmla="*/ 45 h 66"/>
                <a:gd name="T46" fmla="*/ 13 w 70"/>
                <a:gd name="T47" fmla="*/ 53 h 66"/>
                <a:gd name="T48" fmla="*/ 21 w 70"/>
                <a:gd name="T49" fmla="*/ 58 h 66"/>
                <a:gd name="T50" fmla="*/ 28 w 70"/>
                <a:gd name="T51" fmla="*/ 63 h 66"/>
                <a:gd name="T52" fmla="*/ 37 w 70"/>
                <a:gd name="T53" fmla="*/ 65 h 66"/>
                <a:gd name="T54" fmla="*/ 47 w 70"/>
                <a:gd name="T55" fmla="*/ 66 h 66"/>
                <a:gd name="T56" fmla="*/ 47 w 70"/>
                <a:gd name="T57" fmla="*/ 66 h 66"/>
                <a:gd name="T58" fmla="*/ 53 w 70"/>
                <a:gd name="T59" fmla="*/ 66 h 66"/>
                <a:gd name="T60" fmla="*/ 59 w 70"/>
                <a:gd name="T61" fmla="*/ 65 h 66"/>
                <a:gd name="T62" fmla="*/ 65 w 70"/>
                <a:gd name="T63" fmla="*/ 63 h 66"/>
                <a:gd name="T64" fmla="*/ 70 w 70"/>
                <a:gd name="T65" fmla="*/ 60 h 66"/>
                <a:gd name="T66" fmla="*/ 55 w 70"/>
                <a:gd name="T67" fmla="*/ 3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0" h="66">
                  <a:moveTo>
                    <a:pt x="55" y="39"/>
                  </a:moveTo>
                  <a:lnTo>
                    <a:pt x="55" y="39"/>
                  </a:lnTo>
                  <a:lnTo>
                    <a:pt x="50" y="40"/>
                  </a:lnTo>
                  <a:lnTo>
                    <a:pt x="47" y="40"/>
                  </a:lnTo>
                  <a:lnTo>
                    <a:pt x="47" y="40"/>
                  </a:lnTo>
                  <a:lnTo>
                    <a:pt x="42" y="40"/>
                  </a:lnTo>
                  <a:lnTo>
                    <a:pt x="38" y="39"/>
                  </a:lnTo>
                  <a:lnTo>
                    <a:pt x="34" y="37"/>
                  </a:lnTo>
                  <a:lnTo>
                    <a:pt x="32" y="34"/>
                  </a:lnTo>
                  <a:lnTo>
                    <a:pt x="29" y="32"/>
                  </a:lnTo>
                  <a:lnTo>
                    <a:pt x="27" y="28"/>
                  </a:lnTo>
                  <a:lnTo>
                    <a:pt x="26" y="24"/>
                  </a:lnTo>
                  <a:lnTo>
                    <a:pt x="26" y="20"/>
                  </a:lnTo>
                  <a:lnTo>
                    <a:pt x="26" y="20"/>
                  </a:lnTo>
                  <a:lnTo>
                    <a:pt x="27" y="13"/>
                  </a:lnTo>
                  <a:lnTo>
                    <a:pt x="5" y="0"/>
                  </a:lnTo>
                  <a:lnTo>
                    <a:pt x="5" y="0"/>
                  </a:lnTo>
                  <a:lnTo>
                    <a:pt x="1" y="10"/>
                  </a:lnTo>
                  <a:lnTo>
                    <a:pt x="0" y="20"/>
                  </a:lnTo>
                  <a:lnTo>
                    <a:pt x="0" y="20"/>
                  </a:lnTo>
                  <a:lnTo>
                    <a:pt x="1" y="29"/>
                  </a:lnTo>
                  <a:lnTo>
                    <a:pt x="4" y="38"/>
                  </a:lnTo>
                  <a:lnTo>
                    <a:pt x="9" y="45"/>
                  </a:lnTo>
                  <a:lnTo>
                    <a:pt x="13" y="53"/>
                  </a:lnTo>
                  <a:lnTo>
                    <a:pt x="21" y="58"/>
                  </a:lnTo>
                  <a:lnTo>
                    <a:pt x="28" y="63"/>
                  </a:lnTo>
                  <a:lnTo>
                    <a:pt x="37" y="65"/>
                  </a:lnTo>
                  <a:lnTo>
                    <a:pt x="47" y="66"/>
                  </a:lnTo>
                  <a:lnTo>
                    <a:pt x="47" y="66"/>
                  </a:lnTo>
                  <a:lnTo>
                    <a:pt x="53" y="66"/>
                  </a:lnTo>
                  <a:lnTo>
                    <a:pt x="59" y="65"/>
                  </a:lnTo>
                  <a:lnTo>
                    <a:pt x="65" y="63"/>
                  </a:lnTo>
                  <a:lnTo>
                    <a:pt x="70" y="60"/>
                  </a:lnTo>
                  <a:lnTo>
                    <a:pt x="55" y="39"/>
                  </a:lnTo>
                  <a:close/>
                </a:path>
              </a:pathLst>
            </a:custGeom>
            <a:solidFill>
              <a:srgbClr val="2C58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0" name="Rectangle 70">
              <a:extLst>
                <a:ext uri="{FF2B5EF4-FFF2-40B4-BE49-F238E27FC236}">
                  <a16:creationId xmlns:a16="http://schemas.microsoft.com/office/drawing/2014/main" id="{574D496B-3BA6-A4CB-ECA7-3F23F401D2D2}"/>
                </a:ext>
              </a:extLst>
            </p:cNvPr>
            <p:cNvSpPr>
              <a:spLocks noChangeArrowheads="1"/>
            </p:cNvSpPr>
            <p:nvPr/>
          </p:nvSpPr>
          <p:spPr bwMode="auto">
            <a:xfrm>
              <a:off x="6025627" y="3304285"/>
              <a:ext cx="161481" cy="16388"/>
            </a:xfrm>
            <a:prstGeom prst="rect">
              <a:avLst/>
            </a:prstGeom>
            <a:solidFill>
              <a:srgbClr val="15B0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1" name="Rectangle 71">
              <a:extLst>
                <a:ext uri="{FF2B5EF4-FFF2-40B4-BE49-F238E27FC236}">
                  <a16:creationId xmlns:a16="http://schemas.microsoft.com/office/drawing/2014/main" id="{61602DA9-2EE2-C2F2-30F6-6F2CD3C419EA}"/>
                </a:ext>
              </a:extLst>
            </p:cNvPr>
            <p:cNvSpPr>
              <a:spLocks noChangeArrowheads="1"/>
            </p:cNvSpPr>
            <p:nvPr/>
          </p:nvSpPr>
          <p:spPr bwMode="auto">
            <a:xfrm>
              <a:off x="6025627" y="3354814"/>
              <a:ext cx="161481" cy="15023"/>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2" name="Rectangle 72">
              <a:extLst>
                <a:ext uri="{FF2B5EF4-FFF2-40B4-BE49-F238E27FC236}">
                  <a16:creationId xmlns:a16="http://schemas.microsoft.com/office/drawing/2014/main" id="{3345FDC7-598E-5A39-B5CD-D4006F5A5CC8}"/>
                </a:ext>
              </a:extLst>
            </p:cNvPr>
            <p:cNvSpPr>
              <a:spLocks noChangeArrowheads="1"/>
            </p:cNvSpPr>
            <p:nvPr/>
          </p:nvSpPr>
          <p:spPr bwMode="auto">
            <a:xfrm>
              <a:off x="6025627" y="3402611"/>
              <a:ext cx="161481" cy="17754"/>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3" name="Rectangle 73">
              <a:extLst>
                <a:ext uri="{FF2B5EF4-FFF2-40B4-BE49-F238E27FC236}">
                  <a16:creationId xmlns:a16="http://schemas.microsoft.com/office/drawing/2014/main" id="{0E3567C0-00EA-5F6A-10B6-7EA39BA076BE}"/>
                </a:ext>
              </a:extLst>
            </p:cNvPr>
            <p:cNvSpPr>
              <a:spLocks noChangeArrowheads="1"/>
            </p:cNvSpPr>
            <p:nvPr/>
          </p:nvSpPr>
          <p:spPr bwMode="auto">
            <a:xfrm>
              <a:off x="6025627" y="3506400"/>
              <a:ext cx="112894" cy="15023"/>
            </a:xfrm>
            <a:prstGeom prst="rect">
              <a:avLst/>
            </a:prstGeom>
            <a:solidFill>
              <a:srgbClr val="15B0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4" name="Rectangle 74">
              <a:extLst>
                <a:ext uri="{FF2B5EF4-FFF2-40B4-BE49-F238E27FC236}">
                  <a16:creationId xmlns:a16="http://schemas.microsoft.com/office/drawing/2014/main" id="{32B96A6A-9345-3108-3651-F71E1B6BE6FB}"/>
                </a:ext>
              </a:extLst>
            </p:cNvPr>
            <p:cNvSpPr>
              <a:spLocks noChangeArrowheads="1"/>
            </p:cNvSpPr>
            <p:nvPr/>
          </p:nvSpPr>
          <p:spPr bwMode="auto">
            <a:xfrm>
              <a:off x="6025627" y="3554198"/>
              <a:ext cx="161481" cy="17754"/>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5" name="Rectangle 75">
              <a:extLst>
                <a:ext uri="{FF2B5EF4-FFF2-40B4-BE49-F238E27FC236}">
                  <a16:creationId xmlns:a16="http://schemas.microsoft.com/office/drawing/2014/main" id="{42AC68A9-C596-D91E-ABF6-4CB084DC1356}"/>
                </a:ext>
              </a:extLst>
            </p:cNvPr>
            <p:cNvSpPr>
              <a:spLocks noChangeArrowheads="1"/>
            </p:cNvSpPr>
            <p:nvPr/>
          </p:nvSpPr>
          <p:spPr bwMode="auto">
            <a:xfrm>
              <a:off x="6025627" y="3604726"/>
              <a:ext cx="161481" cy="16388"/>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grpSp>
        <p:nvGrpSpPr>
          <p:cNvPr id="437" name="Group 436">
            <a:extLst>
              <a:ext uri="{FF2B5EF4-FFF2-40B4-BE49-F238E27FC236}">
                <a16:creationId xmlns:a16="http://schemas.microsoft.com/office/drawing/2014/main" id="{507244DB-2886-BE84-2B6C-6B9290B4305A}"/>
              </a:ext>
            </a:extLst>
          </p:cNvPr>
          <p:cNvGrpSpPr/>
          <p:nvPr/>
        </p:nvGrpSpPr>
        <p:grpSpPr>
          <a:xfrm>
            <a:off x="1581928" y="2594833"/>
            <a:ext cx="1326551" cy="1141859"/>
            <a:chOff x="2532615" y="2953500"/>
            <a:chExt cx="1061632" cy="937065"/>
          </a:xfrm>
        </p:grpSpPr>
        <p:sp>
          <p:nvSpPr>
            <p:cNvPr id="397" name="Freeform 13">
              <a:extLst>
                <a:ext uri="{FF2B5EF4-FFF2-40B4-BE49-F238E27FC236}">
                  <a16:creationId xmlns:a16="http://schemas.microsoft.com/office/drawing/2014/main" id="{90CC1C98-2886-4151-729F-65D2469BDD89}"/>
                </a:ext>
              </a:extLst>
            </p:cNvPr>
            <p:cNvSpPr>
              <a:spLocks/>
            </p:cNvSpPr>
            <p:nvPr/>
          </p:nvSpPr>
          <p:spPr bwMode="auto">
            <a:xfrm>
              <a:off x="2532615" y="2953500"/>
              <a:ext cx="1061632" cy="937065"/>
            </a:xfrm>
            <a:custGeom>
              <a:avLst/>
              <a:gdLst>
                <a:gd name="T0" fmla="*/ 368 w 701"/>
                <a:gd name="T1" fmla="*/ 0 h 701"/>
                <a:gd name="T2" fmla="*/ 421 w 701"/>
                <a:gd name="T3" fmla="*/ 7 h 701"/>
                <a:gd name="T4" fmla="*/ 470 w 701"/>
                <a:gd name="T5" fmla="*/ 21 h 701"/>
                <a:gd name="T6" fmla="*/ 517 w 701"/>
                <a:gd name="T7" fmla="*/ 42 h 701"/>
                <a:gd name="T8" fmla="*/ 560 w 701"/>
                <a:gd name="T9" fmla="*/ 70 h 701"/>
                <a:gd name="T10" fmla="*/ 599 w 701"/>
                <a:gd name="T11" fmla="*/ 103 h 701"/>
                <a:gd name="T12" fmla="*/ 631 w 701"/>
                <a:gd name="T13" fmla="*/ 141 h 701"/>
                <a:gd name="T14" fmla="*/ 659 w 701"/>
                <a:gd name="T15" fmla="*/ 183 h 701"/>
                <a:gd name="T16" fmla="*/ 680 w 701"/>
                <a:gd name="T17" fmla="*/ 230 h 701"/>
                <a:gd name="T18" fmla="*/ 693 w 701"/>
                <a:gd name="T19" fmla="*/ 280 h 701"/>
                <a:gd name="T20" fmla="*/ 701 w 701"/>
                <a:gd name="T21" fmla="*/ 332 h 701"/>
                <a:gd name="T22" fmla="*/ 701 w 701"/>
                <a:gd name="T23" fmla="*/ 368 h 701"/>
                <a:gd name="T24" fmla="*/ 693 w 701"/>
                <a:gd name="T25" fmla="*/ 421 h 701"/>
                <a:gd name="T26" fmla="*/ 680 w 701"/>
                <a:gd name="T27" fmla="*/ 470 h 701"/>
                <a:gd name="T28" fmla="*/ 659 w 701"/>
                <a:gd name="T29" fmla="*/ 517 h 701"/>
                <a:gd name="T30" fmla="*/ 631 w 701"/>
                <a:gd name="T31" fmla="*/ 560 h 701"/>
                <a:gd name="T32" fmla="*/ 599 w 701"/>
                <a:gd name="T33" fmla="*/ 599 h 701"/>
                <a:gd name="T34" fmla="*/ 560 w 701"/>
                <a:gd name="T35" fmla="*/ 631 h 701"/>
                <a:gd name="T36" fmla="*/ 517 w 701"/>
                <a:gd name="T37" fmla="*/ 659 h 701"/>
                <a:gd name="T38" fmla="*/ 470 w 701"/>
                <a:gd name="T39" fmla="*/ 680 h 701"/>
                <a:gd name="T40" fmla="*/ 421 w 701"/>
                <a:gd name="T41" fmla="*/ 694 h 701"/>
                <a:gd name="T42" fmla="*/ 368 w 701"/>
                <a:gd name="T43" fmla="*/ 701 h 701"/>
                <a:gd name="T44" fmla="*/ 332 w 701"/>
                <a:gd name="T45" fmla="*/ 701 h 701"/>
                <a:gd name="T46" fmla="*/ 280 w 701"/>
                <a:gd name="T47" fmla="*/ 694 h 701"/>
                <a:gd name="T48" fmla="*/ 230 w 701"/>
                <a:gd name="T49" fmla="*/ 680 h 701"/>
                <a:gd name="T50" fmla="*/ 183 w 701"/>
                <a:gd name="T51" fmla="*/ 659 h 701"/>
                <a:gd name="T52" fmla="*/ 141 w 701"/>
                <a:gd name="T53" fmla="*/ 631 h 701"/>
                <a:gd name="T54" fmla="*/ 103 w 701"/>
                <a:gd name="T55" fmla="*/ 599 h 701"/>
                <a:gd name="T56" fmla="*/ 69 w 701"/>
                <a:gd name="T57" fmla="*/ 560 h 701"/>
                <a:gd name="T58" fmla="*/ 42 w 701"/>
                <a:gd name="T59" fmla="*/ 517 h 701"/>
                <a:gd name="T60" fmla="*/ 21 w 701"/>
                <a:gd name="T61" fmla="*/ 470 h 701"/>
                <a:gd name="T62" fmla="*/ 7 w 701"/>
                <a:gd name="T63" fmla="*/ 421 h 701"/>
                <a:gd name="T64" fmla="*/ 0 w 701"/>
                <a:gd name="T65" fmla="*/ 368 h 701"/>
                <a:gd name="T66" fmla="*/ 0 w 701"/>
                <a:gd name="T67" fmla="*/ 332 h 701"/>
                <a:gd name="T68" fmla="*/ 7 w 701"/>
                <a:gd name="T69" fmla="*/ 280 h 701"/>
                <a:gd name="T70" fmla="*/ 21 w 701"/>
                <a:gd name="T71" fmla="*/ 230 h 701"/>
                <a:gd name="T72" fmla="*/ 42 w 701"/>
                <a:gd name="T73" fmla="*/ 183 h 701"/>
                <a:gd name="T74" fmla="*/ 69 w 701"/>
                <a:gd name="T75" fmla="*/ 141 h 701"/>
                <a:gd name="T76" fmla="*/ 103 w 701"/>
                <a:gd name="T77" fmla="*/ 103 h 701"/>
                <a:gd name="T78" fmla="*/ 141 w 701"/>
                <a:gd name="T79" fmla="*/ 70 h 701"/>
                <a:gd name="T80" fmla="*/ 183 w 701"/>
                <a:gd name="T81" fmla="*/ 42 h 701"/>
                <a:gd name="T82" fmla="*/ 230 w 701"/>
                <a:gd name="T83" fmla="*/ 21 h 701"/>
                <a:gd name="T84" fmla="*/ 280 w 701"/>
                <a:gd name="T85" fmla="*/ 7 h 701"/>
                <a:gd name="T86" fmla="*/ 332 w 701"/>
                <a:gd name="T87" fmla="*/ 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1">
                  <a:moveTo>
                    <a:pt x="351" y="0"/>
                  </a:moveTo>
                  <a:lnTo>
                    <a:pt x="351" y="0"/>
                  </a:lnTo>
                  <a:lnTo>
                    <a:pt x="368" y="0"/>
                  </a:lnTo>
                  <a:lnTo>
                    <a:pt x="386" y="2"/>
                  </a:lnTo>
                  <a:lnTo>
                    <a:pt x="404" y="4"/>
                  </a:lnTo>
                  <a:lnTo>
                    <a:pt x="421" y="7"/>
                  </a:lnTo>
                  <a:lnTo>
                    <a:pt x="438" y="12"/>
                  </a:lnTo>
                  <a:lnTo>
                    <a:pt x="454" y="15"/>
                  </a:lnTo>
                  <a:lnTo>
                    <a:pt x="470" y="21"/>
                  </a:lnTo>
                  <a:lnTo>
                    <a:pt x="486" y="28"/>
                  </a:lnTo>
                  <a:lnTo>
                    <a:pt x="502" y="35"/>
                  </a:lnTo>
                  <a:lnTo>
                    <a:pt x="517" y="42"/>
                  </a:lnTo>
                  <a:lnTo>
                    <a:pt x="532" y="51"/>
                  </a:lnTo>
                  <a:lnTo>
                    <a:pt x="547" y="60"/>
                  </a:lnTo>
                  <a:lnTo>
                    <a:pt x="560" y="70"/>
                  </a:lnTo>
                  <a:lnTo>
                    <a:pt x="574" y="81"/>
                  </a:lnTo>
                  <a:lnTo>
                    <a:pt x="586" y="90"/>
                  </a:lnTo>
                  <a:lnTo>
                    <a:pt x="599" y="103"/>
                  </a:lnTo>
                  <a:lnTo>
                    <a:pt x="610" y="115"/>
                  </a:lnTo>
                  <a:lnTo>
                    <a:pt x="621" y="128"/>
                  </a:lnTo>
                  <a:lnTo>
                    <a:pt x="631" y="141"/>
                  </a:lnTo>
                  <a:lnTo>
                    <a:pt x="640" y="155"/>
                  </a:lnTo>
                  <a:lnTo>
                    <a:pt x="650" y="168"/>
                  </a:lnTo>
                  <a:lnTo>
                    <a:pt x="659" y="183"/>
                  </a:lnTo>
                  <a:lnTo>
                    <a:pt x="666" y="199"/>
                  </a:lnTo>
                  <a:lnTo>
                    <a:pt x="674" y="214"/>
                  </a:lnTo>
                  <a:lnTo>
                    <a:pt x="680" y="230"/>
                  </a:lnTo>
                  <a:lnTo>
                    <a:pt x="685" y="246"/>
                  </a:lnTo>
                  <a:lnTo>
                    <a:pt x="690" y="263"/>
                  </a:lnTo>
                  <a:lnTo>
                    <a:pt x="693" y="280"/>
                  </a:lnTo>
                  <a:lnTo>
                    <a:pt x="697" y="298"/>
                  </a:lnTo>
                  <a:lnTo>
                    <a:pt x="698" y="315"/>
                  </a:lnTo>
                  <a:lnTo>
                    <a:pt x="701" y="332"/>
                  </a:lnTo>
                  <a:lnTo>
                    <a:pt x="701" y="351"/>
                  </a:lnTo>
                  <a:lnTo>
                    <a:pt x="701" y="351"/>
                  </a:lnTo>
                  <a:lnTo>
                    <a:pt x="701" y="368"/>
                  </a:lnTo>
                  <a:lnTo>
                    <a:pt x="698" y="387"/>
                  </a:lnTo>
                  <a:lnTo>
                    <a:pt x="697" y="404"/>
                  </a:lnTo>
                  <a:lnTo>
                    <a:pt x="693" y="421"/>
                  </a:lnTo>
                  <a:lnTo>
                    <a:pt x="690" y="438"/>
                  </a:lnTo>
                  <a:lnTo>
                    <a:pt x="685" y="454"/>
                  </a:lnTo>
                  <a:lnTo>
                    <a:pt x="680" y="470"/>
                  </a:lnTo>
                  <a:lnTo>
                    <a:pt x="674" y="486"/>
                  </a:lnTo>
                  <a:lnTo>
                    <a:pt x="666" y="503"/>
                  </a:lnTo>
                  <a:lnTo>
                    <a:pt x="659" y="517"/>
                  </a:lnTo>
                  <a:lnTo>
                    <a:pt x="650" y="532"/>
                  </a:lnTo>
                  <a:lnTo>
                    <a:pt x="640" y="547"/>
                  </a:lnTo>
                  <a:lnTo>
                    <a:pt x="631" y="560"/>
                  </a:lnTo>
                  <a:lnTo>
                    <a:pt x="621" y="574"/>
                  </a:lnTo>
                  <a:lnTo>
                    <a:pt x="610" y="586"/>
                  </a:lnTo>
                  <a:lnTo>
                    <a:pt x="599" y="599"/>
                  </a:lnTo>
                  <a:lnTo>
                    <a:pt x="586" y="610"/>
                  </a:lnTo>
                  <a:lnTo>
                    <a:pt x="574" y="621"/>
                  </a:lnTo>
                  <a:lnTo>
                    <a:pt x="560" y="631"/>
                  </a:lnTo>
                  <a:lnTo>
                    <a:pt x="547" y="641"/>
                  </a:lnTo>
                  <a:lnTo>
                    <a:pt x="532" y="651"/>
                  </a:lnTo>
                  <a:lnTo>
                    <a:pt x="517" y="659"/>
                  </a:lnTo>
                  <a:lnTo>
                    <a:pt x="502" y="667"/>
                  </a:lnTo>
                  <a:lnTo>
                    <a:pt x="486" y="674"/>
                  </a:lnTo>
                  <a:lnTo>
                    <a:pt x="470" y="680"/>
                  </a:lnTo>
                  <a:lnTo>
                    <a:pt x="454" y="685"/>
                  </a:lnTo>
                  <a:lnTo>
                    <a:pt x="438" y="690"/>
                  </a:lnTo>
                  <a:lnTo>
                    <a:pt x="421" y="694"/>
                  </a:lnTo>
                  <a:lnTo>
                    <a:pt x="404" y="697"/>
                  </a:lnTo>
                  <a:lnTo>
                    <a:pt x="386" y="699"/>
                  </a:lnTo>
                  <a:lnTo>
                    <a:pt x="368" y="701"/>
                  </a:lnTo>
                  <a:lnTo>
                    <a:pt x="351" y="701"/>
                  </a:lnTo>
                  <a:lnTo>
                    <a:pt x="351" y="701"/>
                  </a:lnTo>
                  <a:lnTo>
                    <a:pt x="332" y="701"/>
                  </a:lnTo>
                  <a:lnTo>
                    <a:pt x="315" y="699"/>
                  </a:lnTo>
                  <a:lnTo>
                    <a:pt x="298" y="697"/>
                  </a:lnTo>
                  <a:lnTo>
                    <a:pt x="280" y="694"/>
                  </a:lnTo>
                  <a:lnTo>
                    <a:pt x="263" y="690"/>
                  </a:lnTo>
                  <a:lnTo>
                    <a:pt x="246" y="685"/>
                  </a:lnTo>
                  <a:lnTo>
                    <a:pt x="230" y="680"/>
                  </a:lnTo>
                  <a:lnTo>
                    <a:pt x="214" y="674"/>
                  </a:lnTo>
                  <a:lnTo>
                    <a:pt x="199" y="667"/>
                  </a:lnTo>
                  <a:lnTo>
                    <a:pt x="183" y="659"/>
                  </a:lnTo>
                  <a:lnTo>
                    <a:pt x="168" y="651"/>
                  </a:lnTo>
                  <a:lnTo>
                    <a:pt x="155" y="641"/>
                  </a:lnTo>
                  <a:lnTo>
                    <a:pt x="141" y="631"/>
                  </a:lnTo>
                  <a:lnTo>
                    <a:pt x="127" y="621"/>
                  </a:lnTo>
                  <a:lnTo>
                    <a:pt x="115" y="610"/>
                  </a:lnTo>
                  <a:lnTo>
                    <a:pt x="103" y="599"/>
                  </a:lnTo>
                  <a:lnTo>
                    <a:pt x="90" y="586"/>
                  </a:lnTo>
                  <a:lnTo>
                    <a:pt x="81" y="574"/>
                  </a:lnTo>
                  <a:lnTo>
                    <a:pt x="69" y="560"/>
                  </a:lnTo>
                  <a:lnTo>
                    <a:pt x="60" y="547"/>
                  </a:lnTo>
                  <a:lnTo>
                    <a:pt x="51" y="532"/>
                  </a:lnTo>
                  <a:lnTo>
                    <a:pt x="42" y="517"/>
                  </a:lnTo>
                  <a:lnTo>
                    <a:pt x="35" y="503"/>
                  </a:lnTo>
                  <a:lnTo>
                    <a:pt x="27" y="486"/>
                  </a:lnTo>
                  <a:lnTo>
                    <a:pt x="21" y="470"/>
                  </a:lnTo>
                  <a:lnTo>
                    <a:pt x="15" y="454"/>
                  </a:lnTo>
                  <a:lnTo>
                    <a:pt x="11" y="438"/>
                  </a:lnTo>
                  <a:lnTo>
                    <a:pt x="7" y="421"/>
                  </a:lnTo>
                  <a:lnTo>
                    <a:pt x="4" y="404"/>
                  </a:lnTo>
                  <a:lnTo>
                    <a:pt x="2" y="387"/>
                  </a:lnTo>
                  <a:lnTo>
                    <a:pt x="0" y="368"/>
                  </a:lnTo>
                  <a:lnTo>
                    <a:pt x="0" y="351"/>
                  </a:lnTo>
                  <a:lnTo>
                    <a:pt x="0" y="351"/>
                  </a:lnTo>
                  <a:lnTo>
                    <a:pt x="0" y="332"/>
                  </a:lnTo>
                  <a:lnTo>
                    <a:pt x="2" y="315"/>
                  </a:lnTo>
                  <a:lnTo>
                    <a:pt x="4" y="298"/>
                  </a:lnTo>
                  <a:lnTo>
                    <a:pt x="7" y="280"/>
                  </a:lnTo>
                  <a:lnTo>
                    <a:pt x="11" y="263"/>
                  </a:lnTo>
                  <a:lnTo>
                    <a:pt x="15" y="246"/>
                  </a:lnTo>
                  <a:lnTo>
                    <a:pt x="21" y="230"/>
                  </a:lnTo>
                  <a:lnTo>
                    <a:pt x="27" y="214"/>
                  </a:lnTo>
                  <a:lnTo>
                    <a:pt x="35" y="199"/>
                  </a:lnTo>
                  <a:lnTo>
                    <a:pt x="42" y="183"/>
                  </a:lnTo>
                  <a:lnTo>
                    <a:pt x="51" y="168"/>
                  </a:lnTo>
                  <a:lnTo>
                    <a:pt x="60" y="155"/>
                  </a:lnTo>
                  <a:lnTo>
                    <a:pt x="69" y="141"/>
                  </a:lnTo>
                  <a:lnTo>
                    <a:pt x="81" y="128"/>
                  </a:lnTo>
                  <a:lnTo>
                    <a:pt x="90" y="115"/>
                  </a:lnTo>
                  <a:lnTo>
                    <a:pt x="103" y="103"/>
                  </a:lnTo>
                  <a:lnTo>
                    <a:pt x="115" y="90"/>
                  </a:lnTo>
                  <a:lnTo>
                    <a:pt x="127" y="81"/>
                  </a:lnTo>
                  <a:lnTo>
                    <a:pt x="141" y="70"/>
                  </a:lnTo>
                  <a:lnTo>
                    <a:pt x="155" y="60"/>
                  </a:lnTo>
                  <a:lnTo>
                    <a:pt x="168" y="51"/>
                  </a:lnTo>
                  <a:lnTo>
                    <a:pt x="183" y="42"/>
                  </a:lnTo>
                  <a:lnTo>
                    <a:pt x="199" y="35"/>
                  </a:lnTo>
                  <a:lnTo>
                    <a:pt x="214" y="28"/>
                  </a:lnTo>
                  <a:lnTo>
                    <a:pt x="230" y="21"/>
                  </a:lnTo>
                  <a:lnTo>
                    <a:pt x="246" y="15"/>
                  </a:lnTo>
                  <a:lnTo>
                    <a:pt x="263" y="12"/>
                  </a:lnTo>
                  <a:lnTo>
                    <a:pt x="280" y="7"/>
                  </a:lnTo>
                  <a:lnTo>
                    <a:pt x="298" y="4"/>
                  </a:lnTo>
                  <a:lnTo>
                    <a:pt x="315" y="2"/>
                  </a:lnTo>
                  <a:lnTo>
                    <a:pt x="332" y="0"/>
                  </a:lnTo>
                  <a:lnTo>
                    <a:pt x="351" y="0"/>
                  </a:lnTo>
                  <a:lnTo>
                    <a:pt x="351" y="0"/>
                  </a:ln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9" name="Freeform 114">
              <a:extLst>
                <a:ext uri="{FF2B5EF4-FFF2-40B4-BE49-F238E27FC236}">
                  <a16:creationId xmlns:a16="http://schemas.microsoft.com/office/drawing/2014/main" id="{7AACE63D-D17B-ED13-1E1A-96CFC7668898}"/>
                </a:ext>
              </a:extLst>
            </p:cNvPr>
            <p:cNvSpPr>
              <a:spLocks/>
            </p:cNvSpPr>
            <p:nvPr/>
          </p:nvSpPr>
          <p:spPr bwMode="auto">
            <a:xfrm>
              <a:off x="2862351" y="3466144"/>
              <a:ext cx="375730" cy="232313"/>
            </a:xfrm>
            <a:custGeom>
              <a:avLst/>
              <a:gdLst>
                <a:gd name="T0" fmla="*/ 126 w 252"/>
                <a:gd name="T1" fmla="*/ 92 h 172"/>
                <a:gd name="T2" fmla="*/ 146 w 252"/>
                <a:gd name="T3" fmla="*/ 93 h 172"/>
                <a:gd name="T4" fmla="*/ 164 w 252"/>
                <a:gd name="T5" fmla="*/ 98 h 172"/>
                <a:gd name="T6" fmla="*/ 198 w 252"/>
                <a:gd name="T7" fmla="*/ 114 h 172"/>
                <a:gd name="T8" fmla="*/ 225 w 252"/>
                <a:gd name="T9" fmla="*/ 140 h 172"/>
                <a:gd name="T10" fmla="*/ 243 w 252"/>
                <a:gd name="T11" fmla="*/ 172 h 172"/>
                <a:gd name="T12" fmla="*/ 247 w 252"/>
                <a:gd name="T13" fmla="*/ 161 h 172"/>
                <a:gd name="T14" fmla="*/ 251 w 252"/>
                <a:gd name="T15" fmla="*/ 137 h 172"/>
                <a:gd name="T16" fmla="*/ 252 w 252"/>
                <a:gd name="T17" fmla="*/ 126 h 172"/>
                <a:gd name="T18" fmla="*/ 249 w 252"/>
                <a:gd name="T19" fmla="*/ 100 h 172"/>
                <a:gd name="T20" fmla="*/ 242 w 252"/>
                <a:gd name="T21" fmla="*/ 77 h 172"/>
                <a:gd name="T22" fmla="*/ 230 w 252"/>
                <a:gd name="T23" fmla="*/ 56 h 172"/>
                <a:gd name="T24" fmla="*/ 215 w 252"/>
                <a:gd name="T25" fmla="*/ 37 h 172"/>
                <a:gd name="T26" fmla="*/ 196 w 252"/>
                <a:gd name="T27" fmla="*/ 21 h 172"/>
                <a:gd name="T28" fmla="*/ 174 w 252"/>
                <a:gd name="T29" fmla="*/ 10 h 172"/>
                <a:gd name="T30" fmla="*/ 151 w 252"/>
                <a:gd name="T31" fmla="*/ 3 h 172"/>
                <a:gd name="T32" fmla="*/ 126 w 252"/>
                <a:gd name="T33" fmla="*/ 0 h 172"/>
                <a:gd name="T34" fmla="*/ 114 w 252"/>
                <a:gd name="T35" fmla="*/ 2 h 172"/>
                <a:gd name="T36" fmla="*/ 89 w 252"/>
                <a:gd name="T37" fmla="*/ 7 h 172"/>
                <a:gd name="T38" fmla="*/ 66 w 252"/>
                <a:gd name="T39" fmla="*/ 15 h 172"/>
                <a:gd name="T40" fmla="*/ 46 w 252"/>
                <a:gd name="T41" fmla="*/ 29 h 172"/>
                <a:gd name="T42" fmla="*/ 29 w 252"/>
                <a:gd name="T43" fmla="*/ 46 h 172"/>
                <a:gd name="T44" fmla="*/ 15 w 252"/>
                <a:gd name="T45" fmla="*/ 66 h 172"/>
                <a:gd name="T46" fmla="*/ 6 w 252"/>
                <a:gd name="T47" fmla="*/ 88 h 172"/>
                <a:gd name="T48" fmla="*/ 1 w 252"/>
                <a:gd name="T49" fmla="*/ 113 h 172"/>
                <a:gd name="T50" fmla="*/ 0 w 252"/>
                <a:gd name="T51" fmla="*/ 126 h 172"/>
                <a:gd name="T52" fmla="*/ 3 w 252"/>
                <a:gd name="T53" fmla="*/ 150 h 172"/>
                <a:gd name="T54" fmla="*/ 9 w 252"/>
                <a:gd name="T55" fmla="*/ 172 h 172"/>
                <a:gd name="T56" fmla="*/ 18 w 252"/>
                <a:gd name="T57" fmla="*/ 155 h 172"/>
                <a:gd name="T58" fmla="*/ 40 w 252"/>
                <a:gd name="T59" fmla="*/ 126 h 172"/>
                <a:gd name="T60" fmla="*/ 71 w 252"/>
                <a:gd name="T61" fmla="*/ 104 h 172"/>
                <a:gd name="T62" fmla="*/ 96 w 252"/>
                <a:gd name="T63" fmla="*/ 95 h 172"/>
                <a:gd name="T64" fmla="*/ 116 w 252"/>
                <a:gd name="T65" fmla="*/ 92 h 172"/>
                <a:gd name="T66" fmla="*/ 126 w 252"/>
                <a:gd name="T67" fmla="*/ 9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2" h="172">
                  <a:moveTo>
                    <a:pt x="126" y="92"/>
                  </a:moveTo>
                  <a:lnTo>
                    <a:pt x="126" y="92"/>
                  </a:lnTo>
                  <a:lnTo>
                    <a:pt x="136" y="92"/>
                  </a:lnTo>
                  <a:lnTo>
                    <a:pt x="146" y="93"/>
                  </a:lnTo>
                  <a:lnTo>
                    <a:pt x="154" y="95"/>
                  </a:lnTo>
                  <a:lnTo>
                    <a:pt x="164" y="98"/>
                  </a:lnTo>
                  <a:lnTo>
                    <a:pt x="182" y="104"/>
                  </a:lnTo>
                  <a:lnTo>
                    <a:pt x="198" y="114"/>
                  </a:lnTo>
                  <a:lnTo>
                    <a:pt x="212" y="126"/>
                  </a:lnTo>
                  <a:lnTo>
                    <a:pt x="225" y="140"/>
                  </a:lnTo>
                  <a:lnTo>
                    <a:pt x="235" y="155"/>
                  </a:lnTo>
                  <a:lnTo>
                    <a:pt x="243" y="172"/>
                  </a:lnTo>
                  <a:lnTo>
                    <a:pt x="243" y="172"/>
                  </a:lnTo>
                  <a:lnTo>
                    <a:pt x="247" y="161"/>
                  </a:lnTo>
                  <a:lnTo>
                    <a:pt x="249" y="150"/>
                  </a:lnTo>
                  <a:lnTo>
                    <a:pt x="251" y="137"/>
                  </a:lnTo>
                  <a:lnTo>
                    <a:pt x="252" y="126"/>
                  </a:lnTo>
                  <a:lnTo>
                    <a:pt x="252" y="126"/>
                  </a:lnTo>
                  <a:lnTo>
                    <a:pt x="251" y="113"/>
                  </a:lnTo>
                  <a:lnTo>
                    <a:pt x="249" y="100"/>
                  </a:lnTo>
                  <a:lnTo>
                    <a:pt x="246" y="88"/>
                  </a:lnTo>
                  <a:lnTo>
                    <a:pt x="242" y="77"/>
                  </a:lnTo>
                  <a:lnTo>
                    <a:pt x="236" y="66"/>
                  </a:lnTo>
                  <a:lnTo>
                    <a:pt x="230" y="56"/>
                  </a:lnTo>
                  <a:lnTo>
                    <a:pt x="222" y="46"/>
                  </a:lnTo>
                  <a:lnTo>
                    <a:pt x="215" y="37"/>
                  </a:lnTo>
                  <a:lnTo>
                    <a:pt x="206" y="29"/>
                  </a:lnTo>
                  <a:lnTo>
                    <a:pt x="196" y="21"/>
                  </a:lnTo>
                  <a:lnTo>
                    <a:pt x="185" y="15"/>
                  </a:lnTo>
                  <a:lnTo>
                    <a:pt x="174" y="10"/>
                  </a:lnTo>
                  <a:lnTo>
                    <a:pt x="163" y="7"/>
                  </a:lnTo>
                  <a:lnTo>
                    <a:pt x="151" y="3"/>
                  </a:lnTo>
                  <a:lnTo>
                    <a:pt x="138" y="2"/>
                  </a:lnTo>
                  <a:lnTo>
                    <a:pt x="126" y="0"/>
                  </a:lnTo>
                  <a:lnTo>
                    <a:pt x="126" y="0"/>
                  </a:lnTo>
                  <a:lnTo>
                    <a:pt x="114" y="2"/>
                  </a:lnTo>
                  <a:lnTo>
                    <a:pt x="100" y="3"/>
                  </a:lnTo>
                  <a:lnTo>
                    <a:pt x="89" y="7"/>
                  </a:lnTo>
                  <a:lnTo>
                    <a:pt x="77" y="10"/>
                  </a:lnTo>
                  <a:lnTo>
                    <a:pt x="66" y="15"/>
                  </a:lnTo>
                  <a:lnTo>
                    <a:pt x="56" y="21"/>
                  </a:lnTo>
                  <a:lnTo>
                    <a:pt x="46" y="29"/>
                  </a:lnTo>
                  <a:lnTo>
                    <a:pt x="37" y="37"/>
                  </a:lnTo>
                  <a:lnTo>
                    <a:pt x="29" y="46"/>
                  </a:lnTo>
                  <a:lnTo>
                    <a:pt x="22" y="56"/>
                  </a:lnTo>
                  <a:lnTo>
                    <a:pt x="15" y="66"/>
                  </a:lnTo>
                  <a:lnTo>
                    <a:pt x="10" y="77"/>
                  </a:lnTo>
                  <a:lnTo>
                    <a:pt x="6" y="88"/>
                  </a:lnTo>
                  <a:lnTo>
                    <a:pt x="3" y="100"/>
                  </a:lnTo>
                  <a:lnTo>
                    <a:pt x="1" y="113"/>
                  </a:lnTo>
                  <a:lnTo>
                    <a:pt x="0" y="126"/>
                  </a:lnTo>
                  <a:lnTo>
                    <a:pt x="0" y="126"/>
                  </a:lnTo>
                  <a:lnTo>
                    <a:pt x="1" y="137"/>
                  </a:lnTo>
                  <a:lnTo>
                    <a:pt x="3" y="150"/>
                  </a:lnTo>
                  <a:lnTo>
                    <a:pt x="5" y="161"/>
                  </a:lnTo>
                  <a:lnTo>
                    <a:pt x="9" y="172"/>
                  </a:lnTo>
                  <a:lnTo>
                    <a:pt x="9" y="172"/>
                  </a:lnTo>
                  <a:lnTo>
                    <a:pt x="18" y="155"/>
                  </a:lnTo>
                  <a:lnTo>
                    <a:pt x="27" y="140"/>
                  </a:lnTo>
                  <a:lnTo>
                    <a:pt x="40" y="126"/>
                  </a:lnTo>
                  <a:lnTo>
                    <a:pt x="55" y="114"/>
                  </a:lnTo>
                  <a:lnTo>
                    <a:pt x="71" y="104"/>
                  </a:lnTo>
                  <a:lnTo>
                    <a:pt x="88" y="98"/>
                  </a:lnTo>
                  <a:lnTo>
                    <a:pt x="96" y="95"/>
                  </a:lnTo>
                  <a:lnTo>
                    <a:pt x="106" y="93"/>
                  </a:lnTo>
                  <a:lnTo>
                    <a:pt x="116" y="92"/>
                  </a:lnTo>
                  <a:lnTo>
                    <a:pt x="126" y="92"/>
                  </a:lnTo>
                  <a:lnTo>
                    <a:pt x="126" y="9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0" name="Freeform 115">
              <a:extLst>
                <a:ext uri="{FF2B5EF4-FFF2-40B4-BE49-F238E27FC236}">
                  <a16:creationId xmlns:a16="http://schemas.microsoft.com/office/drawing/2014/main" id="{B480D3F3-34EC-3D24-FE0B-5716C8D262E7}"/>
                </a:ext>
              </a:extLst>
            </p:cNvPr>
            <p:cNvSpPr>
              <a:spLocks/>
            </p:cNvSpPr>
            <p:nvPr/>
          </p:nvSpPr>
          <p:spPr bwMode="auto">
            <a:xfrm>
              <a:off x="3097932" y="3471546"/>
              <a:ext cx="140154" cy="226910"/>
            </a:xfrm>
            <a:custGeom>
              <a:avLst/>
              <a:gdLst>
                <a:gd name="T0" fmla="*/ 0 w 94"/>
                <a:gd name="T1" fmla="*/ 0 h 168"/>
                <a:gd name="T2" fmla="*/ 0 w 94"/>
                <a:gd name="T3" fmla="*/ 91 h 168"/>
                <a:gd name="T4" fmla="*/ 0 w 94"/>
                <a:gd name="T5" fmla="*/ 91 h 168"/>
                <a:gd name="T6" fmla="*/ 14 w 94"/>
                <a:gd name="T7" fmla="*/ 96 h 168"/>
                <a:gd name="T8" fmla="*/ 27 w 94"/>
                <a:gd name="T9" fmla="*/ 102 h 168"/>
                <a:gd name="T10" fmla="*/ 40 w 94"/>
                <a:gd name="T11" fmla="*/ 110 h 168"/>
                <a:gd name="T12" fmla="*/ 52 w 94"/>
                <a:gd name="T13" fmla="*/ 120 h 168"/>
                <a:gd name="T14" fmla="*/ 62 w 94"/>
                <a:gd name="T15" fmla="*/ 130 h 168"/>
                <a:gd name="T16" fmla="*/ 70 w 94"/>
                <a:gd name="T17" fmla="*/ 142 h 168"/>
                <a:gd name="T18" fmla="*/ 79 w 94"/>
                <a:gd name="T19" fmla="*/ 154 h 168"/>
                <a:gd name="T20" fmla="*/ 85 w 94"/>
                <a:gd name="T21" fmla="*/ 168 h 168"/>
                <a:gd name="T22" fmla="*/ 85 w 94"/>
                <a:gd name="T23" fmla="*/ 168 h 168"/>
                <a:gd name="T24" fmla="*/ 89 w 94"/>
                <a:gd name="T25" fmla="*/ 157 h 168"/>
                <a:gd name="T26" fmla="*/ 91 w 94"/>
                <a:gd name="T27" fmla="*/ 146 h 168"/>
                <a:gd name="T28" fmla="*/ 93 w 94"/>
                <a:gd name="T29" fmla="*/ 133 h 168"/>
                <a:gd name="T30" fmla="*/ 94 w 94"/>
                <a:gd name="T31" fmla="*/ 122 h 168"/>
                <a:gd name="T32" fmla="*/ 94 w 94"/>
                <a:gd name="T33" fmla="*/ 122 h 168"/>
                <a:gd name="T34" fmla="*/ 93 w 94"/>
                <a:gd name="T35" fmla="*/ 111 h 168"/>
                <a:gd name="T36" fmla="*/ 91 w 94"/>
                <a:gd name="T37" fmla="*/ 100 h 168"/>
                <a:gd name="T38" fmla="*/ 89 w 94"/>
                <a:gd name="T39" fmla="*/ 90 h 168"/>
                <a:gd name="T40" fmla="*/ 86 w 94"/>
                <a:gd name="T41" fmla="*/ 80 h 168"/>
                <a:gd name="T42" fmla="*/ 83 w 94"/>
                <a:gd name="T43" fmla="*/ 70 h 168"/>
                <a:gd name="T44" fmla="*/ 78 w 94"/>
                <a:gd name="T45" fmla="*/ 62 h 168"/>
                <a:gd name="T46" fmla="*/ 73 w 94"/>
                <a:gd name="T47" fmla="*/ 53 h 168"/>
                <a:gd name="T48" fmla="*/ 67 w 94"/>
                <a:gd name="T49" fmla="*/ 45 h 168"/>
                <a:gd name="T50" fmla="*/ 61 w 94"/>
                <a:gd name="T51" fmla="*/ 37 h 168"/>
                <a:gd name="T52" fmla="*/ 53 w 94"/>
                <a:gd name="T53" fmla="*/ 30 h 168"/>
                <a:gd name="T54" fmla="*/ 46 w 94"/>
                <a:gd name="T55" fmla="*/ 24 h 168"/>
                <a:gd name="T56" fmla="*/ 37 w 94"/>
                <a:gd name="T57" fmla="*/ 17 h 168"/>
                <a:gd name="T58" fmla="*/ 28 w 94"/>
                <a:gd name="T59" fmla="*/ 12 h 168"/>
                <a:gd name="T60" fmla="*/ 20 w 94"/>
                <a:gd name="T61" fmla="*/ 7 h 168"/>
                <a:gd name="T62" fmla="*/ 10 w 94"/>
                <a:gd name="T63" fmla="*/ 4 h 168"/>
                <a:gd name="T64" fmla="*/ 0 w 94"/>
                <a:gd name="T65" fmla="*/ 0 h 168"/>
                <a:gd name="T66" fmla="*/ 0 w 94"/>
                <a:gd name="T6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4" h="168">
                  <a:moveTo>
                    <a:pt x="0" y="0"/>
                  </a:moveTo>
                  <a:lnTo>
                    <a:pt x="0" y="91"/>
                  </a:lnTo>
                  <a:lnTo>
                    <a:pt x="0" y="91"/>
                  </a:lnTo>
                  <a:lnTo>
                    <a:pt x="14" y="96"/>
                  </a:lnTo>
                  <a:lnTo>
                    <a:pt x="27" y="102"/>
                  </a:lnTo>
                  <a:lnTo>
                    <a:pt x="40" y="110"/>
                  </a:lnTo>
                  <a:lnTo>
                    <a:pt x="52" y="120"/>
                  </a:lnTo>
                  <a:lnTo>
                    <a:pt x="62" y="130"/>
                  </a:lnTo>
                  <a:lnTo>
                    <a:pt x="70" y="142"/>
                  </a:lnTo>
                  <a:lnTo>
                    <a:pt x="79" y="154"/>
                  </a:lnTo>
                  <a:lnTo>
                    <a:pt x="85" y="168"/>
                  </a:lnTo>
                  <a:lnTo>
                    <a:pt x="85" y="168"/>
                  </a:lnTo>
                  <a:lnTo>
                    <a:pt x="89" y="157"/>
                  </a:lnTo>
                  <a:lnTo>
                    <a:pt x="91" y="146"/>
                  </a:lnTo>
                  <a:lnTo>
                    <a:pt x="93" y="133"/>
                  </a:lnTo>
                  <a:lnTo>
                    <a:pt x="94" y="122"/>
                  </a:lnTo>
                  <a:lnTo>
                    <a:pt x="94" y="122"/>
                  </a:lnTo>
                  <a:lnTo>
                    <a:pt x="93" y="111"/>
                  </a:lnTo>
                  <a:lnTo>
                    <a:pt x="91" y="100"/>
                  </a:lnTo>
                  <a:lnTo>
                    <a:pt x="89" y="90"/>
                  </a:lnTo>
                  <a:lnTo>
                    <a:pt x="86" y="80"/>
                  </a:lnTo>
                  <a:lnTo>
                    <a:pt x="83" y="70"/>
                  </a:lnTo>
                  <a:lnTo>
                    <a:pt x="78" y="62"/>
                  </a:lnTo>
                  <a:lnTo>
                    <a:pt x="73" y="53"/>
                  </a:lnTo>
                  <a:lnTo>
                    <a:pt x="67" y="45"/>
                  </a:lnTo>
                  <a:lnTo>
                    <a:pt x="61" y="37"/>
                  </a:lnTo>
                  <a:lnTo>
                    <a:pt x="53" y="30"/>
                  </a:lnTo>
                  <a:lnTo>
                    <a:pt x="46" y="24"/>
                  </a:lnTo>
                  <a:lnTo>
                    <a:pt x="37" y="17"/>
                  </a:lnTo>
                  <a:lnTo>
                    <a:pt x="28" y="12"/>
                  </a:lnTo>
                  <a:lnTo>
                    <a:pt x="20" y="7"/>
                  </a:lnTo>
                  <a:lnTo>
                    <a:pt x="10" y="4"/>
                  </a:lnTo>
                  <a:lnTo>
                    <a:pt x="0" y="0"/>
                  </a:lnTo>
                  <a:lnTo>
                    <a:pt x="0"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1" name="Freeform 116">
              <a:extLst>
                <a:ext uri="{FF2B5EF4-FFF2-40B4-BE49-F238E27FC236}">
                  <a16:creationId xmlns:a16="http://schemas.microsoft.com/office/drawing/2014/main" id="{56BEFEC5-0486-F5C5-6B06-AA7B1AAEE956}"/>
                </a:ext>
              </a:extLst>
            </p:cNvPr>
            <p:cNvSpPr>
              <a:spLocks/>
            </p:cNvSpPr>
            <p:nvPr/>
          </p:nvSpPr>
          <p:spPr bwMode="auto">
            <a:xfrm>
              <a:off x="2933924" y="3120376"/>
              <a:ext cx="232595" cy="501093"/>
            </a:xfrm>
            <a:custGeom>
              <a:avLst/>
              <a:gdLst>
                <a:gd name="T0" fmla="*/ 78 w 156"/>
                <a:gd name="T1" fmla="*/ 364 h 371"/>
                <a:gd name="T2" fmla="*/ 78 w 156"/>
                <a:gd name="T3" fmla="*/ 364 h 371"/>
                <a:gd name="T4" fmla="*/ 89 w 156"/>
                <a:gd name="T5" fmla="*/ 365 h 371"/>
                <a:gd name="T6" fmla="*/ 100 w 156"/>
                <a:gd name="T7" fmla="*/ 366 h 371"/>
                <a:gd name="T8" fmla="*/ 111 w 156"/>
                <a:gd name="T9" fmla="*/ 367 h 371"/>
                <a:gd name="T10" fmla="*/ 122 w 156"/>
                <a:gd name="T11" fmla="*/ 371 h 371"/>
                <a:gd name="T12" fmla="*/ 122 w 156"/>
                <a:gd name="T13" fmla="*/ 371 h 371"/>
                <a:gd name="T14" fmla="*/ 130 w 156"/>
                <a:gd name="T15" fmla="*/ 354 h 371"/>
                <a:gd name="T16" fmla="*/ 136 w 156"/>
                <a:gd name="T17" fmla="*/ 337 h 371"/>
                <a:gd name="T18" fmla="*/ 142 w 156"/>
                <a:gd name="T19" fmla="*/ 319 h 371"/>
                <a:gd name="T20" fmla="*/ 147 w 156"/>
                <a:gd name="T21" fmla="*/ 300 h 371"/>
                <a:gd name="T22" fmla="*/ 151 w 156"/>
                <a:gd name="T23" fmla="*/ 280 h 371"/>
                <a:gd name="T24" fmla="*/ 153 w 156"/>
                <a:gd name="T25" fmla="*/ 259 h 371"/>
                <a:gd name="T26" fmla="*/ 155 w 156"/>
                <a:gd name="T27" fmla="*/ 238 h 371"/>
                <a:gd name="T28" fmla="*/ 156 w 156"/>
                <a:gd name="T29" fmla="*/ 216 h 371"/>
                <a:gd name="T30" fmla="*/ 156 w 156"/>
                <a:gd name="T31" fmla="*/ 216 h 371"/>
                <a:gd name="T32" fmla="*/ 155 w 156"/>
                <a:gd name="T33" fmla="*/ 181 h 371"/>
                <a:gd name="T34" fmla="*/ 150 w 156"/>
                <a:gd name="T35" fmla="*/ 148 h 371"/>
                <a:gd name="T36" fmla="*/ 143 w 156"/>
                <a:gd name="T37" fmla="*/ 117 h 371"/>
                <a:gd name="T38" fmla="*/ 134 w 156"/>
                <a:gd name="T39" fmla="*/ 87 h 371"/>
                <a:gd name="T40" fmla="*/ 122 w 156"/>
                <a:gd name="T41" fmla="*/ 61 h 371"/>
                <a:gd name="T42" fmla="*/ 116 w 156"/>
                <a:gd name="T43" fmla="*/ 49 h 371"/>
                <a:gd name="T44" fmla="*/ 109 w 156"/>
                <a:gd name="T45" fmla="*/ 38 h 371"/>
                <a:gd name="T46" fmla="*/ 103 w 156"/>
                <a:gd name="T47" fmla="*/ 27 h 371"/>
                <a:gd name="T48" fmla="*/ 94 w 156"/>
                <a:gd name="T49" fmla="*/ 17 h 371"/>
                <a:gd name="T50" fmla="*/ 87 w 156"/>
                <a:gd name="T51" fmla="*/ 8 h 371"/>
                <a:gd name="T52" fmla="*/ 78 w 156"/>
                <a:gd name="T53" fmla="*/ 0 h 371"/>
                <a:gd name="T54" fmla="*/ 78 w 156"/>
                <a:gd name="T55" fmla="*/ 0 h 371"/>
                <a:gd name="T56" fmla="*/ 69 w 156"/>
                <a:gd name="T57" fmla="*/ 8 h 371"/>
                <a:gd name="T58" fmla="*/ 62 w 156"/>
                <a:gd name="T59" fmla="*/ 17 h 371"/>
                <a:gd name="T60" fmla="*/ 53 w 156"/>
                <a:gd name="T61" fmla="*/ 27 h 371"/>
                <a:gd name="T62" fmla="*/ 46 w 156"/>
                <a:gd name="T63" fmla="*/ 38 h 371"/>
                <a:gd name="T64" fmla="*/ 40 w 156"/>
                <a:gd name="T65" fmla="*/ 49 h 371"/>
                <a:gd name="T66" fmla="*/ 34 w 156"/>
                <a:gd name="T67" fmla="*/ 61 h 371"/>
                <a:gd name="T68" fmla="*/ 23 w 156"/>
                <a:gd name="T69" fmla="*/ 87 h 371"/>
                <a:gd name="T70" fmla="*/ 13 w 156"/>
                <a:gd name="T71" fmla="*/ 117 h 371"/>
                <a:gd name="T72" fmla="*/ 7 w 156"/>
                <a:gd name="T73" fmla="*/ 148 h 371"/>
                <a:gd name="T74" fmla="*/ 2 w 156"/>
                <a:gd name="T75" fmla="*/ 181 h 371"/>
                <a:gd name="T76" fmla="*/ 0 w 156"/>
                <a:gd name="T77" fmla="*/ 216 h 371"/>
                <a:gd name="T78" fmla="*/ 0 w 156"/>
                <a:gd name="T79" fmla="*/ 216 h 371"/>
                <a:gd name="T80" fmla="*/ 2 w 156"/>
                <a:gd name="T81" fmla="*/ 238 h 371"/>
                <a:gd name="T82" fmla="*/ 3 w 156"/>
                <a:gd name="T83" fmla="*/ 259 h 371"/>
                <a:gd name="T84" fmla="*/ 5 w 156"/>
                <a:gd name="T85" fmla="*/ 280 h 371"/>
                <a:gd name="T86" fmla="*/ 9 w 156"/>
                <a:gd name="T87" fmla="*/ 300 h 371"/>
                <a:gd name="T88" fmla="*/ 14 w 156"/>
                <a:gd name="T89" fmla="*/ 319 h 371"/>
                <a:gd name="T90" fmla="*/ 20 w 156"/>
                <a:gd name="T91" fmla="*/ 337 h 371"/>
                <a:gd name="T92" fmla="*/ 26 w 156"/>
                <a:gd name="T93" fmla="*/ 354 h 371"/>
                <a:gd name="T94" fmla="*/ 34 w 156"/>
                <a:gd name="T95" fmla="*/ 371 h 371"/>
                <a:gd name="T96" fmla="*/ 34 w 156"/>
                <a:gd name="T97" fmla="*/ 371 h 371"/>
                <a:gd name="T98" fmla="*/ 45 w 156"/>
                <a:gd name="T99" fmla="*/ 367 h 371"/>
                <a:gd name="T100" fmla="*/ 56 w 156"/>
                <a:gd name="T101" fmla="*/ 366 h 371"/>
                <a:gd name="T102" fmla="*/ 67 w 156"/>
                <a:gd name="T103" fmla="*/ 365 h 371"/>
                <a:gd name="T104" fmla="*/ 78 w 156"/>
                <a:gd name="T105" fmla="*/ 364 h 371"/>
                <a:gd name="T106" fmla="*/ 78 w 156"/>
                <a:gd name="T107" fmla="*/ 364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 h="371">
                  <a:moveTo>
                    <a:pt x="78" y="364"/>
                  </a:moveTo>
                  <a:lnTo>
                    <a:pt x="78" y="364"/>
                  </a:lnTo>
                  <a:lnTo>
                    <a:pt x="89" y="365"/>
                  </a:lnTo>
                  <a:lnTo>
                    <a:pt x="100" y="366"/>
                  </a:lnTo>
                  <a:lnTo>
                    <a:pt x="111" y="367"/>
                  </a:lnTo>
                  <a:lnTo>
                    <a:pt x="122" y="371"/>
                  </a:lnTo>
                  <a:lnTo>
                    <a:pt x="122" y="371"/>
                  </a:lnTo>
                  <a:lnTo>
                    <a:pt x="130" y="354"/>
                  </a:lnTo>
                  <a:lnTo>
                    <a:pt x="136" y="337"/>
                  </a:lnTo>
                  <a:lnTo>
                    <a:pt x="142" y="319"/>
                  </a:lnTo>
                  <a:lnTo>
                    <a:pt x="147" y="300"/>
                  </a:lnTo>
                  <a:lnTo>
                    <a:pt x="151" y="280"/>
                  </a:lnTo>
                  <a:lnTo>
                    <a:pt x="153" y="259"/>
                  </a:lnTo>
                  <a:lnTo>
                    <a:pt x="155" y="238"/>
                  </a:lnTo>
                  <a:lnTo>
                    <a:pt x="156" y="216"/>
                  </a:lnTo>
                  <a:lnTo>
                    <a:pt x="156" y="216"/>
                  </a:lnTo>
                  <a:lnTo>
                    <a:pt x="155" y="181"/>
                  </a:lnTo>
                  <a:lnTo>
                    <a:pt x="150" y="148"/>
                  </a:lnTo>
                  <a:lnTo>
                    <a:pt x="143" y="117"/>
                  </a:lnTo>
                  <a:lnTo>
                    <a:pt x="134" y="87"/>
                  </a:lnTo>
                  <a:lnTo>
                    <a:pt x="122" y="61"/>
                  </a:lnTo>
                  <a:lnTo>
                    <a:pt x="116" y="49"/>
                  </a:lnTo>
                  <a:lnTo>
                    <a:pt x="109" y="38"/>
                  </a:lnTo>
                  <a:lnTo>
                    <a:pt x="103" y="27"/>
                  </a:lnTo>
                  <a:lnTo>
                    <a:pt x="94" y="17"/>
                  </a:lnTo>
                  <a:lnTo>
                    <a:pt x="87" y="8"/>
                  </a:lnTo>
                  <a:lnTo>
                    <a:pt x="78" y="0"/>
                  </a:lnTo>
                  <a:lnTo>
                    <a:pt x="78" y="0"/>
                  </a:lnTo>
                  <a:lnTo>
                    <a:pt x="69" y="8"/>
                  </a:lnTo>
                  <a:lnTo>
                    <a:pt x="62" y="17"/>
                  </a:lnTo>
                  <a:lnTo>
                    <a:pt x="53" y="27"/>
                  </a:lnTo>
                  <a:lnTo>
                    <a:pt x="46" y="38"/>
                  </a:lnTo>
                  <a:lnTo>
                    <a:pt x="40" y="49"/>
                  </a:lnTo>
                  <a:lnTo>
                    <a:pt x="34" y="61"/>
                  </a:lnTo>
                  <a:lnTo>
                    <a:pt x="23" y="87"/>
                  </a:lnTo>
                  <a:lnTo>
                    <a:pt x="13" y="117"/>
                  </a:lnTo>
                  <a:lnTo>
                    <a:pt x="7" y="148"/>
                  </a:lnTo>
                  <a:lnTo>
                    <a:pt x="2" y="181"/>
                  </a:lnTo>
                  <a:lnTo>
                    <a:pt x="0" y="216"/>
                  </a:lnTo>
                  <a:lnTo>
                    <a:pt x="0" y="216"/>
                  </a:lnTo>
                  <a:lnTo>
                    <a:pt x="2" y="238"/>
                  </a:lnTo>
                  <a:lnTo>
                    <a:pt x="3" y="259"/>
                  </a:lnTo>
                  <a:lnTo>
                    <a:pt x="5" y="280"/>
                  </a:lnTo>
                  <a:lnTo>
                    <a:pt x="9" y="300"/>
                  </a:lnTo>
                  <a:lnTo>
                    <a:pt x="14" y="319"/>
                  </a:lnTo>
                  <a:lnTo>
                    <a:pt x="20" y="337"/>
                  </a:lnTo>
                  <a:lnTo>
                    <a:pt x="26" y="354"/>
                  </a:lnTo>
                  <a:lnTo>
                    <a:pt x="34" y="371"/>
                  </a:lnTo>
                  <a:lnTo>
                    <a:pt x="34" y="371"/>
                  </a:lnTo>
                  <a:lnTo>
                    <a:pt x="45" y="367"/>
                  </a:lnTo>
                  <a:lnTo>
                    <a:pt x="56" y="366"/>
                  </a:lnTo>
                  <a:lnTo>
                    <a:pt x="67" y="365"/>
                  </a:lnTo>
                  <a:lnTo>
                    <a:pt x="78" y="364"/>
                  </a:lnTo>
                  <a:lnTo>
                    <a:pt x="78" y="364"/>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2" name="Freeform 117">
              <a:extLst>
                <a:ext uri="{FF2B5EF4-FFF2-40B4-BE49-F238E27FC236}">
                  <a16:creationId xmlns:a16="http://schemas.microsoft.com/office/drawing/2014/main" id="{C35C3F66-9A04-8296-75C8-58390A0FEB33}"/>
                </a:ext>
              </a:extLst>
            </p:cNvPr>
            <p:cNvSpPr>
              <a:spLocks/>
            </p:cNvSpPr>
            <p:nvPr/>
          </p:nvSpPr>
          <p:spPr bwMode="auto">
            <a:xfrm>
              <a:off x="3050214" y="3120376"/>
              <a:ext cx="116298" cy="501093"/>
            </a:xfrm>
            <a:custGeom>
              <a:avLst/>
              <a:gdLst>
                <a:gd name="T0" fmla="*/ 0 w 78"/>
                <a:gd name="T1" fmla="*/ 0 h 371"/>
                <a:gd name="T2" fmla="*/ 0 w 78"/>
                <a:gd name="T3" fmla="*/ 0 h 371"/>
                <a:gd name="T4" fmla="*/ 0 w 78"/>
                <a:gd name="T5" fmla="*/ 1 h 371"/>
                <a:gd name="T6" fmla="*/ 0 w 78"/>
                <a:gd name="T7" fmla="*/ 364 h 371"/>
                <a:gd name="T8" fmla="*/ 0 w 78"/>
                <a:gd name="T9" fmla="*/ 364 h 371"/>
                <a:gd name="T10" fmla="*/ 0 w 78"/>
                <a:gd name="T11" fmla="*/ 364 h 371"/>
                <a:gd name="T12" fmla="*/ 0 w 78"/>
                <a:gd name="T13" fmla="*/ 364 h 371"/>
                <a:gd name="T14" fmla="*/ 11 w 78"/>
                <a:gd name="T15" fmla="*/ 365 h 371"/>
                <a:gd name="T16" fmla="*/ 22 w 78"/>
                <a:gd name="T17" fmla="*/ 366 h 371"/>
                <a:gd name="T18" fmla="*/ 33 w 78"/>
                <a:gd name="T19" fmla="*/ 367 h 371"/>
                <a:gd name="T20" fmla="*/ 44 w 78"/>
                <a:gd name="T21" fmla="*/ 371 h 371"/>
                <a:gd name="T22" fmla="*/ 44 w 78"/>
                <a:gd name="T23" fmla="*/ 371 h 371"/>
                <a:gd name="T24" fmla="*/ 52 w 78"/>
                <a:gd name="T25" fmla="*/ 354 h 371"/>
                <a:gd name="T26" fmla="*/ 58 w 78"/>
                <a:gd name="T27" fmla="*/ 337 h 371"/>
                <a:gd name="T28" fmla="*/ 64 w 78"/>
                <a:gd name="T29" fmla="*/ 319 h 371"/>
                <a:gd name="T30" fmla="*/ 69 w 78"/>
                <a:gd name="T31" fmla="*/ 300 h 371"/>
                <a:gd name="T32" fmla="*/ 73 w 78"/>
                <a:gd name="T33" fmla="*/ 280 h 371"/>
                <a:gd name="T34" fmla="*/ 75 w 78"/>
                <a:gd name="T35" fmla="*/ 259 h 371"/>
                <a:gd name="T36" fmla="*/ 77 w 78"/>
                <a:gd name="T37" fmla="*/ 238 h 371"/>
                <a:gd name="T38" fmla="*/ 78 w 78"/>
                <a:gd name="T39" fmla="*/ 216 h 371"/>
                <a:gd name="T40" fmla="*/ 78 w 78"/>
                <a:gd name="T41" fmla="*/ 216 h 371"/>
                <a:gd name="T42" fmla="*/ 77 w 78"/>
                <a:gd name="T43" fmla="*/ 181 h 371"/>
                <a:gd name="T44" fmla="*/ 72 w 78"/>
                <a:gd name="T45" fmla="*/ 148 h 371"/>
                <a:gd name="T46" fmla="*/ 65 w 78"/>
                <a:gd name="T47" fmla="*/ 117 h 371"/>
                <a:gd name="T48" fmla="*/ 56 w 78"/>
                <a:gd name="T49" fmla="*/ 87 h 371"/>
                <a:gd name="T50" fmla="*/ 44 w 78"/>
                <a:gd name="T51" fmla="*/ 61 h 371"/>
                <a:gd name="T52" fmla="*/ 38 w 78"/>
                <a:gd name="T53" fmla="*/ 49 h 371"/>
                <a:gd name="T54" fmla="*/ 31 w 78"/>
                <a:gd name="T55" fmla="*/ 38 h 371"/>
                <a:gd name="T56" fmla="*/ 25 w 78"/>
                <a:gd name="T57" fmla="*/ 27 h 371"/>
                <a:gd name="T58" fmla="*/ 16 w 78"/>
                <a:gd name="T59" fmla="*/ 17 h 371"/>
                <a:gd name="T60" fmla="*/ 9 w 78"/>
                <a:gd name="T61" fmla="*/ 8 h 371"/>
                <a:gd name="T62" fmla="*/ 0 w 78"/>
                <a:gd name="T63" fmla="*/ 0 h 371"/>
                <a:gd name="T64" fmla="*/ 0 w 78"/>
                <a:gd name="T65"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371">
                  <a:moveTo>
                    <a:pt x="0" y="0"/>
                  </a:moveTo>
                  <a:lnTo>
                    <a:pt x="0" y="0"/>
                  </a:lnTo>
                  <a:lnTo>
                    <a:pt x="0" y="1"/>
                  </a:lnTo>
                  <a:lnTo>
                    <a:pt x="0" y="364"/>
                  </a:lnTo>
                  <a:lnTo>
                    <a:pt x="0" y="364"/>
                  </a:lnTo>
                  <a:lnTo>
                    <a:pt x="0" y="364"/>
                  </a:lnTo>
                  <a:lnTo>
                    <a:pt x="0" y="364"/>
                  </a:lnTo>
                  <a:lnTo>
                    <a:pt x="11" y="365"/>
                  </a:lnTo>
                  <a:lnTo>
                    <a:pt x="22" y="366"/>
                  </a:lnTo>
                  <a:lnTo>
                    <a:pt x="33" y="367"/>
                  </a:lnTo>
                  <a:lnTo>
                    <a:pt x="44" y="371"/>
                  </a:lnTo>
                  <a:lnTo>
                    <a:pt x="44" y="371"/>
                  </a:lnTo>
                  <a:lnTo>
                    <a:pt x="52" y="354"/>
                  </a:lnTo>
                  <a:lnTo>
                    <a:pt x="58" y="337"/>
                  </a:lnTo>
                  <a:lnTo>
                    <a:pt x="64" y="319"/>
                  </a:lnTo>
                  <a:lnTo>
                    <a:pt x="69" y="300"/>
                  </a:lnTo>
                  <a:lnTo>
                    <a:pt x="73" y="280"/>
                  </a:lnTo>
                  <a:lnTo>
                    <a:pt x="75" y="259"/>
                  </a:lnTo>
                  <a:lnTo>
                    <a:pt x="77" y="238"/>
                  </a:lnTo>
                  <a:lnTo>
                    <a:pt x="78" y="216"/>
                  </a:lnTo>
                  <a:lnTo>
                    <a:pt x="78" y="216"/>
                  </a:lnTo>
                  <a:lnTo>
                    <a:pt x="77" y="181"/>
                  </a:lnTo>
                  <a:lnTo>
                    <a:pt x="72" y="148"/>
                  </a:lnTo>
                  <a:lnTo>
                    <a:pt x="65" y="117"/>
                  </a:lnTo>
                  <a:lnTo>
                    <a:pt x="56" y="87"/>
                  </a:lnTo>
                  <a:lnTo>
                    <a:pt x="44" y="61"/>
                  </a:lnTo>
                  <a:lnTo>
                    <a:pt x="38" y="49"/>
                  </a:lnTo>
                  <a:lnTo>
                    <a:pt x="31" y="38"/>
                  </a:lnTo>
                  <a:lnTo>
                    <a:pt x="25" y="27"/>
                  </a:lnTo>
                  <a:lnTo>
                    <a:pt x="16" y="17"/>
                  </a:lnTo>
                  <a:lnTo>
                    <a:pt x="9" y="8"/>
                  </a:lnTo>
                  <a:lnTo>
                    <a:pt x="0"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3" name="Freeform 118">
              <a:extLst>
                <a:ext uri="{FF2B5EF4-FFF2-40B4-BE49-F238E27FC236}">
                  <a16:creationId xmlns:a16="http://schemas.microsoft.com/office/drawing/2014/main" id="{70870EA4-0FE3-C959-7C6E-8C119C494AEC}"/>
                </a:ext>
              </a:extLst>
            </p:cNvPr>
            <p:cNvSpPr>
              <a:spLocks/>
            </p:cNvSpPr>
            <p:nvPr/>
          </p:nvSpPr>
          <p:spPr bwMode="auto">
            <a:xfrm>
              <a:off x="2965235" y="3120376"/>
              <a:ext cx="169973" cy="122910"/>
            </a:xfrm>
            <a:custGeom>
              <a:avLst/>
              <a:gdLst>
                <a:gd name="T0" fmla="*/ 57 w 114"/>
                <a:gd name="T1" fmla="*/ 90 h 91"/>
                <a:gd name="T2" fmla="*/ 57 w 114"/>
                <a:gd name="T3" fmla="*/ 90 h 91"/>
                <a:gd name="T4" fmla="*/ 85 w 114"/>
                <a:gd name="T5" fmla="*/ 90 h 91"/>
                <a:gd name="T6" fmla="*/ 114 w 114"/>
                <a:gd name="T7" fmla="*/ 91 h 91"/>
                <a:gd name="T8" fmla="*/ 114 w 114"/>
                <a:gd name="T9" fmla="*/ 91 h 91"/>
                <a:gd name="T10" fmla="*/ 109 w 114"/>
                <a:gd name="T11" fmla="*/ 78 h 91"/>
                <a:gd name="T12" fmla="*/ 103 w 114"/>
                <a:gd name="T13" fmla="*/ 64 h 91"/>
                <a:gd name="T14" fmla="*/ 97 w 114"/>
                <a:gd name="T15" fmla="*/ 50 h 91"/>
                <a:gd name="T16" fmla="*/ 89 w 114"/>
                <a:gd name="T17" fmla="*/ 39 h 91"/>
                <a:gd name="T18" fmla="*/ 82 w 114"/>
                <a:gd name="T19" fmla="*/ 28 h 91"/>
                <a:gd name="T20" fmla="*/ 74 w 114"/>
                <a:gd name="T21" fmla="*/ 18 h 91"/>
                <a:gd name="T22" fmla="*/ 66 w 114"/>
                <a:gd name="T23" fmla="*/ 8 h 91"/>
                <a:gd name="T24" fmla="*/ 57 w 114"/>
                <a:gd name="T25" fmla="*/ 0 h 91"/>
                <a:gd name="T26" fmla="*/ 57 w 114"/>
                <a:gd name="T27" fmla="*/ 0 h 91"/>
                <a:gd name="T28" fmla="*/ 48 w 114"/>
                <a:gd name="T29" fmla="*/ 8 h 91"/>
                <a:gd name="T30" fmla="*/ 40 w 114"/>
                <a:gd name="T31" fmla="*/ 18 h 91"/>
                <a:gd name="T32" fmla="*/ 32 w 114"/>
                <a:gd name="T33" fmla="*/ 28 h 91"/>
                <a:gd name="T34" fmla="*/ 25 w 114"/>
                <a:gd name="T35" fmla="*/ 39 h 91"/>
                <a:gd name="T36" fmla="*/ 18 w 114"/>
                <a:gd name="T37" fmla="*/ 50 h 91"/>
                <a:gd name="T38" fmla="*/ 11 w 114"/>
                <a:gd name="T39" fmla="*/ 64 h 91"/>
                <a:gd name="T40" fmla="*/ 5 w 114"/>
                <a:gd name="T41" fmla="*/ 78 h 91"/>
                <a:gd name="T42" fmla="*/ 0 w 114"/>
                <a:gd name="T43" fmla="*/ 91 h 91"/>
                <a:gd name="T44" fmla="*/ 0 w 114"/>
                <a:gd name="T45" fmla="*/ 91 h 91"/>
                <a:gd name="T46" fmla="*/ 27 w 114"/>
                <a:gd name="T47" fmla="*/ 90 h 91"/>
                <a:gd name="T48" fmla="*/ 57 w 114"/>
                <a:gd name="T49" fmla="*/ 90 h 91"/>
                <a:gd name="T50" fmla="*/ 57 w 114"/>
                <a:gd name="T51" fmla="*/ 9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4" h="91">
                  <a:moveTo>
                    <a:pt x="57" y="90"/>
                  </a:moveTo>
                  <a:lnTo>
                    <a:pt x="57" y="90"/>
                  </a:lnTo>
                  <a:lnTo>
                    <a:pt x="85" y="90"/>
                  </a:lnTo>
                  <a:lnTo>
                    <a:pt x="114" y="91"/>
                  </a:lnTo>
                  <a:lnTo>
                    <a:pt x="114" y="91"/>
                  </a:lnTo>
                  <a:lnTo>
                    <a:pt x="109" y="78"/>
                  </a:lnTo>
                  <a:lnTo>
                    <a:pt x="103" y="64"/>
                  </a:lnTo>
                  <a:lnTo>
                    <a:pt x="97" y="50"/>
                  </a:lnTo>
                  <a:lnTo>
                    <a:pt x="89" y="39"/>
                  </a:lnTo>
                  <a:lnTo>
                    <a:pt x="82" y="28"/>
                  </a:lnTo>
                  <a:lnTo>
                    <a:pt x="74" y="18"/>
                  </a:lnTo>
                  <a:lnTo>
                    <a:pt x="66" y="8"/>
                  </a:lnTo>
                  <a:lnTo>
                    <a:pt x="57" y="0"/>
                  </a:lnTo>
                  <a:lnTo>
                    <a:pt x="57" y="0"/>
                  </a:lnTo>
                  <a:lnTo>
                    <a:pt x="48" y="8"/>
                  </a:lnTo>
                  <a:lnTo>
                    <a:pt x="40" y="18"/>
                  </a:lnTo>
                  <a:lnTo>
                    <a:pt x="32" y="28"/>
                  </a:lnTo>
                  <a:lnTo>
                    <a:pt x="25" y="39"/>
                  </a:lnTo>
                  <a:lnTo>
                    <a:pt x="18" y="50"/>
                  </a:lnTo>
                  <a:lnTo>
                    <a:pt x="11" y="64"/>
                  </a:lnTo>
                  <a:lnTo>
                    <a:pt x="5" y="78"/>
                  </a:lnTo>
                  <a:lnTo>
                    <a:pt x="0" y="91"/>
                  </a:lnTo>
                  <a:lnTo>
                    <a:pt x="0" y="91"/>
                  </a:lnTo>
                  <a:lnTo>
                    <a:pt x="27" y="90"/>
                  </a:lnTo>
                  <a:lnTo>
                    <a:pt x="57" y="90"/>
                  </a:lnTo>
                  <a:lnTo>
                    <a:pt x="57" y="9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4" name="Freeform 119">
              <a:extLst>
                <a:ext uri="{FF2B5EF4-FFF2-40B4-BE49-F238E27FC236}">
                  <a16:creationId xmlns:a16="http://schemas.microsoft.com/office/drawing/2014/main" id="{63CFA789-91F2-CBFF-A2B6-F136364B97D5}"/>
                </a:ext>
              </a:extLst>
            </p:cNvPr>
            <p:cNvSpPr>
              <a:spLocks/>
            </p:cNvSpPr>
            <p:nvPr/>
          </p:nvSpPr>
          <p:spPr bwMode="auto">
            <a:xfrm>
              <a:off x="3050230" y="3120376"/>
              <a:ext cx="84987" cy="122910"/>
            </a:xfrm>
            <a:custGeom>
              <a:avLst/>
              <a:gdLst>
                <a:gd name="T0" fmla="*/ 0 w 57"/>
                <a:gd name="T1" fmla="*/ 1 h 91"/>
                <a:gd name="T2" fmla="*/ 0 w 57"/>
                <a:gd name="T3" fmla="*/ 90 h 91"/>
                <a:gd name="T4" fmla="*/ 0 w 57"/>
                <a:gd name="T5" fmla="*/ 90 h 91"/>
                <a:gd name="T6" fmla="*/ 0 w 57"/>
                <a:gd name="T7" fmla="*/ 90 h 91"/>
                <a:gd name="T8" fmla="*/ 0 w 57"/>
                <a:gd name="T9" fmla="*/ 90 h 91"/>
                <a:gd name="T10" fmla="*/ 28 w 57"/>
                <a:gd name="T11" fmla="*/ 90 h 91"/>
                <a:gd name="T12" fmla="*/ 57 w 57"/>
                <a:gd name="T13" fmla="*/ 91 h 91"/>
                <a:gd name="T14" fmla="*/ 57 w 57"/>
                <a:gd name="T15" fmla="*/ 91 h 91"/>
                <a:gd name="T16" fmla="*/ 52 w 57"/>
                <a:gd name="T17" fmla="*/ 78 h 91"/>
                <a:gd name="T18" fmla="*/ 46 w 57"/>
                <a:gd name="T19" fmla="*/ 64 h 91"/>
                <a:gd name="T20" fmla="*/ 40 w 57"/>
                <a:gd name="T21" fmla="*/ 50 h 91"/>
                <a:gd name="T22" fmla="*/ 32 w 57"/>
                <a:gd name="T23" fmla="*/ 39 h 91"/>
                <a:gd name="T24" fmla="*/ 25 w 57"/>
                <a:gd name="T25" fmla="*/ 28 h 91"/>
                <a:gd name="T26" fmla="*/ 17 w 57"/>
                <a:gd name="T27" fmla="*/ 18 h 91"/>
                <a:gd name="T28" fmla="*/ 9 w 57"/>
                <a:gd name="T29" fmla="*/ 8 h 91"/>
                <a:gd name="T30" fmla="*/ 0 w 57"/>
                <a:gd name="T31" fmla="*/ 0 h 91"/>
                <a:gd name="T32" fmla="*/ 0 w 57"/>
                <a:gd name="T33" fmla="*/ 0 h 91"/>
                <a:gd name="T34" fmla="*/ 0 w 57"/>
                <a:gd name="T35" fmla="*/ 1 h 91"/>
                <a:gd name="T36" fmla="*/ 0 w 57"/>
                <a:gd name="T3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91">
                  <a:moveTo>
                    <a:pt x="0" y="1"/>
                  </a:moveTo>
                  <a:lnTo>
                    <a:pt x="0" y="90"/>
                  </a:lnTo>
                  <a:lnTo>
                    <a:pt x="0" y="90"/>
                  </a:lnTo>
                  <a:lnTo>
                    <a:pt x="0" y="90"/>
                  </a:lnTo>
                  <a:lnTo>
                    <a:pt x="0" y="90"/>
                  </a:lnTo>
                  <a:lnTo>
                    <a:pt x="28" y="90"/>
                  </a:lnTo>
                  <a:lnTo>
                    <a:pt x="57" y="91"/>
                  </a:lnTo>
                  <a:lnTo>
                    <a:pt x="57" y="91"/>
                  </a:lnTo>
                  <a:lnTo>
                    <a:pt x="52" y="78"/>
                  </a:lnTo>
                  <a:lnTo>
                    <a:pt x="46" y="64"/>
                  </a:lnTo>
                  <a:lnTo>
                    <a:pt x="40" y="50"/>
                  </a:lnTo>
                  <a:lnTo>
                    <a:pt x="32" y="39"/>
                  </a:lnTo>
                  <a:lnTo>
                    <a:pt x="25" y="28"/>
                  </a:lnTo>
                  <a:lnTo>
                    <a:pt x="17" y="18"/>
                  </a:lnTo>
                  <a:lnTo>
                    <a:pt x="9" y="8"/>
                  </a:lnTo>
                  <a:lnTo>
                    <a:pt x="0" y="0"/>
                  </a:lnTo>
                  <a:lnTo>
                    <a:pt x="0" y="0"/>
                  </a:lnTo>
                  <a:lnTo>
                    <a:pt x="0" y="1"/>
                  </a:lnTo>
                  <a:lnTo>
                    <a:pt x="0" y="1"/>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5" name="Freeform 120">
              <a:extLst>
                <a:ext uri="{FF2B5EF4-FFF2-40B4-BE49-F238E27FC236}">
                  <a16:creationId xmlns:a16="http://schemas.microsoft.com/office/drawing/2014/main" id="{77CCB424-7EC5-4561-4087-DA4748FEEACA}"/>
                </a:ext>
              </a:extLst>
            </p:cNvPr>
            <p:cNvSpPr>
              <a:spLocks/>
            </p:cNvSpPr>
            <p:nvPr/>
          </p:nvSpPr>
          <p:spPr bwMode="auto">
            <a:xfrm>
              <a:off x="3024883" y="3456690"/>
              <a:ext cx="49203" cy="241768"/>
            </a:xfrm>
            <a:custGeom>
              <a:avLst/>
              <a:gdLst>
                <a:gd name="T0" fmla="*/ 17 w 33"/>
                <a:gd name="T1" fmla="*/ 0 h 179"/>
                <a:gd name="T2" fmla="*/ 17 w 33"/>
                <a:gd name="T3" fmla="*/ 0 h 179"/>
                <a:gd name="T4" fmla="*/ 13 w 33"/>
                <a:gd name="T5" fmla="*/ 6 h 179"/>
                <a:gd name="T6" fmla="*/ 10 w 33"/>
                <a:gd name="T7" fmla="*/ 15 h 179"/>
                <a:gd name="T8" fmla="*/ 5 w 33"/>
                <a:gd name="T9" fmla="*/ 36 h 179"/>
                <a:gd name="T10" fmla="*/ 1 w 33"/>
                <a:gd name="T11" fmla="*/ 62 h 179"/>
                <a:gd name="T12" fmla="*/ 0 w 33"/>
                <a:gd name="T13" fmla="*/ 89 h 179"/>
                <a:gd name="T14" fmla="*/ 0 w 33"/>
                <a:gd name="T15" fmla="*/ 89 h 179"/>
                <a:gd name="T16" fmla="*/ 1 w 33"/>
                <a:gd name="T17" fmla="*/ 117 h 179"/>
                <a:gd name="T18" fmla="*/ 5 w 33"/>
                <a:gd name="T19" fmla="*/ 142 h 179"/>
                <a:gd name="T20" fmla="*/ 10 w 33"/>
                <a:gd name="T21" fmla="*/ 163 h 179"/>
                <a:gd name="T22" fmla="*/ 13 w 33"/>
                <a:gd name="T23" fmla="*/ 171 h 179"/>
                <a:gd name="T24" fmla="*/ 17 w 33"/>
                <a:gd name="T25" fmla="*/ 179 h 179"/>
                <a:gd name="T26" fmla="*/ 17 w 33"/>
                <a:gd name="T27" fmla="*/ 179 h 179"/>
                <a:gd name="T28" fmla="*/ 21 w 33"/>
                <a:gd name="T29" fmla="*/ 171 h 179"/>
                <a:gd name="T30" fmla="*/ 23 w 33"/>
                <a:gd name="T31" fmla="*/ 163 h 179"/>
                <a:gd name="T32" fmla="*/ 29 w 33"/>
                <a:gd name="T33" fmla="*/ 142 h 179"/>
                <a:gd name="T34" fmla="*/ 32 w 33"/>
                <a:gd name="T35" fmla="*/ 117 h 179"/>
                <a:gd name="T36" fmla="*/ 33 w 33"/>
                <a:gd name="T37" fmla="*/ 89 h 179"/>
                <a:gd name="T38" fmla="*/ 33 w 33"/>
                <a:gd name="T39" fmla="*/ 89 h 179"/>
                <a:gd name="T40" fmla="*/ 32 w 33"/>
                <a:gd name="T41" fmla="*/ 62 h 179"/>
                <a:gd name="T42" fmla="*/ 29 w 33"/>
                <a:gd name="T43" fmla="*/ 36 h 179"/>
                <a:gd name="T44" fmla="*/ 23 w 33"/>
                <a:gd name="T45" fmla="*/ 15 h 179"/>
                <a:gd name="T46" fmla="*/ 21 w 33"/>
                <a:gd name="T47" fmla="*/ 6 h 179"/>
                <a:gd name="T48" fmla="*/ 17 w 33"/>
                <a:gd name="T49" fmla="*/ 0 h 179"/>
                <a:gd name="T50" fmla="*/ 17 w 33"/>
                <a:gd name="T51"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 h="179">
                  <a:moveTo>
                    <a:pt x="17" y="0"/>
                  </a:moveTo>
                  <a:lnTo>
                    <a:pt x="17" y="0"/>
                  </a:lnTo>
                  <a:lnTo>
                    <a:pt x="13" y="6"/>
                  </a:lnTo>
                  <a:lnTo>
                    <a:pt x="10" y="15"/>
                  </a:lnTo>
                  <a:lnTo>
                    <a:pt x="5" y="36"/>
                  </a:lnTo>
                  <a:lnTo>
                    <a:pt x="1" y="62"/>
                  </a:lnTo>
                  <a:lnTo>
                    <a:pt x="0" y="89"/>
                  </a:lnTo>
                  <a:lnTo>
                    <a:pt x="0" y="89"/>
                  </a:lnTo>
                  <a:lnTo>
                    <a:pt x="1" y="117"/>
                  </a:lnTo>
                  <a:lnTo>
                    <a:pt x="5" y="142"/>
                  </a:lnTo>
                  <a:lnTo>
                    <a:pt x="10" y="163"/>
                  </a:lnTo>
                  <a:lnTo>
                    <a:pt x="13" y="171"/>
                  </a:lnTo>
                  <a:lnTo>
                    <a:pt x="17" y="179"/>
                  </a:lnTo>
                  <a:lnTo>
                    <a:pt x="17" y="179"/>
                  </a:lnTo>
                  <a:lnTo>
                    <a:pt x="21" y="171"/>
                  </a:lnTo>
                  <a:lnTo>
                    <a:pt x="23" y="163"/>
                  </a:lnTo>
                  <a:lnTo>
                    <a:pt x="29" y="142"/>
                  </a:lnTo>
                  <a:lnTo>
                    <a:pt x="32" y="117"/>
                  </a:lnTo>
                  <a:lnTo>
                    <a:pt x="33" y="89"/>
                  </a:lnTo>
                  <a:lnTo>
                    <a:pt x="33" y="89"/>
                  </a:lnTo>
                  <a:lnTo>
                    <a:pt x="32" y="62"/>
                  </a:lnTo>
                  <a:lnTo>
                    <a:pt x="29" y="36"/>
                  </a:lnTo>
                  <a:lnTo>
                    <a:pt x="23" y="15"/>
                  </a:lnTo>
                  <a:lnTo>
                    <a:pt x="21" y="6"/>
                  </a:lnTo>
                  <a:lnTo>
                    <a:pt x="17" y="0"/>
                  </a:lnTo>
                  <a:lnTo>
                    <a:pt x="17"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6" name="Freeform 121">
              <a:extLst>
                <a:ext uri="{FF2B5EF4-FFF2-40B4-BE49-F238E27FC236}">
                  <a16:creationId xmlns:a16="http://schemas.microsoft.com/office/drawing/2014/main" id="{8CBC38B7-664F-6C54-AC0A-77BECF2D10E6}"/>
                </a:ext>
              </a:extLst>
            </p:cNvPr>
            <p:cNvSpPr>
              <a:spLocks/>
            </p:cNvSpPr>
            <p:nvPr/>
          </p:nvSpPr>
          <p:spPr bwMode="auto">
            <a:xfrm>
              <a:off x="3050230" y="3456689"/>
              <a:ext cx="23856" cy="241768"/>
            </a:xfrm>
            <a:custGeom>
              <a:avLst/>
              <a:gdLst>
                <a:gd name="T0" fmla="*/ 0 w 16"/>
                <a:gd name="T1" fmla="*/ 0 h 179"/>
                <a:gd name="T2" fmla="*/ 0 w 16"/>
                <a:gd name="T3" fmla="*/ 178 h 179"/>
                <a:gd name="T4" fmla="*/ 0 w 16"/>
                <a:gd name="T5" fmla="*/ 178 h 179"/>
                <a:gd name="T6" fmla="*/ 0 w 16"/>
                <a:gd name="T7" fmla="*/ 179 h 179"/>
                <a:gd name="T8" fmla="*/ 0 w 16"/>
                <a:gd name="T9" fmla="*/ 179 h 179"/>
                <a:gd name="T10" fmla="*/ 4 w 16"/>
                <a:gd name="T11" fmla="*/ 171 h 179"/>
                <a:gd name="T12" fmla="*/ 6 w 16"/>
                <a:gd name="T13" fmla="*/ 163 h 179"/>
                <a:gd name="T14" fmla="*/ 12 w 16"/>
                <a:gd name="T15" fmla="*/ 142 h 179"/>
                <a:gd name="T16" fmla="*/ 15 w 16"/>
                <a:gd name="T17" fmla="*/ 117 h 179"/>
                <a:gd name="T18" fmla="*/ 16 w 16"/>
                <a:gd name="T19" fmla="*/ 89 h 179"/>
                <a:gd name="T20" fmla="*/ 16 w 16"/>
                <a:gd name="T21" fmla="*/ 89 h 179"/>
                <a:gd name="T22" fmla="*/ 15 w 16"/>
                <a:gd name="T23" fmla="*/ 62 h 179"/>
                <a:gd name="T24" fmla="*/ 12 w 16"/>
                <a:gd name="T25" fmla="*/ 36 h 179"/>
                <a:gd name="T26" fmla="*/ 6 w 16"/>
                <a:gd name="T27" fmla="*/ 15 h 179"/>
                <a:gd name="T28" fmla="*/ 4 w 16"/>
                <a:gd name="T29" fmla="*/ 6 h 179"/>
                <a:gd name="T30" fmla="*/ 0 w 16"/>
                <a:gd name="T31" fmla="*/ 0 h 179"/>
                <a:gd name="T32" fmla="*/ 0 w 16"/>
                <a:gd name="T33" fmla="*/ 0 h 179"/>
                <a:gd name="T34" fmla="*/ 0 w 16"/>
                <a:gd name="T35" fmla="*/ 0 h 179"/>
                <a:gd name="T36" fmla="*/ 0 w 16"/>
                <a:gd name="T37"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179">
                  <a:moveTo>
                    <a:pt x="0" y="0"/>
                  </a:moveTo>
                  <a:lnTo>
                    <a:pt x="0" y="178"/>
                  </a:lnTo>
                  <a:lnTo>
                    <a:pt x="0" y="178"/>
                  </a:lnTo>
                  <a:lnTo>
                    <a:pt x="0" y="179"/>
                  </a:lnTo>
                  <a:lnTo>
                    <a:pt x="0" y="179"/>
                  </a:lnTo>
                  <a:lnTo>
                    <a:pt x="4" y="171"/>
                  </a:lnTo>
                  <a:lnTo>
                    <a:pt x="6" y="163"/>
                  </a:lnTo>
                  <a:lnTo>
                    <a:pt x="12" y="142"/>
                  </a:lnTo>
                  <a:lnTo>
                    <a:pt x="15" y="117"/>
                  </a:lnTo>
                  <a:lnTo>
                    <a:pt x="16" y="89"/>
                  </a:lnTo>
                  <a:lnTo>
                    <a:pt x="16" y="89"/>
                  </a:lnTo>
                  <a:lnTo>
                    <a:pt x="15" y="62"/>
                  </a:lnTo>
                  <a:lnTo>
                    <a:pt x="12" y="36"/>
                  </a:lnTo>
                  <a:lnTo>
                    <a:pt x="6" y="15"/>
                  </a:lnTo>
                  <a:lnTo>
                    <a:pt x="4" y="6"/>
                  </a:lnTo>
                  <a:lnTo>
                    <a:pt x="0" y="0"/>
                  </a:lnTo>
                  <a:lnTo>
                    <a:pt x="0" y="0"/>
                  </a:lnTo>
                  <a:lnTo>
                    <a:pt x="0" y="0"/>
                  </a:lnTo>
                  <a:lnTo>
                    <a:pt x="0"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7" name="Freeform 122">
              <a:extLst>
                <a:ext uri="{FF2B5EF4-FFF2-40B4-BE49-F238E27FC236}">
                  <a16:creationId xmlns:a16="http://schemas.microsoft.com/office/drawing/2014/main" id="{7A0141EF-4118-5B3A-1690-5896519DEED5}"/>
                </a:ext>
              </a:extLst>
            </p:cNvPr>
            <p:cNvSpPr>
              <a:spLocks/>
            </p:cNvSpPr>
            <p:nvPr/>
          </p:nvSpPr>
          <p:spPr bwMode="auto">
            <a:xfrm>
              <a:off x="2986113" y="3293261"/>
              <a:ext cx="128226" cy="118858"/>
            </a:xfrm>
            <a:custGeom>
              <a:avLst/>
              <a:gdLst>
                <a:gd name="T0" fmla="*/ 43 w 86"/>
                <a:gd name="T1" fmla="*/ 88 h 88"/>
                <a:gd name="T2" fmla="*/ 43 w 86"/>
                <a:gd name="T3" fmla="*/ 88 h 88"/>
                <a:gd name="T4" fmla="*/ 34 w 86"/>
                <a:gd name="T5" fmla="*/ 86 h 88"/>
                <a:gd name="T6" fmla="*/ 26 w 86"/>
                <a:gd name="T7" fmla="*/ 84 h 88"/>
                <a:gd name="T8" fmla="*/ 18 w 86"/>
                <a:gd name="T9" fmla="*/ 80 h 88"/>
                <a:gd name="T10" fmla="*/ 12 w 86"/>
                <a:gd name="T11" fmla="*/ 75 h 88"/>
                <a:gd name="T12" fmla="*/ 7 w 86"/>
                <a:gd name="T13" fmla="*/ 68 h 88"/>
                <a:gd name="T14" fmla="*/ 2 w 86"/>
                <a:gd name="T15" fmla="*/ 61 h 88"/>
                <a:gd name="T16" fmla="*/ 0 w 86"/>
                <a:gd name="T17" fmla="*/ 53 h 88"/>
                <a:gd name="T18" fmla="*/ 0 w 86"/>
                <a:gd name="T19" fmla="*/ 45 h 88"/>
                <a:gd name="T20" fmla="*/ 0 w 86"/>
                <a:gd name="T21" fmla="*/ 45 h 88"/>
                <a:gd name="T22" fmla="*/ 0 w 86"/>
                <a:gd name="T23" fmla="*/ 35 h 88"/>
                <a:gd name="T24" fmla="*/ 2 w 86"/>
                <a:gd name="T25" fmla="*/ 27 h 88"/>
                <a:gd name="T26" fmla="*/ 7 w 86"/>
                <a:gd name="T27" fmla="*/ 20 h 88"/>
                <a:gd name="T28" fmla="*/ 12 w 86"/>
                <a:gd name="T29" fmla="*/ 14 h 88"/>
                <a:gd name="T30" fmla="*/ 18 w 86"/>
                <a:gd name="T31" fmla="*/ 8 h 88"/>
                <a:gd name="T32" fmla="*/ 26 w 86"/>
                <a:gd name="T33" fmla="*/ 4 h 88"/>
                <a:gd name="T34" fmla="*/ 34 w 86"/>
                <a:gd name="T35" fmla="*/ 1 h 88"/>
                <a:gd name="T36" fmla="*/ 43 w 86"/>
                <a:gd name="T37" fmla="*/ 0 h 88"/>
                <a:gd name="T38" fmla="*/ 43 w 86"/>
                <a:gd name="T39" fmla="*/ 0 h 88"/>
                <a:gd name="T40" fmla="*/ 52 w 86"/>
                <a:gd name="T41" fmla="*/ 1 h 88"/>
                <a:gd name="T42" fmla="*/ 60 w 86"/>
                <a:gd name="T43" fmla="*/ 4 h 88"/>
                <a:gd name="T44" fmla="*/ 68 w 86"/>
                <a:gd name="T45" fmla="*/ 8 h 88"/>
                <a:gd name="T46" fmla="*/ 74 w 86"/>
                <a:gd name="T47" fmla="*/ 14 h 88"/>
                <a:gd name="T48" fmla="*/ 79 w 86"/>
                <a:gd name="T49" fmla="*/ 20 h 88"/>
                <a:gd name="T50" fmla="*/ 83 w 86"/>
                <a:gd name="T51" fmla="*/ 27 h 88"/>
                <a:gd name="T52" fmla="*/ 85 w 86"/>
                <a:gd name="T53" fmla="*/ 35 h 88"/>
                <a:gd name="T54" fmla="*/ 86 w 86"/>
                <a:gd name="T55" fmla="*/ 45 h 88"/>
                <a:gd name="T56" fmla="*/ 86 w 86"/>
                <a:gd name="T57" fmla="*/ 45 h 88"/>
                <a:gd name="T58" fmla="*/ 85 w 86"/>
                <a:gd name="T59" fmla="*/ 53 h 88"/>
                <a:gd name="T60" fmla="*/ 83 w 86"/>
                <a:gd name="T61" fmla="*/ 61 h 88"/>
                <a:gd name="T62" fmla="*/ 79 w 86"/>
                <a:gd name="T63" fmla="*/ 68 h 88"/>
                <a:gd name="T64" fmla="*/ 74 w 86"/>
                <a:gd name="T65" fmla="*/ 75 h 88"/>
                <a:gd name="T66" fmla="*/ 68 w 86"/>
                <a:gd name="T67" fmla="*/ 80 h 88"/>
                <a:gd name="T68" fmla="*/ 60 w 86"/>
                <a:gd name="T69" fmla="*/ 84 h 88"/>
                <a:gd name="T70" fmla="*/ 52 w 86"/>
                <a:gd name="T71" fmla="*/ 86 h 88"/>
                <a:gd name="T72" fmla="*/ 43 w 86"/>
                <a:gd name="T73" fmla="*/ 88 h 88"/>
                <a:gd name="T74" fmla="*/ 43 w 86"/>
                <a:gd name="T7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6" h="88">
                  <a:moveTo>
                    <a:pt x="43" y="88"/>
                  </a:moveTo>
                  <a:lnTo>
                    <a:pt x="43" y="88"/>
                  </a:lnTo>
                  <a:lnTo>
                    <a:pt x="34" y="86"/>
                  </a:lnTo>
                  <a:lnTo>
                    <a:pt x="26" y="84"/>
                  </a:lnTo>
                  <a:lnTo>
                    <a:pt x="18" y="80"/>
                  </a:lnTo>
                  <a:lnTo>
                    <a:pt x="12" y="75"/>
                  </a:lnTo>
                  <a:lnTo>
                    <a:pt x="7" y="68"/>
                  </a:lnTo>
                  <a:lnTo>
                    <a:pt x="2" y="61"/>
                  </a:lnTo>
                  <a:lnTo>
                    <a:pt x="0" y="53"/>
                  </a:lnTo>
                  <a:lnTo>
                    <a:pt x="0" y="45"/>
                  </a:lnTo>
                  <a:lnTo>
                    <a:pt x="0" y="45"/>
                  </a:lnTo>
                  <a:lnTo>
                    <a:pt x="0" y="35"/>
                  </a:lnTo>
                  <a:lnTo>
                    <a:pt x="2" y="27"/>
                  </a:lnTo>
                  <a:lnTo>
                    <a:pt x="7" y="20"/>
                  </a:lnTo>
                  <a:lnTo>
                    <a:pt x="12" y="14"/>
                  </a:lnTo>
                  <a:lnTo>
                    <a:pt x="18" y="8"/>
                  </a:lnTo>
                  <a:lnTo>
                    <a:pt x="26" y="4"/>
                  </a:lnTo>
                  <a:lnTo>
                    <a:pt x="34" y="1"/>
                  </a:lnTo>
                  <a:lnTo>
                    <a:pt x="43" y="0"/>
                  </a:lnTo>
                  <a:lnTo>
                    <a:pt x="43" y="0"/>
                  </a:lnTo>
                  <a:lnTo>
                    <a:pt x="52" y="1"/>
                  </a:lnTo>
                  <a:lnTo>
                    <a:pt x="60" y="4"/>
                  </a:lnTo>
                  <a:lnTo>
                    <a:pt x="68" y="8"/>
                  </a:lnTo>
                  <a:lnTo>
                    <a:pt x="74" y="14"/>
                  </a:lnTo>
                  <a:lnTo>
                    <a:pt x="79" y="20"/>
                  </a:lnTo>
                  <a:lnTo>
                    <a:pt x="83" y="27"/>
                  </a:lnTo>
                  <a:lnTo>
                    <a:pt x="85" y="35"/>
                  </a:lnTo>
                  <a:lnTo>
                    <a:pt x="86" y="45"/>
                  </a:lnTo>
                  <a:lnTo>
                    <a:pt x="86" y="45"/>
                  </a:lnTo>
                  <a:lnTo>
                    <a:pt x="85" y="53"/>
                  </a:lnTo>
                  <a:lnTo>
                    <a:pt x="83" y="61"/>
                  </a:lnTo>
                  <a:lnTo>
                    <a:pt x="79" y="68"/>
                  </a:lnTo>
                  <a:lnTo>
                    <a:pt x="74" y="75"/>
                  </a:lnTo>
                  <a:lnTo>
                    <a:pt x="68" y="80"/>
                  </a:lnTo>
                  <a:lnTo>
                    <a:pt x="60" y="84"/>
                  </a:lnTo>
                  <a:lnTo>
                    <a:pt x="52" y="86"/>
                  </a:lnTo>
                  <a:lnTo>
                    <a:pt x="43" y="88"/>
                  </a:lnTo>
                  <a:lnTo>
                    <a:pt x="43" y="88"/>
                  </a:lnTo>
                  <a:close/>
                </a:path>
              </a:pathLst>
            </a:custGeom>
            <a:solidFill>
              <a:srgbClr val="174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8" name="Freeform 123">
              <a:extLst>
                <a:ext uri="{FF2B5EF4-FFF2-40B4-BE49-F238E27FC236}">
                  <a16:creationId xmlns:a16="http://schemas.microsoft.com/office/drawing/2014/main" id="{A3A8572A-80AB-2F5A-60E9-E9955D76F0FC}"/>
                </a:ext>
              </a:extLst>
            </p:cNvPr>
            <p:cNvSpPr>
              <a:spLocks/>
            </p:cNvSpPr>
            <p:nvPr/>
          </p:nvSpPr>
          <p:spPr bwMode="auto">
            <a:xfrm>
              <a:off x="3004009" y="3312171"/>
              <a:ext cx="90951" cy="81039"/>
            </a:xfrm>
            <a:custGeom>
              <a:avLst/>
              <a:gdLst>
                <a:gd name="T0" fmla="*/ 31 w 61"/>
                <a:gd name="T1" fmla="*/ 0 h 60"/>
                <a:gd name="T2" fmla="*/ 31 w 61"/>
                <a:gd name="T3" fmla="*/ 0 h 60"/>
                <a:gd name="T4" fmla="*/ 25 w 61"/>
                <a:gd name="T5" fmla="*/ 1 h 60"/>
                <a:gd name="T6" fmla="*/ 19 w 61"/>
                <a:gd name="T7" fmla="*/ 2 h 60"/>
                <a:gd name="T8" fmla="*/ 14 w 61"/>
                <a:gd name="T9" fmla="*/ 5 h 60"/>
                <a:gd name="T10" fmla="*/ 10 w 61"/>
                <a:gd name="T11" fmla="*/ 8 h 60"/>
                <a:gd name="T12" fmla="*/ 6 w 61"/>
                <a:gd name="T13" fmla="*/ 13 h 60"/>
                <a:gd name="T14" fmla="*/ 3 w 61"/>
                <a:gd name="T15" fmla="*/ 18 h 60"/>
                <a:gd name="T16" fmla="*/ 1 w 61"/>
                <a:gd name="T17" fmla="*/ 24 h 60"/>
                <a:gd name="T18" fmla="*/ 0 w 61"/>
                <a:gd name="T19" fmla="*/ 31 h 60"/>
                <a:gd name="T20" fmla="*/ 0 w 61"/>
                <a:gd name="T21" fmla="*/ 31 h 60"/>
                <a:gd name="T22" fmla="*/ 1 w 61"/>
                <a:gd name="T23" fmla="*/ 37 h 60"/>
                <a:gd name="T24" fmla="*/ 3 w 61"/>
                <a:gd name="T25" fmla="*/ 42 h 60"/>
                <a:gd name="T26" fmla="*/ 6 w 61"/>
                <a:gd name="T27" fmla="*/ 47 h 60"/>
                <a:gd name="T28" fmla="*/ 10 w 61"/>
                <a:gd name="T29" fmla="*/ 51 h 60"/>
                <a:gd name="T30" fmla="*/ 14 w 61"/>
                <a:gd name="T31" fmla="*/ 55 h 60"/>
                <a:gd name="T32" fmla="*/ 19 w 61"/>
                <a:gd name="T33" fmla="*/ 58 h 60"/>
                <a:gd name="T34" fmla="*/ 25 w 61"/>
                <a:gd name="T35" fmla="*/ 60 h 60"/>
                <a:gd name="T36" fmla="*/ 31 w 61"/>
                <a:gd name="T37" fmla="*/ 60 h 60"/>
                <a:gd name="T38" fmla="*/ 31 w 61"/>
                <a:gd name="T39" fmla="*/ 60 h 60"/>
                <a:gd name="T40" fmla="*/ 37 w 61"/>
                <a:gd name="T41" fmla="*/ 60 h 60"/>
                <a:gd name="T42" fmla="*/ 42 w 61"/>
                <a:gd name="T43" fmla="*/ 58 h 60"/>
                <a:gd name="T44" fmla="*/ 48 w 61"/>
                <a:gd name="T45" fmla="*/ 55 h 60"/>
                <a:gd name="T46" fmla="*/ 52 w 61"/>
                <a:gd name="T47" fmla="*/ 51 h 60"/>
                <a:gd name="T48" fmla="*/ 56 w 61"/>
                <a:gd name="T49" fmla="*/ 47 h 60"/>
                <a:gd name="T50" fmla="*/ 59 w 61"/>
                <a:gd name="T51" fmla="*/ 42 h 60"/>
                <a:gd name="T52" fmla="*/ 61 w 61"/>
                <a:gd name="T53" fmla="*/ 37 h 60"/>
                <a:gd name="T54" fmla="*/ 61 w 61"/>
                <a:gd name="T55" fmla="*/ 31 h 60"/>
                <a:gd name="T56" fmla="*/ 61 w 61"/>
                <a:gd name="T57" fmla="*/ 31 h 60"/>
                <a:gd name="T58" fmla="*/ 61 w 61"/>
                <a:gd name="T59" fmla="*/ 24 h 60"/>
                <a:gd name="T60" fmla="*/ 59 w 61"/>
                <a:gd name="T61" fmla="*/ 18 h 60"/>
                <a:gd name="T62" fmla="*/ 56 w 61"/>
                <a:gd name="T63" fmla="*/ 13 h 60"/>
                <a:gd name="T64" fmla="*/ 52 w 61"/>
                <a:gd name="T65" fmla="*/ 8 h 60"/>
                <a:gd name="T66" fmla="*/ 48 w 61"/>
                <a:gd name="T67" fmla="*/ 5 h 60"/>
                <a:gd name="T68" fmla="*/ 42 w 61"/>
                <a:gd name="T69" fmla="*/ 2 h 60"/>
                <a:gd name="T70" fmla="*/ 37 w 61"/>
                <a:gd name="T71" fmla="*/ 1 h 60"/>
                <a:gd name="T72" fmla="*/ 31 w 61"/>
                <a:gd name="T73" fmla="*/ 0 h 60"/>
                <a:gd name="T74" fmla="*/ 31 w 61"/>
                <a:gd name="T7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 h="60">
                  <a:moveTo>
                    <a:pt x="31" y="0"/>
                  </a:moveTo>
                  <a:lnTo>
                    <a:pt x="31" y="0"/>
                  </a:lnTo>
                  <a:lnTo>
                    <a:pt x="25" y="1"/>
                  </a:lnTo>
                  <a:lnTo>
                    <a:pt x="19" y="2"/>
                  </a:lnTo>
                  <a:lnTo>
                    <a:pt x="14" y="5"/>
                  </a:lnTo>
                  <a:lnTo>
                    <a:pt x="10" y="8"/>
                  </a:lnTo>
                  <a:lnTo>
                    <a:pt x="6" y="13"/>
                  </a:lnTo>
                  <a:lnTo>
                    <a:pt x="3" y="18"/>
                  </a:lnTo>
                  <a:lnTo>
                    <a:pt x="1" y="24"/>
                  </a:lnTo>
                  <a:lnTo>
                    <a:pt x="0" y="31"/>
                  </a:lnTo>
                  <a:lnTo>
                    <a:pt x="0" y="31"/>
                  </a:lnTo>
                  <a:lnTo>
                    <a:pt x="1" y="37"/>
                  </a:lnTo>
                  <a:lnTo>
                    <a:pt x="3" y="42"/>
                  </a:lnTo>
                  <a:lnTo>
                    <a:pt x="6" y="47"/>
                  </a:lnTo>
                  <a:lnTo>
                    <a:pt x="10" y="51"/>
                  </a:lnTo>
                  <a:lnTo>
                    <a:pt x="14" y="55"/>
                  </a:lnTo>
                  <a:lnTo>
                    <a:pt x="19" y="58"/>
                  </a:lnTo>
                  <a:lnTo>
                    <a:pt x="25" y="60"/>
                  </a:lnTo>
                  <a:lnTo>
                    <a:pt x="31" y="60"/>
                  </a:lnTo>
                  <a:lnTo>
                    <a:pt x="31" y="60"/>
                  </a:lnTo>
                  <a:lnTo>
                    <a:pt x="37" y="60"/>
                  </a:lnTo>
                  <a:lnTo>
                    <a:pt x="42" y="58"/>
                  </a:lnTo>
                  <a:lnTo>
                    <a:pt x="48" y="55"/>
                  </a:lnTo>
                  <a:lnTo>
                    <a:pt x="52" y="51"/>
                  </a:lnTo>
                  <a:lnTo>
                    <a:pt x="56" y="47"/>
                  </a:lnTo>
                  <a:lnTo>
                    <a:pt x="59" y="42"/>
                  </a:lnTo>
                  <a:lnTo>
                    <a:pt x="61" y="37"/>
                  </a:lnTo>
                  <a:lnTo>
                    <a:pt x="61" y="31"/>
                  </a:lnTo>
                  <a:lnTo>
                    <a:pt x="61" y="31"/>
                  </a:lnTo>
                  <a:lnTo>
                    <a:pt x="61" y="24"/>
                  </a:lnTo>
                  <a:lnTo>
                    <a:pt x="59" y="18"/>
                  </a:lnTo>
                  <a:lnTo>
                    <a:pt x="56" y="13"/>
                  </a:lnTo>
                  <a:lnTo>
                    <a:pt x="52" y="8"/>
                  </a:lnTo>
                  <a:lnTo>
                    <a:pt x="48" y="5"/>
                  </a:lnTo>
                  <a:lnTo>
                    <a:pt x="42" y="2"/>
                  </a:lnTo>
                  <a:lnTo>
                    <a:pt x="37" y="1"/>
                  </a:lnTo>
                  <a:lnTo>
                    <a:pt x="31" y="0"/>
                  </a:lnTo>
                  <a:lnTo>
                    <a:pt x="3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9" name="Freeform 124">
              <a:extLst>
                <a:ext uri="{FF2B5EF4-FFF2-40B4-BE49-F238E27FC236}">
                  <a16:creationId xmlns:a16="http://schemas.microsoft.com/office/drawing/2014/main" id="{68985CAD-2244-5904-0EA8-D4FCFE51AD54}"/>
                </a:ext>
              </a:extLst>
            </p:cNvPr>
            <p:cNvSpPr>
              <a:spLocks/>
            </p:cNvSpPr>
            <p:nvPr/>
          </p:nvSpPr>
          <p:spPr bwMode="auto">
            <a:xfrm>
              <a:off x="3050204" y="3293261"/>
              <a:ext cx="64113" cy="118858"/>
            </a:xfrm>
            <a:custGeom>
              <a:avLst/>
              <a:gdLst>
                <a:gd name="T0" fmla="*/ 0 w 43"/>
                <a:gd name="T1" fmla="*/ 0 h 88"/>
                <a:gd name="T2" fmla="*/ 0 w 43"/>
                <a:gd name="T3" fmla="*/ 0 h 88"/>
                <a:gd name="T4" fmla="*/ 0 w 43"/>
                <a:gd name="T5" fmla="*/ 0 h 88"/>
                <a:gd name="T6" fmla="*/ 0 w 43"/>
                <a:gd name="T7" fmla="*/ 14 h 88"/>
                <a:gd name="T8" fmla="*/ 0 w 43"/>
                <a:gd name="T9" fmla="*/ 14 h 88"/>
                <a:gd name="T10" fmla="*/ 0 w 43"/>
                <a:gd name="T11" fmla="*/ 14 h 88"/>
                <a:gd name="T12" fmla="*/ 0 w 43"/>
                <a:gd name="T13" fmla="*/ 14 h 88"/>
                <a:gd name="T14" fmla="*/ 6 w 43"/>
                <a:gd name="T15" fmla="*/ 15 h 88"/>
                <a:gd name="T16" fmla="*/ 11 w 43"/>
                <a:gd name="T17" fmla="*/ 16 h 88"/>
                <a:gd name="T18" fmla="*/ 17 w 43"/>
                <a:gd name="T19" fmla="*/ 19 h 88"/>
                <a:gd name="T20" fmla="*/ 21 w 43"/>
                <a:gd name="T21" fmla="*/ 22 h 88"/>
                <a:gd name="T22" fmla="*/ 25 w 43"/>
                <a:gd name="T23" fmla="*/ 27 h 88"/>
                <a:gd name="T24" fmla="*/ 28 w 43"/>
                <a:gd name="T25" fmla="*/ 32 h 88"/>
                <a:gd name="T26" fmla="*/ 30 w 43"/>
                <a:gd name="T27" fmla="*/ 38 h 88"/>
                <a:gd name="T28" fmla="*/ 30 w 43"/>
                <a:gd name="T29" fmla="*/ 45 h 88"/>
                <a:gd name="T30" fmla="*/ 30 w 43"/>
                <a:gd name="T31" fmla="*/ 45 h 88"/>
                <a:gd name="T32" fmla="*/ 30 w 43"/>
                <a:gd name="T33" fmla="*/ 51 h 88"/>
                <a:gd name="T34" fmla="*/ 28 w 43"/>
                <a:gd name="T35" fmla="*/ 56 h 88"/>
                <a:gd name="T36" fmla="*/ 25 w 43"/>
                <a:gd name="T37" fmla="*/ 61 h 88"/>
                <a:gd name="T38" fmla="*/ 21 w 43"/>
                <a:gd name="T39" fmla="*/ 65 h 88"/>
                <a:gd name="T40" fmla="*/ 17 w 43"/>
                <a:gd name="T41" fmla="*/ 69 h 88"/>
                <a:gd name="T42" fmla="*/ 11 w 43"/>
                <a:gd name="T43" fmla="*/ 72 h 88"/>
                <a:gd name="T44" fmla="*/ 6 w 43"/>
                <a:gd name="T45" fmla="*/ 74 h 88"/>
                <a:gd name="T46" fmla="*/ 0 w 43"/>
                <a:gd name="T47" fmla="*/ 74 h 88"/>
                <a:gd name="T48" fmla="*/ 0 w 43"/>
                <a:gd name="T49" fmla="*/ 74 h 88"/>
                <a:gd name="T50" fmla="*/ 0 w 43"/>
                <a:gd name="T51" fmla="*/ 74 h 88"/>
                <a:gd name="T52" fmla="*/ 0 w 43"/>
                <a:gd name="T53" fmla="*/ 88 h 88"/>
                <a:gd name="T54" fmla="*/ 0 w 43"/>
                <a:gd name="T55" fmla="*/ 88 h 88"/>
                <a:gd name="T56" fmla="*/ 0 w 43"/>
                <a:gd name="T57" fmla="*/ 88 h 88"/>
                <a:gd name="T58" fmla="*/ 0 w 43"/>
                <a:gd name="T59" fmla="*/ 88 h 88"/>
                <a:gd name="T60" fmla="*/ 9 w 43"/>
                <a:gd name="T61" fmla="*/ 86 h 88"/>
                <a:gd name="T62" fmla="*/ 17 w 43"/>
                <a:gd name="T63" fmla="*/ 84 h 88"/>
                <a:gd name="T64" fmla="*/ 25 w 43"/>
                <a:gd name="T65" fmla="*/ 80 h 88"/>
                <a:gd name="T66" fmla="*/ 31 w 43"/>
                <a:gd name="T67" fmla="*/ 75 h 88"/>
                <a:gd name="T68" fmla="*/ 36 w 43"/>
                <a:gd name="T69" fmla="*/ 68 h 88"/>
                <a:gd name="T70" fmla="*/ 40 w 43"/>
                <a:gd name="T71" fmla="*/ 61 h 88"/>
                <a:gd name="T72" fmla="*/ 42 w 43"/>
                <a:gd name="T73" fmla="*/ 53 h 88"/>
                <a:gd name="T74" fmla="*/ 43 w 43"/>
                <a:gd name="T75" fmla="*/ 45 h 88"/>
                <a:gd name="T76" fmla="*/ 43 w 43"/>
                <a:gd name="T77" fmla="*/ 45 h 88"/>
                <a:gd name="T78" fmla="*/ 42 w 43"/>
                <a:gd name="T79" fmla="*/ 35 h 88"/>
                <a:gd name="T80" fmla="*/ 40 w 43"/>
                <a:gd name="T81" fmla="*/ 27 h 88"/>
                <a:gd name="T82" fmla="*/ 36 w 43"/>
                <a:gd name="T83" fmla="*/ 20 h 88"/>
                <a:gd name="T84" fmla="*/ 31 w 43"/>
                <a:gd name="T85" fmla="*/ 14 h 88"/>
                <a:gd name="T86" fmla="*/ 25 w 43"/>
                <a:gd name="T87" fmla="*/ 8 h 88"/>
                <a:gd name="T88" fmla="*/ 17 w 43"/>
                <a:gd name="T89" fmla="*/ 4 h 88"/>
                <a:gd name="T90" fmla="*/ 9 w 43"/>
                <a:gd name="T91" fmla="*/ 1 h 88"/>
                <a:gd name="T92" fmla="*/ 0 w 43"/>
                <a:gd name="T93" fmla="*/ 0 h 88"/>
                <a:gd name="T94" fmla="*/ 0 w 43"/>
                <a:gd name="T9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 h="88">
                  <a:moveTo>
                    <a:pt x="0" y="0"/>
                  </a:moveTo>
                  <a:lnTo>
                    <a:pt x="0" y="0"/>
                  </a:lnTo>
                  <a:lnTo>
                    <a:pt x="0" y="0"/>
                  </a:lnTo>
                  <a:lnTo>
                    <a:pt x="0" y="14"/>
                  </a:lnTo>
                  <a:lnTo>
                    <a:pt x="0" y="14"/>
                  </a:lnTo>
                  <a:lnTo>
                    <a:pt x="0" y="14"/>
                  </a:lnTo>
                  <a:lnTo>
                    <a:pt x="0" y="14"/>
                  </a:lnTo>
                  <a:lnTo>
                    <a:pt x="6" y="15"/>
                  </a:lnTo>
                  <a:lnTo>
                    <a:pt x="11" y="16"/>
                  </a:lnTo>
                  <a:lnTo>
                    <a:pt x="17" y="19"/>
                  </a:lnTo>
                  <a:lnTo>
                    <a:pt x="21" y="22"/>
                  </a:lnTo>
                  <a:lnTo>
                    <a:pt x="25" y="27"/>
                  </a:lnTo>
                  <a:lnTo>
                    <a:pt x="28" y="32"/>
                  </a:lnTo>
                  <a:lnTo>
                    <a:pt x="30" y="38"/>
                  </a:lnTo>
                  <a:lnTo>
                    <a:pt x="30" y="45"/>
                  </a:lnTo>
                  <a:lnTo>
                    <a:pt x="30" y="45"/>
                  </a:lnTo>
                  <a:lnTo>
                    <a:pt x="30" y="51"/>
                  </a:lnTo>
                  <a:lnTo>
                    <a:pt x="28" y="56"/>
                  </a:lnTo>
                  <a:lnTo>
                    <a:pt x="25" y="61"/>
                  </a:lnTo>
                  <a:lnTo>
                    <a:pt x="21" y="65"/>
                  </a:lnTo>
                  <a:lnTo>
                    <a:pt x="17" y="69"/>
                  </a:lnTo>
                  <a:lnTo>
                    <a:pt x="11" y="72"/>
                  </a:lnTo>
                  <a:lnTo>
                    <a:pt x="6" y="74"/>
                  </a:lnTo>
                  <a:lnTo>
                    <a:pt x="0" y="74"/>
                  </a:lnTo>
                  <a:lnTo>
                    <a:pt x="0" y="74"/>
                  </a:lnTo>
                  <a:lnTo>
                    <a:pt x="0" y="74"/>
                  </a:lnTo>
                  <a:lnTo>
                    <a:pt x="0" y="88"/>
                  </a:lnTo>
                  <a:lnTo>
                    <a:pt x="0" y="88"/>
                  </a:lnTo>
                  <a:lnTo>
                    <a:pt x="0" y="88"/>
                  </a:lnTo>
                  <a:lnTo>
                    <a:pt x="0" y="88"/>
                  </a:lnTo>
                  <a:lnTo>
                    <a:pt x="9" y="86"/>
                  </a:lnTo>
                  <a:lnTo>
                    <a:pt x="17" y="84"/>
                  </a:lnTo>
                  <a:lnTo>
                    <a:pt x="25" y="80"/>
                  </a:lnTo>
                  <a:lnTo>
                    <a:pt x="31" y="75"/>
                  </a:lnTo>
                  <a:lnTo>
                    <a:pt x="36" y="68"/>
                  </a:lnTo>
                  <a:lnTo>
                    <a:pt x="40" y="61"/>
                  </a:lnTo>
                  <a:lnTo>
                    <a:pt x="42" y="53"/>
                  </a:lnTo>
                  <a:lnTo>
                    <a:pt x="43" y="45"/>
                  </a:lnTo>
                  <a:lnTo>
                    <a:pt x="43" y="45"/>
                  </a:lnTo>
                  <a:lnTo>
                    <a:pt x="42" y="35"/>
                  </a:lnTo>
                  <a:lnTo>
                    <a:pt x="40" y="27"/>
                  </a:lnTo>
                  <a:lnTo>
                    <a:pt x="36" y="20"/>
                  </a:lnTo>
                  <a:lnTo>
                    <a:pt x="31" y="14"/>
                  </a:lnTo>
                  <a:lnTo>
                    <a:pt x="25" y="8"/>
                  </a:lnTo>
                  <a:lnTo>
                    <a:pt x="17" y="4"/>
                  </a:lnTo>
                  <a:lnTo>
                    <a:pt x="9" y="1"/>
                  </a:lnTo>
                  <a:lnTo>
                    <a:pt x="0" y="0"/>
                  </a:lnTo>
                  <a:lnTo>
                    <a:pt x="0" y="0"/>
                  </a:lnTo>
                  <a:close/>
                </a:path>
              </a:pathLst>
            </a:custGeom>
            <a:solidFill>
              <a:srgbClr val="1037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0" name="Freeform 125">
              <a:extLst>
                <a:ext uri="{FF2B5EF4-FFF2-40B4-BE49-F238E27FC236}">
                  <a16:creationId xmlns:a16="http://schemas.microsoft.com/office/drawing/2014/main" id="{3E5343A2-BE24-4246-97CE-95B7E78581F9}"/>
                </a:ext>
              </a:extLst>
            </p:cNvPr>
            <p:cNvSpPr>
              <a:spLocks/>
            </p:cNvSpPr>
            <p:nvPr/>
          </p:nvSpPr>
          <p:spPr bwMode="auto">
            <a:xfrm>
              <a:off x="3050215" y="3312165"/>
              <a:ext cx="44730" cy="81039"/>
            </a:xfrm>
            <a:custGeom>
              <a:avLst/>
              <a:gdLst>
                <a:gd name="T0" fmla="*/ 30 w 30"/>
                <a:gd name="T1" fmla="*/ 31 h 60"/>
                <a:gd name="T2" fmla="*/ 30 w 30"/>
                <a:gd name="T3" fmla="*/ 31 h 60"/>
                <a:gd name="T4" fmla="*/ 30 w 30"/>
                <a:gd name="T5" fmla="*/ 24 h 60"/>
                <a:gd name="T6" fmla="*/ 28 w 30"/>
                <a:gd name="T7" fmla="*/ 18 h 60"/>
                <a:gd name="T8" fmla="*/ 25 w 30"/>
                <a:gd name="T9" fmla="*/ 13 h 60"/>
                <a:gd name="T10" fmla="*/ 21 w 30"/>
                <a:gd name="T11" fmla="*/ 8 h 60"/>
                <a:gd name="T12" fmla="*/ 17 w 30"/>
                <a:gd name="T13" fmla="*/ 5 h 60"/>
                <a:gd name="T14" fmla="*/ 11 w 30"/>
                <a:gd name="T15" fmla="*/ 2 h 60"/>
                <a:gd name="T16" fmla="*/ 6 w 30"/>
                <a:gd name="T17" fmla="*/ 1 h 60"/>
                <a:gd name="T18" fmla="*/ 0 w 30"/>
                <a:gd name="T19" fmla="*/ 0 h 60"/>
                <a:gd name="T20" fmla="*/ 0 w 30"/>
                <a:gd name="T21" fmla="*/ 0 h 60"/>
                <a:gd name="T22" fmla="*/ 0 w 30"/>
                <a:gd name="T23" fmla="*/ 0 h 60"/>
                <a:gd name="T24" fmla="*/ 0 w 30"/>
                <a:gd name="T25" fmla="*/ 60 h 60"/>
                <a:gd name="T26" fmla="*/ 0 w 30"/>
                <a:gd name="T27" fmla="*/ 60 h 60"/>
                <a:gd name="T28" fmla="*/ 0 w 30"/>
                <a:gd name="T29" fmla="*/ 60 h 60"/>
                <a:gd name="T30" fmla="*/ 0 w 30"/>
                <a:gd name="T31" fmla="*/ 60 h 60"/>
                <a:gd name="T32" fmla="*/ 6 w 30"/>
                <a:gd name="T33" fmla="*/ 60 h 60"/>
                <a:gd name="T34" fmla="*/ 11 w 30"/>
                <a:gd name="T35" fmla="*/ 58 h 60"/>
                <a:gd name="T36" fmla="*/ 17 w 30"/>
                <a:gd name="T37" fmla="*/ 55 h 60"/>
                <a:gd name="T38" fmla="*/ 21 w 30"/>
                <a:gd name="T39" fmla="*/ 51 h 60"/>
                <a:gd name="T40" fmla="*/ 25 w 30"/>
                <a:gd name="T41" fmla="*/ 47 h 60"/>
                <a:gd name="T42" fmla="*/ 28 w 30"/>
                <a:gd name="T43" fmla="*/ 42 h 60"/>
                <a:gd name="T44" fmla="*/ 30 w 30"/>
                <a:gd name="T45" fmla="*/ 37 h 60"/>
                <a:gd name="T46" fmla="*/ 30 w 30"/>
                <a:gd name="T47" fmla="*/ 31 h 60"/>
                <a:gd name="T48" fmla="*/ 30 w 30"/>
                <a:gd name="T49" fmla="*/ 3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 h="60">
                  <a:moveTo>
                    <a:pt x="30" y="31"/>
                  </a:moveTo>
                  <a:lnTo>
                    <a:pt x="30" y="31"/>
                  </a:lnTo>
                  <a:lnTo>
                    <a:pt x="30" y="24"/>
                  </a:lnTo>
                  <a:lnTo>
                    <a:pt x="28" y="18"/>
                  </a:lnTo>
                  <a:lnTo>
                    <a:pt x="25" y="13"/>
                  </a:lnTo>
                  <a:lnTo>
                    <a:pt x="21" y="8"/>
                  </a:lnTo>
                  <a:lnTo>
                    <a:pt x="17" y="5"/>
                  </a:lnTo>
                  <a:lnTo>
                    <a:pt x="11" y="2"/>
                  </a:lnTo>
                  <a:lnTo>
                    <a:pt x="6" y="1"/>
                  </a:lnTo>
                  <a:lnTo>
                    <a:pt x="0" y="0"/>
                  </a:lnTo>
                  <a:lnTo>
                    <a:pt x="0" y="0"/>
                  </a:lnTo>
                  <a:lnTo>
                    <a:pt x="0" y="0"/>
                  </a:lnTo>
                  <a:lnTo>
                    <a:pt x="0" y="60"/>
                  </a:lnTo>
                  <a:lnTo>
                    <a:pt x="0" y="60"/>
                  </a:lnTo>
                  <a:lnTo>
                    <a:pt x="0" y="60"/>
                  </a:lnTo>
                  <a:lnTo>
                    <a:pt x="0" y="60"/>
                  </a:lnTo>
                  <a:lnTo>
                    <a:pt x="6" y="60"/>
                  </a:lnTo>
                  <a:lnTo>
                    <a:pt x="11" y="58"/>
                  </a:lnTo>
                  <a:lnTo>
                    <a:pt x="17" y="55"/>
                  </a:lnTo>
                  <a:lnTo>
                    <a:pt x="21" y="51"/>
                  </a:lnTo>
                  <a:lnTo>
                    <a:pt x="25" y="47"/>
                  </a:lnTo>
                  <a:lnTo>
                    <a:pt x="28" y="42"/>
                  </a:lnTo>
                  <a:lnTo>
                    <a:pt x="30" y="37"/>
                  </a:lnTo>
                  <a:lnTo>
                    <a:pt x="30" y="31"/>
                  </a:lnTo>
                  <a:lnTo>
                    <a:pt x="30" y="31"/>
                  </a:lnTo>
                  <a:close/>
                </a:path>
              </a:pathLst>
            </a:custGeom>
            <a:solidFill>
              <a:srgbClr val="D1E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grpSp>
        <p:nvGrpSpPr>
          <p:cNvPr id="464" name="Group 463">
            <a:extLst>
              <a:ext uri="{FF2B5EF4-FFF2-40B4-BE49-F238E27FC236}">
                <a16:creationId xmlns:a16="http://schemas.microsoft.com/office/drawing/2014/main" id="{FE0DFA2D-9405-9AB9-A215-F4C6AB844558}"/>
              </a:ext>
            </a:extLst>
          </p:cNvPr>
          <p:cNvGrpSpPr/>
          <p:nvPr/>
        </p:nvGrpSpPr>
        <p:grpSpPr>
          <a:xfrm>
            <a:off x="7506200" y="2635887"/>
            <a:ext cx="1289347" cy="1139420"/>
            <a:chOff x="7087417" y="2952895"/>
            <a:chExt cx="1035028" cy="946809"/>
          </a:xfrm>
        </p:grpSpPr>
        <p:sp>
          <p:nvSpPr>
            <p:cNvPr id="412" name="Freeform 25">
              <a:extLst>
                <a:ext uri="{FF2B5EF4-FFF2-40B4-BE49-F238E27FC236}">
                  <a16:creationId xmlns:a16="http://schemas.microsoft.com/office/drawing/2014/main" id="{67012AA4-984B-DC2B-EC60-EB807F159439}"/>
                </a:ext>
              </a:extLst>
            </p:cNvPr>
            <p:cNvSpPr>
              <a:spLocks/>
            </p:cNvSpPr>
            <p:nvPr/>
          </p:nvSpPr>
          <p:spPr bwMode="auto">
            <a:xfrm>
              <a:off x="7087417" y="2952895"/>
              <a:ext cx="1035028" cy="946809"/>
            </a:xfrm>
            <a:custGeom>
              <a:avLst/>
              <a:gdLst>
                <a:gd name="T0" fmla="*/ 333 w 701"/>
                <a:gd name="T1" fmla="*/ 701 h 702"/>
                <a:gd name="T2" fmla="*/ 280 w 701"/>
                <a:gd name="T3" fmla="*/ 695 h 702"/>
                <a:gd name="T4" fmla="*/ 231 w 701"/>
                <a:gd name="T5" fmla="*/ 680 h 702"/>
                <a:gd name="T6" fmla="*/ 184 w 701"/>
                <a:gd name="T7" fmla="*/ 659 h 702"/>
                <a:gd name="T8" fmla="*/ 141 w 701"/>
                <a:gd name="T9" fmla="*/ 632 h 702"/>
                <a:gd name="T10" fmla="*/ 102 w 701"/>
                <a:gd name="T11" fmla="*/ 598 h 702"/>
                <a:gd name="T12" fmla="*/ 70 w 701"/>
                <a:gd name="T13" fmla="*/ 560 h 702"/>
                <a:gd name="T14" fmla="*/ 43 w 701"/>
                <a:gd name="T15" fmla="*/ 518 h 702"/>
                <a:gd name="T16" fmla="*/ 21 w 701"/>
                <a:gd name="T17" fmla="*/ 471 h 702"/>
                <a:gd name="T18" fmla="*/ 7 w 701"/>
                <a:gd name="T19" fmla="*/ 422 h 702"/>
                <a:gd name="T20" fmla="*/ 1 w 701"/>
                <a:gd name="T21" fmla="*/ 369 h 702"/>
                <a:gd name="T22" fmla="*/ 1 w 701"/>
                <a:gd name="T23" fmla="*/ 333 h 702"/>
                <a:gd name="T24" fmla="*/ 7 w 701"/>
                <a:gd name="T25" fmla="*/ 280 h 702"/>
                <a:gd name="T26" fmla="*/ 21 w 701"/>
                <a:gd name="T27" fmla="*/ 231 h 702"/>
                <a:gd name="T28" fmla="*/ 43 w 701"/>
                <a:gd name="T29" fmla="*/ 184 h 702"/>
                <a:gd name="T30" fmla="*/ 70 w 701"/>
                <a:gd name="T31" fmla="*/ 141 h 702"/>
                <a:gd name="T32" fmla="*/ 102 w 701"/>
                <a:gd name="T33" fmla="*/ 104 h 702"/>
                <a:gd name="T34" fmla="*/ 141 w 701"/>
                <a:gd name="T35" fmla="*/ 70 h 702"/>
                <a:gd name="T36" fmla="*/ 184 w 701"/>
                <a:gd name="T37" fmla="*/ 43 h 702"/>
                <a:gd name="T38" fmla="*/ 231 w 701"/>
                <a:gd name="T39" fmla="*/ 22 h 702"/>
                <a:gd name="T40" fmla="*/ 280 w 701"/>
                <a:gd name="T41" fmla="*/ 7 h 702"/>
                <a:gd name="T42" fmla="*/ 333 w 701"/>
                <a:gd name="T43" fmla="*/ 1 h 702"/>
                <a:gd name="T44" fmla="*/ 369 w 701"/>
                <a:gd name="T45" fmla="*/ 1 h 702"/>
                <a:gd name="T46" fmla="*/ 422 w 701"/>
                <a:gd name="T47" fmla="*/ 7 h 702"/>
                <a:gd name="T48" fmla="*/ 471 w 701"/>
                <a:gd name="T49" fmla="*/ 22 h 702"/>
                <a:gd name="T50" fmla="*/ 518 w 701"/>
                <a:gd name="T51" fmla="*/ 43 h 702"/>
                <a:gd name="T52" fmla="*/ 560 w 701"/>
                <a:gd name="T53" fmla="*/ 70 h 702"/>
                <a:gd name="T54" fmla="*/ 598 w 701"/>
                <a:gd name="T55" fmla="*/ 104 h 702"/>
                <a:gd name="T56" fmla="*/ 631 w 701"/>
                <a:gd name="T57" fmla="*/ 141 h 702"/>
                <a:gd name="T58" fmla="*/ 659 w 701"/>
                <a:gd name="T59" fmla="*/ 184 h 702"/>
                <a:gd name="T60" fmla="*/ 680 w 701"/>
                <a:gd name="T61" fmla="*/ 231 h 702"/>
                <a:gd name="T62" fmla="*/ 694 w 701"/>
                <a:gd name="T63" fmla="*/ 280 h 702"/>
                <a:gd name="T64" fmla="*/ 701 w 701"/>
                <a:gd name="T65" fmla="*/ 333 h 702"/>
                <a:gd name="T66" fmla="*/ 701 w 701"/>
                <a:gd name="T67" fmla="*/ 369 h 702"/>
                <a:gd name="T68" fmla="*/ 694 w 701"/>
                <a:gd name="T69" fmla="*/ 422 h 702"/>
                <a:gd name="T70" fmla="*/ 680 w 701"/>
                <a:gd name="T71" fmla="*/ 471 h 702"/>
                <a:gd name="T72" fmla="*/ 659 w 701"/>
                <a:gd name="T73" fmla="*/ 518 h 702"/>
                <a:gd name="T74" fmla="*/ 631 w 701"/>
                <a:gd name="T75" fmla="*/ 560 h 702"/>
                <a:gd name="T76" fmla="*/ 598 w 701"/>
                <a:gd name="T77" fmla="*/ 598 h 702"/>
                <a:gd name="T78" fmla="*/ 560 w 701"/>
                <a:gd name="T79" fmla="*/ 632 h 702"/>
                <a:gd name="T80" fmla="*/ 518 w 701"/>
                <a:gd name="T81" fmla="*/ 659 h 702"/>
                <a:gd name="T82" fmla="*/ 471 w 701"/>
                <a:gd name="T83" fmla="*/ 680 h 702"/>
                <a:gd name="T84" fmla="*/ 422 w 701"/>
                <a:gd name="T85" fmla="*/ 695 h 702"/>
                <a:gd name="T86" fmla="*/ 369 w 701"/>
                <a:gd name="T87" fmla="*/ 70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2">
                  <a:moveTo>
                    <a:pt x="350" y="702"/>
                  </a:moveTo>
                  <a:lnTo>
                    <a:pt x="350" y="702"/>
                  </a:lnTo>
                  <a:lnTo>
                    <a:pt x="333" y="701"/>
                  </a:lnTo>
                  <a:lnTo>
                    <a:pt x="315" y="700"/>
                  </a:lnTo>
                  <a:lnTo>
                    <a:pt x="297" y="697"/>
                  </a:lnTo>
                  <a:lnTo>
                    <a:pt x="280" y="695"/>
                  </a:lnTo>
                  <a:lnTo>
                    <a:pt x="263" y="691"/>
                  </a:lnTo>
                  <a:lnTo>
                    <a:pt x="247" y="686"/>
                  </a:lnTo>
                  <a:lnTo>
                    <a:pt x="231" y="680"/>
                  </a:lnTo>
                  <a:lnTo>
                    <a:pt x="215" y="674"/>
                  </a:lnTo>
                  <a:lnTo>
                    <a:pt x="199" y="667"/>
                  </a:lnTo>
                  <a:lnTo>
                    <a:pt x="184" y="659"/>
                  </a:lnTo>
                  <a:lnTo>
                    <a:pt x="169" y="650"/>
                  </a:lnTo>
                  <a:lnTo>
                    <a:pt x="155" y="642"/>
                  </a:lnTo>
                  <a:lnTo>
                    <a:pt x="141" y="632"/>
                  </a:lnTo>
                  <a:lnTo>
                    <a:pt x="128" y="622"/>
                  </a:lnTo>
                  <a:lnTo>
                    <a:pt x="115" y="611"/>
                  </a:lnTo>
                  <a:lnTo>
                    <a:pt x="102" y="598"/>
                  </a:lnTo>
                  <a:lnTo>
                    <a:pt x="91" y="586"/>
                  </a:lnTo>
                  <a:lnTo>
                    <a:pt x="80" y="574"/>
                  </a:lnTo>
                  <a:lnTo>
                    <a:pt x="70" y="560"/>
                  </a:lnTo>
                  <a:lnTo>
                    <a:pt x="60" y="547"/>
                  </a:lnTo>
                  <a:lnTo>
                    <a:pt x="51" y="533"/>
                  </a:lnTo>
                  <a:lnTo>
                    <a:pt x="43" y="518"/>
                  </a:lnTo>
                  <a:lnTo>
                    <a:pt x="35" y="503"/>
                  </a:lnTo>
                  <a:lnTo>
                    <a:pt x="28" y="487"/>
                  </a:lnTo>
                  <a:lnTo>
                    <a:pt x="21" y="471"/>
                  </a:lnTo>
                  <a:lnTo>
                    <a:pt x="16" y="455"/>
                  </a:lnTo>
                  <a:lnTo>
                    <a:pt x="11" y="438"/>
                  </a:lnTo>
                  <a:lnTo>
                    <a:pt x="7" y="422"/>
                  </a:lnTo>
                  <a:lnTo>
                    <a:pt x="5" y="405"/>
                  </a:lnTo>
                  <a:lnTo>
                    <a:pt x="2" y="386"/>
                  </a:lnTo>
                  <a:lnTo>
                    <a:pt x="1" y="369"/>
                  </a:lnTo>
                  <a:lnTo>
                    <a:pt x="0" y="350"/>
                  </a:lnTo>
                  <a:lnTo>
                    <a:pt x="0" y="350"/>
                  </a:lnTo>
                  <a:lnTo>
                    <a:pt x="1" y="333"/>
                  </a:lnTo>
                  <a:lnTo>
                    <a:pt x="2" y="315"/>
                  </a:lnTo>
                  <a:lnTo>
                    <a:pt x="5" y="297"/>
                  </a:lnTo>
                  <a:lnTo>
                    <a:pt x="7" y="280"/>
                  </a:lnTo>
                  <a:lnTo>
                    <a:pt x="11" y="263"/>
                  </a:lnTo>
                  <a:lnTo>
                    <a:pt x="16" y="247"/>
                  </a:lnTo>
                  <a:lnTo>
                    <a:pt x="21" y="231"/>
                  </a:lnTo>
                  <a:lnTo>
                    <a:pt x="28" y="215"/>
                  </a:lnTo>
                  <a:lnTo>
                    <a:pt x="35" y="199"/>
                  </a:lnTo>
                  <a:lnTo>
                    <a:pt x="43" y="184"/>
                  </a:lnTo>
                  <a:lnTo>
                    <a:pt x="51" y="169"/>
                  </a:lnTo>
                  <a:lnTo>
                    <a:pt x="60" y="156"/>
                  </a:lnTo>
                  <a:lnTo>
                    <a:pt x="70" y="141"/>
                  </a:lnTo>
                  <a:lnTo>
                    <a:pt x="80" y="128"/>
                  </a:lnTo>
                  <a:lnTo>
                    <a:pt x="91" y="115"/>
                  </a:lnTo>
                  <a:lnTo>
                    <a:pt x="102" y="104"/>
                  </a:lnTo>
                  <a:lnTo>
                    <a:pt x="115" y="91"/>
                  </a:lnTo>
                  <a:lnTo>
                    <a:pt x="128" y="80"/>
                  </a:lnTo>
                  <a:lnTo>
                    <a:pt x="141" y="70"/>
                  </a:lnTo>
                  <a:lnTo>
                    <a:pt x="155" y="61"/>
                  </a:lnTo>
                  <a:lnTo>
                    <a:pt x="169" y="51"/>
                  </a:lnTo>
                  <a:lnTo>
                    <a:pt x="184" y="43"/>
                  </a:lnTo>
                  <a:lnTo>
                    <a:pt x="199" y="35"/>
                  </a:lnTo>
                  <a:lnTo>
                    <a:pt x="215" y="28"/>
                  </a:lnTo>
                  <a:lnTo>
                    <a:pt x="231" y="22"/>
                  </a:lnTo>
                  <a:lnTo>
                    <a:pt x="247" y="16"/>
                  </a:lnTo>
                  <a:lnTo>
                    <a:pt x="263" y="11"/>
                  </a:lnTo>
                  <a:lnTo>
                    <a:pt x="280" y="7"/>
                  </a:lnTo>
                  <a:lnTo>
                    <a:pt x="297" y="5"/>
                  </a:lnTo>
                  <a:lnTo>
                    <a:pt x="315" y="3"/>
                  </a:lnTo>
                  <a:lnTo>
                    <a:pt x="333" y="1"/>
                  </a:lnTo>
                  <a:lnTo>
                    <a:pt x="350" y="0"/>
                  </a:lnTo>
                  <a:lnTo>
                    <a:pt x="350" y="0"/>
                  </a:lnTo>
                  <a:lnTo>
                    <a:pt x="369" y="1"/>
                  </a:lnTo>
                  <a:lnTo>
                    <a:pt x="386" y="3"/>
                  </a:lnTo>
                  <a:lnTo>
                    <a:pt x="405" y="5"/>
                  </a:lnTo>
                  <a:lnTo>
                    <a:pt x="422" y="7"/>
                  </a:lnTo>
                  <a:lnTo>
                    <a:pt x="438" y="11"/>
                  </a:lnTo>
                  <a:lnTo>
                    <a:pt x="455" y="16"/>
                  </a:lnTo>
                  <a:lnTo>
                    <a:pt x="471" y="22"/>
                  </a:lnTo>
                  <a:lnTo>
                    <a:pt x="487" y="28"/>
                  </a:lnTo>
                  <a:lnTo>
                    <a:pt x="503" y="35"/>
                  </a:lnTo>
                  <a:lnTo>
                    <a:pt x="518" y="43"/>
                  </a:lnTo>
                  <a:lnTo>
                    <a:pt x="533" y="51"/>
                  </a:lnTo>
                  <a:lnTo>
                    <a:pt x="546" y="61"/>
                  </a:lnTo>
                  <a:lnTo>
                    <a:pt x="560" y="70"/>
                  </a:lnTo>
                  <a:lnTo>
                    <a:pt x="574" y="80"/>
                  </a:lnTo>
                  <a:lnTo>
                    <a:pt x="586" y="91"/>
                  </a:lnTo>
                  <a:lnTo>
                    <a:pt x="598" y="104"/>
                  </a:lnTo>
                  <a:lnTo>
                    <a:pt x="611" y="115"/>
                  </a:lnTo>
                  <a:lnTo>
                    <a:pt x="622" y="128"/>
                  </a:lnTo>
                  <a:lnTo>
                    <a:pt x="631" y="141"/>
                  </a:lnTo>
                  <a:lnTo>
                    <a:pt x="641" y="156"/>
                  </a:lnTo>
                  <a:lnTo>
                    <a:pt x="650" y="169"/>
                  </a:lnTo>
                  <a:lnTo>
                    <a:pt x="659" y="184"/>
                  </a:lnTo>
                  <a:lnTo>
                    <a:pt x="666" y="199"/>
                  </a:lnTo>
                  <a:lnTo>
                    <a:pt x="673" y="215"/>
                  </a:lnTo>
                  <a:lnTo>
                    <a:pt x="680" y="231"/>
                  </a:lnTo>
                  <a:lnTo>
                    <a:pt x="686" y="247"/>
                  </a:lnTo>
                  <a:lnTo>
                    <a:pt x="691" y="263"/>
                  </a:lnTo>
                  <a:lnTo>
                    <a:pt x="694" y="280"/>
                  </a:lnTo>
                  <a:lnTo>
                    <a:pt x="697" y="297"/>
                  </a:lnTo>
                  <a:lnTo>
                    <a:pt x="699" y="315"/>
                  </a:lnTo>
                  <a:lnTo>
                    <a:pt x="701" y="333"/>
                  </a:lnTo>
                  <a:lnTo>
                    <a:pt x="701" y="350"/>
                  </a:lnTo>
                  <a:lnTo>
                    <a:pt x="701" y="350"/>
                  </a:lnTo>
                  <a:lnTo>
                    <a:pt x="701" y="369"/>
                  </a:lnTo>
                  <a:lnTo>
                    <a:pt x="699" y="386"/>
                  </a:lnTo>
                  <a:lnTo>
                    <a:pt x="697" y="405"/>
                  </a:lnTo>
                  <a:lnTo>
                    <a:pt x="694" y="422"/>
                  </a:lnTo>
                  <a:lnTo>
                    <a:pt x="691" y="438"/>
                  </a:lnTo>
                  <a:lnTo>
                    <a:pt x="686" y="455"/>
                  </a:lnTo>
                  <a:lnTo>
                    <a:pt x="680" y="471"/>
                  </a:lnTo>
                  <a:lnTo>
                    <a:pt x="673" y="487"/>
                  </a:lnTo>
                  <a:lnTo>
                    <a:pt x="666" y="503"/>
                  </a:lnTo>
                  <a:lnTo>
                    <a:pt x="659" y="518"/>
                  </a:lnTo>
                  <a:lnTo>
                    <a:pt x="650" y="533"/>
                  </a:lnTo>
                  <a:lnTo>
                    <a:pt x="641" y="547"/>
                  </a:lnTo>
                  <a:lnTo>
                    <a:pt x="631" y="560"/>
                  </a:lnTo>
                  <a:lnTo>
                    <a:pt x="622" y="574"/>
                  </a:lnTo>
                  <a:lnTo>
                    <a:pt x="611" y="586"/>
                  </a:lnTo>
                  <a:lnTo>
                    <a:pt x="598" y="598"/>
                  </a:lnTo>
                  <a:lnTo>
                    <a:pt x="586" y="611"/>
                  </a:lnTo>
                  <a:lnTo>
                    <a:pt x="574" y="622"/>
                  </a:lnTo>
                  <a:lnTo>
                    <a:pt x="560" y="632"/>
                  </a:lnTo>
                  <a:lnTo>
                    <a:pt x="546" y="642"/>
                  </a:lnTo>
                  <a:lnTo>
                    <a:pt x="533" y="650"/>
                  </a:lnTo>
                  <a:lnTo>
                    <a:pt x="518" y="659"/>
                  </a:lnTo>
                  <a:lnTo>
                    <a:pt x="503" y="667"/>
                  </a:lnTo>
                  <a:lnTo>
                    <a:pt x="487" y="674"/>
                  </a:lnTo>
                  <a:lnTo>
                    <a:pt x="471" y="680"/>
                  </a:lnTo>
                  <a:lnTo>
                    <a:pt x="455" y="686"/>
                  </a:lnTo>
                  <a:lnTo>
                    <a:pt x="438" y="691"/>
                  </a:lnTo>
                  <a:lnTo>
                    <a:pt x="422" y="695"/>
                  </a:lnTo>
                  <a:lnTo>
                    <a:pt x="405" y="697"/>
                  </a:lnTo>
                  <a:lnTo>
                    <a:pt x="386" y="700"/>
                  </a:lnTo>
                  <a:lnTo>
                    <a:pt x="369" y="701"/>
                  </a:lnTo>
                  <a:lnTo>
                    <a:pt x="350" y="702"/>
                  </a:lnTo>
                  <a:lnTo>
                    <a:pt x="350" y="702"/>
                  </a:lnTo>
                  <a:close/>
                </a:path>
              </a:pathLst>
            </a:custGeom>
            <a:solidFill>
              <a:srgbClr val="48369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4" name="Freeform 252">
              <a:extLst>
                <a:ext uri="{FF2B5EF4-FFF2-40B4-BE49-F238E27FC236}">
                  <a16:creationId xmlns:a16="http://schemas.microsoft.com/office/drawing/2014/main" id="{2EDA4A66-1811-C470-DDBD-2B0A3D09D89D}"/>
                </a:ext>
              </a:extLst>
            </p:cNvPr>
            <p:cNvSpPr>
              <a:spLocks/>
            </p:cNvSpPr>
            <p:nvPr/>
          </p:nvSpPr>
          <p:spPr bwMode="auto">
            <a:xfrm>
              <a:off x="7319228" y="3223990"/>
              <a:ext cx="484292" cy="370901"/>
            </a:xfrm>
            <a:custGeom>
              <a:avLst/>
              <a:gdLst>
                <a:gd name="T0" fmla="*/ 14 w 328"/>
                <a:gd name="T1" fmla="*/ 275 h 275"/>
                <a:gd name="T2" fmla="*/ 14 w 328"/>
                <a:gd name="T3" fmla="*/ 275 h 275"/>
                <a:gd name="T4" fmla="*/ 8 w 328"/>
                <a:gd name="T5" fmla="*/ 274 h 275"/>
                <a:gd name="T6" fmla="*/ 5 w 328"/>
                <a:gd name="T7" fmla="*/ 272 h 275"/>
                <a:gd name="T8" fmla="*/ 1 w 328"/>
                <a:gd name="T9" fmla="*/ 267 h 275"/>
                <a:gd name="T10" fmla="*/ 0 w 328"/>
                <a:gd name="T11" fmla="*/ 262 h 275"/>
                <a:gd name="T12" fmla="*/ 0 w 328"/>
                <a:gd name="T13" fmla="*/ 14 h 275"/>
                <a:gd name="T14" fmla="*/ 0 w 328"/>
                <a:gd name="T15" fmla="*/ 14 h 275"/>
                <a:gd name="T16" fmla="*/ 1 w 328"/>
                <a:gd name="T17" fmla="*/ 9 h 275"/>
                <a:gd name="T18" fmla="*/ 5 w 328"/>
                <a:gd name="T19" fmla="*/ 4 h 275"/>
                <a:gd name="T20" fmla="*/ 8 w 328"/>
                <a:gd name="T21" fmla="*/ 1 h 275"/>
                <a:gd name="T22" fmla="*/ 14 w 328"/>
                <a:gd name="T23" fmla="*/ 0 h 275"/>
                <a:gd name="T24" fmla="*/ 313 w 328"/>
                <a:gd name="T25" fmla="*/ 0 h 275"/>
                <a:gd name="T26" fmla="*/ 313 w 328"/>
                <a:gd name="T27" fmla="*/ 0 h 275"/>
                <a:gd name="T28" fmla="*/ 319 w 328"/>
                <a:gd name="T29" fmla="*/ 1 h 275"/>
                <a:gd name="T30" fmla="*/ 323 w 328"/>
                <a:gd name="T31" fmla="*/ 4 h 275"/>
                <a:gd name="T32" fmla="*/ 326 w 328"/>
                <a:gd name="T33" fmla="*/ 9 h 275"/>
                <a:gd name="T34" fmla="*/ 328 w 328"/>
                <a:gd name="T35" fmla="*/ 14 h 275"/>
                <a:gd name="T36" fmla="*/ 328 w 328"/>
                <a:gd name="T37" fmla="*/ 262 h 275"/>
                <a:gd name="T38" fmla="*/ 328 w 328"/>
                <a:gd name="T39" fmla="*/ 262 h 275"/>
                <a:gd name="T40" fmla="*/ 326 w 328"/>
                <a:gd name="T41" fmla="*/ 267 h 275"/>
                <a:gd name="T42" fmla="*/ 323 w 328"/>
                <a:gd name="T43" fmla="*/ 272 h 275"/>
                <a:gd name="T44" fmla="*/ 319 w 328"/>
                <a:gd name="T45" fmla="*/ 274 h 275"/>
                <a:gd name="T46" fmla="*/ 313 w 328"/>
                <a:gd name="T47" fmla="*/ 275 h 275"/>
                <a:gd name="T48" fmla="*/ 14 w 328"/>
                <a:gd name="T49" fmla="*/ 27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8" h="275">
                  <a:moveTo>
                    <a:pt x="14" y="275"/>
                  </a:moveTo>
                  <a:lnTo>
                    <a:pt x="14" y="275"/>
                  </a:lnTo>
                  <a:lnTo>
                    <a:pt x="8" y="274"/>
                  </a:lnTo>
                  <a:lnTo>
                    <a:pt x="5" y="272"/>
                  </a:lnTo>
                  <a:lnTo>
                    <a:pt x="1" y="267"/>
                  </a:lnTo>
                  <a:lnTo>
                    <a:pt x="0" y="262"/>
                  </a:lnTo>
                  <a:lnTo>
                    <a:pt x="0" y="14"/>
                  </a:lnTo>
                  <a:lnTo>
                    <a:pt x="0" y="14"/>
                  </a:lnTo>
                  <a:lnTo>
                    <a:pt x="1" y="9"/>
                  </a:lnTo>
                  <a:lnTo>
                    <a:pt x="5" y="4"/>
                  </a:lnTo>
                  <a:lnTo>
                    <a:pt x="8" y="1"/>
                  </a:lnTo>
                  <a:lnTo>
                    <a:pt x="14" y="0"/>
                  </a:lnTo>
                  <a:lnTo>
                    <a:pt x="313" y="0"/>
                  </a:lnTo>
                  <a:lnTo>
                    <a:pt x="313" y="0"/>
                  </a:lnTo>
                  <a:lnTo>
                    <a:pt x="319" y="1"/>
                  </a:lnTo>
                  <a:lnTo>
                    <a:pt x="323" y="4"/>
                  </a:lnTo>
                  <a:lnTo>
                    <a:pt x="326" y="9"/>
                  </a:lnTo>
                  <a:lnTo>
                    <a:pt x="328" y="14"/>
                  </a:lnTo>
                  <a:lnTo>
                    <a:pt x="328" y="262"/>
                  </a:lnTo>
                  <a:lnTo>
                    <a:pt x="328" y="262"/>
                  </a:lnTo>
                  <a:lnTo>
                    <a:pt x="326" y="267"/>
                  </a:lnTo>
                  <a:lnTo>
                    <a:pt x="323" y="272"/>
                  </a:lnTo>
                  <a:lnTo>
                    <a:pt x="319" y="274"/>
                  </a:lnTo>
                  <a:lnTo>
                    <a:pt x="313" y="275"/>
                  </a:lnTo>
                  <a:lnTo>
                    <a:pt x="14" y="2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5" name="Freeform 253">
              <a:extLst>
                <a:ext uri="{FF2B5EF4-FFF2-40B4-BE49-F238E27FC236}">
                  <a16:creationId xmlns:a16="http://schemas.microsoft.com/office/drawing/2014/main" id="{545F975C-EE1F-2C54-B841-C371A1887B14}"/>
                </a:ext>
              </a:extLst>
            </p:cNvPr>
            <p:cNvSpPr>
              <a:spLocks noEditPoints="1"/>
            </p:cNvSpPr>
            <p:nvPr/>
          </p:nvSpPr>
          <p:spPr bwMode="auto">
            <a:xfrm>
              <a:off x="7316275" y="3221293"/>
              <a:ext cx="488722" cy="377645"/>
            </a:xfrm>
            <a:custGeom>
              <a:avLst/>
              <a:gdLst>
                <a:gd name="T0" fmla="*/ 315 w 331"/>
                <a:gd name="T1" fmla="*/ 3 h 280"/>
                <a:gd name="T2" fmla="*/ 315 w 331"/>
                <a:gd name="T3" fmla="*/ 3 h 280"/>
                <a:gd name="T4" fmla="*/ 320 w 331"/>
                <a:gd name="T5" fmla="*/ 5 h 280"/>
                <a:gd name="T6" fmla="*/ 324 w 331"/>
                <a:gd name="T7" fmla="*/ 7 h 280"/>
                <a:gd name="T8" fmla="*/ 327 w 331"/>
                <a:gd name="T9" fmla="*/ 11 h 280"/>
                <a:gd name="T10" fmla="*/ 327 w 331"/>
                <a:gd name="T11" fmla="*/ 16 h 280"/>
                <a:gd name="T12" fmla="*/ 327 w 331"/>
                <a:gd name="T13" fmla="*/ 264 h 280"/>
                <a:gd name="T14" fmla="*/ 327 w 331"/>
                <a:gd name="T15" fmla="*/ 264 h 280"/>
                <a:gd name="T16" fmla="*/ 327 w 331"/>
                <a:gd name="T17" fmla="*/ 269 h 280"/>
                <a:gd name="T18" fmla="*/ 324 w 331"/>
                <a:gd name="T19" fmla="*/ 272 h 280"/>
                <a:gd name="T20" fmla="*/ 320 w 331"/>
                <a:gd name="T21" fmla="*/ 275 h 280"/>
                <a:gd name="T22" fmla="*/ 315 w 331"/>
                <a:gd name="T23" fmla="*/ 276 h 280"/>
                <a:gd name="T24" fmla="*/ 16 w 331"/>
                <a:gd name="T25" fmla="*/ 276 h 280"/>
                <a:gd name="T26" fmla="*/ 16 w 331"/>
                <a:gd name="T27" fmla="*/ 276 h 280"/>
                <a:gd name="T28" fmla="*/ 12 w 331"/>
                <a:gd name="T29" fmla="*/ 275 h 280"/>
                <a:gd name="T30" fmla="*/ 8 w 331"/>
                <a:gd name="T31" fmla="*/ 272 h 280"/>
                <a:gd name="T32" fmla="*/ 5 w 331"/>
                <a:gd name="T33" fmla="*/ 269 h 280"/>
                <a:gd name="T34" fmla="*/ 4 w 331"/>
                <a:gd name="T35" fmla="*/ 264 h 280"/>
                <a:gd name="T36" fmla="*/ 4 w 331"/>
                <a:gd name="T37" fmla="*/ 16 h 280"/>
                <a:gd name="T38" fmla="*/ 4 w 331"/>
                <a:gd name="T39" fmla="*/ 16 h 280"/>
                <a:gd name="T40" fmla="*/ 5 w 331"/>
                <a:gd name="T41" fmla="*/ 11 h 280"/>
                <a:gd name="T42" fmla="*/ 8 w 331"/>
                <a:gd name="T43" fmla="*/ 7 h 280"/>
                <a:gd name="T44" fmla="*/ 12 w 331"/>
                <a:gd name="T45" fmla="*/ 5 h 280"/>
                <a:gd name="T46" fmla="*/ 16 w 331"/>
                <a:gd name="T47" fmla="*/ 3 h 280"/>
                <a:gd name="T48" fmla="*/ 315 w 331"/>
                <a:gd name="T49" fmla="*/ 3 h 280"/>
                <a:gd name="T50" fmla="*/ 315 w 331"/>
                <a:gd name="T51" fmla="*/ 0 h 280"/>
                <a:gd name="T52" fmla="*/ 16 w 331"/>
                <a:gd name="T53" fmla="*/ 0 h 280"/>
                <a:gd name="T54" fmla="*/ 16 w 331"/>
                <a:gd name="T55" fmla="*/ 0 h 280"/>
                <a:gd name="T56" fmla="*/ 10 w 331"/>
                <a:gd name="T57" fmla="*/ 1 h 280"/>
                <a:gd name="T58" fmla="*/ 5 w 331"/>
                <a:gd name="T59" fmla="*/ 5 h 280"/>
                <a:gd name="T60" fmla="*/ 2 w 331"/>
                <a:gd name="T61" fmla="*/ 10 h 280"/>
                <a:gd name="T62" fmla="*/ 0 w 331"/>
                <a:gd name="T63" fmla="*/ 16 h 280"/>
                <a:gd name="T64" fmla="*/ 0 w 331"/>
                <a:gd name="T65" fmla="*/ 264 h 280"/>
                <a:gd name="T66" fmla="*/ 0 w 331"/>
                <a:gd name="T67" fmla="*/ 264 h 280"/>
                <a:gd name="T68" fmla="*/ 2 w 331"/>
                <a:gd name="T69" fmla="*/ 270 h 280"/>
                <a:gd name="T70" fmla="*/ 5 w 331"/>
                <a:gd name="T71" fmla="*/ 275 h 280"/>
                <a:gd name="T72" fmla="*/ 10 w 331"/>
                <a:gd name="T73" fmla="*/ 278 h 280"/>
                <a:gd name="T74" fmla="*/ 16 w 331"/>
                <a:gd name="T75" fmla="*/ 280 h 280"/>
                <a:gd name="T76" fmla="*/ 315 w 331"/>
                <a:gd name="T77" fmla="*/ 280 h 280"/>
                <a:gd name="T78" fmla="*/ 315 w 331"/>
                <a:gd name="T79" fmla="*/ 280 h 280"/>
                <a:gd name="T80" fmla="*/ 321 w 331"/>
                <a:gd name="T81" fmla="*/ 278 h 280"/>
                <a:gd name="T82" fmla="*/ 326 w 331"/>
                <a:gd name="T83" fmla="*/ 275 h 280"/>
                <a:gd name="T84" fmla="*/ 330 w 331"/>
                <a:gd name="T85" fmla="*/ 270 h 280"/>
                <a:gd name="T86" fmla="*/ 331 w 331"/>
                <a:gd name="T87" fmla="*/ 264 h 280"/>
                <a:gd name="T88" fmla="*/ 331 w 331"/>
                <a:gd name="T89" fmla="*/ 16 h 280"/>
                <a:gd name="T90" fmla="*/ 331 w 331"/>
                <a:gd name="T91" fmla="*/ 16 h 280"/>
                <a:gd name="T92" fmla="*/ 330 w 331"/>
                <a:gd name="T93" fmla="*/ 10 h 280"/>
                <a:gd name="T94" fmla="*/ 326 w 331"/>
                <a:gd name="T95" fmla="*/ 5 h 280"/>
                <a:gd name="T96" fmla="*/ 321 w 331"/>
                <a:gd name="T97" fmla="*/ 1 h 280"/>
                <a:gd name="T98" fmla="*/ 315 w 331"/>
                <a:gd name="T99" fmla="*/ 0 h 280"/>
                <a:gd name="T100" fmla="*/ 315 w 331"/>
                <a:gd name="T101"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1" h="280">
                  <a:moveTo>
                    <a:pt x="315" y="3"/>
                  </a:moveTo>
                  <a:lnTo>
                    <a:pt x="315" y="3"/>
                  </a:lnTo>
                  <a:lnTo>
                    <a:pt x="320" y="5"/>
                  </a:lnTo>
                  <a:lnTo>
                    <a:pt x="324" y="7"/>
                  </a:lnTo>
                  <a:lnTo>
                    <a:pt x="327" y="11"/>
                  </a:lnTo>
                  <a:lnTo>
                    <a:pt x="327" y="16"/>
                  </a:lnTo>
                  <a:lnTo>
                    <a:pt x="327" y="264"/>
                  </a:lnTo>
                  <a:lnTo>
                    <a:pt x="327" y="264"/>
                  </a:lnTo>
                  <a:lnTo>
                    <a:pt x="327" y="269"/>
                  </a:lnTo>
                  <a:lnTo>
                    <a:pt x="324" y="272"/>
                  </a:lnTo>
                  <a:lnTo>
                    <a:pt x="320" y="275"/>
                  </a:lnTo>
                  <a:lnTo>
                    <a:pt x="315" y="276"/>
                  </a:lnTo>
                  <a:lnTo>
                    <a:pt x="16" y="276"/>
                  </a:lnTo>
                  <a:lnTo>
                    <a:pt x="16" y="276"/>
                  </a:lnTo>
                  <a:lnTo>
                    <a:pt x="12" y="275"/>
                  </a:lnTo>
                  <a:lnTo>
                    <a:pt x="8" y="272"/>
                  </a:lnTo>
                  <a:lnTo>
                    <a:pt x="5" y="269"/>
                  </a:lnTo>
                  <a:lnTo>
                    <a:pt x="4" y="264"/>
                  </a:lnTo>
                  <a:lnTo>
                    <a:pt x="4" y="16"/>
                  </a:lnTo>
                  <a:lnTo>
                    <a:pt x="4" y="16"/>
                  </a:lnTo>
                  <a:lnTo>
                    <a:pt x="5" y="11"/>
                  </a:lnTo>
                  <a:lnTo>
                    <a:pt x="8" y="7"/>
                  </a:lnTo>
                  <a:lnTo>
                    <a:pt x="12" y="5"/>
                  </a:lnTo>
                  <a:lnTo>
                    <a:pt x="16" y="3"/>
                  </a:lnTo>
                  <a:lnTo>
                    <a:pt x="315" y="3"/>
                  </a:lnTo>
                  <a:close/>
                  <a:moveTo>
                    <a:pt x="315" y="0"/>
                  </a:moveTo>
                  <a:lnTo>
                    <a:pt x="16" y="0"/>
                  </a:lnTo>
                  <a:lnTo>
                    <a:pt x="16" y="0"/>
                  </a:lnTo>
                  <a:lnTo>
                    <a:pt x="10" y="1"/>
                  </a:lnTo>
                  <a:lnTo>
                    <a:pt x="5" y="5"/>
                  </a:lnTo>
                  <a:lnTo>
                    <a:pt x="2" y="10"/>
                  </a:lnTo>
                  <a:lnTo>
                    <a:pt x="0" y="16"/>
                  </a:lnTo>
                  <a:lnTo>
                    <a:pt x="0" y="264"/>
                  </a:lnTo>
                  <a:lnTo>
                    <a:pt x="0" y="264"/>
                  </a:lnTo>
                  <a:lnTo>
                    <a:pt x="2" y="270"/>
                  </a:lnTo>
                  <a:lnTo>
                    <a:pt x="5" y="275"/>
                  </a:lnTo>
                  <a:lnTo>
                    <a:pt x="10" y="278"/>
                  </a:lnTo>
                  <a:lnTo>
                    <a:pt x="16" y="280"/>
                  </a:lnTo>
                  <a:lnTo>
                    <a:pt x="315" y="280"/>
                  </a:lnTo>
                  <a:lnTo>
                    <a:pt x="315" y="280"/>
                  </a:lnTo>
                  <a:lnTo>
                    <a:pt x="321" y="278"/>
                  </a:lnTo>
                  <a:lnTo>
                    <a:pt x="326" y="275"/>
                  </a:lnTo>
                  <a:lnTo>
                    <a:pt x="330" y="270"/>
                  </a:lnTo>
                  <a:lnTo>
                    <a:pt x="331" y="264"/>
                  </a:lnTo>
                  <a:lnTo>
                    <a:pt x="331" y="16"/>
                  </a:lnTo>
                  <a:lnTo>
                    <a:pt x="331" y="16"/>
                  </a:lnTo>
                  <a:lnTo>
                    <a:pt x="330" y="10"/>
                  </a:lnTo>
                  <a:lnTo>
                    <a:pt x="326" y="5"/>
                  </a:lnTo>
                  <a:lnTo>
                    <a:pt x="321" y="1"/>
                  </a:lnTo>
                  <a:lnTo>
                    <a:pt x="315" y="0"/>
                  </a:lnTo>
                  <a:lnTo>
                    <a:pt x="315" y="0"/>
                  </a:lnTo>
                  <a:close/>
                </a:path>
              </a:pathLst>
            </a:custGeom>
            <a:solidFill>
              <a:srgbClr val="8FC4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6" name="Freeform 254">
              <a:extLst>
                <a:ext uri="{FF2B5EF4-FFF2-40B4-BE49-F238E27FC236}">
                  <a16:creationId xmlns:a16="http://schemas.microsoft.com/office/drawing/2014/main" id="{C51F8C8B-F5CE-1D13-D78C-F734C1E5802E}"/>
                </a:ext>
              </a:extLst>
            </p:cNvPr>
            <p:cNvSpPr>
              <a:spLocks/>
            </p:cNvSpPr>
            <p:nvPr/>
          </p:nvSpPr>
          <p:spPr bwMode="auto">
            <a:xfrm>
              <a:off x="7322181" y="3225339"/>
              <a:ext cx="476910" cy="368204"/>
            </a:xfrm>
            <a:custGeom>
              <a:avLst/>
              <a:gdLst>
                <a:gd name="T0" fmla="*/ 311 w 323"/>
                <a:gd name="T1" fmla="*/ 0 h 273"/>
                <a:gd name="T2" fmla="*/ 311 w 323"/>
                <a:gd name="T3" fmla="*/ 0 h 273"/>
                <a:gd name="T4" fmla="*/ 316 w 323"/>
                <a:gd name="T5" fmla="*/ 2 h 273"/>
                <a:gd name="T6" fmla="*/ 320 w 323"/>
                <a:gd name="T7" fmla="*/ 4 h 273"/>
                <a:gd name="T8" fmla="*/ 323 w 323"/>
                <a:gd name="T9" fmla="*/ 8 h 273"/>
                <a:gd name="T10" fmla="*/ 323 w 323"/>
                <a:gd name="T11" fmla="*/ 13 h 273"/>
                <a:gd name="T12" fmla="*/ 323 w 323"/>
                <a:gd name="T13" fmla="*/ 261 h 273"/>
                <a:gd name="T14" fmla="*/ 323 w 323"/>
                <a:gd name="T15" fmla="*/ 261 h 273"/>
                <a:gd name="T16" fmla="*/ 323 w 323"/>
                <a:gd name="T17" fmla="*/ 266 h 273"/>
                <a:gd name="T18" fmla="*/ 320 w 323"/>
                <a:gd name="T19" fmla="*/ 269 h 273"/>
                <a:gd name="T20" fmla="*/ 316 w 323"/>
                <a:gd name="T21" fmla="*/ 272 h 273"/>
                <a:gd name="T22" fmla="*/ 311 w 323"/>
                <a:gd name="T23" fmla="*/ 273 h 273"/>
                <a:gd name="T24" fmla="*/ 12 w 323"/>
                <a:gd name="T25" fmla="*/ 273 h 273"/>
                <a:gd name="T26" fmla="*/ 12 w 323"/>
                <a:gd name="T27" fmla="*/ 273 h 273"/>
                <a:gd name="T28" fmla="*/ 8 w 323"/>
                <a:gd name="T29" fmla="*/ 272 h 273"/>
                <a:gd name="T30" fmla="*/ 4 w 323"/>
                <a:gd name="T31" fmla="*/ 269 h 273"/>
                <a:gd name="T32" fmla="*/ 1 w 323"/>
                <a:gd name="T33" fmla="*/ 266 h 273"/>
                <a:gd name="T34" fmla="*/ 0 w 323"/>
                <a:gd name="T35" fmla="*/ 261 h 273"/>
                <a:gd name="T36" fmla="*/ 0 w 323"/>
                <a:gd name="T37" fmla="*/ 13 h 273"/>
                <a:gd name="T38" fmla="*/ 0 w 323"/>
                <a:gd name="T39" fmla="*/ 13 h 273"/>
                <a:gd name="T40" fmla="*/ 1 w 323"/>
                <a:gd name="T41" fmla="*/ 8 h 273"/>
                <a:gd name="T42" fmla="*/ 4 w 323"/>
                <a:gd name="T43" fmla="*/ 4 h 273"/>
                <a:gd name="T44" fmla="*/ 8 w 323"/>
                <a:gd name="T45" fmla="*/ 2 h 273"/>
                <a:gd name="T46" fmla="*/ 12 w 323"/>
                <a:gd name="T47" fmla="*/ 0 h 273"/>
                <a:gd name="T48" fmla="*/ 311 w 323"/>
                <a:gd name="T49"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3" h="273">
                  <a:moveTo>
                    <a:pt x="311" y="0"/>
                  </a:moveTo>
                  <a:lnTo>
                    <a:pt x="311" y="0"/>
                  </a:lnTo>
                  <a:lnTo>
                    <a:pt x="316" y="2"/>
                  </a:lnTo>
                  <a:lnTo>
                    <a:pt x="320" y="4"/>
                  </a:lnTo>
                  <a:lnTo>
                    <a:pt x="323" y="8"/>
                  </a:lnTo>
                  <a:lnTo>
                    <a:pt x="323" y="13"/>
                  </a:lnTo>
                  <a:lnTo>
                    <a:pt x="323" y="261"/>
                  </a:lnTo>
                  <a:lnTo>
                    <a:pt x="323" y="261"/>
                  </a:lnTo>
                  <a:lnTo>
                    <a:pt x="323" y="266"/>
                  </a:lnTo>
                  <a:lnTo>
                    <a:pt x="320" y="269"/>
                  </a:lnTo>
                  <a:lnTo>
                    <a:pt x="316" y="272"/>
                  </a:lnTo>
                  <a:lnTo>
                    <a:pt x="311" y="273"/>
                  </a:lnTo>
                  <a:lnTo>
                    <a:pt x="12" y="273"/>
                  </a:lnTo>
                  <a:lnTo>
                    <a:pt x="12" y="273"/>
                  </a:lnTo>
                  <a:lnTo>
                    <a:pt x="8" y="272"/>
                  </a:lnTo>
                  <a:lnTo>
                    <a:pt x="4" y="269"/>
                  </a:lnTo>
                  <a:lnTo>
                    <a:pt x="1" y="266"/>
                  </a:lnTo>
                  <a:lnTo>
                    <a:pt x="0" y="261"/>
                  </a:lnTo>
                  <a:lnTo>
                    <a:pt x="0" y="13"/>
                  </a:lnTo>
                  <a:lnTo>
                    <a:pt x="0" y="13"/>
                  </a:lnTo>
                  <a:lnTo>
                    <a:pt x="1" y="8"/>
                  </a:lnTo>
                  <a:lnTo>
                    <a:pt x="4" y="4"/>
                  </a:lnTo>
                  <a:lnTo>
                    <a:pt x="8" y="2"/>
                  </a:lnTo>
                  <a:lnTo>
                    <a:pt x="12" y="0"/>
                  </a:lnTo>
                  <a:lnTo>
                    <a:pt x="3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7" name="Freeform 255">
              <a:extLst>
                <a:ext uri="{FF2B5EF4-FFF2-40B4-BE49-F238E27FC236}">
                  <a16:creationId xmlns:a16="http://schemas.microsoft.com/office/drawing/2014/main" id="{3A9743F8-C682-FA5A-980F-B08F3E776EDC}"/>
                </a:ext>
              </a:extLst>
            </p:cNvPr>
            <p:cNvSpPr>
              <a:spLocks/>
            </p:cNvSpPr>
            <p:nvPr/>
          </p:nvSpPr>
          <p:spPr bwMode="auto">
            <a:xfrm>
              <a:off x="7316275" y="3221293"/>
              <a:ext cx="488722" cy="377645"/>
            </a:xfrm>
            <a:custGeom>
              <a:avLst/>
              <a:gdLst>
                <a:gd name="T0" fmla="*/ 315 w 331"/>
                <a:gd name="T1" fmla="*/ 0 h 280"/>
                <a:gd name="T2" fmla="*/ 16 w 331"/>
                <a:gd name="T3" fmla="*/ 0 h 280"/>
                <a:gd name="T4" fmla="*/ 16 w 331"/>
                <a:gd name="T5" fmla="*/ 0 h 280"/>
                <a:gd name="T6" fmla="*/ 10 w 331"/>
                <a:gd name="T7" fmla="*/ 1 h 280"/>
                <a:gd name="T8" fmla="*/ 5 w 331"/>
                <a:gd name="T9" fmla="*/ 5 h 280"/>
                <a:gd name="T10" fmla="*/ 2 w 331"/>
                <a:gd name="T11" fmla="*/ 10 h 280"/>
                <a:gd name="T12" fmla="*/ 0 w 331"/>
                <a:gd name="T13" fmla="*/ 16 h 280"/>
                <a:gd name="T14" fmla="*/ 0 w 331"/>
                <a:gd name="T15" fmla="*/ 264 h 280"/>
                <a:gd name="T16" fmla="*/ 0 w 331"/>
                <a:gd name="T17" fmla="*/ 264 h 280"/>
                <a:gd name="T18" fmla="*/ 2 w 331"/>
                <a:gd name="T19" fmla="*/ 270 h 280"/>
                <a:gd name="T20" fmla="*/ 5 w 331"/>
                <a:gd name="T21" fmla="*/ 275 h 280"/>
                <a:gd name="T22" fmla="*/ 10 w 331"/>
                <a:gd name="T23" fmla="*/ 278 h 280"/>
                <a:gd name="T24" fmla="*/ 16 w 331"/>
                <a:gd name="T25" fmla="*/ 280 h 280"/>
                <a:gd name="T26" fmla="*/ 315 w 331"/>
                <a:gd name="T27" fmla="*/ 280 h 280"/>
                <a:gd name="T28" fmla="*/ 315 w 331"/>
                <a:gd name="T29" fmla="*/ 280 h 280"/>
                <a:gd name="T30" fmla="*/ 321 w 331"/>
                <a:gd name="T31" fmla="*/ 278 h 280"/>
                <a:gd name="T32" fmla="*/ 326 w 331"/>
                <a:gd name="T33" fmla="*/ 275 h 280"/>
                <a:gd name="T34" fmla="*/ 330 w 331"/>
                <a:gd name="T35" fmla="*/ 270 h 280"/>
                <a:gd name="T36" fmla="*/ 331 w 331"/>
                <a:gd name="T37" fmla="*/ 264 h 280"/>
                <a:gd name="T38" fmla="*/ 331 w 331"/>
                <a:gd name="T39" fmla="*/ 16 h 280"/>
                <a:gd name="T40" fmla="*/ 331 w 331"/>
                <a:gd name="T41" fmla="*/ 16 h 280"/>
                <a:gd name="T42" fmla="*/ 330 w 331"/>
                <a:gd name="T43" fmla="*/ 10 h 280"/>
                <a:gd name="T44" fmla="*/ 326 w 331"/>
                <a:gd name="T45" fmla="*/ 5 h 280"/>
                <a:gd name="T46" fmla="*/ 321 w 331"/>
                <a:gd name="T47" fmla="*/ 1 h 280"/>
                <a:gd name="T48" fmla="*/ 315 w 331"/>
                <a:gd name="T49" fmla="*/ 0 h 280"/>
                <a:gd name="T50" fmla="*/ 315 w 331"/>
                <a:gd name="T51"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1" h="280">
                  <a:moveTo>
                    <a:pt x="315" y="0"/>
                  </a:moveTo>
                  <a:lnTo>
                    <a:pt x="16" y="0"/>
                  </a:lnTo>
                  <a:lnTo>
                    <a:pt x="16" y="0"/>
                  </a:lnTo>
                  <a:lnTo>
                    <a:pt x="10" y="1"/>
                  </a:lnTo>
                  <a:lnTo>
                    <a:pt x="5" y="5"/>
                  </a:lnTo>
                  <a:lnTo>
                    <a:pt x="2" y="10"/>
                  </a:lnTo>
                  <a:lnTo>
                    <a:pt x="0" y="16"/>
                  </a:lnTo>
                  <a:lnTo>
                    <a:pt x="0" y="264"/>
                  </a:lnTo>
                  <a:lnTo>
                    <a:pt x="0" y="264"/>
                  </a:lnTo>
                  <a:lnTo>
                    <a:pt x="2" y="270"/>
                  </a:lnTo>
                  <a:lnTo>
                    <a:pt x="5" y="275"/>
                  </a:lnTo>
                  <a:lnTo>
                    <a:pt x="10" y="278"/>
                  </a:lnTo>
                  <a:lnTo>
                    <a:pt x="16" y="280"/>
                  </a:lnTo>
                  <a:lnTo>
                    <a:pt x="315" y="280"/>
                  </a:lnTo>
                  <a:lnTo>
                    <a:pt x="315" y="280"/>
                  </a:lnTo>
                  <a:lnTo>
                    <a:pt x="321" y="278"/>
                  </a:lnTo>
                  <a:lnTo>
                    <a:pt x="326" y="275"/>
                  </a:lnTo>
                  <a:lnTo>
                    <a:pt x="330" y="270"/>
                  </a:lnTo>
                  <a:lnTo>
                    <a:pt x="331" y="264"/>
                  </a:lnTo>
                  <a:lnTo>
                    <a:pt x="331" y="16"/>
                  </a:lnTo>
                  <a:lnTo>
                    <a:pt x="331" y="16"/>
                  </a:lnTo>
                  <a:lnTo>
                    <a:pt x="330" y="10"/>
                  </a:lnTo>
                  <a:lnTo>
                    <a:pt x="326" y="5"/>
                  </a:lnTo>
                  <a:lnTo>
                    <a:pt x="321" y="1"/>
                  </a:lnTo>
                  <a:lnTo>
                    <a:pt x="315" y="0"/>
                  </a:lnTo>
                  <a:lnTo>
                    <a:pt x="3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8" name="Freeform 256">
              <a:extLst>
                <a:ext uri="{FF2B5EF4-FFF2-40B4-BE49-F238E27FC236}">
                  <a16:creationId xmlns:a16="http://schemas.microsoft.com/office/drawing/2014/main" id="{14E79A11-601C-6043-0604-58135D4D8746}"/>
                </a:ext>
              </a:extLst>
            </p:cNvPr>
            <p:cNvSpPr>
              <a:spLocks/>
            </p:cNvSpPr>
            <p:nvPr/>
          </p:nvSpPr>
          <p:spPr bwMode="auto">
            <a:xfrm>
              <a:off x="7316275" y="3221293"/>
              <a:ext cx="488722" cy="60693"/>
            </a:xfrm>
            <a:custGeom>
              <a:avLst/>
              <a:gdLst>
                <a:gd name="T0" fmla="*/ 315 w 331"/>
                <a:gd name="T1" fmla="*/ 0 h 45"/>
                <a:gd name="T2" fmla="*/ 16 w 331"/>
                <a:gd name="T3" fmla="*/ 0 h 45"/>
                <a:gd name="T4" fmla="*/ 16 w 331"/>
                <a:gd name="T5" fmla="*/ 0 h 45"/>
                <a:gd name="T6" fmla="*/ 10 w 331"/>
                <a:gd name="T7" fmla="*/ 1 h 45"/>
                <a:gd name="T8" fmla="*/ 5 w 331"/>
                <a:gd name="T9" fmla="*/ 5 h 45"/>
                <a:gd name="T10" fmla="*/ 2 w 331"/>
                <a:gd name="T11" fmla="*/ 10 h 45"/>
                <a:gd name="T12" fmla="*/ 0 w 331"/>
                <a:gd name="T13" fmla="*/ 16 h 45"/>
                <a:gd name="T14" fmla="*/ 0 w 331"/>
                <a:gd name="T15" fmla="*/ 45 h 45"/>
                <a:gd name="T16" fmla="*/ 331 w 331"/>
                <a:gd name="T17" fmla="*/ 45 h 45"/>
                <a:gd name="T18" fmla="*/ 331 w 331"/>
                <a:gd name="T19" fmla="*/ 16 h 45"/>
                <a:gd name="T20" fmla="*/ 331 w 331"/>
                <a:gd name="T21" fmla="*/ 16 h 45"/>
                <a:gd name="T22" fmla="*/ 330 w 331"/>
                <a:gd name="T23" fmla="*/ 10 h 45"/>
                <a:gd name="T24" fmla="*/ 326 w 331"/>
                <a:gd name="T25" fmla="*/ 5 h 45"/>
                <a:gd name="T26" fmla="*/ 321 w 331"/>
                <a:gd name="T27" fmla="*/ 1 h 45"/>
                <a:gd name="T28" fmla="*/ 315 w 331"/>
                <a:gd name="T29" fmla="*/ 0 h 45"/>
                <a:gd name="T30" fmla="*/ 315 w 331"/>
                <a:gd name="T3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1" h="45">
                  <a:moveTo>
                    <a:pt x="315" y="0"/>
                  </a:moveTo>
                  <a:lnTo>
                    <a:pt x="16" y="0"/>
                  </a:lnTo>
                  <a:lnTo>
                    <a:pt x="16" y="0"/>
                  </a:lnTo>
                  <a:lnTo>
                    <a:pt x="10" y="1"/>
                  </a:lnTo>
                  <a:lnTo>
                    <a:pt x="5" y="5"/>
                  </a:lnTo>
                  <a:lnTo>
                    <a:pt x="2" y="10"/>
                  </a:lnTo>
                  <a:lnTo>
                    <a:pt x="0" y="16"/>
                  </a:lnTo>
                  <a:lnTo>
                    <a:pt x="0" y="45"/>
                  </a:lnTo>
                  <a:lnTo>
                    <a:pt x="331" y="45"/>
                  </a:lnTo>
                  <a:lnTo>
                    <a:pt x="331" y="16"/>
                  </a:lnTo>
                  <a:lnTo>
                    <a:pt x="331" y="16"/>
                  </a:lnTo>
                  <a:lnTo>
                    <a:pt x="330" y="10"/>
                  </a:lnTo>
                  <a:lnTo>
                    <a:pt x="326" y="5"/>
                  </a:lnTo>
                  <a:lnTo>
                    <a:pt x="321" y="1"/>
                  </a:lnTo>
                  <a:lnTo>
                    <a:pt x="315" y="0"/>
                  </a:lnTo>
                  <a:lnTo>
                    <a:pt x="315" y="0"/>
                  </a:lnTo>
                  <a:close/>
                </a:path>
              </a:pathLst>
            </a:custGeom>
            <a:solidFill>
              <a:srgbClr val="8FC4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9" name="Freeform 257">
              <a:extLst>
                <a:ext uri="{FF2B5EF4-FFF2-40B4-BE49-F238E27FC236}">
                  <a16:creationId xmlns:a16="http://schemas.microsoft.com/office/drawing/2014/main" id="{BF88815A-4841-00BE-0982-965529F791AF}"/>
                </a:ext>
              </a:extLst>
            </p:cNvPr>
            <p:cNvSpPr>
              <a:spLocks/>
            </p:cNvSpPr>
            <p:nvPr/>
          </p:nvSpPr>
          <p:spPr bwMode="auto">
            <a:xfrm>
              <a:off x="7338422" y="3241523"/>
              <a:ext cx="25101" cy="22929"/>
            </a:xfrm>
            <a:custGeom>
              <a:avLst/>
              <a:gdLst>
                <a:gd name="T0" fmla="*/ 17 w 17"/>
                <a:gd name="T1" fmla="*/ 8 h 17"/>
                <a:gd name="T2" fmla="*/ 17 w 17"/>
                <a:gd name="T3" fmla="*/ 8 h 17"/>
                <a:gd name="T4" fmla="*/ 16 w 17"/>
                <a:gd name="T5" fmla="*/ 12 h 17"/>
                <a:gd name="T6" fmla="*/ 15 w 17"/>
                <a:gd name="T7" fmla="*/ 14 h 17"/>
                <a:gd name="T8" fmla="*/ 13 w 17"/>
                <a:gd name="T9" fmla="*/ 17 h 17"/>
                <a:gd name="T10" fmla="*/ 9 w 17"/>
                <a:gd name="T11" fmla="*/ 17 h 17"/>
                <a:gd name="T12" fmla="*/ 9 w 17"/>
                <a:gd name="T13" fmla="*/ 17 h 17"/>
                <a:gd name="T14" fmla="*/ 5 w 17"/>
                <a:gd name="T15" fmla="*/ 17 h 17"/>
                <a:gd name="T16" fmla="*/ 3 w 17"/>
                <a:gd name="T17" fmla="*/ 14 h 17"/>
                <a:gd name="T18" fmla="*/ 0 w 17"/>
                <a:gd name="T19" fmla="*/ 12 h 17"/>
                <a:gd name="T20" fmla="*/ 0 w 17"/>
                <a:gd name="T21" fmla="*/ 8 h 17"/>
                <a:gd name="T22" fmla="*/ 0 w 17"/>
                <a:gd name="T23" fmla="*/ 8 h 17"/>
                <a:gd name="T24" fmla="*/ 0 w 17"/>
                <a:gd name="T25" fmla="*/ 4 h 17"/>
                <a:gd name="T26" fmla="*/ 3 w 17"/>
                <a:gd name="T27" fmla="*/ 2 h 17"/>
                <a:gd name="T28" fmla="*/ 5 w 17"/>
                <a:gd name="T29" fmla="*/ 1 h 17"/>
                <a:gd name="T30" fmla="*/ 9 w 17"/>
                <a:gd name="T31" fmla="*/ 0 h 17"/>
                <a:gd name="T32" fmla="*/ 9 w 17"/>
                <a:gd name="T33" fmla="*/ 0 h 17"/>
                <a:gd name="T34" fmla="*/ 13 w 17"/>
                <a:gd name="T35" fmla="*/ 1 h 17"/>
                <a:gd name="T36" fmla="*/ 15 w 17"/>
                <a:gd name="T37" fmla="*/ 2 h 17"/>
                <a:gd name="T38" fmla="*/ 16 w 17"/>
                <a:gd name="T39" fmla="*/ 4 h 17"/>
                <a:gd name="T40" fmla="*/ 17 w 17"/>
                <a:gd name="T41" fmla="*/ 8 h 17"/>
                <a:gd name="T42" fmla="*/ 17 w 17"/>
                <a:gd name="T43"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7">
                  <a:moveTo>
                    <a:pt x="17" y="8"/>
                  </a:moveTo>
                  <a:lnTo>
                    <a:pt x="17" y="8"/>
                  </a:lnTo>
                  <a:lnTo>
                    <a:pt x="16" y="12"/>
                  </a:lnTo>
                  <a:lnTo>
                    <a:pt x="15" y="14"/>
                  </a:lnTo>
                  <a:lnTo>
                    <a:pt x="13" y="17"/>
                  </a:lnTo>
                  <a:lnTo>
                    <a:pt x="9" y="17"/>
                  </a:lnTo>
                  <a:lnTo>
                    <a:pt x="9" y="17"/>
                  </a:lnTo>
                  <a:lnTo>
                    <a:pt x="5" y="17"/>
                  </a:lnTo>
                  <a:lnTo>
                    <a:pt x="3" y="14"/>
                  </a:lnTo>
                  <a:lnTo>
                    <a:pt x="0" y="12"/>
                  </a:lnTo>
                  <a:lnTo>
                    <a:pt x="0" y="8"/>
                  </a:lnTo>
                  <a:lnTo>
                    <a:pt x="0" y="8"/>
                  </a:lnTo>
                  <a:lnTo>
                    <a:pt x="0" y="4"/>
                  </a:lnTo>
                  <a:lnTo>
                    <a:pt x="3" y="2"/>
                  </a:lnTo>
                  <a:lnTo>
                    <a:pt x="5" y="1"/>
                  </a:lnTo>
                  <a:lnTo>
                    <a:pt x="9" y="0"/>
                  </a:lnTo>
                  <a:lnTo>
                    <a:pt x="9" y="0"/>
                  </a:lnTo>
                  <a:lnTo>
                    <a:pt x="13" y="1"/>
                  </a:lnTo>
                  <a:lnTo>
                    <a:pt x="15" y="2"/>
                  </a:lnTo>
                  <a:lnTo>
                    <a:pt x="16" y="4"/>
                  </a:lnTo>
                  <a:lnTo>
                    <a:pt x="17" y="8"/>
                  </a:lnTo>
                  <a:lnTo>
                    <a:pt x="17"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0" name="Freeform 258">
              <a:extLst>
                <a:ext uri="{FF2B5EF4-FFF2-40B4-BE49-F238E27FC236}">
                  <a16:creationId xmlns:a16="http://schemas.microsoft.com/office/drawing/2014/main" id="{180F1048-8DA3-D46D-D568-BCA591819AF2}"/>
                </a:ext>
              </a:extLst>
            </p:cNvPr>
            <p:cNvSpPr>
              <a:spLocks/>
            </p:cNvSpPr>
            <p:nvPr/>
          </p:nvSpPr>
          <p:spPr bwMode="auto">
            <a:xfrm>
              <a:off x="7375335" y="3241523"/>
              <a:ext cx="25101" cy="22929"/>
            </a:xfrm>
            <a:custGeom>
              <a:avLst/>
              <a:gdLst>
                <a:gd name="T0" fmla="*/ 17 w 17"/>
                <a:gd name="T1" fmla="*/ 8 h 17"/>
                <a:gd name="T2" fmla="*/ 17 w 17"/>
                <a:gd name="T3" fmla="*/ 8 h 17"/>
                <a:gd name="T4" fmla="*/ 16 w 17"/>
                <a:gd name="T5" fmla="*/ 12 h 17"/>
                <a:gd name="T6" fmla="*/ 15 w 17"/>
                <a:gd name="T7" fmla="*/ 14 h 17"/>
                <a:gd name="T8" fmla="*/ 11 w 17"/>
                <a:gd name="T9" fmla="*/ 17 h 17"/>
                <a:gd name="T10" fmla="*/ 9 w 17"/>
                <a:gd name="T11" fmla="*/ 17 h 17"/>
                <a:gd name="T12" fmla="*/ 9 w 17"/>
                <a:gd name="T13" fmla="*/ 17 h 17"/>
                <a:gd name="T14" fmla="*/ 5 w 17"/>
                <a:gd name="T15" fmla="*/ 17 h 17"/>
                <a:gd name="T16" fmla="*/ 2 w 17"/>
                <a:gd name="T17" fmla="*/ 14 h 17"/>
                <a:gd name="T18" fmla="*/ 0 w 17"/>
                <a:gd name="T19" fmla="*/ 12 h 17"/>
                <a:gd name="T20" fmla="*/ 0 w 17"/>
                <a:gd name="T21" fmla="*/ 8 h 17"/>
                <a:gd name="T22" fmla="*/ 0 w 17"/>
                <a:gd name="T23" fmla="*/ 8 h 17"/>
                <a:gd name="T24" fmla="*/ 0 w 17"/>
                <a:gd name="T25" fmla="*/ 4 h 17"/>
                <a:gd name="T26" fmla="*/ 2 w 17"/>
                <a:gd name="T27" fmla="*/ 2 h 17"/>
                <a:gd name="T28" fmla="*/ 5 w 17"/>
                <a:gd name="T29" fmla="*/ 1 h 17"/>
                <a:gd name="T30" fmla="*/ 9 w 17"/>
                <a:gd name="T31" fmla="*/ 0 h 17"/>
                <a:gd name="T32" fmla="*/ 9 w 17"/>
                <a:gd name="T33" fmla="*/ 0 h 17"/>
                <a:gd name="T34" fmla="*/ 11 w 17"/>
                <a:gd name="T35" fmla="*/ 1 h 17"/>
                <a:gd name="T36" fmla="*/ 15 w 17"/>
                <a:gd name="T37" fmla="*/ 2 h 17"/>
                <a:gd name="T38" fmla="*/ 16 w 17"/>
                <a:gd name="T39" fmla="*/ 4 h 17"/>
                <a:gd name="T40" fmla="*/ 17 w 17"/>
                <a:gd name="T41" fmla="*/ 8 h 17"/>
                <a:gd name="T42" fmla="*/ 17 w 17"/>
                <a:gd name="T43"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7">
                  <a:moveTo>
                    <a:pt x="17" y="8"/>
                  </a:moveTo>
                  <a:lnTo>
                    <a:pt x="17" y="8"/>
                  </a:lnTo>
                  <a:lnTo>
                    <a:pt x="16" y="12"/>
                  </a:lnTo>
                  <a:lnTo>
                    <a:pt x="15" y="14"/>
                  </a:lnTo>
                  <a:lnTo>
                    <a:pt x="11" y="17"/>
                  </a:lnTo>
                  <a:lnTo>
                    <a:pt x="9" y="17"/>
                  </a:lnTo>
                  <a:lnTo>
                    <a:pt x="9" y="17"/>
                  </a:lnTo>
                  <a:lnTo>
                    <a:pt x="5" y="17"/>
                  </a:lnTo>
                  <a:lnTo>
                    <a:pt x="2" y="14"/>
                  </a:lnTo>
                  <a:lnTo>
                    <a:pt x="0" y="12"/>
                  </a:lnTo>
                  <a:lnTo>
                    <a:pt x="0" y="8"/>
                  </a:lnTo>
                  <a:lnTo>
                    <a:pt x="0" y="8"/>
                  </a:lnTo>
                  <a:lnTo>
                    <a:pt x="0" y="4"/>
                  </a:lnTo>
                  <a:lnTo>
                    <a:pt x="2" y="2"/>
                  </a:lnTo>
                  <a:lnTo>
                    <a:pt x="5" y="1"/>
                  </a:lnTo>
                  <a:lnTo>
                    <a:pt x="9" y="0"/>
                  </a:lnTo>
                  <a:lnTo>
                    <a:pt x="9" y="0"/>
                  </a:lnTo>
                  <a:lnTo>
                    <a:pt x="11" y="1"/>
                  </a:lnTo>
                  <a:lnTo>
                    <a:pt x="15" y="2"/>
                  </a:lnTo>
                  <a:lnTo>
                    <a:pt x="16" y="4"/>
                  </a:lnTo>
                  <a:lnTo>
                    <a:pt x="17" y="8"/>
                  </a:lnTo>
                  <a:lnTo>
                    <a:pt x="17"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1" name="Freeform 259">
              <a:extLst>
                <a:ext uri="{FF2B5EF4-FFF2-40B4-BE49-F238E27FC236}">
                  <a16:creationId xmlns:a16="http://schemas.microsoft.com/office/drawing/2014/main" id="{15B36E3A-B814-B3B6-10A0-E5695EB053E8}"/>
                </a:ext>
              </a:extLst>
            </p:cNvPr>
            <p:cNvSpPr>
              <a:spLocks/>
            </p:cNvSpPr>
            <p:nvPr/>
          </p:nvSpPr>
          <p:spPr bwMode="auto">
            <a:xfrm>
              <a:off x="7409294" y="3241523"/>
              <a:ext cx="28054" cy="22929"/>
            </a:xfrm>
            <a:custGeom>
              <a:avLst/>
              <a:gdLst>
                <a:gd name="T0" fmla="*/ 19 w 19"/>
                <a:gd name="T1" fmla="*/ 8 h 17"/>
                <a:gd name="T2" fmla="*/ 19 w 19"/>
                <a:gd name="T3" fmla="*/ 8 h 17"/>
                <a:gd name="T4" fmla="*/ 18 w 19"/>
                <a:gd name="T5" fmla="*/ 12 h 17"/>
                <a:gd name="T6" fmla="*/ 16 w 19"/>
                <a:gd name="T7" fmla="*/ 14 h 17"/>
                <a:gd name="T8" fmla="*/ 13 w 19"/>
                <a:gd name="T9" fmla="*/ 17 h 17"/>
                <a:gd name="T10" fmla="*/ 10 w 19"/>
                <a:gd name="T11" fmla="*/ 17 h 17"/>
                <a:gd name="T12" fmla="*/ 10 w 19"/>
                <a:gd name="T13" fmla="*/ 17 h 17"/>
                <a:gd name="T14" fmla="*/ 6 w 19"/>
                <a:gd name="T15" fmla="*/ 17 h 17"/>
                <a:gd name="T16" fmla="*/ 4 w 19"/>
                <a:gd name="T17" fmla="*/ 14 h 17"/>
                <a:gd name="T18" fmla="*/ 2 w 19"/>
                <a:gd name="T19" fmla="*/ 12 h 17"/>
                <a:gd name="T20" fmla="*/ 0 w 19"/>
                <a:gd name="T21" fmla="*/ 8 h 17"/>
                <a:gd name="T22" fmla="*/ 0 w 19"/>
                <a:gd name="T23" fmla="*/ 8 h 17"/>
                <a:gd name="T24" fmla="*/ 2 w 19"/>
                <a:gd name="T25" fmla="*/ 4 h 17"/>
                <a:gd name="T26" fmla="*/ 4 w 19"/>
                <a:gd name="T27" fmla="*/ 2 h 17"/>
                <a:gd name="T28" fmla="*/ 6 w 19"/>
                <a:gd name="T29" fmla="*/ 1 h 17"/>
                <a:gd name="T30" fmla="*/ 10 w 19"/>
                <a:gd name="T31" fmla="*/ 0 h 17"/>
                <a:gd name="T32" fmla="*/ 10 w 19"/>
                <a:gd name="T33" fmla="*/ 0 h 17"/>
                <a:gd name="T34" fmla="*/ 13 w 19"/>
                <a:gd name="T35" fmla="*/ 1 h 17"/>
                <a:gd name="T36" fmla="*/ 16 w 19"/>
                <a:gd name="T37" fmla="*/ 2 h 17"/>
                <a:gd name="T38" fmla="*/ 18 w 19"/>
                <a:gd name="T39" fmla="*/ 4 h 17"/>
                <a:gd name="T40" fmla="*/ 19 w 19"/>
                <a:gd name="T41" fmla="*/ 8 h 17"/>
                <a:gd name="T42" fmla="*/ 19 w 19"/>
                <a:gd name="T43"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17">
                  <a:moveTo>
                    <a:pt x="19" y="8"/>
                  </a:moveTo>
                  <a:lnTo>
                    <a:pt x="19" y="8"/>
                  </a:lnTo>
                  <a:lnTo>
                    <a:pt x="18" y="12"/>
                  </a:lnTo>
                  <a:lnTo>
                    <a:pt x="16" y="14"/>
                  </a:lnTo>
                  <a:lnTo>
                    <a:pt x="13" y="17"/>
                  </a:lnTo>
                  <a:lnTo>
                    <a:pt x="10" y="17"/>
                  </a:lnTo>
                  <a:lnTo>
                    <a:pt x="10" y="17"/>
                  </a:lnTo>
                  <a:lnTo>
                    <a:pt x="6" y="17"/>
                  </a:lnTo>
                  <a:lnTo>
                    <a:pt x="4" y="14"/>
                  </a:lnTo>
                  <a:lnTo>
                    <a:pt x="2" y="12"/>
                  </a:lnTo>
                  <a:lnTo>
                    <a:pt x="0" y="8"/>
                  </a:lnTo>
                  <a:lnTo>
                    <a:pt x="0" y="8"/>
                  </a:lnTo>
                  <a:lnTo>
                    <a:pt x="2" y="4"/>
                  </a:lnTo>
                  <a:lnTo>
                    <a:pt x="4" y="2"/>
                  </a:lnTo>
                  <a:lnTo>
                    <a:pt x="6" y="1"/>
                  </a:lnTo>
                  <a:lnTo>
                    <a:pt x="10" y="0"/>
                  </a:lnTo>
                  <a:lnTo>
                    <a:pt x="10" y="0"/>
                  </a:lnTo>
                  <a:lnTo>
                    <a:pt x="13" y="1"/>
                  </a:lnTo>
                  <a:lnTo>
                    <a:pt x="16" y="2"/>
                  </a:lnTo>
                  <a:lnTo>
                    <a:pt x="18" y="4"/>
                  </a:lnTo>
                  <a:lnTo>
                    <a:pt x="19" y="8"/>
                  </a:lnTo>
                  <a:lnTo>
                    <a:pt x="1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2" name="Rectangle 260">
              <a:extLst>
                <a:ext uri="{FF2B5EF4-FFF2-40B4-BE49-F238E27FC236}">
                  <a16:creationId xmlns:a16="http://schemas.microsoft.com/office/drawing/2014/main" id="{512CAE42-4F72-99E1-DF54-1507D94F46C2}"/>
                </a:ext>
              </a:extLst>
            </p:cNvPr>
            <p:cNvSpPr>
              <a:spLocks noChangeArrowheads="1"/>
            </p:cNvSpPr>
            <p:nvPr/>
          </p:nvSpPr>
          <p:spPr bwMode="auto">
            <a:xfrm>
              <a:off x="7471307" y="3242873"/>
              <a:ext cx="301206" cy="2023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3" name="Rectangle 261">
              <a:extLst>
                <a:ext uri="{FF2B5EF4-FFF2-40B4-BE49-F238E27FC236}">
                  <a16:creationId xmlns:a16="http://schemas.microsoft.com/office/drawing/2014/main" id="{CD7A0892-DB42-5906-D049-0269D8FC3183}"/>
                </a:ext>
              </a:extLst>
            </p:cNvPr>
            <p:cNvSpPr>
              <a:spLocks noChangeArrowheads="1"/>
            </p:cNvSpPr>
            <p:nvPr/>
          </p:nvSpPr>
          <p:spPr bwMode="auto">
            <a:xfrm>
              <a:off x="7342852" y="3315704"/>
              <a:ext cx="106308" cy="8092"/>
            </a:xfrm>
            <a:prstGeom prst="rect">
              <a:avLst/>
            </a:prstGeom>
            <a:solidFill>
              <a:srgbClr val="8FC4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4" name="Rectangle 262">
              <a:extLst>
                <a:ext uri="{FF2B5EF4-FFF2-40B4-BE49-F238E27FC236}">
                  <a16:creationId xmlns:a16="http://schemas.microsoft.com/office/drawing/2014/main" id="{C48240DC-3520-6475-55C1-34CBA51C382B}"/>
                </a:ext>
              </a:extLst>
            </p:cNvPr>
            <p:cNvSpPr>
              <a:spLocks noChangeArrowheads="1"/>
            </p:cNvSpPr>
            <p:nvPr/>
          </p:nvSpPr>
          <p:spPr bwMode="auto">
            <a:xfrm>
              <a:off x="7342852" y="3500480"/>
              <a:ext cx="113691" cy="8092"/>
            </a:xfrm>
            <a:prstGeom prst="rect">
              <a:avLst/>
            </a:prstGeom>
            <a:solidFill>
              <a:srgbClr val="8FC4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5" name="Rectangle 263">
              <a:extLst>
                <a:ext uri="{FF2B5EF4-FFF2-40B4-BE49-F238E27FC236}">
                  <a16:creationId xmlns:a16="http://schemas.microsoft.com/office/drawing/2014/main" id="{29810933-DB3D-07E4-2CC6-0F3FE9CD90E8}"/>
                </a:ext>
              </a:extLst>
            </p:cNvPr>
            <p:cNvSpPr>
              <a:spLocks noChangeArrowheads="1"/>
            </p:cNvSpPr>
            <p:nvPr/>
          </p:nvSpPr>
          <p:spPr bwMode="auto">
            <a:xfrm>
              <a:off x="7342852" y="3524757"/>
              <a:ext cx="423756" cy="9442"/>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6" name="Rectangle 264">
              <a:extLst>
                <a:ext uri="{FF2B5EF4-FFF2-40B4-BE49-F238E27FC236}">
                  <a16:creationId xmlns:a16="http://schemas.microsoft.com/office/drawing/2014/main" id="{5AE5B2AF-9867-2AF4-7E1B-45F61846D763}"/>
                </a:ext>
              </a:extLst>
            </p:cNvPr>
            <p:cNvSpPr>
              <a:spLocks noChangeArrowheads="1"/>
            </p:cNvSpPr>
            <p:nvPr/>
          </p:nvSpPr>
          <p:spPr bwMode="auto">
            <a:xfrm>
              <a:off x="7342852" y="3550383"/>
              <a:ext cx="423756" cy="9442"/>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7" name="Rectangle 265">
              <a:extLst>
                <a:ext uri="{FF2B5EF4-FFF2-40B4-BE49-F238E27FC236}">
                  <a16:creationId xmlns:a16="http://schemas.microsoft.com/office/drawing/2014/main" id="{829E2D73-5C94-695E-D73C-7D9DE9B8C3C4}"/>
                </a:ext>
              </a:extLst>
            </p:cNvPr>
            <p:cNvSpPr>
              <a:spLocks noChangeArrowheads="1"/>
            </p:cNvSpPr>
            <p:nvPr/>
          </p:nvSpPr>
          <p:spPr bwMode="auto">
            <a:xfrm>
              <a:off x="7701642" y="3315704"/>
              <a:ext cx="66443" cy="8092"/>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8" name="Rectangle 266">
              <a:extLst>
                <a:ext uri="{FF2B5EF4-FFF2-40B4-BE49-F238E27FC236}">
                  <a16:creationId xmlns:a16="http://schemas.microsoft.com/office/drawing/2014/main" id="{99A41246-B1AC-C1C3-6123-106F3BAF61EF}"/>
                </a:ext>
              </a:extLst>
            </p:cNvPr>
            <p:cNvSpPr>
              <a:spLocks noChangeArrowheads="1"/>
            </p:cNvSpPr>
            <p:nvPr/>
          </p:nvSpPr>
          <p:spPr bwMode="auto">
            <a:xfrm>
              <a:off x="7617481" y="3315704"/>
              <a:ext cx="67919" cy="8092"/>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9" name="Rectangle 267">
              <a:extLst>
                <a:ext uri="{FF2B5EF4-FFF2-40B4-BE49-F238E27FC236}">
                  <a16:creationId xmlns:a16="http://schemas.microsoft.com/office/drawing/2014/main" id="{0428A5DC-0B07-8E34-6175-6E693CBE3FF1}"/>
                </a:ext>
              </a:extLst>
            </p:cNvPr>
            <p:cNvSpPr>
              <a:spLocks noChangeArrowheads="1"/>
            </p:cNvSpPr>
            <p:nvPr/>
          </p:nvSpPr>
          <p:spPr bwMode="auto">
            <a:xfrm>
              <a:off x="7531844" y="3315704"/>
              <a:ext cx="67919" cy="8092"/>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0" name="Rectangle 268">
              <a:extLst>
                <a:ext uri="{FF2B5EF4-FFF2-40B4-BE49-F238E27FC236}">
                  <a16:creationId xmlns:a16="http://schemas.microsoft.com/office/drawing/2014/main" id="{6EFFDFC4-EA00-99E4-0118-F94332D269FD}"/>
                </a:ext>
              </a:extLst>
            </p:cNvPr>
            <p:cNvSpPr>
              <a:spLocks noChangeArrowheads="1"/>
            </p:cNvSpPr>
            <p:nvPr/>
          </p:nvSpPr>
          <p:spPr bwMode="auto">
            <a:xfrm>
              <a:off x="7342852" y="3357514"/>
              <a:ext cx="425232" cy="115991"/>
            </a:xfrm>
            <a:prstGeom prst="rect">
              <a:avLst/>
            </a:prstGeom>
            <a:solidFill>
              <a:srgbClr val="15B0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1" name="Freeform 269">
              <a:extLst>
                <a:ext uri="{FF2B5EF4-FFF2-40B4-BE49-F238E27FC236}">
                  <a16:creationId xmlns:a16="http://schemas.microsoft.com/office/drawing/2014/main" id="{4E57AD99-34DA-8BC2-594C-CD0D698CB96A}"/>
                </a:ext>
              </a:extLst>
            </p:cNvPr>
            <p:cNvSpPr>
              <a:spLocks/>
            </p:cNvSpPr>
            <p:nvPr/>
          </p:nvSpPr>
          <p:spPr bwMode="auto">
            <a:xfrm>
              <a:off x="7415200" y="3357514"/>
              <a:ext cx="352884" cy="115991"/>
            </a:xfrm>
            <a:custGeom>
              <a:avLst/>
              <a:gdLst>
                <a:gd name="T0" fmla="*/ 0 w 239"/>
                <a:gd name="T1" fmla="*/ 86 h 86"/>
                <a:gd name="T2" fmla="*/ 239 w 239"/>
                <a:gd name="T3" fmla="*/ 86 h 86"/>
                <a:gd name="T4" fmla="*/ 239 w 239"/>
                <a:gd name="T5" fmla="*/ 0 h 86"/>
                <a:gd name="T6" fmla="*/ 142 w 239"/>
                <a:gd name="T7" fmla="*/ 0 h 86"/>
                <a:gd name="T8" fmla="*/ 0 w 239"/>
                <a:gd name="T9" fmla="*/ 86 h 86"/>
              </a:gdLst>
              <a:ahLst/>
              <a:cxnLst>
                <a:cxn ang="0">
                  <a:pos x="T0" y="T1"/>
                </a:cxn>
                <a:cxn ang="0">
                  <a:pos x="T2" y="T3"/>
                </a:cxn>
                <a:cxn ang="0">
                  <a:pos x="T4" y="T5"/>
                </a:cxn>
                <a:cxn ang="0">
                  <a:pos x="T6" y="T7"/>
                </a:cxn>
                <a:cxn ang="0">
                  <a:pos x="T8" y="T9"/>
                </a:cxn>
              </a:cxnLst>
              <a:rect l="0" t="0" r="r" b="b"/>
              <a:pathLst>
                <a:path w="239" h="86">
                  <a:moveTo>
                    <a:pt x="0" y="86"/>
                  </a:moveTo>
                  <a:lnTo>
                    <a:pt x="239" y="86"/>
                  </a:lnTo>
                  <a:lnTo>
                    <a:pt x="239" y="0"/>
                  </a:lnTo>
                  <a:lnTo>
                    <a:pt x="142" y="0"/>
                  </a:lnTo>
                  <a:lnTo>
                    <a:pt x="0" y="86"/>
                  </a:lnTo>
                  <a:close/>
                </a:path>
              </a:pathLst>
            </a:custGeom>
            <a:solidFill>
              <a:srgbClr val="1695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2" name="Freeform 270">
              <a:extLst>
                <a:ext uri="{FF2B5EF4-FFF2-40B4-BE49-F238E27FC236}">
                  <a16:creationId xmlns:a16="http://schemas.microsoft.com/office/drawing/2014/main" id="{05A6DA3E-DC83-90D5-ABFA-D770D2646822}"/>
                </a:ext>
              </a:extLst>
            </p:cNvPr>
            <p:cNvSpPr>
              <a:spLocks noEditPoints="1"/>
            </p:cNvSpPr>
            <p:nvPr/>
          </p:nvSpPr>
          <p:spPr bwMode="auto">
            <a:xfrm>
              <a:off x="7531844" y="3344027"/>
              <a:ext cx="367649" cy="334485"/>
            </a:xfrm>
            <a:custGeom>
              <a:avLst/>
              <a:gdLst>
                <a:gd name="T0" fmla="*/ 223 w 249"/>
                <a:gd name="T1" fmla="*/ 88 h 248"/>
                <a:gd name="T2" fmla="*/ 238 w 249"/>
                <a:gd name="T3" fmla="*/ 76 h 248"/>
                <a:gd name="T4" fmla="*/ 224 w 249"/>
                <a:gd name="T5" fmla="*/ 49 h 248"/>
                <a:gd name="T6" fmla="*/ 216 w 249"/>
                <a:gd name="T7" fmla="*/ 47 h 248"/>
                <a:gd name="T8" fmla="*/ 199 w 249"/>
                <a:gd name="T9" fmla="*/ 31 h 248"/>
                <a:gd name="T10" fmla="*/ 199 w 249"/>
                <a:gd name="T11" fmla="*/ 23 h 248"/>
                <a:gd name="T12" fmla="*/ 171 w 249"/>
                <a:gd name="T13" fmla="*/ 9 h 248"/>
                <a:gd name="T14" fmla="*/ 158 w 249"/>
                <a:gd name="T15" fmla="*/ 25 h 248"/>
                <a:gd name="T16" fmla="*/ 142 w 249"/>
                <a:gd name="T17" fmla="*/ 6 h 248"/>
                <a:gd name="T18" fmla="*/ 136 w 249"/>
                <a:gd name="T19" fmla="*/ 0 h 248"/>
                <a:gd name="T20" fmla="*/ 106 w 249"/>
                <a:gd name="T21" fmla="*/ 1 h 248"/>
                <a:gd name="T22" fmla="*/ 104 w 249"/>
                <a:gd name="T23" fmla="*/ 21 h 248"/>
                <a:gd name="T24" fmla="*/ 79 w 249"/>
                <a:gd name="T25" fmla="*/ 11 h 248"/>
                <a:gd name="T26" fmla="*/ 49 w 249"/>
                <a:gd name="T27" fmla="*/ 23 h 248"/>
                <a:gd name="T28" fmla="*/ 47 w 249"/>
                <a:gd name="T29" fmla="*/ 30 h 248"/>
                <a:gd name="T30" fmla="*/ 43 w 249"/>
                <a:gd name="T31" fmla="*/ 57 h 248"/>
                <a:gd name="T32" fmla="*/ 26 w 249"/>
                <a:gd name="T33" fmla="*/ 49 h 248"/>
                <a:gd name="T34" fmla="*/ 10 w 249"/>
                <a:gd name="T35" fmla="*/ 74 h 248"/>
                <a:gd name="T36" fmla="*/ 11 w 249"/>
                <a:gd name="T37" fmla="*/ 83 h 248"/>
                <a:gd name="T38" fmla="*/ 6 w 249"/>
                <a:gd name="T39" fmla="*/ 106 h 248"/>
                <a:gd name="T40" fmla="*/ 0 w 249"/>
                <a:gd name="T41" fmla="*/ 110 h 248"/>
                <a:gd name="T42" fmla="*/ 0 w 249"/>
                <a:gd name="T43" fmla="*/ 141 h 248"/>
                <a:gd name="T44" fmla="*/ 21 w 249"/>
                <a:gd name="T45" fmla="*/ 144 h 248"/>
                <a:gd name="T46" fmla="*/ 14 w 249"/>
                <a:gd name="T47" fmla="*/ 168 h 248"/>
                <a:gd name="T48" fmla="*/ 11 w 249"/>
                <a:gd name="T49" fmla="*/ 176 h 248"/>
                <a:gd name="T50" fmla="*/ 27 w 249"/>
                <a:gd name="T51" fmla="*/ 201 h 248"/>
                <a:gd name="T52" fmla="*/ 46 w 249"/>
                <a:gd name="T53" fmla="*/ 194 h 248"/>
                <a:gd name="T54" fmla="*/ 49 w 249"/>
                <a:gd name="T55" fmla="*/ 220 h 248"/>
                <a:gd name="T56" fmla="*/ 74 w 249"/>
                <a:gd name="T57" fmla="*/ 239 h 248"/>
                <a:gd name="T58" fmla="*/ 81 w 249"/>
                <a:gd name="T59" fmla="*/ 238 h 248"/>
                <a:gd name="T60" fmla="*/ 106 w 249"/>
                <a:gd name="T61" fmla="*/ 227 h 248"/>
                <a:gd name="T62" fmla="*/ 108 w 249"/>
                <a:gd name="T63" fmla="*/ 247 h 248"/>
                <a:gd name="T64" fmla="*/ 138 w 249"/>
                <a:gd name="T65" fmla="*/ 248 h 248"/>
                <a:gd name="T66" fmla="*/ 145 w 249"/>
                <a:gd name="T67" fmla="*/ 242 h 248"/>
                <a:gd name="T68" fmla="*/ 168 w 249"/>
                <a:gd name="T69" fmla="*/ 236 h 248"/>
                <a:gd name="T70" fmla="*/ 174 w 249"/>
                <a:gd name="T71" fmla="*/ 238 h 248"/>
                <a:gd name="T72" fmla="*/ 201 w 249"/>
                <a:gd name="T73" fmla="*/ 223 h 248"/>
                <a:gd name="T74" fmla="*/ 194 w 249"/>
                <a:gd name="T75" fmla="*/ 202 h 248"/>
                <a:gd name="T76" fmla="*/ 218 w 249"/>
                <a:gd name="T77" fmla="*/ 199 h 248"/>
                <a:gd name="T78" fmla="*/ 227 w 249"/>
                <a:gd name="T79" fmla="*/ 196 h 248"/>
                <a:gd name="T80" fmla="*/ 240 w 249"/>
                <a:gd name="T81" fmla="*/ 169 h 248"/>
                <a:gd name="T82" fmla="*/ 223 w 249"/>
                <a:gd name="T83" fmla="*/ 158 h 248"/>
                <a:gd name="T84" fmla="*/ 245 w 249"/>
                <a:gd name="T85" fmla="*/ 142 h 248"/>
                <a:gd name="T86" fmla="*/ 249 w 249"/>
                <a:gd name="T87" fmla="*/ 110 h 248"/>
                <a:gd name="T88" fmla="*/ 245 w 249"/>
                <a:gd name="T89" fmla="*/ 104 h 248"/>
                <a:gd name="T90" fmla="*/ 125 w 249"/>
                <a:gd name="T91" fmla="*/ 175 h 248"/>
                <a:gd name="T92" fmla="*/ 88 w 249"/>
                <a:gd name="T93" fmla="*/ 160 h 248"/>
                <a:gd name="T94" fmla="*/ 73 w 249"/>
                <a:gd name="T95" fmla="*/ 123 h 248"/>
                <a:gd name="T96" fmla="*/ 81 w 249"/>
                <a:gd name="T97" fmla="*/ 95 h 248"/>
                <a:gd name="T98" fmla="*/ 113 w 249"/>
                <a:gd name="T99" fmla="*/ 74 h 248"/>
                <a:gd name="T100" fmla="*/ 144 w 249"/>
                <a:gd name="T101" fmla="*/ 76 h 248"/>
                <a:gd name="T102" fmla="*/ 171 w 249"/>
                <a:gd name="T103" fmla="*/ 104 h 248"/>
                <a:gd name="T104" fmla="*/ 174 w 249"/>
                <a:gd name="T105" fmla="*/ 134 h 248"/>
                <a:gd name="T106" fmla="*/ 153 w 249"/>
                <a:gd name="T107" fmla="*/ 167 h 248"/>
                <a:gd name="T108" fmla="*/ 125 w 249"/>
                <a:gd name="T109" fmla="*/ 17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9" h="248">
                  <a:moveTo>
                    <a:pt x="243" y="104"/>
                  </a:moveTo>
                  <a:lnTo>
                    <a:pt x="227" y="104"/>
                  </a:lnTo>
                  <a:lnTo>
                    <a:pt x="227" y="104"/>
                  </a:lnTo>
                  <a:lnTo>
                    <a:pt x="223" y="88"/>
                  </a:lnTo>
                  <a:lnTo>
                    <a:pt x="236" y="80"/>
                  </a:lnTo>
                  <a:lnTo>
                    <a:pt x="236" y="80"/>
                  </a:lnTo>
                  <a:lnTo>
                    <a:pt x="237" y="79"/>
                  </a:lnTo>
                  <a:lnTo>
                    <a:pt x="238" y="76"/>
                  </a:lnTo>
                  <a:lnTo>
                    <a:pt x="238" y="74"/>
                  </a:lnTo>
                  <a:lnTo>
                    <a:pt x="238" y="72"/>
                  </a:lnTo>
                  <a:lnTo>
                    <a:pt x="224" y="49"/>
                  </a:lnTo>
                  <a:lnTo>
                    <a:pt x="224" y="49"/>
                  </a:lnTo>
                  <a:lnTo>
                    <a:pt x="223" y="47"/>
                  </a:lnTo>
                  <a:lnTo>
                    <a:pt x="221" y="47"/>
                  </a:lnTo>
                  <a:lnTo>
                    <a:pt x="218" y="46"/>
                  </a:lnTo>
                  <a:lnTo>
                    <a:pt x="216" y="47"/>
                  </a:lnTo>
                  <a:lnTo>
                    <a:pt x="203" y="54"/>
                  </a:lnTo>
                  <a:lnTo>
                    <a:pt x="203" y="54"/>
                  </a:lnTo>
                  <a:lnTo>
                    <a:pt x="191" y="43"/>
                  </a:lnTo>
                  <a:lnTo>
                    <a:pt x="199" y="31"/>
                  </a:lnTo>
                  <a:lnTo>
                    <a:pt x="199" y="31"/>
                  </a:lnTo>
                  <a:lnTo>
                    <a:pt x="200" y="28"/>
                  </a:lnTo>
                  <a:lnTo>
                    <a:pt x="200" y="26"/>
                  </a:lnTo>
                  <a:lnTo>
                    <a:pt x="199" y="23"/>
                  </a:lnTo>
                  <a:lnTo>
                    <a:pt x="196" y="22"/>
                  </a:lnTo>
                  <a:lnTo>
                    <a:pt x="174" y="9"/>
                  </a:lnTo>
                  <a:lnTo>
                    <a:pt x="174" y="9"/>
                  </a:lnTo>
                  <a:lnTo>
                    <a:pt x="171" y="9"/>
                  </a:lnTo>
                  <a:lnTo>
                    <a:pt x="169" y="9"/>
                  </a:lnTo>
                  <a:lnTo>
                    <a:pt x="168" y="10"/>
                  </a:lnTo>
                  <a:lnTo>
                    <a:pt x="165" y="11"/>
                  </a:lnTo>
                  <a:lnTo>
                    <a:pt x="158" y="25"/>
                  </a:lnTo>
                  <a:lnTo>
                    <a:pt x="158" y="25"/>
                  </a:lnTo>
                  <a:lnTo>
                    <a:pt x="142" y="21"/>
                  </a:lnTo>
                  <a:lnTo>
                    <a:pt x="142" y="6"/>
                  </a:lnTo>
                  <a:lnTo>
                    <a:pt x="142" y="6"/>
                  </a:lnTo>
                  <a:lnTo>
                    <a:pt x="142" y="4"/>
                  </a:lnTo>
                  <a:lnTo>
                    <a:pt x="141" y="1"/>
                  </a:lnTo>
                  <a:lnTo>
                    <a:pt x="138" y="0"/>
                  </a:lnTo>
                  <a:lnTo>
                    <a:pt x="136" y="0"/>
                  </a:lnTo>
                  <a:lnTo>
                    <a:pt x="110" y="0"/>
                  </a:lnTo>
                  <a:lnTo>
                    <a:pt x="110" y="0"/>
                  </a:lnTo>
                  <a:lnTo>
                    <a:pt x="107" y="0"/>
                  </a:lnTo>
                  <a:lnTo>
                    <a:pt x="106" y="1"/>
                  </a:lnTo>
                  <a:lnTo>
                    <a:pt x="104" y="4"/>
                  </a:lnTo>
                  <a:lnTo>
                    <a:pt x="104" y="6"/>
                  </a:lnTo>
                  <a:lnTo>
                    <a:pt x="104" y="21"/>
                  </a:lnTo>
                  <a:lnTo>
                    <a:pt x="104" y="21"/>
                  </a:lnTo>
                  <a:lnTo>
                    <a:pt x="88" y="26"/>
                  </a:lnTo>
                  <a:lnTo>
                    <a:pt x="80" y="12"/>
                  </a:lnTo>
                  <a:lnTo>
                    <a:pt x="80" y="12"/>
                  </a:lnTo>
                  <a:lnTo>
                    <a:pt x="79" y="11"/>
                  </a:lnTo>
                  <a:lnTo>
                    <a:pt x="76" y="10"/>
                  </a:lnTo>
                  <a:lnTo>
                    <a:pt x="74" y="10"/>
                  </a:lnTo>
                  <a:lnTo>
                    <a:pt x="71" y="10"/>
                  </a:lnTo>
                  <a:lnTo>
                    <a:pt x="49" y="23"/>
                  </a:lnTo>
                  <a:lnTo>
                    <a:pt x="49" y="23"/>
                  </a:lnTo>
                  <a:lnTo>
                    <a:pt x="48" y="25"/>
                  </a:lnTo>
                  <a:lnTo>
                    <a:pt x="47" y="27"/>
                  </a:lnTo>
                  <a:lnTo>
                    <a:pt x="47" y="30"/>
                  </a:lnTo>
                  <a:lnTo>
                    <a:pt x="47" y="32"/>
                  </a:lnTo>
                  <a:lnTo>
                    <a:pt x="55" y="46"/>
                  </a:lnTo>
                  <a:lnTo>
                    <a:pt x="55" y="46"/>
                  </a:lnTo>
                  <a:lnTo>
                    <a:pt x="43" y="57"/>
                  </a:lnTo>
                  <a:lnTo>
                    <a:pt x="31" y="49"/>
                  </a:lnTo>
                  <a:lnTo>
                    <a:pt x="31" y="49"/>
                  </a:lnTo>
                  <a:lnTo>
                    <a:pt x="28" y="48"/>
                  </a:lnTo>
                  <a:lnTo>
                    <a:pt x="26" y="49"/>
                  </a:lnTo>
                  <a:lnTo>
                    <a:pt x="23" y="49"/>
                  </a:lnTo>
                  <a:lnTo>
                    <a:pt x="22" y="52"/>
                  </a:lnTo>
                  <a:lnTo>
                    <a:pt x="10" y="74"/>
                  </a:lnTo>
                  <a:lnTo>
                    <a:pt x="10" y="74"/>
                  </a:lnTo>
                  <a:lnTo>
                    <a:pt x="9" y="76"/>
                  </a:lnTo>
                  <a:lnTo>
                    <a:pt x="9" y="79"/>
                  </a:lnTo>
                  <a:lnTo>
                    <a:pt x="10" y="81"/>
                  </a:lnTo>
                  <a:lnTo>
                    <a:pt x="11" y="83"/>
                  </a:lnTo>
                  <a:lnTo>
                    <a:pt x="25" y="90"/>
                  </a:lnTo>
                  <a:lnTo>
                    <a:pt x="25" y="90"/>
                  </a:lnTo>
                  <a:lnTo>
                    <a:pt x="21" y="106"/>
                  </a:lnTo>
                  <a:lnTo>
                    <a:pt x="6" y="106"/>
                  </a:lnTo>
                  <a:lnTo>
                    <a:pt x="6" y="106"/>
                  </a:lnTo>
                  <a:lnTo>
                    <a:pt x="4" y="106"/>
                  </a:lnTo>
                  <a:lnTo>
                    <a:pt x="1" y="109"/>
                  </a:lnTo>
                  <a:lnTo>
                    <a:pt x="0" y="110"/>
                  </a:lnTo>
                  <a:lnTo>
                    <a:pt x="0" y="112"/>
                  </a:lnTo>
                  <a:lnTo>
                    <a:pt x="0" y="138"/>
                  </a:lnTo>
                  <a:lnTo>
                    <a:pt x="0" y="138"/>
                  </a:lnTo>
                  <a:lnTo>
                    <a:pt x="0" y="141"/>
                  </a:lnTo>
                  <a:lnTo>
                    <a:pt x="1" y="143"/>
                  </a:lnTo>
                  <a:lnTo>
                    <a:pt x="4" y="144"/>
                  </a:lnTo>
                  <a:lnTo>
                    <a:pt x="6" y="144"/>
                  </a:lnTo>
                  <a:lnTo>
                    <a:pt x="21" y="144"/>
                  </a:lnTo>
                  <a:lnTo>
                    <a:pt x="21" y="144"/>
                  </a:lnTo>
                  <a:lnTo>
                    <a:pt x="26" y="160"/>
                  </a:lnTo>
                  <a:lnTo>
                    <a:pt x="14" y="168"/>
                  </a:lnTo>
                  <a:lnTo>
                    <a:pt x="14" y="168"/>
                  </a:lnTo>
                  <a:lnTo>
                    <a:pt x="11" y="169"/>
                  </a:lnTo>
                  <a:lnTo>
                    <a:pt x="10" y="171"/>
                  </a:lnTo>
                  <a:lnTo>
                    <a:pt x="10" y="174"/>
                  </a:lnTo>
                  <a:lnTo>
                    <a:pt x="11" y="176"/>
                  </a:lnTo>
                  <a:lnTo>
                    <a:pt x="23" y="199"/>
                  </a:lnTo>
                  <a:lnTo>
                    <a:pt x="23" y="199"/>
                  </a:lnTo>
                  <a:lnTo>
                    <a:pt x="25" y="201"/>
                  </a:lnTo>
                  <a:lnTo>
                    <a:pt x="27" y="201"/>
                  </a:lnTo>
                  <a:lnTo>
                    <a:pt x="30" y="202"/>
                  </a:lnTo>
                  <a:lnTo>
                    <a:pt x="32" y="201"/>
                  </a:lnTo>
                  <a:lnTo>
                    <a:pt x="46" y="194"/>
                  </a:lnTo>
                  <a:lnTo>
                    <a:pt x="46" y="194"/>
                  </a:lnTo>
                  <a:lnTo>
                    <a:pt x="57" y="205"/>
                  </a:lnTo>
                  <a:lnTo>
                    <a:pt x="49" y="217"/>
                  </a:lnTo>
                  <a:lnTo>
                    <a:pt x="49" y="217"/>
                  </a:lnTo>
                  <a:lnTo>
                    <a:pt x="49" y="220"/>
                  </a:lnTo>
                  <a:lnTo>
                    <a:pt x="49" y="222"/>
                  </a:lnTo>
                  <a:lnTo>
                    <a:pt x="51" y="224"/>
                  </a:lnTo>
                  <a:lnTo>
                    <a:pt x="52" y="226"/>
                  </a:lnTo>
                  <a:lnTo>
                    <a:pt x="74" y="239"/>
                  </a:lnTo>
                  <a:lnTo>
                    <a:pt x="74" y="239"/>
                  </a:lnTo>
                  <a:lnTo>
                    <a:pt x="76" y="239"/>
                  </a:lnTo>
                  <a:lnTo>
                    <a:pt x="79" y="239"/>
                  </a:lnTo>
                  <a:lnTo>
                    <a:pt x="81" y="238"/>
                  </a:lnTo>
                  <a:lnTo>
                    <a:pt x="83" y="237"/>
                  </a:lnTo>
                  <a:lnTo>
                    <a:pt x="91" y="223"/>
                  </a:lnTo>
                  <a:lnTo>
                    <a:pt x="91" y="223"/>
                  </a:lnTo>
                  <a:lnTo>
                    <a:pt x="106" y="227"/>
                  </a:lnTo>
                  <a:lnTo>
                    <a:pt x="106" y="242"/>
                  </a:lnTo>
                  <a:lnTo>
                    <a:pt x="106" y="242"/>
                  </a:lnTo>
                  <a:lnTo>
                    <a:pt x="107" y="244"/>
                  </a:lnTo>
                  <a:lnTo>
                    <a:pt x="108" y="247"/>
                  </a:lnTo>
                  <a:lnTo>
                    <a:pt x="111" y="248"/>
                  </a:lnTo>
                  <a:lnTo>
                    <a:pt x="113" y="248"/>
                  </a:lnTo>
                  <a:lnTo>
                    <a:pt x="138" y="248"/>
                  </a:lnTo>
                  <a:lnTo>
                    <a:pt x="138" y="248"/>
                  </a:lnTo>
                  <a:lnTo>
                    <a:pt x="141" y="248"/>
                  </a:lnTo>
                  <a:lnTo>
                    <a:pt x="143" y="247"/>
                  </a:lnTo>
                  <a:lnTo>
                    <a:pt x="144" y="244"/>
                  </a:lnTo>
                  <a:lnTo>
                    <a:pt x="145" y="242"/>
                  </a:lnTo>
                  <a:lnTo>
                    <a:pt x="145" y="227"/>
                  </a:lnTo>
                  <a:lnTo>
                    <a:pt x="145" y="227"/>
                  </a:lnTo>
                  <a:lnTo>
                    <a:pt x="160" y="222"/>
                  </a:lnTo>
                  <a:lnTo>
                    <a:pt x="168" y="236"/>
                  </a:lnTo>
                  <a:lnTo>
                    <a:pt x="168" y="236"/>
                  </a:lnTo>
                  <a:lnTo>
                    <a:pt x="170" y="237"/>
                  </a:lnTo>
                  <a:lnTo>
                    <a:pt x="171" y="238"/>
                  </a:lnTo>
                  <a:lnTo>
                    <a:pt x="174" y="238"/>
                  </a:lnTo>
                  <a:lnTo>
                    <a:pt x="176" y="238"/>
                  </a:lnTo>
                  <a:lnTo>
                    <a:pt x="199" y="224"/>
                  </a:lnTo>
                  <a:lnTo>
                    <a:pt x="199" y="224"/>
                  </a:lnTo>
                  <a:lnTo>
                    <a:pt x="201" y="223"/>
                  </a:lnTo>
                  <a:lnTo>
                    <a:pt x="202" y="221"/>
                  </a:lnTo>
                  <a:lnTo>
                    <a:pt x="202" y="218"/>
                  </a:lnTo>
                  <a:lnTo>
                    <a:pt x="201" y="216"/>
                  </a:lnTo>
                  <a:lnTo>
                    <a:pt x="194" y="202"/>
                  </a:lnTo>
                  <a:lnTo>
                    <a:pt x="194" y="202"/>
                  </a:lnTo>
                  <a:lnTo>
                    <a:pt x="205" y="191"/>
                  </a:lnTo>
                  <a:lnTo>
                    <a:pt x="218" y="199"/>
                  </a:lnTo>
                  <a:lnTo>
                    <a:pt x="218" y="199"/>
                  </a:lnTo>
                  <a:lnTo>
                    <a:pt x="219" y="200"/>
                  </a:lnTo>
                  <a:lnTo>
                    <a:pt x="222" y="199"/>
                  </a:lnTo>
                  <a:lnTo>
                    <a:pt x="224" y="199"/>
                  </a:lnTo>
                  <a:lnTo>
                    <a:pt x="227" y="196"/>
                  </a:lnTo>
                  <a:lnTo>
                    <a:pt x="239" y="174"/>
                  </a:lnTo>
                  <a:lnTo>
                    <a:pt x="239" y="174"/>
                  </a:lnTo>
                  <a:lnTo>
                    <a:pt x="240" y="171"/>
                  </a:lnTo>
                  <a:lnTo>
                    <a:pt x="240" y="169"/>
                  </a:lnTo>
                  <a:lnTo>
                    <a:pt x="239" y="167"/>
                  </a:lnTo>
                  <a:lnTo>
                    <a:pt x="237" y="165"/>
                  </a:lnTo>
                  <a:lnTo>
                    <a:pt x="223" y="158"/>
                  </a:lnTo>
                  <a:lnTo>
                    <a:pt x="223" y="158"/>
                  </a:lnTo>
                  <a:lnTo>
                    <a:pt x="228" y="142"/>
                  </a:lnTo>
                  <a:lnTo>
                    <a:pt x="243" y="142"/>
                  </a:lnTo>
                  <a:lnTo>
                    <a:pt x="243" y="142"/>
                  </a:lnTo>
                  <a:lnTo>
                    <a:pt x="245" y="142"/>
                  </a:lnTo>
                  <a:lnTo>
                    <a:pt x="247" y="139"/>
                  </a:lnTo>
                  <a:lnTo>
                    <a:pt x="248" y="138"/>
                  </a:lnTo>
                  <a:lnTo>
                    <a:pt x="249" y="136"/>
                  </a:lnTo>
                  <a:lnTo>
                    <a:pt x="249" y="110"/>
                  </a:lnTo>
                  <a:lnTo>
                    <a:pt x="249" y="110"/>
                  </a:lnTo>
                  <a:lnTo>
                    <a:pt x="248" y="107"/>
                  </a:lnTo>
                  <a:lnTo>
                    <a:pt x="247" y="105"/>
                  </a:lnTo>
                  <a:lnTo>
                    <a:pt x="245" y="104"/>
                  </a:lnTo>
                  <a:lnTo>
                    <a:pt x="243" y="104"/>
                  </a:lnTo>
                  <a:lnTo>
                    <a:pt x="243" y="104"/>
                  </a:lnTo>
                  <a:close/>
                  <a:moveTo>
                    <a:pt x="125" y="175"/>
                  </a:moveTo>
                  <a:lnTo>
                    <a:pt x="125" y="175"/>
                  </a:lnTo>
                  <a:lnTo>
                    <a:pt x="113" y="174"/>
                  </a:lnTo>
                  <a:lnTo>
                    <a:pt x="105" y="171"/>
                  </a:lnTo>
                  <a:lnTo>
                    <a:pt x="96" y="167"/>
                  </a:lnTo>
                  <a:lnTo>
                    <a:pt x="88" y="160"/>
                  </a:lnTo>
                  <a:lnTo>
                    <a:pt x="81" y="153"/>
                  </a:lnTo>
                  <a:lnTo>
                    <a:pt x="78" y="144"/>
                  </a:lnTo>
                  <a:lnTo>
                    <a:pt x="74" y="134"/>
                  </a:lnTo>
                  <a:lnTo>
                    <a:pt x="73" y="123"/>
                  </a:lnTo>
                  <a:lnTo>
                    <a:pt x="73" y="123"/>
                  </a:lnTo>
                  <a:lnTo>
                    <a:pt x="74" y="113"/>
                  </a:lnTo>
                  <a:lnTo>
                    <a:pt x="78" y="104"/>
                  </a:lnTo>
                  <a:lnTo>
                    <a:pt x="81" y="95"/>
                  </a:lnTo>
                  <a:lnTo>
                    <a:pt x="88" y="88"/>
                  </a:lnTo>
                  <a:lnTo>
                    <a:pt x="96" y="81"/>
                  </a:lnTo>
                  <a:lnTo>
                    <a:pt x="105" y="76"/>
                  </a:lnTo>
                  <a:lnTo>
                    <a:pt x="113" y="74"/>
                  </a:lnTo>
                  <a:lnTo>
                    <a:pt x="125" y="73"/>
                  </a:lnTo>
                  <a:lnTo>
                    <a:pt x="125" y="73"/>
                  </a:lnTo>
                  <a:lnTo>
                    <a:pt x="134" y="74"/>
                  </a:lnTo>
                  <a:lnTo>
                    <a:pt x="144" y="76"/>
                  </a:lnTo>
                  <a:lnTo>
                    <a:pt x="153" y="81"/>
                  </a:lnTo>
                  <a:lnTo>
                    <a:pt x="160" y="88"/>
                  </a:lnTo>
                  <a:lnTo>
                    <a:pt x="166" y="95"/>
                  </a:lnTo>
                  <a:lnTo>
                    <a:pt x="171" y="104"/>
                  </a:lnTo>
                  <a:lnTo>
                    <a:pt x="174" y="113"/>
                  </a:lnTo>
                  <a:lnTo>
                    <a:pt x="175" y="123"/>
                  </a:lnTo>
                  <a:lnTo>
                    <a:pt x="175" y="123"/>
                  </a:lnTo>
                  <a:lnTo>
                    <a:pt x="174" y="134"/>
                  </a:lnTo>
                  <a:lnTo>
                    <a:pt x="171" y="144"/>
                  </a:lnTo>
                  <a:lnTo>
                    <a:pt x="166" y="153"/>
                  </a:lnTo>
                  <a:lnTo>
                    <a:pt x="160" y="160"/>
                  </a:lnTo>
                  <a:lnTo>
                    <a:pt x="153" y="167"/>
                  </a:lnTo>
                  <a:lnTo>
                    <a:pt x="144" y="171"/>
                  </a:lnTo>
                  <a:lnTo>
                    <a:pt x="134" y="174"/>
                  </a:lnTo>
                  <a:lnTo>
                    <a:pt x="125" y="175"/>
                  </a:lnTo>
                  <a:lnTo>
                    <a:pt x="125" y="175"/>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3" name="Freeform 271">
              <a:extLst>
                <a:ext uri="{FF2B5EF4-FFF2-40B4-BE49-F238E27FC236}">
                  <a16:creationId xmlns:a16="http://schemas.microsoft.com/office/drawing/2014/main" id="{B71EB9B3-279F-CE36-DA0A-BC391A2E9EE9}"/>
                </a:ext>
              </a:extLst>
            </p:cNvPr>
            <p:cNvSpPr>
              <a:spLocks/>
            </p:cNvSpPr>
            <p:nvPr/>
          </p:nvSpPr>
          <p:spPr bwMode="auto">
            <a:xfrm>
              <a:off x="7531844" y="3344027"/>
              <a:ext cx="180133" cy="334485"/>
            </a:xfrm>
            <a:custGeom>
              <a:avLst/>
              <a:gdLst>
                <a:gd name="T0" fmla="*/ 122 w 122"/>
                <a:gd name="T1" fmla="*/ 190 h 248"/>
                <a:gd name="T2" fmla="*/ 97 w 122"/>
                <a:gd name="T3" fmla="*/ 185 h 248"/>
                <a:gd name="T4" fmla="*/ 76 w 122"/>
                <a:gd name="T5" fmla="*/ 170 h 248"/>
                <a:gd name="T6" fmla="*/ 63 w 122"/>
                <a:gd name="T7" fmla="*/ 149 h 248"/>
                <a:gd name="T8" fmla="*/ 58 w 122"/>
                <a:gd name="T9" fmla="*/ 123 h 248"/>
                <a:gd name="T10" fmla="*/ 59 w 122"/>
                <a:gd name="T11" fmla="*/ 111 h 248"/>
                <a:gd name="T12" fmla="*/ 69 w 122"/>
                <a:gd name="T13" fmla="*/ 88 h 248"/>
                <a:gd name="T14" fmla="*/ 86 w 122"/>
                <a:gd name="T15" fmla="*/ 69 h 248"/>
                <a:gd name="T16" fmla="*/ 108 w 122"/>
                <a:gd name="T17" fmla="*/ 59 h 248"/>
                <a:gd name="T18" fmla="*/ 122 w 122"/>
                <a:gd name="T19" fmla="*/ 0 h 248"/>
                <a:gd name="T20" fmla="*/ 110 w 122"/>
                <a:gd name="T21" fmla="*/ 0 h 248"/>
                <a:gd name="T22" fmla="*/ 106 w 122"/>
                <a:gd name="T23" fmla="*/ 1 h 248"/>
                <a:gd name="T24" fmla="*/ 104 w 122"/>
                <a:gd name="T25" fmla="*/ 6 h 248"/>
                <a:gd name="T26" fmla="*/ 104 w 122"/>
                <a:gd name="T27" fmla="*/ 21 h 248"/>
                <a:gd name="T28" fmla="*/ 80 w 122"/>
                <a:gd name="T29" fmla="*/ 12 h 248"/>
                <a:gd name="T30" fmla="*/ 79 w 122"/>
                <a:gd name="T31" fmla="*/ 11 h 248"/>
                <a:gd name="T32" fmla="*/ 74 w 122"/>
                <a:gd name="T33" fmla="*/ 10 h 248"/>
                <a:gd name="T34" fmla="*/ 49 w 122"/>
                <a:gd name="T35" fmla="*/ 23 h 248"/>
                <a:gd name="T36" fmla="*/ 48 w 122"/>
                <a:gd name="T37" fmla="*/ 25 h 248"/>
                <a:gd name="T38" fmla="*/ 47 w 122"/>
                <a:gd name="T39" fmla="*/ 30 h 248"/>
                <a:gd name="T40" fmla="*/ 55 w 122"/>
                <a:gd name="T41" fmla="*/ 46 h 248"/>
                <a:gd name="T42" fmla="*/ 43 w 122"/>
                <a:gd name="T43" fmla="*/ 57 h 248"/>
                <a:gd name="T44" fmla="*/ 31 w 122"/>
                <a:gd name="T45" fmla="*/ 49 h 248"/>
                <a:gd name="T46" fmla="*/ 26 w 122"/>
                <a:gd name="T47" fmla="*/ 49 h 248"/>
                <a:gd name="T48" fmla="*/ 22 w 122"/>
                <a:gd name="T49" fmla="*/ 52 h 248"/>
                <a:gd name="T50" fmla="*/ 10 w 122"/>
                <a:gd name="T51" fmla="*/ 74 h 248"/>
                <a:gd name="T52" fmla="*/ 9 w 122"/>
                <a:gd name="T53" fmla="*/ 79 h 248"/>
                <a:gd name="T54" fmla="*/ 11 w 122"/>
                <a:gd name="T55" fmla="*/ 83 h 248"/>
                <a:gd name="T56" fmla="*/ 25 w 122"/>
                <a:gd name="T57" fmla="*/ 90 h 248"/>
                <a:gd name="T58" fmla="*/ 6 w 122"/>
                <a:gd name="T59" fmla="*/ 106 h 248"/>
                <a:gd name="T60" fmla="*/ 4 w 122"/>
                <a:gd name="T61" fmla="*/ 106 h 248"/>
                <a:gd name="T62" fmla="*/ 0 w 122"/>
                <a:gd name="T63" fmla="*/ 110 h 248"/>
                <a:gd name="T64" fmla="*/ 0 w 122"/>
                <a:gd name="T65" fmla="*/ 138 h 248"/>
                <a:gd name="T66" fmla="*/ 0 w 122"/>
                <a:gd name="T67" fmla="*/ 141 h 248"/>
                <a:gd name="T68" fmla="*/ 4 w 122"/>
                <a:gd name="T69" fmla="*/ 144 h 248"/>
                <a:gd name="T70" fmla="*/ 21 w 122"/>
                <a:gd name="T71" fmla="*/ 144 h 248"/>
                <a:gd name="T72" fmla="*/ 26 w 122"/>
                <a:gd name="T73" fmla="*/ 160 h 248"/>
                <a:gd name="T74" fmla="*/ 14 w 122"/>
                <a:gd name="T75" fmla="*/ 168 h 248"/>
                <a:gd name="T76" fmla="*/ 10 w 122"/>
                <a:gd name="T77" fmla="*/ 171 h 248"/>
                <a:gd name="T78" fmla="*/ 11 w 122"/>
                <a:gd name="T79" fmla="*/ 176 h 248"/>
                <a:gd name="T80" fmla="*/ 23 w 122"/>
                <a:gd name="T81" fmla="*/ 199 h 248"/>
                <a:gd name="T82" fmla="*/ 27 w 122"/>
                <a:gd name="T83" fmla="*/ 201 h 248"/>
                <a:gd name="T84" fmla="*/ 32 w 122"/>
                <a:gd name="T85" fmla="*/ 201 h 248"/>
                <a:gd name="T86" fmla="*/ 46 w 122"/>
                <a:gd name="T87" fmla="*/ 194 h 248"/>
                <a:gd name="T88" fmla="*/ 49 w 122"/>
                <a:gd name="T89" fmla="*/ 217 h 248"/>
                <a:gd name="T90" fmla="*/ 49 w 122"/>
                <a:gd name="T91" fmla="*/ 220 h 248"/>
                <a:gd name="T92" fmla="*/ 51 w 122"/>
                <a:gd name="T93" fmla="*/ 224 h 248"/>
                <a:gd name="T94" fmla="*/ 74 w 122"/>
                <a:gd name="T95" fmla="*/ 239 h 248"/>
                <a:gd name="T96" fmla="*/ 76 w 122"/>
                <a:gd name="T97" fmla="*/ 239 h 248"/>
                <a:gd name="T98" fmla="*/ 81 w 122"/>
                <a:gd name="T99" fmla="*/ 238 h 248"/>
                <a:gd name="T100" fmla="*/ 91 w 122"/>
                <a:gd name="T101" fmla="*/ 223 h 248"/>
                <a:gd name="T102" fmla="*/ 106 w 122"/>
                <a:gd name="T103" fmla="*/ 227 h 248"/>
                <a:gd name="T104" fmla="*/ 106 w 122"/>
                <a:gd name="T105" fmla="*/ 242 h 248"/>
                <a:gd name="T106" fmla="*/ 108 w 122"/>
                <a:gd name="T107" fmla="*/ 247 h 248"/>
                <a:gd name="T108" fmla="*/ 113 w 122"/>
                <a:gd name="T109" fmla="*/ 248 h 248"/>
                <a:gd name="T110" fmla="*/ 122 w 122"/>
                <a:gd name="T111" fmla="*/ 19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2" h="248">
                  <a:moveTo>
                    <a:pt x="122" y="190"/>
                  </a:moveTo>
                  <a:lnTo>
                    <a:pt x="122" y="190"/>
                  </a:lnTo>
                  <a:lnTo>
                    <a:pt x="108" y="189"/>
                  </a:lnTo>
                  <a:lnTo>
                    <a:pt x="97" y="185"/>
                  </a:lnTo>
                  <a:lnTo>
                    <a:pt x="86" y="179"/>
                  </a:lnTo>
                  <a:lnTo>
                    <a:pt x="76" y="170"/>
                  </a:lnTo>
                  <a:lnTo>
                    <a:pt x="69" y="160"/>
                  </a:lnTo>
                  <a:lnTo>
                    <a:pt x="63" y="149"/>
                  </a:lnTo>
                  <a:lnTo>
                    <a:pt x="59" y="137"/>
                  </a:lnTo>
                  <a:lnTo>
                    <a:pt x="58" y="123"/>
                  </a:lnTo>
                  <a:lnTo>
                    <a:pt x="58" y="123"/>
                  </a:lnTo>
                  <a:lnTo>
                    <a:pt x="59" y="111"/>
                  </a:lnTo>
                  <a:lnTo>
                    <a:pt x="63" y="99"/>
                  </a:lnTo>
                  <a:lnTo>
                    <a:pt x="69" y="88"/>
                  </a:lnTo>
                  <a:lnTo>
                    <a:pt x="76" y="78"/>
                  </a:lnTo>
                  <a:lnTo>
                    <a:pt x="86" y="69"/>
                  </a:lnTo>
                  <a:lnTo>
                    <a:pt x="97" y="63"/>
                  </a:lnTo>
                  <a:lnTo>
                    <a:pt x="108" y="59"/>
                  </a:lnTo>
                  <a:lnTo>
                    <a:pt x="122" y="58"/>
                  </a:lnTo>
                  <a:lnTo>
                    <a:pt x="122" y="0"/>
                  </a:lnTo>
                  <a:lnTo>
                    <a:pt x="110" y="0"/>
                  </a:lnTo>
                  <a:lnTo>
                    <a:pt x="110" y="0"/>
                  </a:lnTo>
                  <a:lnTo>
                    <a:pt x="107" y="0"/>
                  </a:lnTo>
                  <a:lnTo>
                    <a:pt x="106" y="1"/>
                  </a:lnTo>
                  <a:lnTo>
                    <a:pt x="104" y="4"/>
                  </a:lnTo>
                  <a:lnTo>
                    <a:pt x="104" y="6"/>
                  </a:lnTo>
                  <a:lnTo>
                    <a:pt x="104" y="21"/>
                  </a:lnTo>
                  <a:lnTo>
                    <a:pt x="104" y="21"/>
                  </a:lnTo>
                  <a:lnTo>
                    <a:pt x="88" y="26"/>
                  </a:lnTo>
                  <a:lnTo>
                    <a:pt x="80" y="12"/>
                  </a:lnTo>
                  <a:lnTo>
                    <a:pt x="80" y="12"/>
                  </a:lnTo>
                  <a:lnTo>
                    <a:pt x="79" y="11"/>
                  </a:lnTo>
                  <a:lnTo>
                    <a:pt x="76" y="10"/>
                  </a:lnTo>
                  <a:lnTo>
                    <a:pt x="74" y="10"/>
                  </a:lnTo>
                  <a:lnTo>
                    <a:pt x="71" y="10"/>
                  </a:lnTo>
                  <a:lnTo>
                    <a:pt x="49" y="23"/>
                  </a:lnTo>
                  <a:lnTo>
                    <a:pt x="49" y="23"/>
                  </a:lnTo>
                  <a:lnTo>
                    <a:pt x="48" y="25"/>
                  </a:lnTo>
                  <a:lnTo>
                    <a:pt x="47" y="27"/>
                  </a:lnTo>
                  <a:lnTo>
                    <a:pt x="47" y="30"/>
                  </a:lnTo>
                  <a:lnTo>
                    <a:pt x="47" y="32"/>
                  </a:lnTo>
                  <a:lnTo>
                    <a:pt x="55" y="46"/>
                  </a:lnTo>
                  <a:lnTo>
                    <a:pt x="55" y="46"/>
                  </a:lnTo>
                  <a:lnTo>
                    <a:pt x="43" y="57"/>
                  </a:lnTo>
                  <a:lnTo>
                    <a:pt x="31" y="49"/>
                  </a:lnTo>
                  <a:lnTo>
                    <a:pt x="31" y="49"/>
                  </a:lnTo>
                  <a:lnTo>
                    <a:pt x="28" y="48"/>
                  </a:lnTo>
                  <a:lnTo>
                    <a:pt x="26" y="49"/>
                  </a:lnTo>
                  <a:lnTo>
                    <a:pt x="23" y="49"/>
                  </a:lnTo>
                  <a:lnTo>
                    <a:pt x="22" y="52"/>
                  </a:lnTo>
                  <a:lnTo>
                    <a:pt x="10" y="74"/>
                  </a:lnTo>
                  <a:lnTo>
                    <a:pt x="10" y="74"/>
                  </a:lnTo>
                  <a:lnTo>
                    <a:pt x="9" y="76"/>
                  </a:lnTo>
                  <a:lnTo>
                    <a:pt x="9" y="79"/>
                  </a:lnTo>
                  <a:lnTo>
                    <a:pt x="10" y="81"/>
                  </a:lnTo>
                  <a:lnTo>
                    <a:pt x="11" y="83"/>
                  </a:lnTo>
                  <a:lnTo>
                    <a:pt x="25" y="90"/>
                  </a:lnTo>
                  <a:lnTo>
                    <a:pt x="25" y="90"/>
                  </a:lnTo>
                  <a:lnTo>
                    <a:pt x="21" y="106"/>
                  </a:lnTo>
                  <a:lnTo>
                    <a:pt x="6" y="106"/>
                  </a:lnTo>
                  <a:lnTo>
                    <a:pt x="6" y="106"/>
                  </a:lnTo>
                  <a:lnTo>
                    <a:pt x="4" y="106"/>
                  </a:lnTo>
                  <a:lnTo>
                    <a:pt x="1" y="109"/>
                  </a:lnTo>
                  <a:lnTo>
                    <a:pt x="0" y="110"/>
                  </a:lnTo>
                  <a:lnTo>
                    <a:pt x="0" y="112"/>
                  </a:lnTo>
                  <a:lnTo>
                    <a:pt x="0" y="138"/>
                  </a:lnTo>
                  <a:lnTo>
                    <a:pt x="0" y="138"/>
                  </a:lnTo>
                  <a:lnTo>
                    <a:pt x="0" y="141"/>
                  </a:lnTo>
                  <a:lnTo>
                    <a:pt x="1" y="143"/>
                  </a:lnTo>
                  <a:lnTo>
                    <a:pt x="4" y="144"/>
                  </a:lnTo>
                  <a:lnTo>
                    <a:pt x="6" y="144"/>
                  </a:lnTo>
                  <a:lnTo>
                    <a:pt x="21" y="144"/>
                  </a:lnTo>
                  <a:lnTo>
                    <a:pt x="21" y="144"/>
                  </a:lnTo>
                  <a:lnTo>
                    <a:pt x="26" y="160"/>
                  </a:lnTo>
                  <a:lnTo>
                    <a:pt x="14" y="168"/>
                  </a:lnTo>
                  <a:lnTo>
                    <a:pt x="14" y="168"/>
                  </a:lnTo>
                  <a:lnTo>
                    <a:pt x="11" y="169"/>
                  </a:lnTo>
                  <a:lnTo>
                    <a:pt x="10" y="171"/>
                  </a:lnTo>
                  <a:lnTo>
                    <a:pt x="10" y="174"/>
                  </a:lnTo>
                  <a:lnTo>
                    <a:pt x="11" y="176"/>
                  </a:lnTo>
                  <a:lnTo>
                    <a:pt x="23" y="199"/>
                  </a:lnTo>
                  <a:lnTo>
                    <a:pt x="23" y="199"/>
                  </a:lnTo>
                  <a:lnTo>
                    <a:pt x="25" y="201"/>
                  </a:lnTo>
                  <a:lnTo>
                    <a:pt x="27" y="201"/>
                  </a:lnTo>
                  <a:lnTo>
                    <a:pt x="30" y="202"/>
                  </a:lnTo>
                  <a:lnTo>
                    <a:pt x="32" y="201"/>
                  </a:lnTo>
                  <a:lnTo>
                    <a:pt x="46" y="194"/>
                  </a:lnTo>
                  <a:lnTo>
                    <a:pt x="46" y="194"/>
                  </a:lnTo>
                  <a:lnTo>
                    <a:pt x="57" y="205"/>
                  </a:lnTo>
                  <a:lnTo>
                    <a:pt x="49" y="217"/>
                  </a:lnTo>
                  <a:lnTo>
                    <a:pt x="49" y="217"/>
                  </a:lnTo>
                  <a:lnTo>
                    <a:pt x="49" y="220"/>
                  </a:lnTo>
                  <a:lnTo>
                    <a:pt x="49" y="222"/>
                  </a:lnTo>
                  <a:lnTo>
                    <a:pt x="51" y="224"/>
                  </a:lnTo>
                  <a:lnTo>
                    <a:pt x="52" y="226"/>
                  </a:lnTo>
                  <a:lnTo>
                    <a:pt x="74" y="239"/>
                  </a:lnTo>
                  <a:lnTo>
                    <a:pt x="74" y="239"/>
                  </a:lnTo>
                  <a:lnTo>
                    <a:pt x="76" y="239"/>
                  </a:lnTo>
                  <a:lnTo>
                    <a:pt x="79" y="239"/>
                  </a:lnTo>
                  <a:lnTo>
                    <a:pt x="81" y="238"/>
                  </a:lnTo>
                  <a:lnTo>
                    <a:pt x="83" y="237"/>
                  </a:lnTo>
                  <a:lnTo>
                    <a:pt x="91" y="223"/>
                  </a:lnTo>
                  <a:lnTo>
                    <a:pt x="91" y="223"/>
                  </a:lnTo>
                  <a:lnTo>
                    <a:pt x="106" y="227"/>
                  </a:lnTo>
                  <a:lnTo>
                    <a:pt x="106" y="242"/>
                  </a:lnTo>
                  <a:lnTo>
                    <a:pt x="106" y="242"/>
                  </a:lnTo>
                  <a:lnTo>
                    <a:pt x="107" y="244"/>
                  </a:lnTo>
                  <a:lnTo>
                    <a:pt x="108" y="247"/>
                  </a:lnTo>
                  <a:lnTo>
                    <a:pt x="111" y="248"/>
                  </a:lnTo>
                  <a:lnTo>
                    <a:pt x="113" y="248"/>
                  </a:lnTo>
                  <a:lnTo>
                    <a:pt x="122" y="248"/>
                  </a:lnTo>
                  <a:lnTo>
                    <a:pt x="122" y="190"/>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4" name="Freeform 272">
              <a:extLst>
                <a:ext uri="{FF2B5EF4-FFF2-40B4-BE49-F238E27FC236}">
                  <a16:creationId xmlns:a16="http://schemas.microsoft.com/office/drawing/2014/main" id="{C170E87F-9CAF-9586-6C3A-631ADEBB1B0B}"/>
                </a:ext>
              </a:extLst>
            </p:cNvPr>
            <p:cNvSpPr>
              <a:spLocks noEditPoints="1"/>
            </p:cNvSpPr>
            <p:nvPr/>
          </p:nvSpPr>
          <p:spPr bwMode="auto">
            <a:xfrm>
              <a:off x="7595334" y="3402023"/>
              <a:ext cx="239193" cy="218494"/>
            </a:xfrm>
            <a:custGeom>
              <a:avLst/>
              <a:gdLst>
                <a:gd name="T0" fmla="*/ 82 w 162"/>
                <a:gd name="T1" fmla="*/ 0 h 162"/>
                <a:gd name="T2" fmla="*/ 65 w 162"/>
                <a:gd name="T3" fmla="*/ 1 h 162"/>
                <a:gd name="T4" fmla="*/ 49 w 162"/>
                <a:gd name="T5" fmla="*/ 6 h 162"/>
                <a:gd name="T6" fmla="*/ 36 w 162"/>
                <a:gd name="T7" fmla="*/ 14 h 162"/>
                <a:gd name="T8" fmla="*/ 24 w 162"/>
                <a:gd name="T9" fmla="*/ 24 h 162"/>
                <a:gd name="T10" fmla="*/ 14 w 162"/>
                <a:gd name="T11" fmla="*/ 36 h 162"/>
                <a:gd name="T12" fmla="*/ 6 w 162"/>
                <a:gd name="T13" fmla="*/ 50 h 162"/>
                <a:gd name="T14" fmla="*/ 3 w 162"/>
                <a:gd name="T15" fmla="*/ 64 h 162"/>
                <a:gd name="T16" fmla="*/ 0 w 162"/>
                <a:gd name="T17" fmla="*/ 82 h 162"/>
                <a:gd name="T18" fmla="*/ 1 w 162"/>
                <a:gd name="T19" fmla="*/ 89 h 162"/>
                <a:gd name="T20" fmla="*/ 4 w 162"/>
                <a:gd name="T21" fmla="*/ 105 h 162"/>
                <a:gd name="T22" fmla="*/ 10 w 162"/>
                <a:gd name="T23" fmla="*/ 120 h 162"/>
                <a:gd name="T24" fmla="*/ 19 w 162"/>
                <a:gd name="T25" fmla="*/ 132 h 162"/>
                <a:gd name="T26" fmla="*/ 30 w 162"/>
                <a:gd name="T27" fmla="*/ 143 h 162"/>
                <a:gd name="T28" fmla="*/ 43 w 162"/>
                <a:gd name="T29" fmla="*/ 152 h 162"/>
                <a:gd name="T30" fmla="*/ 57 w 162"/>
                <a:gd name="T31" fmla="*/ 158 h 162"/>
                <a:gd name="T32" fmla="*/ 73 w 162"/>
                <a:gd name="T33" fmla="*/ 162 h 162"/>
                <a:gd name="T34" fmla="*/ 82 w 162"/>
                <a:gd name="T35" fmla="*/ 162 h 162"/>
                <a:gd name="T36" fmla="*/ 98 w 162"/>
                <a:gd name="T37" fmla="*/ 161 h 162"/>
                <a:gd name="T38" fmla="*/ 112 w 162"/>
                <a:gd name="T39" fmla="*/ 156 h 162"/>
                <a:gd name="T40" fmla="*/ 126 w 162"/>
                <a:gd name="T41" fmla="*/ 148 h 162"/>
                <a:gd name="T42" fmla="*/ 138 w 162"/>
                <a:gd name="T43" fmla="*/ 138 h 162"/>
                <a:gd name="T44" fmla="*/ 148 w 162"/>
                <a:gd name="T45" fmla="*/ 126 h 162"/>
                <a:gd name="T46" fmla="*/ 156 w 162"/>
                <a:gd name="T47" fmla="*/ 112 h 162"/>
                <a:gd name="T48" fmla="*/ 160 w 162"/>
                <a:gd name="T49" fmla="*/ 98 h 162"/>
                <a:gd name="T50" fmla="*/ 162 w 162"/>
                <a:gd name="T51" fmla="*/ 82 h 162"/>
                <a:gd name="T52" fmla="*/ 162 w 162"/>
                <a:gd name="T53" fmla="*/ 73 h 162"/>
                <a:gd name="T54" fmla="*/ 158 w 162"/>
                <a:gd name="T55" fmla="*/ 57 h 162"/>
                <a:gd name="T56" fmla="*/ 152 w 162"/>
                <a:gd name="T57" fmla="*/ 42 h 162"/>
                <a:gd name="T58" fmla="*/ 143 w 162"/>
                <a:gd name="T59" fmla="*/ 30 h 162"/>
                <a:gd name="T60" fmla="*/ 133 w 162"/>
                <a:gd name="T61" fmla="*/ 19 h 162"/>
                <a:gd name="T62" fmla="*/ 120 w 162"/>
                <a:gd name="T63" fmla="*/ 10 h 162"/>
                <a:gd name="T64" fmla="*/ 105 w 162"/>
                <a:gd name="T65" fmla="*/ 4 h 162"/>
                <a:gd name="T66" fmla="*/ 89 w 162"/>
                <a:gd name="T67" fmla="*/ 0 h 162"/>
                <a:gd name="T68" fmla="*/ 82 w 162"/>
                <a:gd name="T69" fmla="*/ 0 h 162"/>
                <a:gd name="T70" fmla="*/ 82 w 162"/>
                <a:gd name="T71" fmla="*/ 147 h 162"/>
                <a:gd name="T72" fmla="*/ 56 w 162"/>
                <a:gd name="T73" fmla="*/ 142 h 162"/>
                <a:gd name="T74" fmla="*/ 35 w 162"/>
                <a:gd name="T75" fmla="*/ 128 h 162"/>
                <a:gd name="T76" fmla="*/ 20 w 162"/>
                <a:gd name="T77" fmla="*/ 106 h 162"/>
                <a:gd name="T78" fmla="*/ 15 w 162"/>
                <a:gd name="T79" fmla="*/ 80 h 162"/>
                <a:gd name="T80" fmla="*/ 16 w 162"/>
                <a:gd name="T81" fmla="*/ 68 h 162"/>
                <a:gd name="T82" fmla="*/ 26 w 162"/>
                <a:gd name="T83" fmla="*/ 43 h 162"/>
                <a:gd name="T84" fmla="*/ 45 w 162"/>
                <a:gd name="T85" fmla="*/ 26 h 162"/>
                <a:gd name="T86" fmla="*/ 68 w 162"/>
                <a:gd name="T87" fmla="*/ 16 h 162"/>
                <a:gd name="T88" fmla="*/ 82 w 162"/>
                <a:gd name="T89" fmla="*/ 15 h 162"/>
                <a:gd name="T90" fmla="*/ 107 w 162"/>
                <a:gd name="T91" fmla="*/ 20 h 162"/>
                <a:gd name="T92" fmla="*/ 128 w 162"/>
                <a:gd name="T93" fmla="*/ 33 h 162"/>
                <a:gd name="T94" fmla="*/ 142 w 162"/>
                <a:gd name="T95" fmla="*/ 56 h 162"/>
                <a:gd name="T96" fmla="*/ 148 w 162"/>
                <a:gd name="T97" fmla="*/ 80 h 162"/>
                <a:gd name="T98" fmla="*/ 147 w 162"/>
                <a:gd name="T99" fmla="*/ 94 h 162"/>
                <a:gd name="T100" fmla="*/ 136 w 162"/>
                <a:gd name="T101" fmla="*/ 119 h 162"/>
                <a:gd name="T102" fmla="*/ 119 w 162"/>
                <a:gd name="T103" fmla="*/ 136 h 162"/>
                <a:gd name="T104" fmla="*/ 95 w 162"/>
                <a:gd name="T105" fmla="*/ 146 h 162"/>
                <a:gd name="T106" fmla="*/ 82 w 162"/>
                <a:gd name="T107" fmla="*/ 147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2" h="162">
                  <a:moveTo>
                    <a:pt x="82" y="0"/>
                  </a:moveTo>
                  <a:lnTo>
                    <a:pt x="82" y="0"/>
                  </a:lnTo>
                  <a:lnTo>
                    <a:pt x="73" y="0"/>
                  </a:lnTo>
                  <a:lnTo>
                    <a:pt x="65" y="1"/>
                  </a:lnTo>
                  <a:lnTo>
                    <a:pt x="57" y="4"/>
                  </a:lnTo>
                  <a:lnTo>
                    <a:pt x="49" y="6"/>
                  </a:lnTo>
                  <a:lnTo>
                    <a:pt x="43" y="10"/>
                  </a:lnTo>
                  <a:lnTo>
                    <a:pt x="36" y="14"/>
                  </a:lnTo>
                  <a:lnTo>
                    <a:pt x="30" y="19"/>
                  </a:lnTo>
                  <a:lnTo>
                    <a:pt x="24" y="24"/>
                  </a:lnTo>
                  <a:lnTo>
                    <a:pt x="19" y="30"/>
                  </a:lnTo>
                  <a:lnTo>
                    <a:pt x="14" y="36"/>
                  </a:lnTo>
                  <a:lnTo>
                    <a:pt x="10" y="42"/>
                  </a:lnTo>
                  <a:lnTo>
                    <a:pt x="6" y="50"/>
                  </a:lnTo>
                  <a:lnTo>
                    <a:pt x="4" y="57"/>
                  </a:lnTo>
                  <a:lnTo>
                    <a:pt x="3" y="64"/>
                  </a:lnTo>
                  <a:lnTo>
                    <a:pt x="1" y="73"/>
                  </a:lnTo>
                  <a:lnTo>
                    <a:pt x="0" y="82"/>
                  </a:lnTo>
                  <a:lnTo>
                    <a:pt x="0" y="82"/>
                  </a:lnTo>
                  <a:lnTo>
                    <a:pt x="1" y="89"/>
                  </a:lnTo>
                  <a:lnTo>
                    <a:pt x="3" y="98"/>
                  </a:lnTo>
                  <a:lnTo>
                    <a:pt x="4" y="105"/>
                  </a:lnTo>
                  <a:lnTo>
                    <a:pt x="6" y="112"/>
                  </a:lnTo>
                  <a:lnTo>
                    <a:pt x="10" y="120"/>
                  </a:lnTo>
                  <a:lnTo>
                    <a:pt x="14" y="126"/>
                  </a:lnTo>
                  <a:lnTo>
                    <a:pt x="19" y="132"/>
                  </a:lnTo>
                  <a:lnTo>
                    <a:pt x="24" y="138"/>
                  </a:lnTo>
                  <a:lnTo>
                    <a:pt x="30" y="143"/>
                  </a:lnTo>
                  <a:lnTo>
                    <a:pt x="36" y="148"/>
                  </a:lnTo>
                  <a:lnTo>
                    <a:pt x="43" y="152"/>
                  </a:lnTo>
                  <a:lnTo>
                    <a:pt x="49" y="156"/>
                  </a:lnTo>
                  <a:lnTo>
                    <a:pt x="57" y="158"/>
                  </a:lnTo>
                  <a:lnTo>
                    <a:pt x="65" y="161"/>
                  </a:lnTo>
                  <a:lnTo>
                    <a:pt x="73" y="162"/>
                  </a:lnTo>
                  <a:lnTo>
                    <a:pt x="82" y="162"/>
                  </a:lnTo>
                  <a:lnTo>
                    <a:pt x="82" y="162"/>
                  </a:lnTo>
                  <a:lnTo>
                    <a:pt x="89" y="162"/>
                  </a:lnTo>
                  <a:lnTo>
                    <a:pt x="98" y="161"/>
                  </a:lnTo>
                  <a:lnTo>
                    <a:pt x="105" y="158"/>
                  </a:lnTo>
                  <a:lnTo>
                    <a:pt x="112" y="156"/>
                  </a:lnTo>
                  <a:lnTo>
                    <a:pt x="120" y="152"/>
                  </a:lnTo>
                  <a:lnTo>
                    <a:pt x="126" y="148"/>
                  </a:lnTo>
                  <a:lnTo>
                    <a:pt x="133" y="143"/>
                  </a:lnTo>
                  <a:lnTo>
                    <a:pt x="138" y="138"/>
                  </a:lnTo>
                  <a:lnTo>
                    <a:pt x="143" y="132"/>
                  </a:lnTo>
                  <a:lnTo>
                    <a:pt x="148" y="126"/>
                  </a:lnTo>
                  <a:lnTo>
                    <a:pt x="152" y="120"/>
                  </a:lnTo>
                  <a:lnTo>
                    <a:pt x="156" y="112"/>
                  </a:lnTo>
                  <a:lnTo>
                    <a:pt x="158" y="105"/>
                  </a:lnTo>
                  <a:lnTo>
                    <a:pt x="160" y="98"/>
                  </a:lnTo>
                  <a:lnTo>
                    <a:pt x="162" y="89"/>
                  </a:lnTo>
                  <a:lnTo>
                    <a:pt x="162" y="82"/>
                  </a:lnTo>
                  <a:lnTo>
                    <a:pt x="162" y="82"/>
                  </a:lnTo>
                  <a:lnTo>
                    <a:pt x="162" y="73"/>
                  </a:lnTo>
                  <a:lnTo>
                    <a:pt x="160" y="64"/>
                  </a:lnTo>
                  <a:lnTo>
                    <a:pt x="158" y="57"/>
                  </a:lnTo>
                  <a:lnTo>
                    <a:pt x="156" y="50"/>
                  </a:lnTo>
                  <a:lnTo>
                    <a:pt x="152" y="42"/>
                  </a:lnTo>
                  <a:lnTo>
                    <a:pt x="148" y="36"/>
                  </a:lnTo>
                  <a:lnTo>
                    <a:pt x="143" y="30"/>
                  </a:lnTo>
                  <a:lnTo>
                    <a:pt x="138" y="24"/>
                  </a:lnTo>
                  <a:lnTo>
                    <a:pt x="133" y="19"/>
                  </a:lnTo>
                  <a:lnTo>
                    <a:pt x="126" y="14"/>
                  </a:lnTo>
                  <a:lnTo>
                    <a:pt x="120" y="10"/>
                  </a:lnTo>
                  <a:lnTo>
                    <a:pt x="112" y="6"/>
                  </a:lnTo>
                  <a:lnTo>
                    <a:pt x="105" y="4"/>
                  </a:lnTo>
                  <a:lnTo>
                    <a:pt x="98" y="1"/>
                  </a:lnTo>
                  <a:lnTo>
                    <a:pt x="89" y="0"/>
                  </a:lnTo>
                  <a:lnTo>
                    <a:pt x="82" y="0"/>
                  </a:lnTo>
                  <a:lnTo>
                    <a:pt x="82" y="0"/>
                  </a:lnTo>
                  <a:close/>
                  <a:moveTo>
                    <a:pt x="82" y="147"/>
                  </a:moveTo>
                  <a:lnTo>
                    <a:pt x="82" y="147"/>
                  </a:lnTo>
                  <a:lnTo>
                    <a:pt x="68" y="146"/>
                  </a:lnTo>
                  <a:lnTo>
                    <a:pt x="56" y="142"/>
                  </a:lnTo>
                  <a:lnTo>
                    <a:pt x="45" y="136"/>
                  </a:lnTo>
                  <a:lnTo>
                    <a:pt x="35" y="128"/>
                  </a:lnTo>
                  <a:lnTo>
                    <a:pt x="26" y="119"/>
                  </a:lnTo>
                  <a:lnTo>
                    <a:pt x="20" y="106"/>
                  </a:lnTo>
                  <a:lnTo>
                    <a:pt x="16" y="94"/>
                  </a:lnTo>
                  <a:lnTo>
                    <a:pt x="15" y="80"/>
                  </a:lnTo>
                  <a:lnTo>
                    <a:pt x="15" y="80"/>
                  </a:lnTo>
                  <a:lnTo>
                    <a:pt x="16" y="68"/>
                  </a:lnTo>
                  <a:lnTo>
                    <a:pt x="20" y="56"/>
                  </a:lnTo>
                  <a:lnTo>
                    <a:pt x="26" y="43"/>
                  </a:lnTo>
                  <a:lnTo>
                    <a:pt x="35" y="33"/>
                  </a:lnTo>
                  <a:lnTo>
                    <a:pt x="45" y="26"/>
                  </a:lnTo>
                  <a:lnTo>
                    <a:pt x="56" y="20"/>
                  </a:lnTo>
                  <a:lnTo>
                    <a:pt x="68" y="16"/>
                  </a:lnTo>
                  <a:lnTo>
                    <a:pt x="82" y="15"/>
                  </a:lnTo>
                  <a:lnTo>
                    <a:pt x="82" y="15"/>
                  </a:lnTo>
                  <a:lnTo>
                    <a:pt x="95" y="16"/>
                  </a:lnTo>
                  <a:lnTo>
                    <a:pt x="107" y="20"/>
                  </a:lnTo>
                  <a:lnTo>
                    <a:pt x="119" y="26"/>
                  </a:lnTo>
                  <a:lnTo>
                    <a:pt x="128" y="33"/>
                  </a:lnTo>
                  <a:lnTo>
                    <a:pt x="136" y="43"/>
                  </a:lnTo>
                  <a:lnTo>
                    <a:pt x="142" y="56"/>
                  </a:lnTo>
                  <a:lnTo>
                    <a:pt x="147" y="68"/>
                  </a:lnTo>
                  <a:lnTo>
                    <a:pt x="148" y="80"/>
                  </a:lnTo>
                  <a:lnTo>
                    <a:pt x="148" y="80"/>
                  </a:lnTo>
                  <a:lnTo>
                    <a:pt x="147" y="94"/>
                  </a:lnTo>
                  <a:lnTo>
                    <a:pt x="142" y="106"/>
                  </a:lnTo>
                  <a:lnTo>
                    <a:pt x="136" y="119"/>
                  </a:lnTo>
                  <a:lnTo>
                    <a:pt x="128" y="128"/>
                  </a:lnTo>
                  <a:lnTo>
                    <a:pt x="119" y="136"/>
                  </a:lnTo>
                  <a:lnTo>
                    <a:pt x="107" y="142"/>
                  </a:lnTo>
                  <a:lnTo>
                    <a:pt x="95" y="146"/>
                  </a:lnTo>
                  <a:lnTo>
                    <a:pt x="82" y="147"/>
                  </a:lnTo>
                  <a:lnTo>
                    <a:pt x="82" y="147"/>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5" name="Freeform 273">
              <a:extLst>
                <a:ext uri="{FF2B5EF4-FFF2-40B4-BE49-F238E27FC236}">
                  <a16:creationId xmlns:a16="http://schemas.microsoft.com/office/drawing/2014/main" id="{BE8517B8-2A5B-0151-E4B1-F64B276D4AB2}"/>
                </a:ext>
              </a:extLst>
            </p:cNvPr>
            <p:cNvSpPr>
              <a:spLocks/>
            </p:cNvSpPr>
            <p:nvPr/>
          </p:nvSpPr>
          <p:spPr bwMode="auto">
            <a:xfrm>
              <a:off x="7711978" y="3402023"/>
              <a:ext cx="122550" cy="218494"/>
            </a:xfrm>
            <a:custGeom>
              <a:avLst/>
              <a:gdLst>
                <a:gd name="T0" fmla="*/ 3 w 83"/>
                <a:gd name="T1" fmla="*/ 0 h 162"/>
                <a:gd name="T2" fmla="*/ 0 w 83"/>
                <a:gd name="T3" fmla="*/ 15 h 162"/>
                <a:gd name="T4" fmla="*/ 3 w 83"/>
                <a:gd name="T5" fmla="*/ 15 h 162"/>
                <a:gd name="T6" fmla="*/ 16 w 83"/>
                <a:gd name="T7" fmla="*/ 16 h 162"/>
                <a:gd name="T8" fmla="*/ 40 w 83"/>
                <a:gd name="T9" fmla="*/ 26 h 162"/>
                <a:gd name="T10" fmla="*/ 57 w 83"/>
                <a:gd name="T11" fmla="*/ 43 h 162"/>
                <a:gd name="T12" fmla="*/ 68 w 83"/>
                <a:gd name="T13" fmla="*/ 68 h 162"/>
                <a:gd name="T14" fmla="*/ 69 w 83"/>
                <a:gd name="T15" fmla="*/ 80 h 162"/>
                <a:gd name="T16" fmla="*/ 63 w 83"/>
                <a:gd name="T17" fmla="*/ 106 h 162"/>
                <a:gd name="T18" fmla="*/ 49 w 83"/>
                <a:gd name="T19" fmla="*/ 128 h 162"/>
                <a:gd name="T20" fmla="*/ 28 w 83"/>
                <a:gd name="T21" fmla="*/ 142 h 162"/>
                <a:gd name="T22" fmla="*/ 3 w 83"/>
                <a:gd name="T23" fmla="*/ 147 h 162"/>
                <a:gd name="T24" fmla="*/ 0 w 83"/>
                <a:gd name="T25" fmla="*/ 147 h 162"/>
                <a:gd name="T26" fmla="*/ 0 w 83"/>
                <a:gd name="T27" fmla="*/ 162 h 162"/>
                <a:gd name="T28" fmla="*/ 3 w 83"/>
                <a:gd name="T29" fmla="*/ 162 h 162"/>
                <a:gd name="T30" fmla="*/ 19 w 83"/>
                <a:gd name="T31" fmla="*/ 161 h 162"/>
                <a:gd name="T32" fmla="*/ 33 w 83"/>
                <a:gd name="T33" fmla="*/ 156 h 162"/>
                <a:gd name="T34" fmla="*/ 47 w 83"/>
                <a:gd name="T35" fmla="*/ 148 h 162"/>
                <a:gd name="T36" fmla="*/ 59 w 83"/>
                <a:gd name="T37" fmla="*/ 138 h 162"/>
                <a:gd name="T38" fmla="*/ 69 w 83"/>
                <a:gd name="T39" fmla="*/ 126 h 162"/>
                <a:gd name="T40" fmla="*/ 77 w 83"/>
                <a:gd name="T41" fmla="*/ 112 h 162"/>
                <a:gd name="T42" fmla="*/ 81 w 83"/>
                <a:gd name="T43" fmla="*/ 98 h 162"/>
                <a:gd name="T44" fmla="*/ 83 w 83"/>
                <a:gd name="T45" fmla="*/ 82 h 162"/>
                <a:gd name="T46" fmla="*/ 83 w 83"/>
                <a:gd name="T47" fmla="*/ 73 h 162"/>
                <a:gd name="T48" fmla="*/ 79 w 83"/>
                <a:gd name="T49" fmla="*/ 57 h 162"/>
                <a:gd name="T50" fmla="*/ 73 w 83"/>
                <a:gd name="T51" fmla="*/ 42 h 162"/>
                <a:gd name="T52" fmla="*/ 64 w 83"/>
                <a:gd name="T53" fmla="*/ 30 h 162"/>
                <a:gd name="T54" fmla="*/ 54 w 83"/>
                <a:gd name="T55" fmla="*/ 19 h 162"/>
                <a:gd name="T56" fmla="*/ 41 w 83"/>
                <a:gd name="T57" fmla="*/ 10 h 162"/>
                <a:gd name="T58" fmla="*/ 26 w 83"/>
                <a:gd name="T59" fmla="*/ 4 h 162"/>
                <a:gd name="T60" fmla="*/ 10 w 83"/>
                <a:gd name="T61" fmla="*/ 0 h 162"/>
                <a:gd name="T62" fmla="*/ 3 w 83"/>
                <a:gd name="T63"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 h="162">
                  <a:moveTo>
                    <a:pt x="3" y="0"/>
                  </a:moveTo>
                  <a:lnTo>
                    <a:pt x="3" y="0"/>
                  </a:lnTo>
                  <a:lnTo>
                    <a:pt x="0" y="0"/>
                  </a:lnTo>
                  <a:lnTo>
                    <a:pt x="0" y="15"/>
                  </a:lnTo>
                  <a:lnTo>
                    <a:pt x="0" y="15"/>
                  </a:lnTo>
                  <a:lnTo>
                    <a:pt x="3" y="15"/>
                  </a:lnTo>
                  <a:lnTo>
                    <a:pt x="3" y="15"/>
                  </a:lnTo>
                  <a:lnTo>
                    <a:pt x="16" y="16"/>
                  </a:lnTo>
                  <a:lnTo>
                    <a:pt x="28" y="20"/>
                  </a:lnTo>
                  <a:lnTo>
                    <a:pt x="40" y="26"/>
                  </a:lnTo>
                  <a:lnTo>
                    <a:pt x="49" y="33"/>
                  </a:lnTo>
                  <a:lnTo>
                    <a:pt x="57" y="43"/>
                  </a:lnTo>
                  <a:lnTo>
                    <a:pt x="63" y="56"/>
                  </a:lnTo>
                  <a:lnTo>
                    <a:pt x="68" y="68"/>
                  </a:lnTo>
                  <a:lnTo>
                    <a:pt x="69" y="80"/>
                  </a:lnTo>
                  <a:lnTo>
                    <a:pt x="69" y="80"/>
                  </a:lnTo>
                  <a:lnTo>
                    <a:pt x="68" y="94"/>
                  </a:lnTo>
                  <a:lnTo>
                    <a:pt x="63" y="106"/>
                  </a:lnTo>
                  <a:lnTo>
                    <a:pt x="57" y="119"/>
                  </a:lnTo>
                  <a:lnTo>
                    <a:pt x="49" y="128"/>
                  </a:lnTo>
                  <a:lnTo>
                    <a:pt x="40" y="136"/>
                  </a:lnTo>
                  <a:lnTo>
                    <a:pt x="28" y="142"/>
                  </a:lnTo>
                  <a:lnTo>
                    <a:pt x="16" y="146"/>
                  </a:lnTo>
                  <a:lnTo>
                    <a:pt x="3" y="147"/>
                  </a:lnTo>
                  <a:lnTo>
                    <a:pt x="3" y="147"/>
                  </a:lnTo>
                  <a:lnTo>
                    <a:pt x="0" y="147"/>
                  </a:lnTo>
                  <a:lnTo>
                    <a:pt x="0" y="162"/>
                  </a:lnTo>
                  <a:lnTo>
                    <a:pt x="0" y="162"/>
                  </a:lnTo>
                  <a:lnTo>
                    <a:pt x="3" y="162"/>
                  </a:lnTo>
                  <a:lnTo>
                    <a:pt x="3" y="162"/>
                  </a:lnTo>
                  <a:lnTo>
                    <a:pt x="10" y="162"/>
                  </a:lnTo>
                  <a:lnTo>
                    <a:pt x="19" y="161"/>
                  </a:lnTo>
                  <a:lnTo>
                    <a:pt x="26" y="158"/>
                  </a:lnTo>
                  <a:lnTo>
                    <a:pt x="33" y="156"/>
                  </a:lnTo>
                  <a:lnTo>
                    <a:pt x="41" y="152"/>
                  </a:lnTo>
                  <a:lnTo>
                    <a:pt x="47" y="148"/>
                  </a:lnTo>
                  <a:lnTo>
                    <a:pt x="54" y="143"/>
                  </a:lnTo>
                  <a:lnTo>
                    <a:pt x="59" y="138"/>
                  </a:lnTo>
                  <a:lnTo>
                    <a:pt x="64" y="132"/>
                  </a:lnTo>
                  <a:lnTo>
                    <a:pt x="69" y="126"/>
                  </a:lnTo>
                  <a:lnTo>
                    <a:pt x="73" y="120"/>
                  </a:lnTo>
                  <a:lnTo>
                    <a:pt x="77" y="112"/>
                  </a:lnTo>
                  <a:lnTo>
                    <a:pt x="79" y="105"/>
                  </a:lnTo>
                  <a:lnTo>
                    <a:pt x="81" y="98"/>
                  </a:lnTo>
                  <a:lnTo>
                    <a:pt x="83" y="89"/>
                  </a:lnTo>
                  <a:lnTo>
                    <a:pt x="83" y="82"/>
                  </a:lnTo>
                  <a:lnTo>
                    <a:pt x="83" y="82"/>
                  </a:lnTo>
                  <a:lnTo>
                    <a:pt x="83" y="73"/>
                  </a:lnTo>
                  <a:lnTo>
                    <a:pt x="81" y="64"/>
                  </a:lnTo>
                  <a:lnTo>
                    <a:pt x="79" y="57"/>
                  </a:lnTo>
                  <a:lnTo>
                    <a:pt x="77" y="50"/>
                  </a:lnTo>
                  <a:lnTo>
                    <a:pt x="73" y="42"/>
                  </a:lnTo>
                  <a:lnTo>
                    <a:pt x="69" y="36"/>
                  </a:lnTo>
                  <a:lnTo>
                    <a:pt x="64" y="30"/>
                  </a:lnTo>
                  <a:lnTo>
                    <a:pt x="59" y="24"/>
                  </a:lnTo>
                  <a:lnTo>
                    <a:pt x="54" y="19"/>
                  </a:lnTo>
                  <a:lnTo>
                    <a:pt x="47" y="14"/>
                  </a:lnTo>
                  <a:lnTo>
                    <a:pt x="41" y="10"/>
                  </a:lnTo>
                  <a:lnTo>
                    <a:pt x="33" y="6"/>
                  </a:lnTo>
                  <a:lnTo>
                    <a:pt x="26" y="4"/>
                  </a:lnTo>
                  <a:lnTo>
                    <a:pt x="19" y="1"/>
                  </a:lnTo>
                  <a:lnTo>
                    <a:pt x="10" y="0"/>
                  </a:lnTo>
                  <a:lnTo>
                    <a:pt x="3" y="0"/>
                  </a:lnTo>
                  <a:lnTo>
                    <a:pt x="3" y="0"/>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6" name="Freeform 274">
              <a:extLst>
                <a:ext uri="{FF2B5EF4-FFF2-40B4-BE49-F238E27FC236}">
                  <a16:creationId xmlns:a16="http://schemas.microsoft.com/office/drawing/2014/main" id="{E9BE0CEE-FB80-F49F-1EB5-C7385CCFFB8D}"/>
                </a:ext>
              </a:extLst>
            </p:cNvPr>
            <p:cNvSpPr>
              <a:spLocks/>
            </p:cNvSpPr>
            <p:nvPr/>
          </p:nvSpPr>
          <p:spPr bwMode="auto">
            <a:xfrm>
              <a:off x="7711978" y="3420905"/>
              <a:ext cx="103355" cy="180730"/>
            </a:xfrm>
            <a:custGeom>
              <a:avLst/>
              <a:gdLst>
                <a:gd name="T0" fmla="*/ 3 w 70"/>
                <a:gd name="T1" fmla="*/ 0 h 134"/>
                <a:gd name="T2" fmla="*/ 3 w 70"/>
                <a:gd name="T3" fmla="*/ 0 h 134"/>
                <a:gd name="T4" fmla="*/ 0 w 70"/>
                <a:gd name="T5" fmla="*/ 0 h 134"/>
                <a:gd name="T6" fmla="*/ 0 w 70"/>
                <a:gd name="T7" fmla="*/ 11 h 134"/>
                <a:gd name="T8" fmla="*/ 0 w 70"/>
                <a:gd name="T9" fmla="*/ 11 h 134"/>
                <a:gd name="T10" fmla="*/ 3 w 70"/>
                <a:gd name="T11" fmla="*/ 11 h 134"/>
                <a:gd name="T12" fmla="*/ 3 w 70"/>
                <a:gd name="T13" fmla="*/ 11 h 134"/>
                <a:gd name="T14" fmla="*/ 14 w 70"/>
                <a:gd name="T15" fmla="*/ 12 h 134"/>
                <a:gd name="T16" fmla="*/ 23 w 70"/>
                <a:gd name="T17" fmla="*/ 16 h 134"/>
                <a:gd name="T18" fmla="*/ 33 w 70"/>
                <a:gd name="T19" fmla="*/ 21 h 134"/>
                <a:gd name="T20" fmla="*/ 42 w 70"/>
                <a:gd name="T21" fmla="*/ 28 h 134"/>
                <a:gd name="T22" fmla="*/ 48 w 70"/>
                <a:gd name="T23" fmla="*/ 36 h 134"/>
                <a:gd name="T24" fmla="*/ 53 w 70"/>
                <a:gd name="T25" fmla="*/ 45 h 134"/>
                <a:gd name="T26" fmla="*/ 57 w 70"/>
                <a:gd name="T27" fmla="*/ 55 h 134"/>
                <a:gd name="T28" fmla="*/ 58 w 70"/>
                <a:gd name="T29" fmla="*/ 66 h 134"/>
                <a:gd name="T30" fmla="*/ 58 w 70"/>
                <a:gd name="T31" fmla="*/ 66 h 134"/>
                <a:gd name="T32" fmla="*/ 57 w 70"/>
                <a:gd name="T33" fmla="*/ 79 h 134"/>
                <a:gd name="T34" fmla="*/ 53 w 70"/>
                <a:gd name="T35" fmla="*/ 89 h 134"/>
                <a:gd name="T36" fmla="*/ 48 w 70"/>
                <a:gd name="T37" fmla="*/ 98 h 134"/>
                <a:gd name="T38" fmla="*/ 42 w 70"/>
                <a:gd name="T39" fmla="*/ 106 h 134"/>
                <a:gd name="T40" fmla="*/ 33 w 70"/>
                <a:gd name="T41" fmla="*/ 113 h 134"/>
                <a:gd name="T42" fmla="*/ 23 w 70"/>
                <a:gd name="T43" fmla="*/ 118 h 134"/>
                <a:gd name="T44" fmla="*/ 14 w 70"/>
                <a:gd name="T45" fmla="*/ 122 h 134"/>
                <a:gd name="T46" fmla="*/ 3 w 70"/>
                <a:gd name="T47" fmla="*/ 123 h 134"/>
                <a:gd name="T48" fmla="*/ 3 w 70"/>
                <a:gd name="T49" fmla="*/ 123 h 134"/>
                <a:gd name="T50" fmla="*/ 0 w 70"/>
                <a:gd name="T51" fmla="*/ 123 h 134"/>
                <a:gd name="T52" fmla="*/ 0 w 70"/>
                <a:gd name="T53" fmla="*/ 134 h 134"/>
                <a:gd name="T54" fmla="*/ 0 w 70"/>
                <a:gd name="T55" fmla="*/ 134 h 134"/>
                <a:gd name="T56" fmla="*/ 3 w 70"/>
                <a:gd name="T57" fmla="*/ 134 h 134"/>
                <a:gd name="T58" fmla="*/ 3 w 70"/>
                <a:gd name="T59" fmla="*/ 134 h 134"/>
                <a:gd name="T60" fmla="*/ 16 w 70"/>
                <a:gd name="T61" fmla="*/ 133 h 134"/>
                <a:gd name="T62" fmla="*/ 28 w 70"/>
                <a:gd name="T63" fmla="*/ 129 h 134"/>
                <a:gd name="T64" fmla="*/ 41 w 70"/>
                <a:gd name="T65" fmla="*/ 123 h 134"/>
                <a:gd name="T66" fmla="*/ 51 w 70"/>
                <a:gd name="T67" fmla="*/ 114 h 134"/>
                <a:gd name="T68" fmla="*/ 58 w 70"/>
                <a:gd name="T69" fmla="*/ 105 h 134"/>
                <a:gd name="T70" fmla="*/ 64 w 70"/>
                <a:gd name="T71" fmla="*/ 93 h 134"/>
                <a:gd name="T72" fmla="*/ 69 w 70"/>
                <a:gd name="T73" fmla="*/ 81 h 134"/>
                <a:gd name="T74" fmla="*/ 70 w 70"/>
                <a:gd name="T75" fmla="*/ 68 h 134"/>
                <a:gd name="T76" fmla="*/ 70 w 70"/>
                <a:gd name="T77" fmla="*/ 68 h 134"/>
                <a:gd name="T78" fmla="*/ 69 w 70"/>
                <a:gd name="T79" fmla="*/ 53 h 134"/>
                <a:gd name="T80" fmla="*/ 64 w 70"/>
                <a:gd name="T81" fmla="*/ 40 h 134"/>
                <a:gd name="T82" fmla="*/ 58 w 70"/>
                <a:gd name="T83" fmla="*/ 29 h 134"/>
                <a:gd name="T84" fmla="*/ 51 w 70"/>
                <a:gd name="T85" fmla="*/ 19 h 134"/>
                <a:gd name="T86" fmla="*/ 41 w 70"/>
                <a:gd name="T87" fmla="*/ 11 h 134"/>
                <a:gd name="T88" fmla="*/ 28 w 70"/>
                <a:gd name="T89" fmla="*/ 5 h 134"/>
                <a:gd name="T90" fmla="*/ 16 w 70"/>
                <a:gd name="T91" fmla="*/ 1 h 134"/>
                <a:gd name="T92" fmla="*/ 3 w 70"/>
                <a:gd name="T93" fmla="*/ 0 h 134"/>
                <a:gd name="T94" fmla="*/ 3 w 70"/>
                <a:gd name="T95"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0" h="134">
                  <a:moveTo>
                    <a:pt x="3" y="0"/>
                  </a:moveTo>
                  <a:lnTo>
                    <a:pt x="3" y="0"/>
                  </a:lnTo>
                  <a:lnTo>
                    <a:pt x="0" y="0"/>
                  </a:lnTo>
                  <a:lnTo>
                    <a:pt x="0" y="11"/>
                  </a:lnTo>
                  <a:lnTo>
                    <a:pt x="0" y="11"/>
                  </a:lnTo>
                  <a:lnTo>
                    <a:pt x="3" y="11"/>
                  </a:lnTo>
                  <a:lnTo>
                    <a:pt x="3" y="11"/>
                  </a:lnTo>
                  <a:lnTo>
                    <a:pt x="14" y="12"/>
                  </a:lnTo>
                  <a:lnTo>
                    <a:pt x="23" y="16"/>
                  </a:lnTo>
                  <a:lnTo>
                    <a:pt x="33" y="21"/>
                  </a:lnTo>
                  <a:lnTo>
                    <a:pt x="42" y="28"/>
                  </a:lnTo>
                  <a:lnTo>
                    <a:pt x="48" y="36"/>
                  </a:lnTo>
                  <a:lnTo>
                    <a:pt x="53" y="45"/>
                  </a:lnTo>
                  <a:lnTo>
                    <a:pt x="57" y="55"/>
                  </a:lnTo>
                  <a:lnTo>
                    <a:pt x="58" y="66"/>
                  </a:lnTo>
                  <a:lnTo>
                    <a:pt x="58" y="66"/>
                  </a:lnTo>
                  <a:lnTo>
                    <a:pt x="57" y="79"/>
                  </a:lnTo>
                  <a:lnTo>
                    <a:pt x="53" y="89"/>
                  </a:lnTo>
                  <a:lnTo>
                    <a:pt x="48" y="98"/>
                  </a:lnTo>
                  <a:lnTo>
                    <a:pt x="42" y="106"/>
                  </a:lnTo>
                  <a:lnTo>
                    <a:pt x="33" y="113"/>
                  </a:lnTo>
                  <a:lnTo>
                    <a:pt x="23" y="118"/>
                  </a:lnTo>
                  <a:lnTo>
                    <a:pt x="14" y="122"/>
                  </a:lnTo>
                  <a:lnTo>
                    <a:pt x="3" y="123"/>
                  </a:lnTo>
                  <a:lnTo>
                    <a:pt x="3" y="123"/>
                  </a:lnTo>
                  <a:lnTo>
                    <a:pt x="0" y="123"/>
                  </a:lnTo>
                  <a:lnTo>
                    <a:pt x="0" y="134"/>
                  </a:lnTo>
                  <a:lnTo>
                    <a:pt x="0" y="134"/>
                  </a:lnTo>
                  <a:lnTo>
                    <a:pt x="3" y="134"/>
                  </a:lnTo>
                  <a:lnTo>
                    <a:pt x="3" y="134"/>
                  </a:lnTo>
                  <a:lnTo>
                    <a:pt x="16" y="133"/>
                  </a:lnTo>
                  <a:lnTo>
                    <a:pt x="28" y="129"/>
                  </a:lnTo>
                  <a:lnTo>
                    <a:pt x="41" y="123"/>
                  </a:lnTo>
                  <a:lnTo>
                    <a:pt x="51" y="114"/>
                  </a:lnTo>
                  <a:lnTo>
                    <a:pt x="58" y="105"/>
                  </a:lnTo>
                  <a:lnTo>
                    <a:pt x="64" y="93"/>
                  </a:lnTo>
                  <a:lnTo>
                    <a:pt x="69" y="81"/>
                  </a:lnTo>
                  <a:lnTo>
                    <a:pt x="70" y="68"/>
                  </a:lnTo>
                  <a:lnTo>
                    <a:pt x="70" y="68"/>
                  </a:lnTo>
                  <a:lnTo>
                    <a:pt x="69" y="53"/>
                  </a:lnTo>
                  <a:lnTo>
                    <a:pt x="64" y="40"/>
                  </a:lnTo>
                  <a:lnTo>
                    <a:pt x="58" y="29"/>
                  </a:lnTo>
                  <a:lnTo>
                    <a:pt x="51" y="19"/>
                  </a:lnTo>
                  <a:lnTo>
                    <a:pt x="41" y="11"/>
                  </a:lnTo>
                  <a:lnTo>
                    <a:pt x="28" y="5"/>
                  </a:lnTo>
                  <a:lnTo>
                    <a:pt x="16" y="1"/>
                  </a:lnTo>
                  <a:lnTo>
                    <a:pt x="3" y="0"/>
                  </a:lnTo>
                  <a:lnTo>
                    <a:pt x="3" y="0"/>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grpSp>
        <p:nvGrpSpPr>
          <p:cNvPr id="455" name="Group 454">
            <a:extLst>
              <a:ext uri="{FF2B5EF4-FFF2-40B4-BE49-F238E27FC236}">
                <a16:creationId xmlns:a16="http://schemas.microsoft.com/office/drawing/2014/main" id="{93549622-0A9F-8A24-238D-AE2CA8EA3BB2}"/>
              </a:ext>
            </a:extLst>
          </p:cNvPr>
          <p:cNvGrpSpPr/>
          <p:nvPr/>
        </p:nvGrpSpPr>
        <p:grpSpPr>
          <a:xfrm>
            <a:off x="9501686" y="2629395"/>
            <a:ext cx="1285115" cy="1139420"/>
            <a:chOff x="8933974" y="1324350"/>
            <a:chExt cx="1112838" cy="1114425"/>
          </a:xfrm>
        </p:grpSpPr>
        <p:sp>
          <p:nvSpPr>
            <p:cNvPr id="442" name="Freeform 5">
              <a:extLst>
                <a:ext uri="{FF2B5EF4-FFF2-40B4-BE49-F238E27FC236}">
                  <a16:creationId xmlns:a16="http://schemas.microsoft.com/office/drawing/2014/main" id="{E45B3AFF-8726-4CF6-A6FF-E0F07C7E1A5E}"/>
                </a:ext>
              </a:extLst>
            </p:cNvPr>
            <p:cNvSpPr>
              <a:spLocks/>
            </p:cNvSpPr>
            <p:nvPr/>
          </p:nvSpPr>
          <p:spPr bwMode="auto">
            <a:xfrm>
              <a:off x="8933974" y="1324350"/>
              <a:ext cx="1112838" cy="1114425"/>
            </a:xfrm>
            <a:custGeom>
              <a:avLst/>
              <a:gdLst>
                <a:gd name="T0" fmla="*/ 333 w 701"/>
                <a:gd name="T1" fmla="*/ 701 h 702"/>
                <a:gd name="T2" fmla="*/ 280 w 701"/>
                <a:gd name="T3" fmla="*/ 695 h 702"/>
                <a:gd name="T4" fmla="*/ 231 w 701"/>
                <a:gd name="T5" fmla="*/ 680 h 702"/>
                <a:gd name="T6" fmla="*/ 184 w 701"/>
                <a:gd name="T7" fmla="*/ 659 h 702"/>
                <a:gd name="T8" fmla="*/ 141 w 701"/>
                <a:gd name="T9" fmla="*/ 632 h 702"/>
                <a:gd name="T10" fmla="*/ 102 w 701"/>
                <a:gd name="T11" fmla="*/ 598 h 702"/>
                <a:gd name="T12" fmla="*/ 70 w 701"/>
                <a:gd name="T13" fmla="*/ 561 h 702"/>
                <a:gd name="T14" fmla="*/ 43 w 701"/>
                <a:gd name="T15" fmla="*/ 518 h 702"/>
                <a:gd name="T16" fmla="*/ 21 w 701"/>
                <a:gd name="T17" fmla="*/ 471 h 702"/>
                <a:gd name="T18" fmla="*/ 7 w 701"/>
                <a:gd name="T19" fmla="*/ 422 h 702"/>
                <a:gd name="T20" fmla="*/ 1 w 701"/>
                <a:gd name="T21" fmla="*/ 369 h 702"/>
                <a:gd name="T22" fmla="*/ 1 w 701"/>
                <a:gd name="T23" fmla="*/ 333 h 702"/>
                <a:gd name="T24" fmla="*/ 7 w 701"/>
                <a:gd name="T25" fmla="*/ 280 h 702"/>
                <a:gd name="T26" fmla="*/ 21 w 701"/>
                <a:gd name="T27" fmla="*/ 231 h 702"/>
                <a:gd name="T28" fmla="*/ 43 w 701"/>
                <a:gd name="T29" fmla="*/ 184 h 702"/>
                <a:gd name="T30" fmla="*/ 70 w 701"/>
                <a:gd name="T31" fmla="*/ 142 h 702"/>
                <a:gd name="T32" fmla="*/ 102 w 701"/>
                <a:gd name="T33" fmla="*/ 104 h 702"/>
                <a:gd name="T34" fmla="*/ 141 w 701"/>
                <a:gd name="T35" fmla="*/ 70 h 702"/>
                <a:gd name="T36" fmla="*/ 184 w 701"/>
                <a:gd name="T37" fmla="*/ 43 h 702"/>
                <a:gd name="T38" fmla="*/ 231 w 701"/>
                <a:gd name="T39" fmla="*/ 22 h 702"/>
                <a:gd name="T40" fmla="*/ 280 w 701"/>
                <a:gd name="T41" fmla="*/ 7 h 702"/>
                <a:gd name="T42" fmla="*/ 333 w 701"/>
                <a:gd name="T43" fmla="*/ 1 h 702"/>
                <a:gd name="T44" fmla="*/ 369 w 701"/>
                <a:gd name="T45" fmla="*/ 1 h 702"/>
                <a:gd name="T46" fmla="*/ 422 w 701"/>
                <a:gd name="T47" fmla="*/ 7 h 702"/>
                <a:gd name="T48" fmla="*/ 471 w 701"/>
                <a:gd name="T49" fmla="*/ 22 h 702"/>
                <a:gd name="T50" fmla="*/ 518 w 701"/>
                <a:gd name="T51" fmla="*/ 43 h 702"/>
                <a:gd name="T52" fmla="*/ 560 w 701"/>
                <a:gd name="T53" fmla="*/ 70 h 702"/>
                <a:gd name="T54" fmla="*/ 598 w 701"/>
                <a:gd name="T55" fmla="*/ 104 h 702"/>
                <a:gd name="T56" fmla="*/ 631 w 701"/>
                <a:gd name="T57" fmla="*/ 142 h 702"/>
                <a:gd name="T58" fmla="*/ 659 w 701"/>
                <a:gd name="T59" fmla="*/ 184 h 702"/>
                <a:gd name="T60" fmla="*/ 680 w 701"/>
                <a:gd name="T61" fmla="*/ 231 h 702"/>
                <a:gd name="T62" fmla="*/ 694 w 701"/>
                <a:gd name="T63" fmla="*/ 280 h 702"/>
                <a:gd name="T64" fmla="*/ 701 w 701"/>
                <a:gd name="T65" fmla="*/ 333 h 702"/>
                <a:gd name="T66" fmla="*/ 701 w 701"/>
                <a:gd name="T67" fmla="*/ 369 h 702"/>
                <a:gd name="T68" fmla="*/ 694 w 701"/>
                <a:gd name="T69" fmla="*/ 422 h 702"/>
                <a:gd name="T70" fmla="*/ 680 w 701"/>
                <a:gd name="T71" fmla="*/ 471 h 702"/>
                <a:gd name="T72" fmla="*/ 659 w 701"/>
                <a:gd name="T73" fmla="*/ 518 h 702"/>
                <a:gd name="T74" fmla="*/ 631 w 701"/>
                <a:gd name="T75" fmla="*/ 561 h 702"/>
                <a:gd name="T76" fmla="*/ 598 w 701"/>
                <a:gd name="T77" fmla="*/ 598 h 702"/>
                <a:gd name="T78" fmla="*/ 560 w 701"/>
                <a:gd name="T79" fmla="*/ 632 h 702"/>
                <a:gd name="T80" fmla="*/ 518 w 701"/>
                <a:gd name="T81" fmla="*/ 659 h 702"/>
                <a:gd name="T82" fmla="*/ 471 w 701"/>
                <a:gd name="T83" fmla="*/ 680 h 702"/>
                <a:gd name="T84" fmla="*/ 422 w 701"/>
                <a:gd name="T85" fmla="*/ 695 h 702"/>
                <a:gd name="T86" fmla="*/ 369 w 701"/>
                <a:gd name="T87" fmla="*/ 70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2">
                  <a:moveTo>
                    <a:pt x="350" y="702"/>
                  </a:moveTo>
                  <a:lnTo>
                    <a:pt x="350" y="702"/>
                  </a:lnTo>
                  <a:lnTo>
                    <a:pt x="333" y="701"/>
                  </a:lnTo>
                  <a:lnTo>
                    <a:pt x="315" y="699"/>
                  </a:lnTo>
                  <a:lnTo>
                    <a:pt x="297" y="697"/>
                  </a:lnTo>
                  <a:lnTo>
                    <a:pt x="280" y="695"/>
                  </a:lnTo>
                  <a:lnTo>
                    <a:pt x="263" y="691"/>
                  </a:lnTo>
                  <a:lnTo>
                    <a:pt x="247" y="686"/>
                  </a:lnTo>
                  <a:lnTo>
                    <a:pt x="231" y="680"/>
                  </a:lnTo>
                  <a:lnTo>
                    <a:pt x="215" y="674"/>
                  </a:lnTo>
                  <a:lnTo>
                    <a:pt x="199" y="667"/>
                  </a:lnTo>
                  <a:lnTo>
                    <a:pt x="184" y="659"/>
                  </a:lnTo>
                  <a:lnTo>
                    <a:pt x="169" y="651"/>
                  </a:lnTo>
                  <a:lnTo>
                    <a:pt x="155" y="641"/>
                  </a:lnTo>
                  <a:lnTo>
                    <a:pt x="141" y="632"/>
                  </a:lnTo>
                  <a:lnTo>
                    <a:pt x="128" y="622"/>
                  </a:lnTo>
                  <a:lnTo>
                    <a:pt x="115" y="611"/>
                  </a:lnTo>
                  <a:lnTo>
                    <a:pt x="102" y="598"/>
                  </a:lnTo>
                  <a:lnTo>
                    <a:pt x="91" y="587"/>
                  </a:lnTo>
                  <a:lnTo>
                    <a:pt x="80" y="574"/>
                  </a:lnTo>
                  <a:lnTo>
                    <a:pt x="70" y="561"/>
                  </a:lnTo>
                  <a:lnTo>
                    <a:pt x="60" y="546"/>
                  </a:lnTo>
                  <a:lnTo>
                    <a:pt x="51" y="533"/>
                  </a:lnTo>
                  <a:lnTo>
                    <a:pt x="43" y="518"/>
                  </a:lnTo>
                  <a:lnTo>
                    <a:pt x="35" y="503"/>
                  </a:lnTo>
                  <a:lnTo>
                    <a:pt x="28" y="487"/>
                  </a:lnTo>
                  <a:lnTo>
                    <a:pt x="21" y="471"/>
                  </a:lnTo>
                  <a:lnTo>
                    <a:pt x="16" y="455"/>
                  </a:lnTo>
                  <a:lnTo>
                    <a:pt x="11" y="439"/>
                  </a:lnTo>
                  <a:lnTo>
                    <a:pt x="7" y="422"/>
                  </a:lnTo>
                  <a:lnTo>
                    <a:pt x="5" y="405"/>
                  </a:lnTo>
                  <a:lnTo>
                    <a:pt x="2" y="387"/>
                  </a:lnTo>
                  <a:lnTo>
                    <a:pt x="1" y="369"/>
                  </a:lnTo>
                  <a:lnTo>
                    <a:pt x="0" y="352"/>
                  </a:lnTo>
                  <a:lnTo>
                    <a:pt x="0" y="352"/>
                  </a:lnTo>
                  <a:lnTo>
                    <a:pt x="1" y="333"/>
                  </a:lnTo>
                  <a:lnTo>
                    <a:pt x="2" y="316"/>
                  </a:lnTo>
                  <a:lnTo>
                    <a:pt x="5" y="297"/>
                  </a:lnTo>
                  <a:lnTo>
                    <a:pt x="7" y="280"/>
                  </a:lnTo>
                  <a:lnTo>
                    <a:pt x="11" y="264"/>
                  </a:lnTo>
                  <a:lnTo>
                    <a:pt x="16" y="247"/>
                  </a:lnTo>
                  <a:lnTo>
                    <a:pt x="21" y="231"/>
                  </a:lnTo>
                  <a:lnTo>
                    <a:pt x="28" y="215"/>
                  </a:lnTo>
                  <a:lnTo>
                    <a:pt x="35" y="199"/>
                  </a:lnTo>
                  <a:lnTo>
                    <a:pt x="43" y="184"/>
                  </a:lnTo>
                  <a:lnTo>
                    <a:pt x="51" y="169"/>
                  </a:lnTo>
                  <a:lnTo>
                    <a:pt x="60" y="155"/>
                  </a:lnTo>
                  <a:lnTo>
                    <a:pt x="70" y="142"/>
                  </a:lnTo>
                  <a:lnTo>
                    <a:pt x="80" y="128"/>
                  </a:lnTo>
                  <a:lnTo>
                    <a:pt x="91" y="116"/>
                  </a:lnTo>
                  <a:lnTo>
                    <a:pt x="102" y="104"/>
                  </a:lnTo>
                  <a:lnTo>
                    <a:pt x="115" y="91"/>
                  </a:lnTo>
                  <a:lnTo>
                    <a:pt x="128" y="80"/>
                  </a:lnTo>
                  <a:lnTo>
                    <a:pt x="141" y="70"/>
                  </a:lnTo>
                  <a:lnTo>
                    <a:pt x="155" y="60"/>
                  </a:lnTo>
                  <a:lnTo>
                    <a:pt x="169" y="52"/>
                  </a:lnTo>
                  <a:lnTo>
                    <a:pt x="184" y="43"/>
                  </a:lnTo>
                  <a:lnTo>
                    <a:pt x="199" y="35"/>
                  </a:lnTo>
                  <a:lnTo>
                    <a:pt x="215" y="28"/>
                  </a:lnTo>
                  <a:lnTo>
                    <a:pt x="231" y="22"/>
                  </a:lnTo>
                  <a:lnTo>
                    <a:pt x="247" y="16"/>
                  </a:lnTo>
                  <a:lnTo>
                    <a:pt x="263" y="11"/>
                  </a:lnTo>
                  <a:lnTo>
                    <a:pt x="280" y="7"/>
                  </a:lnTo>
                  <a:lnTo>
                    <a:pt x="297" y="5"/>
                  </a:lnTo>
                  <a:lnTo>
                    <a:pt x="315" y="2"/>
                  </a:lnTo>
                  <a:lnTo>
                    <a:pt x="333" y="1"/>
                  </a:lnTo>
                  <a:lnTo>
                    <a:pt x="350" y="0"/>
                  </a:lnTo>
                  <a:lnTo>
                    <a:pt x="350" y="0"/>
                  </a:lnTo>
                  <a:lnTo>
                    <a:pt x="369" y="1"/>
                  </a:lnTo>
                  <a:lnTo>
                    <a:pt x="386" y="2"/>
                  </a:lnTo>
                  <a:lnTo>
                    <a:pt x="405" y="5"/>
                  </a:lnTo>
                  <a:lnTo>
                    <a:pt x="422" y="7"/>
                  </a:lnTo>
                  <a:lnTo>
                    <a:pt x="438" y="11"/>
                  </a:lnTo>
                  <a:lnTo>
                    <a:pt x="455" y="16"/>
                  </a:lnTo>
                  <a:lnTo>
                    <a:pt x="471" y="22"/>
                  </a:lnTo>
                  <a:lnTo>
                    <a:pt x="487" y="28"/>
                  </a:lnTo>
                  <a:lnTo>
                    <a:pt x="503" y="35"/>
                  </a:lnTo>
                  <a:lnTo>
                    <a:pt x="518" y="43"/>
                  </a:lnTo>
                  <a:lnTo>
                    <a:pt x="533" y="52"/>
                  </a:lnTo>
                  <a:lnTo>
                    <a:pt x="546" y="60"/>
                  </a:lnTo>
                  <a:lnTo>
                    <a:pt x="560" y="70"/>
                  </a:lnTo>
                  <a:lnTo>
                    <a:pt x="574" y="80"/>
                  </a:lnTo>
                  <a:lnTo>
                    <a:pt x="586" y="91"/>
                  </a:lnTo>
                  <a:lnTo>
                    <a:pt x="598" y="104"/>
                  </a:lnTo>
                  <a:lnTo>
                    <a:pt x="611" y="116"/>
                  </a:lnTo>
                  <a:lnTo>
                    <a:pt x="622" y="128"/>
                  </a:lnTo>
                  <a:lnTo>
                    <a:pt x="631" y="142"/>
                  </a:lnTo>
                  <a:lnTo>
                    <a:pt x="641" y="155"/>
                  </a:lnTo>
                  <a:lnTo>
                    <a:pt x="650" y="169"/>
                  </a:lnTo>
                  <a:lnTo>
                    <a:pt x="659" y="184"/>
                  </a:lnTo>
                  <a:lnTo>
                    <a:pt x="666" y="199"/>
                  </a:lnTo>
                  <a:lnTo>
                    <a:pt x="673" y="215"/>
                  </a:lnTo>
                  <a:lnTo>
                    <a:pt x="680" y="231"/>
                  </a:lnTo>
                  <a:lnTo>
                    <a:pt x="686" y="247"/>
                  </a:lnTo>
                  <a:lnTo>
                    <a:pt x="691" y="264"/>
                  </a:lnTo>
                  <a:lnTo>
                    <a:pt x="694" y="280"/>
                  </a:lnTo>
                  <a:lnTo>
                    <a:pt x="697" y="297"/>
                  </a:lnTo>
                  <a:lnTo>
                    <a:pt x="699" y="316"/>
                  </a:lnTo>
                  <a:lnTo>
                    <a:pt x="701" y="333"/>
                  </a:lnTo>
                  <a:lnTo>
                    <a:pt x="701" y="352"/>
                  </a:lnTo>
                  <a:lnTo>
                    <a:pt x="701" y="352"/>
                  </a:lnTo>
                  <a:lnTo>
                    <a:pt x="701" y="369"/>
                  </a:lnTo>
                  <a:lnTo>
                    <a:pt x="699" y="387"/>
                  </a:lnTo>
                  <a:lnTo>
                    <a:pt x="697" y="405"/>
                  </a:lnTo>
                  <a:lnTo>
                    <a:pt x="694" y="422"/>
                  </a:lnTo>
                  <a:lnTo>
                    <a:pt x="691" y="439"/>
                  </a:lnTo>
                  <a:lnTo>
                    <a:pt x="686" y="455"/>
                  </a:lnTo>
                  <a:lnTo>
                    <a:pt x="680" y="471"/>
                  </a:lnTo>
                  <a:lnTo>
                    <a:pt x="673" y="487"/>
                  </a:lnTo>
                  <a:lnTo>
                    <a:pt x="666" y="503"/>
                  </a:lnTo>
                  <a:lnTo>
                    <a:pt x="659" y="518"/>
                  </a:lnTo>
                  <a:lnTo>
                    <a:pt x="650" y="533"/>
                  </a:lnTo>
                  <a:lnTo>
                    <a:pt x="641" y="546"/>
                  </a:lnTo>
                  <a:lnTo>
                    <a:pt x="631" y="561"/>
                  </a:lnTo>
                  <a:lnTo>
                    <a:pt x="622" y="574"/>
                  </a:lnTo>
                  <a:lnTo>
                    <a:pt x="611" y="587"/>
                  </a:lnTo>
                  <a:lnTo>
                    <a:pt x="598" y="598"/>
                  </a:lnTo>
                  <a:lnTo>
                    <a:pt x="586" y="611"/>
                  </a:lnTo>
                  <a:lnTo>
                    <a:pt x="574" y="622"/>
                  </a:lnTo>
                  <a:lnTo>
                    <a:pt x="560" y="632"/>
                  </a:lnTo>
                  <a:lnTo>
                    <a:pt x="546" y="641"/>
                  </a:lnTo>
                  <a:lnTo>
                    <a:pt x="533" y="651"/>
                  </a:lnTo>
                  <a:lnTo>
                    <a:pt x="518" y="659"/>
                  </a:lnTo>
                  <a:lnTo>
                    <a:pt x="503" y="667"/>
                  </a:lnTo>
                  <a:lnTo>
                    <a:pt x="487" y="674"/>
                  </a:lnTo>
                  <a:lnTo>
                    <a:pt x="471" y="680"/>
                  </a:lnTo>
                  <a:lnTo>
                    <a:pt x="455" y="686"/>
                  </a:lnTo>
                  <a:lnTo>
                    <a:pt x="438" y="691"/>
                  </a:lnTo>
                  <a:lnTo>
                    <a:pt x="422" y="695"/>
                  </a:lnTo>
                  <a:lnTo>
                    <a:pt x="405" y="697"/>
                  </a:lnTo>
                  <a:lnTo>
                    <a:pt x="386" y="699"/>
                  </a:lnTo>
                  <a:lnTo>
                    <a:pt x="369" y="701"/>
                  </a:lnTo>
                  <a:lnTo>
                    <a:pt x="350" y="702"/>
                  </a:lnTo>
                  <a:lnTo>
                    <a:pt x="350" y="702"/>
                  </a:lnTo>
                  <a:close/>
                </a:path>
              </a:pathLst>
            </a:custGeom>
            <a:solidFill>
              <a:srgbClr val="470A6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4" name="Rectangle 127">
              <a:extLst>
                <a:ext uri="{FF2B5EF4-FFF2-40B4-BE49-F238E27FC236}">
                  <a16:creationId xmlns:a16="http://schemas.microsoft.com/office/drawing/2014/main" id="{6432ABE3-2AC8-1B00-F3C7-41B91B33969C}"/>
                </a:ext>
              </a:extLst>
            </p:cNvPr>
            <p:cNvSpPr>
              <a:spLocks noChangeArrowheads="1"/>
            </p:cNvSpPr>
            <p:nvPr/>
          </p:nvSpPr>
          <p:spPr bwMode="auto">
            <a:xfrm>
              <a:off x="9438799" y="1997450"/>
              <a:ext cx="131763" cy="42863"/>
            </a:xfrm>
            <a:prstGeom prst="rect">
              <a:avLst/>
            </a:prstGeom>
            <a:solidFill>
              <a:srgbClr val="F99B1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5" name="Freeform 128">
              <a:extLst>
                <a:ext uri="{FF2B5EF4-FFF2-40B4-BE49-F238E27FC236}">
                  <a16:creationId xmlns:a16="http://schemas.microsoft.com/office/drawing/2014/main" id="{4454BEB6-7DFB-98F4-B2AE-C0D75774CD01}"/>
                </a:ext>
              </a:extLst>
            </p:cNvPr>
            <p:cNvSpPr>
              <a:spLocks/>
            </p:cNvSpPr>
            <p:nvPr/>
          </p:nvSpPr>
          <p:spPr bwMode="auto">
            <a:xfrm>
              <a:off x="9356249" y="1595813"/>
              <a:ext cx="296863" cy="309563"/>
            </a:xfrm>
            <a:custGeom>
              <a:avLst/>
              <a:gdLst>
                <a:gd name="T0" fmla="*/ 8 w 187"/>
                <a:gd name="T1" fmla="*/ 0 h 195"/>
                <a:gd name="T2" fmla="*/ 8 w 187"/>
                <a:gd name="T3" fmla="*/ 0 h 195"/>
                <a:gd name="T4" fmla="*/ 4 w 187"/>
                <a:gd name="T5" fmla="*/ 12 h 195"/>
                <a:gd name="T6" fmla="*/ 2 w 187"/>
                <a:gd name="T7" fmla="*/ 24 h 195"/>
                <a:gd name="T8" fmla="*/ 0 w 187"/>
                <a:gd name="T9" fmla="*/ 36 h 195"/>
                <a:gd name="T10" fmla="*/ 0 w 187"/>
                <a:gd name="T11" fmla="*/ 49 h 195"/>
                <a:gd name="T12" fmla="*/ 0 w 187"/>
                <a:gd name="T13" fmla="*/ 49 h 195"/>
                <a:gd name="T14" fmla="*/ 0 w 187"/>
                <a:gd name="T15" fmla="*/ 61 h 195"/>
                <a:gd name="T16" fmla="*/ 2 w 187"/>
                <a:gd name="T17" fmla="*/ 72 h 195"/>
                <a:gd name="T18" fmla="*/ 4 w 187"/>
                <a:gd name="T19" fmla="*/ 84 h 195"/>
                <a:gd name="T20" fmla="*/ 7 w 187"/>
                <a:gd name="T21" fmla="*/ 95 h 195"/>
                <a:gd name="T22" fmla="*/ 10 w 187"/>
                <a:gd name="T23" fmla="*/ 107 h 195"/>
                <a:gd name="T24" fmla="*/ 15 w 187"/>
                <a:gd name="T25" fmla="*/ 116 h 195"/>
                <a:gd name="T26" fmla="*/ 20 w 187"/>
                <a:gd name="T27" fmla="*/ 128 h 195"/>
                <a:gd name="T28" fmla="*/ 26 w 187"/>
                <a:gd name="T29" fmla="*/ 137 h 195"/>
                <a:gd name="T30" fmla="*/ 32 w 187"/>
                <a:gd name="T31" fmla="*/ 146 h 195"/>
                <a:gd name="T32" fmla="*/ 40 w 187"/>
                <a:gd name="T33" fmla="*/ 155 h 195"/>
                <a:gd name="T34" fmla="*/ 47 w 187"/>
                <a:gd name="T35" fmla="*/ 163 h 195"/>
                <a:gd name="T36" fmla="*/ 56 w 187"/>
                <a:gd name="T37" fmla="*/ 171 h 195"/>
                <a:gd name="T38" fmla="*/ 65 w 187"/>
                <a:gd name="T39" fmla="*/ 178 h 195"/>
                <a:gd name="T40" fmla="*/ 73 w 187"/>
                <a:gd name="T41" fmla="*/ 184 h 195"/>
                <a:gd name="T42" fmla="*/ 83 w 187"/>
                <a:gd name="T43" fmla="*/ 190 h 195"/>
                <a:gd name="T44" fmla="*/ 93 w 187"/>
                <a:gd name="T45" fmla="*/ 195 h 195"/>
                <a:gd name="T46" fmla="*/ 93 w 187"/>
                <a:gd name="T47" fmla="*/ 195 h 195"/>
                <a:gd name="T48" fmla="*/ 103 w 187"/>
                <a:gd name="T49" fmla="*/ 190 h 195"/>
                <a:gd name="T50" fmla="*/ 113 w 187"/>
                <a:gd name="T51" fmla="*/ 184 h 195"/>
                <a:gd name="T52" fmla="*/ 123 w 187"/>
                <a:gd name="T53" fmla="*/ 178 h 195"/>
                <a:gd name="T54" fmla="*/ 131 w 187"/>
                <a:gd name="T55" fmla="*/ 171 h 195"/>
                <a:gd name="T56" fmla="*/ 139 w 187"/>
                <a:gd name="T57" fmla="*/ 163 h 195"/>
                <a:gd name="T58" fmla="*/ 147 w 187"/>
                <a:gd name="T59" fmla="*/ 155 h 195"/>
                <a:gd name="T60" fmla="*/ 153 w 187"/>
                <a:gd name="T61" fmla="*/ 146 h 195"/>
                <a:gd name="T62" fmla="*/ 161 w 187"/>
                <a:gd name="T63" fmla="*/ 137 h 195"/>
                <a:gd name="T64" fmla="*/ 166 w 187"/>
                <a:gd name="T65" fmla="*/ 128 h 195"/>
                <a:gd name="T66" fmla="*/ 172 w 187"/>
                <a:gd name="T67" fmla="*/ 116 h 195"/>
                <a:gd name="T68" fmla="*/ 176 w 187"/>
                <a:gd name="T69" fmla="*/ 107 h 195"/>
                <a:gd name="T70" fmla="*/ 179 w 187"/>
                <a:gd name="T71" fmla="*/ 95 h 195"/>
                <a:gd name="T72" fmla="*/ 183 w 187"/>
                <a:gd name="T73" fmla="*/ 84 h 195"/>
                <a:gd name="T74" fmla="*/ 184 w 187"/>
                <a:gd name="T75" fmla="*/ 72 h 195"/>
                <a:gd name="T76" fmla="*/ 185 w 187"/>
                <a:gd name="T77" fmla="*/ 61 h 195"/>
                <a:gd name="T78" fmla="*/ 187 w 187"/>
                <a:gd name="T79" fmla="*/ 49 h 195"/>
                <a:gd name="T80" fmla="*/ 187 w 187"/>
                <a:gd name="T81" fmla="*/ 49 h 195"/>
                <a:gd name="T82" fmla="*/ 185 w 187"/>
                <a:gd name="T83" fmla="*/ 36 h 195"/>
                <a:gd name="T84" fmla="*/ 184 w 187"/>
                <a:gd name="T85" fmla="*/ 24 h 195"/>
                <a:gd name="T86" fmla="*/ 182 w 187"/>
                <a:gd name="T87" fmla="*/ 12 h 195"/>
                <a:gd name="T88" fmla="*/ 179 w 187"/>
                <a:gd name="T89" fmla="*/ 0 h 195"/>
                <a:gd name="T90" fmla="*/ 8 w 187"/>
                <a:gd name="T91"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7" h="195">
                  <a:moveTo>
                    <a:pt x="8" y="0"/>
                  </a:moveTo>
                  <a:lnTo>
                    <a:pt x="8" y="0"/>
                  </a:lnTo>
                  <a:lnTo>
                    <a:pt x="4" y="12"/>
                  </a:lnTo>
                  <a:lnTo>
                    <a:pt x="2" y="24"/>
                  </a:lnTo>
                  <a:lnTo>
                    <a:pt x="0" y="36"/>
                  </a:lnTo>
                  <a:lnTo>
                    <a:pt x="0" y="49"/>
                  </a:lnTo>
                  <a:lnTo>
                    <a:pt x="0" y="49"/>
                  </a:lnTo>
                  <a:lnTo>
                    <a:pt x="0" y="61"/>
                  </a:lnTo>
                  <a:lnTo>
                    <a:pt x="2" y="72"/>
                  </a:lnTo>
                  <a:lnTo>
                    <a:pt x="4" y="84"/>
                  </a:lnTo>
                  <a:lnTo>
                    <a:pt x="7" y="95"/>
                  </a:lnTo>
                  <a:lnTo>
                    <a:pt x="10" y="107"/>
                  </a:lnTo>
                  <a:lnTo>
                    <a:pt x="15" y="116"/>
                  </a:lnTo>
                  <a:lnTo>
                    <a:pt x="20" y="128"/>
                  </a:lnTo>
                  <a:lnTo>
                    <a:pt x="26" y="137"/>
                  </a:lnTo>
                  <a:lnTo>
                    <a:pt x="32" y="146"/>
                  </a:lnTo>
                  <a:lnTo>
                    <a:pt x="40" y="155"/>
                  </a:lnTo>
                  <a:lnTo>
                    <a:pt x="47" y="163"/>
                  </a:lnTo>
                  <a:lnTo>
                    <a:pt x="56" y="171"/>
                  </a:lnTo>
                  <a:lnTo>
                    <a:pt x="65" y="178"/>
                  </a:lnTo>
                  <a:lnTo>
                    <a:pt x="73" y="184"/>
                  </a:lnTo>
                  <a:lnTo>
                    <a:pt x="83" y="190"/>
                  </a:lnTo>
                  <a:lnTo>
                    <a:pt x="93" y="195"/>
                  </a:lnTo>
                  <a:lnTo>
                    <a:pt x="93" y="195"/>
                  </a:lnTo>
                  <a:lnTo>
                    <a:pt x="103" y="190"/>
                  </a:lnTo>
                  <a:lnTo>
                    <a:pt x="113" y="184"/>
                  </a:lnTo>
                  <a:lnTo>
                    <a:pt x="123" y="178"/>
                  </a:lnTo>
                  <a:lnTo>
                    <a:pt x="131" y="171"/>
                  </a:lnTo>
                  <a:lnTo>
                    <a:pt x="139" y="163"/>
                  </a:lnTo>
                  <a:lnTo>
                    <a:pt x="147" y="155"/>
                  </a:lnTo>
                  <a:lnTo>
                    <a:pt x="153" y="146"/>
                  </a:lnTo>
                  <a:lnTo>
                    <a:pt x="161" y="137"/>
                  </a:lnTo>
                  <a:lnTo>
                    <a:pt x="166" y="128"/>
                  </a:lnTo>
                  <a:lnTo>
                    <a:pt x="172" y="116"/>
                  </a:lnTo>
                  <a:lnTo>
                    <a:pt x="176" y="107"/>
                  </a:lnTo>
                  <a:lnTo>
                    <a:pt x="179" y="95"/>
                  </a:lnTo>
                  <a:lnTo>
                    <a:pt x="183" y="84"/>
                  </a:lnTo>
                  <a:lnTo>
                    <a:pt x="184" y="72"/>
                  </a:lnTo>
                  <a:lnTo>
                    <a:pt x="185" y="61"/>
                  </a:lnTo>
                  <a:lnTo>
                    <a:pt x="187" y="49"/>
                  </a:lnTo>
                  <a:lnTo>
                    <a:pt x="187" y="49"/>
                  </a:lnTo>
                  <a:lnTo>
                    <a:pt x="185" y="36"/>
                  </a:lnTo>
                  <a:lnTo>
                    <a:pt x="184" y="24"/>
                  </a:lnTo>
                  <a:lnTo>
                    <a:pt x="182" y="12"/>
                  </a:lnTo>
                  <a:lnTo>
                    <a:pt x="179" y="0"/>
                  </a:lnTo>
                  <a:lnTo>
                    <a:pt x="8" y="0"/>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6" name="Freeform 129">
              <a:extLst>
                <a:ext uri="{FF2B5EF4-FFF2-40B4-BE49-F238E27FC236}">
                  <a16:creationId xmlns:a16="http://schemas.microsoft.com/office/drawing/2014/main" id="{C8BEF39D-C145-5334-F0D0-36CC4F788F55}"/>
                </a:ext>
              </a:extLst>
            </p:cNvPr>
            <p:cNvSpPr>
              <a:spLocks noEditPoints="1"/>
            </p:cNvSpPr>
            <p:nvPr/>
          </p:nvSpPr>
          <p:spPr bwMode="auto">
            <a:xfrm>
              <a:off x="9272112" y="1610100"/>
              <a:ext cx="204788" cy="252413"/>
            </a:xfrm>
            <a:custGeom>
              <a:avLst/>
              <a:gdLst>
                <a:gd name="T0" fmla="*/ 129 w 129"/>
                <a:gd name="T1" fmla="*/ 159 h 159"/>
                <a:gd name="T2" fmla="*/ 119 w 129"/>
                <a:gd name="T3" fmla="*/ 158 h 159"/>
                <a:gd name="T4" fmla="*/ 119 w 129"/>
                <a:gd name="T5" fmla="*/ 158 h 159"/>
                <a:gd name="T6" fmla="*/ 106 w 129"/>
                <a:gd name="T7" fmla="*/ 157 h 159"/>
                <a:gd name="T8" fmla="*/ 94 w 129"/>
                <a:gd name="T9" fmla="*/ 153 h 159"/>
                <a:gd name="T10" fmla="*/ 83 w 129"/>
                <a:gd name="T11" fmla="*/ 149 h 159"/>
                <a:gd name="T12" fmla="*/ 72 w 129"/>
                <a:gd name="T13" fmla="*/ 143 h 159"/>
                <a:gd name="T14" fmla="*/ 62 w 129"/>
                <a:gd name="T15" fmla="*/ 137 h 159"/>
                <a:gd name="T16" fmla="*/ 52 w 129"/>
                <a:gd name="T17" fmla="*/ 130 h 159"/>
                <a:gd name="T18" fmla="*/ 42 w 129"/>
                <a:gd name="T19" fmla="*/ 121 h 159"/>
                <a:gd name="T20" fmla="*/ 35 w 129"/>
                <a:gd name="T21" fmla="*/ 112 h 159"/>
                <a:gd name="T22" fmla="*/ 26 w 129"/>
                <a:gd name="T23" fmla="*/ 102 h 159"/>
                <a:gd name="T24" fmla="*/ 20 w 129"/>
                <a:gd name="T25" fmla="*/ 91 h 159"/>
                <a:gd name="T26" fmla="*/ 14 w 129"/>
                <a:gd name="T27" fmla="*/ 80 h 159"/>
                <a:gd name="T28" fmla="*/ 9 w 129"/>
                <a:gd name="T29" fmla="*/ 69 h 159"/>
                <a:gd name="T30" fmla="*/ 5 w 129"/>
                <a:gd name="T31" fmla="*/ 57 h 159"/>
                <a:gd name="T32" fmla="*/ 3 w 129"/>
                <a:gd name="T33" fmla="*/ 43 h 159"/>
                <a:gd name="T34" fmla="*/ 2 w 129"/>
                <a:gd name="T35" fmla="*/ 30 h 159"/>
                <a:gd name="T36" fmla="*/ 0 w 129"/>
                <a:gd name="T37" fmla="*/ 16 h 159"/>
                <a:gd name="T38" fmla="*/ 0 w 129"/>
                <a:gd name="T39" fmla="*/ 16 h 159"/>
                <a:gd name="T40" fmla="*/ 0 w 129"/>
                <a:gd name="T41" fmla="*/ 9 h 159"/>
                <a:gd name="T42" fmla="*/ 2 w 129"/>
                <a:gd name="T43" fmla="*/ 0 h 159"/>
                <a:gd name="T44" fmla="*/ 129 w 129"/>
                <a:gd name="T45" fmla="*/ 0 h 159"/>
                <a:gd name="T46" fmla="*/ 129 w 129"/>
                <a:gd name="T47" fmla="*/ 159 h 159"/>
                <a:gd name="T48" fmla="*/ 129 w 129"/>
                <a:gd name="T49" fmla="*/ 159 h 159"/>
                <a:gd name="T50" fmla="*/ 18 w 129"/>
                <a:gd name="T51" fmla="*/ 17 h 159"/>
                <a:gd name="T52" fmla="*/ 18 w 129"/>
                <a:gd name="T53" fmla="*/ 17 h 159"/>
                <a:gd name="T54" fmla="*/ 19 w 129"/>
                <a:gd name="T55" fmla="*/ 28 h 159"/>
                <a:gd name="T56" fmla="*/ 20 w 129"/>
                <a:gd name="T57" fmla="*/ 40 h 159"/>
                <a:gd name="T58" fmla="*/ 23 w 129"/>
                <a:gd name="T59" fmla="*/ 51 h 159"/>
                <a:gd name="T60" fmla="*/ 25 w 129"/>
                <a:gd name="T61" fmla="*/ 61 h 159"/>
                <a:gd name="T62" fmla="*/ 29 w 129"/>
                <a:gd name="T63" fmla="*/ 70 h 159"/>
                <a:gd name="T64" fmla="*/ 34 w 129"/>
                <a:gd name="T65" fmla="*/ 80 h 159"/>
                <a:gd name="T66" fmla="*/ 39 w 129"/>
                <a:gd name="T67" fmla="*/ 89 h 159"/>
                <a:gd name="T68" fmla="*/ 45 w 129"/>
                <a:gd name="T69" fmla="*/ 98 h 159"/>
                <a:gd name="T70" fmla="*/ 51 w 129"/>
                <a:gd name="T71" fmla="*/ 105 h 159"/>
                <a:gd name="T72" fmla="*/ 58 w 129"/>
                <a:gd name="T73" fmla="*/ 112 h 159"/>
                <a:gd name="T74" fmla="*/ 66 w 129"/>
                <a:gd name="T75" fmla="*/ 119 h 159"/>
                <a:gd name="T76" fmla="*/ 74 w 129"/>
                <a:gd name="T77" fmla="*/ 125 h 159"/>
                <a:gd name="T78" fmla="*/ 83 w 129"/>
                <a:gd name="T79" fmla="*/ 130 h 159"/>
                <a:gd name="T80" fmla="*/ 92 w 129"/>
                <a:gd name="T81" fmla="*/ 133 h 159"/>
                <a:gd name="T82" fmla="*/ 102 w 129"/>
                <a:gd name="T83" fmla="*/ 137 h 159"/>
                <a:gd name="T84" fmla="*/ 111 w 129"/>
                <a:gd name="T85" fmla="*/ 139 h 159"/>
                <a:gd name="T86" fmla="*/ 111 w 129"/>
                <a:gd name="T87" fmla="*/ 17 h 159"/>
                <a:gd name="T88" fmla="*/ 18 w 129"/>
                <a:gd name="T89" fmla="*/ 17 h 159"/>
                <a:gd name="T90" fmla="*/ 18 w 129"/>
                <a:gd name="T91" fmla="*/ 1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9" h="159">
                  <a:moveTo>
                    <a:pt x="129" y="159"/>
                  </a:moveTo>
                  <a:lnTo>
                    <a:pt x="119" y="158"/>
                  </a:lnTo>
                  <a:lnTo>
                    <a:pt x="119" y="158"/>
                  </a:lnTo>
                  <a:lnTo>
                    <a:pt x="106" y="157"/>
                  </a:lnTo>
                  <a:lnTo>
                    <a:pt x="94" y="153"/>
                  </a:lnTo>
                  <a:lnTo>
                    <a:pt x="83" y="149"/>
                  </a:lnTo>
                  <a:lnTo>
                    <a:pt x="72" y="143"/>
                  </a:lnTo>
                  <a:lnTo>
                    <a:pt x="62" y="137"/>
                  </a:lnTo>
                  <a:lnTo>
                    <a:pt x="52" y="130"/>
                  </a:lnTo>
                  <a:lnTo>
                    <a:pt x="42" y="121"/>
                  </a:lnTo>
                  <a:lnTo>
                    <a:pt x="35" y="112"/>
                  </a:lnTo>
                  <a:lnTo>
                    <a:pt x="26" y="102"/>
                  </a:lnTo>
                  <a:lnTo>
                    <a:pt x="20" y="91"/>
                  </a:lnTo>
                  <a:lnTo>
                    <a:pt x="14" y="80"/>
                  </a:lnTo>
                  <a:lnTo>
                    <a:pt x="9" y="69"/>
                  </a:lnTo>
                  <a:lnTo>
                    <a:pt x="5" y="57"/>
                  </a:lnTo>
                  <a:lnTo>
                    <a:pt x="3" y="43"/>
                  </a:lnTo>
                  <a:lnTo>
                    <a:pt x="2" y="30"/>
                  </a:lnTo>
                  <a:lnTo>
                    <a:pt x="0" y="16"/>
                  </a:lnTo>
                  <a:lnTo>
                    <a:pt x="0" y="16"/>
                  </a:lnTo>
                  <a:lnTo>
                    <a:pt x="0" y="9"/>
                  </a:lnTo>
                  <a:lnTo>
                    <a:pt x="2" y="0"/>
                  </a:lnTo>
                  <a:lnTo>
                    <a:pt x="129" y="0"/>
                  </a:lnTo>
                  <a:lnTo>
                    <a:pt x="129" y="159"/>
                  </a:lnTo>
                  <a:lnTo>
                    <a:pt x="129" y="159"/>
                  </a:lnTo>
                  <a:close/>
                  <a:moveTo>
                    <a:pt x="18" y="17"/>
                  </a:moveTo>
                  <a:lnTo>
                    <a:pt x="18" y="17"/>
                  </a:lnTo>
                  <a:lnTo>
                    <a:pt x="19" y="28"/>
                  </a:lnTo>
                  <a:lnTo>
                    <a:pt x="20" y="40"/>
                  </a:lnTo>
                  <a:lnTo>
                    <a:pt x="23" y="51"/>
                  </a:lnTo>
                  <a:lnTo>
                    <a:pt x="25" y="61"/>
                  </a:lnTo>
                  <a:lnTo>
                    <a:pt x="29" y="70"/>
                  </a:lnTo>
                  <a:lnTo>
                    <a:pt x="34" y="80"/>
                  </a:lnTo>
                  <a:lnTo>
                    <a:pt x="39" y="89"/>
                  </a:lnTo>
                  <a:lnTo>
                    <a:pt x="45" y="98"/>
                  </a:lnTo>
                  <a:lnTo>
                    <a:pt x="51" y="105"/>
                  </a:lnTo>
                  <a:lnTo>
                    <a:pt x="58" y="112"/>
                  </a:lnTo>
                  <a:lnTo>
                    <a:pt x="66" y="119"/>
                  </a:lnTo>
                  <a:lnTo>
                    <a:pt x="74" y="125"/>
                  </a:lnTo>
                  <a:lnTo>
                    <a:pt x="83" y="130"/>
                  </a:lnTo>
                  <a:lnTo>
                    <a:pt x="92" y="133"/>
                  </a:lnTo>
                  <a:lnTo>
                    <a:pt x="102" y="137"/>
                  </a:lnTo>
                  <a:lnTo>
                    <a:pt x="111" y="139"/>
                  </a:lnTo>
                  <a:lnTo>
                    <a:pt x="111" y="17"/>
                  </a:lnTo>
                  <a:lnTo>
                    <a:pt x="18" y="17"/>
                  </a:lnTo>
                  <a:lnTo>
                    <a:pt x="18" y="17"/>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7" name="Freeform 130">
              <a:extLst>
                <a:ext uri="{FF2B5EF4-FFF2-40B4-BE49-F238E27FC236}">
                  <a16:creationId xmlns:a16="http://schemas.microsoft.com/office/drawing/2014/main" id="{4EA0AFC3-0A46-389A-E249-3DDCF709C73A}"/>
                </a:ext>
              </a:extLst>
            </p:cNvPr>
            <p:cNvSpPr>
              <a:spLocks noEditPoints="1"/>
            </p:cNvSpPr>
            <p:nvPr/>
          </p:nvSpPr>
          <p:spPr bwMode="auto">
            <a:xfrm>
              <a:off x="9530874" y="1610100"/>
              <a:ext cx="206375" cy="252413"/>
            </a:xfrm>
            <a:custGeom>
              <a:avLst/>
              <a:gdLst>
                <a:gd name="T0" fmla="*/ 0 w 130"/>
                <a:gd name="T1" fmla="*/ 159 h 159"/>
                <a:gd name="T2" fmla="*/ 0 w 130"/>
                <a:gd name="T3" fmla="*/ 0 h 159"/>
                <a:gd name="T4" fmla="*/ 128 w 130"/>
                <a:gd name="T5" fmla="*/ 0 h 159"/>
                <a:gd name="T6" fmla="*/ 128 w 130"/>
                <a:gd name="T7" fmla="*/ 9 h 159"/>
                <a:gd name="T8" fmla="*/ 128 w 130"/>
                <a:gd name="T9" fmla="*/ 9 h 159"/>
                <a:gd name="T10" fmla="*/ 130 w 130"/>
                <a:gd name="T11" fmla="*/ 16 h 159"/>
                <a:gd name="T12" fmla="*/ 130 w 130"/>
                <a:gd name="T13" fmla="*/ 16 h 159"/>
                <a:gd name="T14" fmla="*/ 128 w 130"/>
                <a:gd name="T15" fmla="*/ 30 h 159"/>
                <a:gd name="T16" fmla="*/ 127 w 130"/>
                <a:gd name="T17" fmla="*/ 43 h 159"/>
                <a:gd name="T18" fmla="*/ 124 w 130"/>
                <a:gd name="T19" fmla="*/ 57 h 159"/>
                <a:gd name="T20" fmla="*/ 120 w 130"/>
                <a:gd name="T21" fmla="*/ 69 h 159"/>
                <a:gd name="T22" fmla="*/ 115 w 130"/>
                <a:gd name="T23" fmla="*/ 80 h 159"/>
                <a:gd name="T24" fmla="*/ 110 w 130"/>
                <a:gd name="T25" fmla="*/ 91 h 159"/>
                <a:gd name="T26" fmla="*/ 103 w 130"/>
                <a:gd name="T27" fmla="*/ 102 h 159"/>
                <a:gd name="T28" fmla="*/ 95 w 130"/>
                <a:gd name="T29" fmla="*/ 112 h 159"/>
                <a:gd name="T30" fmla="*/ 87 w 130"/>
                <a:gd name="T31" fmla="*/ 121 h 159"/>
                <a:gd name="T32" fmla="*/ 78 w 130"/>
                <a:gd name="T33" fmla="*/ 130 h 159"/>
                <a:gd name="T34" fmla="*/ 68 w 130"/>
                <a:gd name="T35" fmla="*/ 137 h 159"/>
                <a:gd name="T36" fmla="*/ 57 w 130"/>
                <a:gd name="T37" fmla="*/ 143 h 159"/>
                <a:gd name="T38" fmla="*/ 47 w 130"/>
                <a:gd name="T39" fmla="*/ 149 h 159"/>
                <a:gd name="T40" fmla="*/ 35 w 130"/>
                <a:gd name="T41" fmla="*/ 153 h 159"/>
                <a:gd name="T42" fmla="*/ 22 w 130"/>
                <a:gd name="T43" fmla="*/ 157 h 159"/>
                <a:gd name="T44" fmla="*/ 10 w 130"/>
                <a:gd name="T45" fmla="*/ 158 h 159"/>
                <a:gd name="T46" fmla="*/ 0 w 130"/>
                <a:gd name="T47" fmla="*/ 159 h 159"/>
                <a:gd name="T48" fmla="*/ 0 w 130"/>
                <a:gd name="T49" fmla="*/ 159 h 159"/>
                <a:gd name="T50" fmla="*/ 19 w 130"/>
                <a:gd name="T51" fmla="*/ 17 h 159"/>
                <a:gd name="T52" fmla="*/ 19 w 130"/>
                <a:gd name="T53" fmla="*/ 139 h 159"/>
                <a:gd name="T54" fmla="*/ 19 w 130"/>
                <a:gd name="T55" fmla="*/ 139 h 159"/>
                <a:gd name="T56" fmla="*/ 29 w 130"/>
                <a:gd name="T57" fmla="*/ 137 h 159"/>
                <a:gd name="T58" fmla="*/ 37 w 130"/>
                <a:gd name="T59" fmla="*/ 133 h 159"/>
                <a:gd name="T60" fmla="*/ 47 w 130"/>
                <a:gd name="T61" fmla="*/ 130 h 159"/>
                <a:gd name="T62" fmla="*/ 56 w 130"/>
                <a:gd name="T63" fmla="*/ 125 h 159"/>
                <a:gd name="T64" fmla="*/ 63 w 130"/>
                <a:gd name="T65" fmla="*/ 119 h 159"/>
                <a:gd name="T66" fmla="*/ 70 w 130"/>
                <a:gd name="T67" fmla="*/ 112 h 159"/>
                <a:gd name="T68" fmla="*/ 78 w 130"/>
                <a:gd name="T69" fmla="*/ 105 h 159"/>
                <a:gd name="T70" fmla="*/ 85 w 130"/>
                <a:gd name="T71" fmla="*/ 98 h 159"/>
                <a:gd name="T72" fmla="*/ 90 w 130"/>
                <a:gd name="T73" fmla="*/ 89 h 159"/>
                <a:gd name="T74" fmla="*/ 96 w 130"/>
                <a:gd name="T75" fmla="*/ 80 h 159"/>
                <a:gd name="T76" fmla="*/ 100 w 130"/>
                <a:gd name="T77" fmla="*/ 70 h 159"/>
                <a:gd name="T78" fmla="*/ 104 w 130"/>
                <a:gd name="T79" fmla="*/ 61 h 159"/>
                <a:gd name="T80" fmla="*/ 107 w 130"/>
                <a:gd name="T81" fmla="*/ 51 h 159"/>
                <a:gd name="T82" fmla="*/ 110 w 130"/>
                <a:gd name="T83" fmla="*/ 40 h 159"/>
                <a:gd name="T84" fmla="*/ 111 w 130"/>
                <a:gd name="T85" fmla="*/ 28 h 159"/>
                <a:gd name="T86" fmla="*/ 111 w 130"/>
                <a:gd name="T87" fmla="*/ 17 h 159"/>
                <a:gd name="T88" fmla="*/ 19 w 130"/>
                <a:gd name="T89" fmla="*/ 17 h 159"/>
                <a:gd name="T90" fmla="*/ 19 w 130"/>
                <a:gd name="T91" fmla="*/ 1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 h="159">
                  <a:moveTo>
                    <a:pt x="0" y="159"/>
                  </a:moveTo>
                  <a:lnTo>
                    <a:pt x="0" y="0"/>
                  </a:lnTo>
                  <a:lnTo>
                    <a:pt x="128" y="0"/>
                  </a:lnTo>
                  <a:lnTo>
                    <a:pt x="128" y="9"/>
                  </a:lnTo>
                  <a:lnTo>
                    <a:pt x="128" y="9"/>
                  </a:lnTo>
                  <a:lnTo>
                    <a:pt x="130" y="16"/>
                  </a:lnTo>
                  <a:lnTo>
                    <a:pt x="130" y="16"/>
                  </a:lnTo>
                  <a:lnTo>
                    <a:pt x="128" y="30"/>
                  </a:lnTo>
                  <a:lnTo>
                    <a:pt x="127" y="43"/>
                  </a:lnTo>
                  <a:lnTo>
                    <a:pt x="124" y="57"/>
                  </a:lnTo>
                  <a:lnTo>
                    <a:pt x="120" y="69"/>
                  </a:lnTo>
                  <a:lnTo>
                    <a:pt x="115" y="80"/>
                  </a:lnTo>
                  <a:lnTo>
                    <a:pt x="110" y="91"/>
                  </a:lnTo>
                  <a:lnTo>
                    <a:pt x="103" y="102"/>
                  </a:lnTo>
                  <a:lnTo>
                    <a:pt x="95" y="112"/>
                  </a:lnTo>
                  <a:lnTo>
                    <a:pt x="87" y="121"/>
                  </a:lnTo>
                  <a:lnTo>
                    <a:pt x="78" y="130"/>
                  </a:lnTo>
                  <a:lnTo>
                    <a:pt x="68" y="137"/>
                  </a:lnTo>
                  <a:lnTo>
                    <a:pt x="57" y="143"/>
                  </a:lnTo>
                  <a:lnTo>
                    <a:pt x="47" y="149"/>
                  </a:lnTo>
                  <a:lnTo>
                    <a:pt x="35" y="153"/>
                  </a:lnTo>
                  <a:lnTo>
                    <a:pt x="22" y="157"/>
                  </a:lnTo>
                  <a:lnTo>
                    <a:pt x="10" y="158"/>
                  </a:lnTo>
                  <a:lnTo>
                    <a:pt x="0" y="159"/>
                  </a:lnTo>
                  <a:lnTo>
                    <a:pt x="0" y="159"/>
                  </a:lnTo>
                  <a:close/>
                  <a:moveTo>
                    <a:pt x="19" y="17"/>
                  </a:moveTo>
                  <a:lnTo>
                    <a:pt x="19" y="139"/>
                  </a:lnTo>
                  <a:lnTo>
                    <a:pt x="19" y="139"/>
                  </a:lnTo>
                  <a:lnTo>
                    <a:pt x="29" y="137"/>
                  </a:lnTo>
                  <a:lnTo>
                    <a:pt x="37" y="133"/>
                  </a:lnTo>
                  <a:lnTo>
                    <a:pt x="47" y="130"/>
                  </a:lnTo>
                  <a:lnTo>
                    <a:pt x="56" y="125"/>
                  </a:lnTo>
                  <a:lnTo>
                    <a:pt x="63" y="119"/>
                  </a:lnTo>
                  <a:lnTo>
                    <a:pt x="70" y="112"/>
                  </a:lnTo>
                  <a:lnTo>
                    <a:pt x="78" y="105"/>
                  </a:lnTo>
                  <a:lnTo>
                    <a:pt x="85" y="98"/>
                  </a:lnTo>
                  <a:lnTo>
                    <a:pt x="90" y="89"/>
                  </a:lnTo>
                  <a:lnTo>
                    <a:pt x="96" y="80"/>
                  </a:lnTo>
                  <a:lnTo>
                    <a:pt x="100" y="70"/>
                  </a:lnTo>
                  <a:lnTo>
                    <a:pt x="104" y="61"/>
                  </a:lnTo>
                  <a:lnTo>
                    <a:pt x="107" y="51"/>
                  </a:lnTo>
                  <a:lnTo>
                    <a:pt x="110" y="40"/>
                  </a:lnTo>
                  <a:lnTo>
                    <a:pt x="111" y="28"/>
                  </a:lnTo>
                  <a:lnTo>
                    <a:pt x="111" y="17"/>
                  </a:lnTo>
                  <a:lnTo>
                    <a:pt x="19" y="17"/>
                  </a:lnTo>
                  <a:lnTo>
                    <a:pt x="19" y="17"/>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8" name="Rectangle 131">
              <a:extLst>
                <a:ext uri="{FF2B5EF4-FFF2-40B4-BE49-F238E27FC236}">
                  <a16:creationId xmlns:a16="http://schemas.microsoft.com/office/drawing/2014/main" id="{96E832FC-02F0-E7F2-6644-5D603889B61A}"/>
                </a:ext>
              </a:extLst>
            </p:cNvPr>
            <p:cNvSpPr>
              <a:spLocks noChangeArrowheads="1"/>
            </p:cNvSpPr>
            <p:nvPr/>
          </p:nvSpPr>
          <p:spPr bwMode="auto">
            <a:xfrm>
              <a:off x="9484837" y="1852988"/>
              <a:ext cx="39688" cy="174625"/>
            </a:xfrm>
            <a:prstGeom prst="rect">
              <a:avLst/>
            </a:prstGeom>
            <a:solidFill>
              <a:srgbClr val="F99B1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9" name="Freeform 132">
              <a:extLst>
                <a:ext uri="{FF2B5EF4-FFF2-40B4-BE49-F238E27FC236}">
                  <a16:creationId xmlns:a16="http://schemas.microsoft.com/office/drawing/2014/main" id="{CD66BB9F-C88A-6BA1-D90A-527353B15322}"/>
                </a:ext>
              </a:extLst>
            </p:cNvPr>
            <p:cNvSpPr>
              <a:spLocks/>
            </p:cNvSpPr>
            <p:nvPr/>
          </p:nvSpPr>
          <p:spPr bwMode="auto">
            <a:xfrm>
              <a:off x="9389587" y="2011738"/>
              <a:ext cx="230188" cy="31750"/>
            </a:xfrm>
            <a:custGeom>
              <a:avLst/>
              <a:gdLst>
                <a:gd name="T0" fmla="*/ 145 w 145"/>
                <a:gd name="T1" fmla="*/ 20 h 20"/>
                <a:gd name="T2" fmla="*/ 145 w 145"/>
                <a:gd name="T3" fmla="*/ 11 h 20"/>
                <a:gd name="T4" fmla="*/ 145 w 145"/>
                <a:gd name="T5" fmla="*/ 11 h 20"/>
                <a:gd name="T6" fmla="*/ 143 w 145"/>
                <a:gd name="T7" fmla="*/ 6 h 20"/>
                <a:gd name="T8" fmla="*/ 142 w 145"/>
                <a:gd name="T9" fmla="*/ 4 h 20"/>
                <a:gd name="T10" fmla="*/ 139 w 145"/>
                <a:gd name="T11" fmla="*/ 1 h 20"/>
                <a:gd name="T12" fmla="*/ 136 w 145"/>
                <a:gd name="T13" fmla="*/ 0 h 20"/>
                <a:gd name="T14" fmla="*/ 9 w 145"/>
                <a:gd name="T15" fmla="*/ 0 h 20"/>
                <a:gd name="T16" fmla="*/ 9 w 145"/>
                <a:gd name="T17" fmla="*/ 0 h 20"/>
                <a:gd name="T18" fmla="*/ 5 w 145"/>
                <a:gd name="T19" fmla="*/ 1 h 20"/>
                <a:gd name="T20" fmla="*/ 3 w 145"/>
                <a:gd name="T21" fmla="*/ 4 h 20"/>
                <a:gd name="T22" fmla="*/ 0 w 145"/>
                <a:gd name="T23" fmla="*/ 6 h 20"/>
                <a:gd name="T24" fmla="*/ 0 w 145"/>
                <a:gd name="T25" fmla="*/ 11 h 20"/>
                <a:gd name="T26" fmla="*/ 0 w 145"/>
                <a:gd name="T27" fmla="*/ 20 h 20"/>
                <a:gd name="T28" fmla="*/ 145 w 145"/>
                <a:gd name="T2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5" h="20">
                  <a:moveTo>
                    <a:pt x="145" y="20"/>
                  </a:moveTo>
                  <a:lnTo>
                    <a:pt x="145" y="11"/>
                  </a:lnTo>
                  <a:lnTo>
                    <a:pt x="145" y="11"/>
                  </a:lnTo>
                  <a:lnTo>
                    <a:pt x="143" y="6"/>
                  </a:lnTo>
                  <a:lnTo>
                    <a:pt x="142" y="4"/>
                  </a:lnTo>
                  <a:lnTo>
                    <a:pt x="139" y="1"/>
                  </a:lnTo>
                  <a:lnTo>
                    <a:pt x="136" y="0"/>
                  </a:lnTo>
                  <a:lnTo>
                    <a:pt x="9" y="0"/>
                  </a:lnTo>
                  <a:lnTo>
                    <a:pt x="9" y="0"/>
                  </a:lnTo>
                  <a:lnTo>
                    <a:pt x="5" y="1"/>
                  </a:lnTo>
                  <a:lnTo>
                    <a:pt x="3" y="4"/>
                  </a:lnTo>
                  <a:lnTo>
                    <a:pt x="0" y="6"/>
                  </a:lnTo>
                  <a:lnTo>
                    <a:pt x="0" y="11"/>
                  </a:lnTo>
                  <a:lnTo>
                    <a:pt x="0" y="20"/>
                  </a:lnTo>
                  <a:lnTo>
                    <a:pt x="145" y="20"/>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50" name="Freeform 133">
              <a:extLst>
                <a:ext uri="{FF2B5EF4-FFF2-40B4-BE49-F238E27FC236}">
                  <a16:creationId xmlns:a16="http://schemas.microsoft.com/office/drawing/2014/main" id="{97E8BBAD-70C3-20A3-EC48-76878A1AB9FB}"/>
                </a:ext>
              </a:extLst>
            </p:cNvPr>
            <p:cNvSpPr>
              <a:spLocks/>
            </p:cNvSpPr>
            <p:nvPr/>
          </p:nvSpPr>
          <p:spPr bwMode="auto">
            <a:xfrm>
              <a:off x="9356249" y="1595813"/>
              <a:ext cx="146050" cy="401638"/>
            </a:xfrm>
            <a:custGeom>
              <a:avLst/>
              <a:gdLst>
                <a:gd name="T0" fmla="*/ 8 w 92"/>
                <a:gd name="T1" fmla="*/ 0 h 253"/>
                <a:gd name="T2" fmla="*/ 8 w 92"/>
                <a:gd name="T3" fmla="*/ 0 h 253"/>
                <a:gd name="T4" fmla="*/ 4 w 92"/>
                <a:gd name="T5" fmla="*/ 12 h 253"/>
                <a:gd name="T6" fmla="*/ 2 w 92"/>
                <a:gd name="T7" fmla="*/ 24 h 253"/>
                <a:gd name="T8" fmla="*/ 0 w 92"/>
                <a:gd name="T9" fmla="*/ 36 h 253"/>
                <a:gd name="T10" fmla="*/ 0 w 92"/>
                <a:gd name="T11" fmla="*/ 49 h 253"/>
                <a:gd name="T12" fmla="*/ 0 w 92"/>
                <a:gd name="T13" fmla="*/ 49 h 253"/>
                <a:gd name="T14" fmla="*/ 0 w 92"/>
                <a:gd name="T15" fmla="*/ 60 h 253"/>
                <a:gd name="T16" fmla="*/ 2 w 92"/>
                <a:gd name="T17" fmla="*/ 71 h 253"/>
                <a:gd name="T18" fmla="*/ 7 w 92"/>
                <a:gd name="T19" fmla="*/ 92 h 253"/>
                <a:gd name="T20" fmla="*/ 13 w 92"/>
                <a:gd name="T21" fmla="*/ 111 h 253"/>
                <a:gd name="T22" fmla="*/ 23 w 92"/>
                <a:gd name="T23" fmla="*/ 130 h 253"/>
                <a:gd name="T24" fmla="*/ 34 w 92"/>
                <a:gd name="T25" fmla="*/ 147 h 253"/>
                <a:gd name="T26" fmla="*/ 47 w 92"/>
                <a:gd name="T27" fmla="*/ 163 h 253"/>
                <a:gd name="T28" fmla="*/ 63 w 92"/>
                <a:gd name="T29" fmla="*/ 177 h 253"/>
                <a:gd name="T30" fmla="*/ 81 w 92"/>
                <a:gd name="T31" fmla="*/ 189 h 253"/>
                <a:gd name="T32" fmla="*/ 81 w 92"/>
                <a:gd name="T33" fmla="*/ 253 h 253"/>
                <a:gd name="T34" fmla="*/ 92 w 92"/>
                <a:gd name="T35" fmla="*/ 253 h 253"/>
                <a:gd name="T36" fmla="*/ 92 w 92"/>
                <a:gd name="T37" fmla="*/ 162 h 253"/>
                <a:gd name="T38" fmla="*/ 92 w 92"/>
                <a:gd name="T39" fmla="*/ 0 h 253"/>
                <a:gd name="T40" fmla="*/ 8 w 92"/>
                <a:gd name="T4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253">
                  <a:moveTo>
                    <a:pt x="8" y="0"/>
                  </a:moveTo>
                  <a:lnTo>
                    <a:pt x="8" y="0"/>
                  </a:lnTo>
                  <a:lnTo>
                    <a:pt x="4" y="12"/>
                  </a:lnTo>
                  <a:lnTo>
                    <a:pt x="2" y="24"/>
                  </a:lnTo>
                  <a:lnTo>
                    <a:pt x="0" y="36"/>
                  </a:lnTo>
                  <a:lnTo>
                    <a:pt x="0" y="49"/>
                  </a:lnTo>
                  <a:lnTo>
                    <a:pt x="0" y="49"/>
                  </a:lnTo>
                  <a:lnTo>
                    <a:pt x="0" y="60"/>
                  </a:lnTo>
                  <a:lnTo>
                    <a:pt x="2" y="71"/>
                  </a:lnTo>
                  <a:lnTo>
                    <a:pt x="7" y="92"/>
                  </a:lnTo>
                  <a:lnTo>
                    <a:pt x="13" y="111"/>
                  </a:lnTo>
                  <a:lnTo>
                    <a:pt x="23" y="130"/>
                  </a:lnTo>
                  <a:lnTo>
                    <a:pt x="34" y="147"/>
                  </a:lnTo>
                  <a:lnTo>
                    <a:pt x="47" y="163"/>
                  </a:lnTo>
                  <a:lnTo>
                    <a:pt x="63" y="177"/>
                  </a:lnTo>
                  <a:lnTo>
                    <a:pt x="81" y="189"/>
                  </a:lnTo>
                  <a:lnTo>
                    <a:pt x="81" y="253"/>
                  </a:lnTo>
                  <a:lnTo>
                    <a:pt x="92" y="253"/>
                  </a:lnTo>
                  <a:lnTo>
                    <a:pt x="92" y="162"/>
                  </a:lnTo>
                  <a:lnTo>
                    <a:pt x="92" y="0"/>
                  </a:lnTo>
                  <a:lnTo>
                    <a:pt x="8" y="0"/>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51" name="Freeform 134">
              <a:extLst>
                <a:ext uri="{FF2B5EF4-FFF2-40B4-BE49-F238E27FC236}">
                  <a16:creationId xmlns:a16="http://schemas.microsoft.com/office/drawing/2014/main" id="{73BFBA3B-AD09-8087-64C4-5C5CA17FA7F7}"/>
                </a:ext>
              </a:extLst>
            </p:cNvPr>
            <p:cNvSpPr>
              <a:spLocks/>
            </p:cNvSpPr>
            <p:nvPr/>
          </p:nvSpPr>
          <p:spPr bwMode="auto">
            <a:xfrm>
              <a:off x="9389587" y="2011738"/>
              <a:ext cx="112713" cy="31750"/>
            </a:xfrm>
            <a:custGeom>
              <a:avLst/>
              <a:gdLst>
                <a:gd name="T0" fmla="*/ 31 w 71"/>
                <a:gd name="T1" fmla="*/ 0 h 20"/>
                <a:gd name="T2" fmla="*/ 9 w 71"/>
                <a:gd name="T3" fmla="*/ 0 h 20"/>
                <a:gd name="T4" fmla="*/ 9 w 71"/>
                <a:gd name="T5" fmla="*/ 0 h 20"/>
                <a:gd name="T6" fmla="*/ 5 w 71"/>
                <a:gd name="T7" fmla="*/ 1 h 20"/>
                <a:gd name="T8" fmla="*/ 3 w 71"/>
                <a:gd name="T9" fmla="*/ 4 h 20"/>
                <a:gd name="T10" fmla="*/ 0 w 71"/>
                <a:gd name="T11" fmla="*/ 6 h 20"/>
                <a:gd name="T12" fmla="*/ 0 w 71"/>
                <a:gd name="T13" fmla="*/ 11 h 20"/>
                <a:gd name="T14" fmla="*/ 0 w 71"/>
                <a:gd name="T15" fmla="*/ 20 h 20"/>
                <a:gd name="T16" fmla="*/ 71 w 71"/>
                <a:gd name="T17" fmla="*/ 20 h 20"/>
                <a:gd name="T18" fmla="*/ 71 w 71"/>
                <a:gd name="T19" fmla="*/ 0 h 20"/>
                <a:gd name="T20" fmla="*/ 60 w 71"/>
                <a:gd name="T21" fmla="*/ 0 h 20"/>
                <a:gd name="T22" fmla="*/ 31 w 71"/>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20">
                  <a:moveTo>
                    <a:pt x="31" y="0"/>
                  </a:moveTo>
                  <a:lnTo>
                    <a:pt x="9" y="0"/>
                  </a:lnTo>
                  <a:lnTo>
                    <a:pt x="9" y="0"/>
                  </a:lnTo>
                  <a:lnTo>
                    <a:pt x="5" y="1"/>
                  </a:lnTo>
                  <a:lnTo>
                    <a:pt x="3" y="4"/>
                  </a:lnTo>
                  <a:lnTo>
                    <a:pt x="0" y="6"/>
                  </a:lnTo>
                  <a:lnTo>
                    <a:pt x="0" y="11"/>
                  </a:lnTo>
                  <a:lnTo>
                    <a:pt x="0" y="20"/>
                  </a:lnTo>
                  <a:lnTo>
                    <a:pt x="71" y="20"/>
                  </a:lnTo>
                  <a:lnTo>
                    <a:pt x="71" y="0"/>
                  </a:lnTo>
                  <a:lnTo>
                    <a:pt x="60" y="0"/>
                  </a:lnTo>
                  <a:lnTo>
                    <a:pt x="31" y="0"/>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52" name="Rectangle 135">
              <a:extLst>
                <a:ext uri="{FF2B5EF4-FFF2-40B4-BE49-F238E27FC236}">
                  <a16:creationId xmlns:a16="http://schemas.microsoft.com/office/drawing/2014/main" id="{F4F5DBE2-CF1F-2E9E-1C8C-F115282C7E93}"/>
                </a:ext>
              </a:extLst>
            </p:cNvPr>
            <p:cNvSpPr>
              <a:spLocks noChangeArrowheads="1"/>
            </p:cNvSpPr>
            <p:nvPr/>
          </p:nvSpPr>
          <p:spPr bwMode="auto">
            <a:xfrm>
              <a:off x="9361012" y="2040313"/>
              <a:ext cx="287338" cy="141288"/>
            </a:xfrm>
            <a:prstGeom prst="rect">
              <a:avLst/>
            </a:prstGeom>
            <a:solidFill>
              <a:srgbClr val="15B0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53" name="Rectangle 136">
              <a:extLst>
                <a:ext uri="{FF2B5EF4-FFF2-40B4-BE49-F238E27FC236}">
                  <a16:creationId xmlns:a16="http://schemas.microsoft.com/office/drawing/2014/main" id="{AB71E4A7-7442-5353-16FB-C709CD1B59A8}"/>
                </a:ext>
              </a:extLst>
            </p:cNvPr>
            <p:cNvSpPr>
              <a:spLocks noChangeArrowheads="1"/>
            </p:cNvSpPr>
            <p:nvPr/>
          </p:nvSpPr>
          <p:spPr bwMode="auto">
            <a:xfrm>
              <a:off x="9394349" y="2073650"/>
              <a:ext cx="219075" cy="74613"/>
            </a:xfrm>
            <a:prstGeom prst="rect">
              <a:avLst/>
            </a:prstGeom>
            <a:solidFill>
              <a:srgbClr val="1695A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54" name="Rectangle 137">
              <a:extLst>
                <a:ext uri="{FF2B5EF4-FFF2-40B4-BE49-F238E27FC236}">
                  <a16:creationId xmlns:a16="http://schemas.microsoft.com/office/drawing/2014/main" id="{62DE5E67-6589-F322-A861-D5D3D20BD860}"/>
                </a:ext>
              </a:extLst>
            </p:cNvPr>
            <p:cNvSpPr>
              <a:spLocks noChangeArrowheads="1"/>
            </p:cNvSpPr>
            <p:nvPr/>
          </p:nvSpPr>
          <p:spPr bwMode="auto">
            <a:xfrm>
              <a:off x="9348312" y="2176838"/>
              <a:ext cx="309563" cy="34925"/>
            </a:xfrm>
            <a:prstGeom prst="rect">
              <a:avLst/>
            </a:prstGeom>
            <a:solidFill>
              <a:srgbClr val="1695A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sp>
        <p:nvSpPr>
          <p:cNvPr id="2" name="Rectangle 1">
            <a:extLst>
              <a:ext uri="{FF2B5EF4-FFF2-40B4-BE49-F238E27FC236}">
                <a16:creationId xmlns:a16="http://schemas.microsoft.com/office/drawing/2014/main" id="{ED8920A1-2DE9-F200-35EB-C0D4EEFBBC62}"/>
              </a:ext>
            </a:extLst>
          </p:cNvPr>
          <p:cNvSpPr/>
          <p:nvPr/>
        </p:nvSpPr>
        <p:spPr>
          <a:xfrm>
            <a:off x="1186855" y="1984585"/>
            <a:ext cx="1986964" cy="3826445"/>
          </a:xfrm>
          <a:prstGeom prst="rect">
            <a:avLst/>
          </a:prstGeom>
          <a:solidFill>
            <a:schemeClr val="bg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Arial" panose="020B0604020202020204" pitchFamily="34" charset="0"/>
            </a:endParaRPr>
          </a:p>
        </p:txBody>
      </p:sp>
      <p:sp>
        <p:nvSpPr>
          <p:cNvPr id="3" name="Rectangle 2">
            <a:extLst>
              <a:ext uri="{FF2B5EF4-FFF2-40B4-BE49-F238E27FC236}">
                <a16:creationId xmlns:a16="http://schemas.microsoft.com/office/drawing/2014/main" id="{FBCA856F-72FD-ACB3-ED00-2F892AFDB025}"/>
              </a:ext>
            </a:extLst>
          </p:cNvPr>
          <p:cNvSpPr/>
          <p:nvPr/>
        </p:nvSpPr>
        <p:spPr>
          <a:xfrm>
            <a:off x="5161717" y="1995818"/>
            <a:ext cx="5987670" cy="3815212"/>
          </a:xfrm>
          <a:prstGeom prst="rect">
            <a:avLst/>
          </a:prstGeom>
          <a:solidFill>
            <a:schemeClr val="bg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Arial" panose="020B0604020202020204" pitchFamily="34" charset="0"/>
            </a:endParaRPr>
          </a:p>
        </p:txBody>
      </p:sp>
    </p:spTree>
    <p:custDataLst>
      <p:tags r:id="rId1"/>
    </p:custDataLst>
    <p:extLst>
      <p:ext uri="{BB962C8B-B14F-4D97-AF65-F5344CB8AC3E}">
        <p14:creationId xmlns:p14="http://schemas.microsoft.com/office/powerpoint/2010/main" val="6598857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E612A15-75CD-5A0E-0114-5CB298A61C1D}"/>
              </a:ext>
            </a:extLst>
          </p:cNvPr>
          <p:cNvSpPr/>
          <p:nvPr/>
        </p:nvSpPr>
        <p:spPr>
          <a:xfrm>
            <a:off x="0" y="1152940"/>
            <a:ext cx="12192000" cy="57050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5E2FF774-5C46-7040-EC1E-A31A930994F5}"/>
              </a:ext>
            </a:extLst>
          </p:cNvPr>
          <p:cNvSpPr>
            <a:spLocks noGrp="1"/>
          </p:cNvSpPr>
          <p:nvPr>
            <p:ph type="title"/>
          </p:nvPr>
        </p:nvSpPr>
        <p:spPr/>
        <p:txBody>
          <a:bodyPr/>
          <a:lstStyle/>
          <a:p>
            <a:r>
              <a:rPr lang="en-US">
                <a:latin typeface="+mn-lt"/>
              </a:rPr>
              <a:t>Participation Request Form</a:t>
            </a:r>
          </a:p>
        </p:txBody>
      </p:sp>
      <p:pic>
        <p:nvPicPr>
          <p:cNvPr id="4" name="Picture 2">
            <a:extLst>
              <a:ext uri="{FF2B5EF4-FFF2-40B4-BE49-F238E27FC236}">
                <a16:creationId xmlns:a16="http://schemas.microsoft.com/office/drawing/2014/main" id="{9571D2E7-59F2-7A7E-2DC4-6A2732DD8F5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051"/>
          <a:stretch/>
        </p:blipFill>
        <p:spPr bwMode="auto">
          <a:xfrm>
            <a:off x="2189964" y="1264258"/>
            <a:ext cx="7379999" cy="539979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mc:AlternateContent xmlns:mc="http://schemas.openxmlformats.org/markup-compatibility/2006">
        <mc:Choice xmlns:p14="http://schemas.microsoft.com/office/powerpoint/2010/main" Requires="p14">
          <p:contentPart p14:bwMode="auto" r:id="rId4">
            <p14:nvContentPartPr>
              <p14:cNvPr id="7" name="Ink 6">
                <a:extLst>
                  <a:ext uri="{FF2B5EF4-FFF2-40B4-BE49-F238E27FC236}">
                    <a16:creationId xmlns:a16="http://schemas.microsoft.com/office/drawing/2014/main" id="{AF3171F1-53DF-BB64-577D-A77D53CD7218}"/>
                  </a:ext>
                </a:extLst>
              </p14:cNvPr>
              <p14:cNvContentPartPr/>
              <p14:nvPr/>
            </p14:nvContentPartPr>
            <p14:xfrm>
              <a:off x="3887859" y="2065946"/>
              <a:ext cx="640080" cy="360"/>
            </p14:xfrm>
          </p:contentPart>
        </mc:Choice>
        <mc:Fallback>
          <p:pic>
            <p:nvPicPr>
              <p:cNvPr id="7" name="Ink 6">
                <a:extLst>
                  <a:ext uri="{FF2B5EF4-FFF2-40B4-BE49-F238E27FC236}">
                    <a16:creationId xmlns:a16="http://schemas.microsoft.com/office/drawing/2014/main" id="{AF3171F1-53DF-BB64-577D-A77D53CD7218}"/>
                  </a:ext>
                </a:extLst>
              </p:cNvPr>
              <p:cNvPicPr/>
              <p:nvPr/>
            </p:nvPicPr>
            <p:blipFill>
              <a:blip r:embed="rId5"/>
              <a:stretch>
                <a:fillRect/>
              </a:stretch>
            </p:blipFill>
            <p:spPr>
              <a:xfrm>
                <a:off x="3833859" y="1957946"/>
                <a:ext cx="74772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8" name="Ink 7">
                <a:extLst>
                  <a:ext uri="{FF2B5EF4-FFF2-40B4-BE49-F238E27FC236}">
                    <a16:creationId xmlns:a16="http://schemas.microsoft.com/office/drawing/2014/main" id="{1B07C3BC-CAF1-61A6-825D-6FCCFDE7D3E9}"/>
                  </a:ext>
                </a:extLst>
              </p14:cNvPr>
              <p14:cNvContentPartPr/>
              <p14:nvPr/>
            </p14:nvContentPartPr>
            <p14:xfrm>
              <a:off x="7243059" y="2352146"/>
              <a:ext cx="683280" cy="360"/>
            </p14:xfrm>
          </p:contentPart>
        </mc:Choice>
        <mc:Fallback>
          <p:pic>
            <p:nvPicPr>
              <p:cNvPr id="8" name="Ink 7">
                <a:extLst>
                  <a:ext uri="{FF2B5EF4-FFF2-40B4-BE49-F238E27FC236}">
                    <a16:creationId xmlns:a16="http://schemas.microsoft.com/office/drawing/2014/main" id="{1B07C3BC-CAF1-61A6-825D-6FCCFDE7D3E9}"/>
                  </a:ext>
                </a:extLst>
              </p:cNvPr>
              <p:cNvPicPr/>
              <p:nvPr/>
            </p:nvPicPr>
            <p:blipFill>
              <a:blip r:embed="rId7"/>
              <a:stretch>
                <a:fillRect/>
              </a:stretch>
            </p:blipFill>
            <p:spPr>
              <a:xfrm>
                <a:off x="7189059" y="2244146"/>
                <a:ext cx="79092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10" name="Ink 9">
                <a:extLst>
                  <a:ext uri="{FF2B5EF4-FFF2-40B4-BE49-F238E27FC236}">
                    <a16:creationId xmlns:a16="http://schemas.microsoft.com/office/drawing/2014/main" id="{3B96F4FD-71F3-23F1-98BC-91886B1E4FE9}"/>
                  </a:ext>
                </a:extLst>
              </p14:cNvPr>
              <p14:cNvContentPartPr/>
              <p14:nvPr/>
            </p14:nvContentPartPr>
            <p14:xfrm>
              <a:off x="4675179" y="2559146"/>
              <a:ext cx="516240" cy="360"/>
            </p14:xfrm>
          </p:contentPart>
        </mc:Choice>
        <mc:Fallback>
          <p:pic>
            <p:nvPicPr>
              <p:cNvPr id="10" name="Ink 9">
                <a:extLst>
                  <a:ext uri="{FF2B5EF4-FFF2-40B4-BE49-F238E27FC236}">
                    <a16:creationId xmlns:a16="http://schemas.microsoft.com/office/drawing/2014/main" id="{3B96F4FD-71F3-23F1-98BC-91886B1E4FE9}"/>
                  </a:ext>
                </a:extLst>
              </p:cNvPr>
              <p:cNvPicPr/>
              <p:nvPr/>
            </p:nvPicPr>
            <p:blipFill>
              <a:blip r:embed="rId9"/>
              <a:stretch>
                <a:fillRect/>
              </a:stretch>
            </p:blipFill>
            <p:spPr>
              <a:xfrm>
                <a:off x="4621217" y="2451146"/>
                <a:ext cx="623805"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11" name="Ink 10">
                <a:extLst>
                  <a:ext uri="{FF2B5EF4-FFF2-40B4-BE49-F238E27FC236}">
                    <a16:creationId xmlns:a16="http://schemas.microsoft.com/office/drawing/2014/main" id="{69B4BD22-D6D5-D31E-B3CB-0DA556129E91}"/>
                  </a:ext>
                </a:extLst>
              </p14:cNvPr>
              <p14:cNvContentPartPr/>
              <p14:nvPr/>
            </p14:nvContentPartPr>
            <p14:xfrm>
              <a:off x="6487779" y="2559146"/>
              <a:ext cx="572040" cy="360"/>
            </p14:xfrm>
          </p:contentPart>
        </mc:Choice>
        <mc:Fallback>
          <p:pic>
            <p:nvPicPr>
              <p:cNvPr id="11" name="Ink 10">
                <a:extLst>
                  <a:ext uri="{FF2B5EF4-FFF2-40B4-BE49-F238E27FC236}">
                    <a16:creationId xmlns:a16="http://schemas.microsoft.com/office/drawing/2014/main" id="{69B4BD22-D6D5-D31E-B3CB-0DA556129E91}"/>
                  </a:ext>
                </a:extLst>
              </p:cNvPr>
              <p:cNvPicPr/>
              <p:nvPr/>
            </p:nvPicPr>
            <p:blipFill>
              <a:blip r:embed="rId11"/>
              <a:stretch>
                <a:fillRect/>
              </a:stretch>
            </p:blipFill>
            <p:spPr>
              <a:xfrm>
                <a:off x="6433779" y="2451146"/>
                <a:ext cx="67968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12">
            <p14:nvContentPartPr>
              <p14:cNvPr id="12" name="Ink 11">
                <a:extLst>
                  <a:ext uri="{FF2B5EF4-FFF2-40B4-BE49-F238E27FC236}">
                    <a16:creationId xmlns:a16="http://schemas.microsoft.com/office/drawing/2014/main" id="{E487514E-3489-FB39-1B64-0166CFF72353}"/>
                  </a:ext>
                </a:extLst>
              </p14:cNvPr>
              <p14:cNvContentPartPr/>
              <p14:nvPr/>
            </p14:nvContentPartPr>
            <p14:xfrm>
              <a:off x="7004739" y="6050066"/>
              <a:ext cx="1071000" cy="360"/>
            </p14:xfrm>
          </p:contentPart>
        </mc:Choice>
        <mc:Fallback>
          <p:pic>
            <p:nvPicPr>
              <p:cNvPr id="12" name="Ink 11">
                <a:extLst>
                  <a:ext uri="{FF2B5EF4-FFF2-40B4-BE49-F238E27FC236}">
                    <a16:creationId xmlns:a16="http://schemas.microsoft.com/office/drawing/2014/main" id="{E487514E-3489-FB39-1B64-0166CFF72353}"/>
                  </a:ext>
                </a:extLst>
              </p:cNvPr>
              <p:cNvPicPr/>
              <p:nvPr/>
            </p:nvPicPr>
            <p:blipFill>
              <a:blip r:embed="rId13"/>
              <a:stretch>
                <a:fillRect/>
              </a:stretch>
            </p:blipFill>
            <p:spPr>
              <a:xfrm>
                <a:off x="6950739" y="5942066"/>
                <a:ext cx="1178640" cy="216000"/>
              </a:xfrm>
              <a:prstGeom prst="rect">
                <a:avLst/>
              </a:prstGeom>
            </p:spPr>
          </p:pic>
        </mc:Fallback>
      </mc:AlternateContent>
    </p:spTree>
    <p:custDataLst>
      <p:tags r:id="rId1"/>
    </p:custDataLst>
    <p:extLst>
      <p:ext uri="{BB962C8B-B14F-4D97-AF65-F5344CB8AC3E}">
        <p14:creationId xmlns:p14="http://schemas.microsoft.com/office/powerpoint/2010/main" val="7877029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E612A15-75CD-5A0E-0114-5CB298A61C1D}"/>
              </a:ext>
            </a:extLst>
          </p:cNvPr>
          <p:cNvSpPr/>
          <p:nvPr/>
        </p:nvSpPr>
        <p:spPr>
          <a:xfrm>
            <a:off x="0" y="1152940"/>
            <a:ext cx="12192000" cy="57050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5E2FF774-5C46-7040-EC1E-A31A930994F5}"/>
              </a:ext>
            </a:extLst>
          </p:cNvPr>
          <p:cNvSpPr>
            <a:spLocks noGrp="1"/>
          </p:cNvSpPr>
          <p:nvPr>
            <p:ph type="title"/>
          </p:nvPr>
        </p:nvSpPr>
        <p:spPr/>
        <p:txBody>
          <a:bodyPr/>
          <a:lstStyle/>
          <a:p>
            <a:r>
              <a:rPr lang="en-US">
                <a:latin typeface="+mn-lt"/>
              </a:rPr>
              <a:t>Participation Request Form</a:t>
            </a:r>
          </a:p>
        </p:txBody>
      </p:sp>
      <p:pic>
        <p:nvPicPr>
          <p:cNvPr id="3074" name="Picture 2">
            <a:extLst>
              <a:ext uri="{FF2B5EF4-FFF2-40B4-BE49-F238E27FC236}">
                <a16:creationId xmlns:a16="http://schemas.microsoft.com/office/drawing/2014/main" id="{A9150740-A4AF-DA46-531C-B221EF2644D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14500" y="1638300"/>
            <a:ext cx="8763000" cy="52197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mc:AlternateContent xmlns:mc="http://schemas.openxmlformats.org/markup-compatibility/2006">
        <mc:Choice xmlns:p14="http://schemas.microsoft.com/office/powerpoint/2010/main" Requires="p14">
          <p:contentPart p14:bwMode="auto" r:id="rId4">
            <p14:nvContentPartPr>
              <p14:cNvPr id="2" name="Ink 1">
                <a:extLst>
                  <a:ext uri="{FF2B5EF4-FFF2-40B4-BE49-F238E27FC236}">
                    <a16:creationId xmlns:a16="http://schemas.microsoft.com/office/drawing/2014/main" id="{3600C029-301A-C82A-6F5D-699C60A126C0}"/>
                  </a:ext>
                </a:extLst>
              </p14:cNvPr>
              <p14:cNvContentPartPr/>
              <p14:nvPr/>
            </p14:nvContentPartPr>
            <p14:xfrm>
              <a:off x="7704407" y="3616826"/>
              <a:ext cx="2004120" cy="360"/>
            </p14:xfrm>
          </p:contentPart>
        </mc:Choice>
        <mc:Fallback>
          <p:pic>
            <p:nvPicPr>
              <p:cNvPr id="2" name="Ink 1">
                <a:extLst>
                  <a:ext uri="{FF2B5EF4-FFF2-40B4-BE49-F238E27FC236}">
                    <a16:creationId xmlns:a16="http://schemas.microsoft.com/office/drawing/2014/main" id="{3600C029-301A-C82A-6F5D-699C60A126C0}"/>
                  </a:ext>
                </a:extLst>
              </p:cNvPr>
              <p:cNvPicPr/>
              <p:nvPr/>
            </p:nvPicPr>
            <p:blipFill>
              <a:blip r:embed="rId5"/>
              <a:stretch>
                <a:fillRect/>
              </a:stretch>
            </p:blipFill>
            <p:spPr>
              <a:xfrm>
                <a:off x="7650417" y="3508826"/>
                <a:ext cx="2111741"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6">
            <p14:nvContentPartPr>
              <p14:cNvPr id="4" name="Ink 3">
                <a:extLst>
                  <a:ext uri="{FF2B5EF4-FFF2-40B4-BE49-F238E27FC236}">
                    <a16:creationId xmlns:a16="http://schemas.microsoft.com/office/drawing/2014/main" id="{840D8E49-693F-56F3-FB3C-E24C1F9929D4}"/>
                  </a:ext>
                </a:extLst>
              </p14:cNvPr>
              <p14:cNvContentPartPr/>
              <p14:nvPr/>
            </p14:nvContentPartPr>
            <p14:xfrm>
              <a:off x="6773807" y="4579106"/>
              <a:ext cx="1017720" cy="360"/>
            </p14:xfrm>
          </p:contentPart>
        </mc:Choice>
        <mc:Fallback>
          <p:pic>
            <p:nvPicPr>
              <p:cNvPr id="4" name="Ink 3">
                <a:extLst>
                  <a:ext uri="{FF2B5EF4-FFF2-40B4-BE49-F238E27FC236}">
                    <a16:creationId xmlns:a16="http://schemas.microsoft.com/office/drawing/2014/main" id="{840D8E49-693F-56F3-FB3C-E24C1F9929D4}"/>
                  </a:ext>
                </a:extLst>
              </p:cNvPr>
              <p:cNvPicPr/>
              <p:nvPr/>
            </p:nvPicPr>
            <p:blipFill>
              <a:blip r:embed="rId7"/>
              <a:stretch>
                <a:fillRect/>
              </a:stretch>
            </p:blipFill>
            <p:spPr>
              <a:xfrm>
                <a:off x="6719807" y="4471106"/>
                <a:ext cx="112536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8">
            <p14:nvContentPartPr>
              <p14:cNvPr id="6" name="Ink 5">
                <a:extLst>
                  <a:ext uri="{FF2B5EF4-FFF2-40B4-BE49-F238E27FC236}">
                    <a16:creationId xmlns:a16="http://schemas.microsoft.com/office/drawing/2014/main" id="{F3F60EF2-C947-B67C-A589-A1F52D8EED6F}"/>
                  </a:ext>
                </a:extLst>
              </p14:cNvPr>
              <p14:cNvContentPartPr/>
              <p14:nvPr/>
            </p14:nvContentPartPr>
            <p14:xfrm>
              <a:off x="6575087" y="4579106"/>
              <a:ext cx="147600" cy="360"/>
            </p14:xfrm>
          </p:contentPart>
        </mc:Choice>
        <mc:Fallback>
          <p:pic>
            <p:nvPicPr>
              <p:cNvPr id="6" name="Ink 5">
                <a:extLst>
                  <a:ext uri="{FF2B5EF4-FFF2-40B4-BE49-F238E27FC236}">
                    <a16:creationId xmlns:a16="http://schemas.microsoft.com/office/drawing/2014/main" id="{F3F60EF2-C947-B67C-A589-A1F52D8EED6F}"/>
                  </a:ext>
                </a:extLst>
              </p:cNvPr>
              <p:cNvPicPr/>
              <p:nvPr/>
            </p:nvPicPr>
            <p:blipFill>
              <a:blip r:embed="rId9"/>
              <a:stretch>
                <a:fillRect/>
              </a:stretch>
            </p:blipFill>
            <p:spPr>
              <a:xfrm>
                <a:off x="6521087" y="4471106"/>
                <a:ext cx="255240" cy="216000"/>
              </a:xfrm>
              <a:prstGeom prst="rect">
                <a:avLst/>
              </a:prstGeom>
            </p:spPr>
          </p:pic>
        </mc:Fallback>
      </mc:AlternateContent>
      <mc:AlternateContent xmlns:mc="http://schemas.openxmlformats.org/markup-compatibility/2006">
        <mc:Choice xmlns:p14="http://schemas.microsoft.com/office/powerpoint/2010/main" Requires="p14">
          <p:contentPart p14:bwMode="auto" r:id="rId10">
            <p14:nvContentPartPr>
              <p14:cNvPr id="7" name="Ink 6">
                <a:extLst>
                  <a:ext uri="{FF2B5EF4-FFF2-40B4-BE49-F238E27FC236}">
                    <a16:creationId xmlns:a16="http://schemas.microsoft.com/office/drawing/2014/main" id="{0F104FCF-588E-CD43-1F2A-7C94533A28FE}"/>
                  </a:ext>
                </a:extLst>
              </p14:cNvPr>
              <p14:cNvContentPartPr/>
              <p14:nvPr/>
            </p14:nvContentPartPr>
            <p14:xfrm>
              <a:off x="4905407" y="5207306"/>
              <a:ext cx="920160" cy="360"/>
            </p14:xfrm>
          </p:contentPart>
        </mc:Choice>
        <mc:Fallback>
          <p:pic>
            <p:nvPicPr>
              <p:cNvPr id="7" name="Ink 6">
                <a:extLst>
                  <a:ext uri="{FF2B5EF4-FFF2-40B4-BE49-F238E27FC236}">
                    <a16:creationId xmlns:a16="http://schemas.microsoft.com/office/drawing/2014/main" id="{0F104FCF-588E-CD43-1F2A-7C94533A28FE}"/>
                  </a:ext>
                </a:extLst>
              </p:cNvPr>
              <p:cNvPicPr/>
              <p:nvPr/>
            </p:nvPicPr>
            <p:blipFill>
              <a:blip r:embed="rId11"/>
              <a:stretch>
                <a:fillRect/>
              </a:stretch>
            </p:blipFill>
            <p:spPr>
              <a:xfrm>
                <a:off x="4851407" y="5099306"/>
                <a:ext cx="1027800" cy="216000"/>
              </a:xfrm>
              <a:prstGeom prst="rect">
                <a:avLst/>
              </a:prstGeom>
            </p:spPr>
          </p:pic>
        </mc:Fallback>
      </mc:AlternateContent>
    </p:spTree>
    <p:custDataLst>
      <p:tags r:id="rId1"/>
    </p:custDataLst>
    <p:extLst>
      <p:ext uri="{BB962C8B-B14F-4D97-AF65-F5344CB8AC3E}">
        <p14:creationId xmlns:p14="http://schemas.microsoft.com/office/powerpoint/2010/main" val="42399768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E612A15-75CD-5A0E-0114-5CB298A61C1D}"/>
              </a:ext>
            </a:extLst>
          </p:cNvPr>
          <p:cNvSpPr/>
          <p:nvPr/>
        </p:nvSpPr>
        <p:spPr>
          <a:xfrm>
            <a:off x="0" y="1152940"/>
            <a:ext cx="12192000" cy="57050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5E2FF774-5C46-7040-EC1E-A31A930994F5}"/>
              </a:ext>
            </a:extLst>
          </p:cNvPr>
          <p:cNvSpPr>
            <a:spLocks noGrp="1"/>
          </p:cNvSpPr>
          <p:nvPr>
            <p:ph type="title"/>
          </p:nvPr>
        </p:nvSpPr>
        <p:spPr/>
        <p:txBody>
          <a:bodyPr/>
          <a:lstStyle/>
          <a:p>
            <a:r>
              <a:rPr lang="en-US">
                <a:latin typeface="+mn-lt"/>
              </a:rPr>
              <a:t>Participation Request Form</a:t>
            </a:r>
          </a:p>
        </p:txBody>
      </p:sp>
      <p:pic>
        <p:nvPicPr>
          <p:cNvPr id="5122" name="Picture 2">
            <a:extLst>
              <a:ext uri="{FF2B5EF4-FFF2-40B4-BE49-F238E27FC236}">
                <a16:creationId xmlns:a16="http://schemas.microsoft.com/office/drawing/2014/main" id="{2F8A3993-7EC6-DA3D-08C2-BA4D5CCD421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14500" y="1806934"/>
            <a:ext cx="8763000" cy="3657600"/>
          </a:xfrm>
          <a:prstGeom prst="rect">
            <a:avLst/>
          </a:prstGeom>
          <a:noFill/>
          <a:extLst>
            <a:ext uri="{909E8E84-426E-40DD-AFC4-6F175D3DCCD1}">
              <a14:hiddenFill xmlns:a14="http://schemas.microsoft.com/office/drawing/2010/main">
                <a:solidFill>
                  <a:srgbClr val="FFFFFF"/>
                </a:solidFill>
              </a14:hiddenFill>
            </a:ext>
          </a:extLst>
        </p:spPr>
      </p:pic>
      <mc:AlternateContent xmlns:mc="http://schemas.openxmlformats.org/markup-compatibility/2006">
        <mc:Choice xmlns:p14="http://schemas.microsoft.com/office/powerpoint/2010/main" Requires="p14">
          <p:contentPart p14:bwMode="auto" r:id="rId4">
            <p14:nvContentPartPr>
              <p14:cNvPr id="13" name="Ink 12">
                <a:extLst>
                  <a:ext uri="{FF2B5EF4-FFF2-40B4-BE49-F238E27FC236}">
                    <a16:creationId xmlns:a16="http://schemas.microsoft.com/office/drawing/2014/main" id="{A3312258-AD17-44F7-B8B5-E510E380B06D}"/>
                  </a:ext>
                </a:extLst>
              </p14:cNvPr>
              <p14:cNvContentPartPr/>
              <p14:nvPr/>
            </p14:nvContentPartPr>
            <p14:xfrm>
              <a:off x="6424247" y="4960706"/>
              <a:ext cx="802080" cy="360"/>
            </p14:xfrm>
          </p:contentPart>
        </mc:Choice>
        <mc:Fallback>
          <p:pic>
            <p:nvPicPr>
              <p:cNvPr id="13" name="Ink 12">
                <a:extLst>
                  <a:ext uri="{FF2B5EF4-FFF2-40B4-BE49-F238E27FC236}">
                    <a16:creationId xmlns:a16="http://schemas.microsoft.com/office/drawing/2014/main" id="{A3312258-AD17-44F7-B8B5-E510E380B06D}"/>
                  </a:ext>
                </a:extLst>
              </p:cNvPr>
              <p:cNvPicPr/>
              <p:nvPr/>
            </p:nvPicPr>
            <p:blipFill>
              <a:blip r:embed="rId5"/>
              <a:stretch>
                <a:fillRect/>
              </a:stretch>
            </p:blipFill>
            <p:spPr>
              <a:xfrm>
                <a:off x="6370271" y="4852706"/>
                <a:ext cx="909672" cy="216000"/>
              </a:xfrm>
              <a:prstGeom prst="rect">
                <a:avLst/>
              </a:prstGeom>
            </p:spPr>
          </p:pic>
        </mc:Fallback>
      </mc:AlternateContent>
    </p:spTree>
    <p:custDataLst>
      <p:tags r:id="rId1"/>
    </p:custDataLst>
    <p:extLst>
      <p:ext uri="{BB962C8B-B14F-4D97-AF65-F5344CB8AC3E}">
        <p14:creationId xmlns:p14="http://schemas.microsoft.com/office/powerpoint/2010/main" val="38545416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A1866B4-CD05-C8AD-FB03-76D1235CD018}"/>
              </a:ext>
            </a:extLst>
          </p:cNvPr>
          <p:cNvSpPr/>
          <p:nvPr/>
        </p:nvSpPr>
        <p:spPr>
          <a:xfrm>
            <a:off x="8878" y="1166604"/>
            <a:ext cx="12183122" cy="569139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AD2ECCA3-03D9-E235-DA4D-24F08577C104}"/>
              </a:ext>
            </a:extLst>
          </p:cNvPr>
          <p:cNvSpPr>
            <a:spLocks noGrp="1"/>
          </p:cNvSpPr>
          <p:nvPr>
            <p:ph type="title"/>
          </p:nvPr>
        </p:nvSpPr>
        <p:spPr/>
        <p:txBody>
          <a:bodyPr/>
          <a:lstStyle/>
          <a:p>
            <a:r>
              <a:rPr lang="en-US">
                <a:latin typeface="+mn-lt"/>
              </a:rPr>
              <a:t>F-ROC Applicant Process</a:t>
            </a:r>
          </a:p>
        </p:txBody>
      </p:sp>
      <p:sp>
        <p:nvSpPr>
          <p:cNvPr id="7" name="Rectangle 6">
            <a:extLst>
              <a:ext uri="{FF2B5EF4-FFF2-40B4-BE49-F238E27FC236}">
                <a16:creationId xmlns:a16="http://schemas.microsoft.com/office/drawing/2014/main" id="{25C30CE7-C5C8-EFD5-D053-584693747171}"/>
              </a:ext>
            </a:extLst>
          </p:cNvPr>
          <p:cNvSpPr/>
          <p:nvPr/>
        </p:nvSpPr>
        <p:spPr>
          <a:xfrm>
            <a:off x="1238008" y="2016578"/>
            <a:ext cx="1912181" cy="3773693"/>
          </a:xfrm>
          <a:prstGeom prst="rect">
            <a:avLst/>
          </a:prstGeom>
          <a:solidFill>
            <a:sysClr val="window" lastClr="FFFFFF"/>
          </a:solidFill>
          <a:ln w="6350" cap="flat" cmpd="sng" algn="ctr">
            <a:solidFill>
              <a:srgbClr val="00338D"/>
            </a:solidFill>
            <a:prstDash val="solid"/>
          </a:ln>
          <a:effectLst/>
        </p:spPr>
        <p:txBody>
          <a:bodyPr lIns="84406" tIns="1941342" rIns="84406" rtlCol="0" anchor="t"/>
          <a:lstStyle/>
          <a:p>
            <a:pPr marL="4397" algn="ctr"/>
            <a:r>
              <a:rPr lang="en-US" sz="2000" b="1">
                <a:solidFill>
                  <a:srgbClr val="00338D"/>
                </a:solidFill>
                <a:cs typeface="Arial" panose="020B0604020202020204" pitchFamily="34" charset="0"/>
              </a:rPr>
              <a:t>Complete Opt-in Course</a:t>
            </a:r>
          </a:p>
        </p:txBody>
      </p:sp>
      <p:sp>
        <p:nvSpPr>
          <p:cNvPr id="8" name="Pentagon 7">
            <a:extLst>
              <a:ext uri="{FF2B5EF4-FFF2-40B4-BE49-F238E27FC236}">
                <a16:creationId xmlns:a16="http://schemas.microsoft.com/office/drawing/2014/main" id="{A6F79AC1-6481-5218-6686-7778CFFC5582}"/>
              </a:ext>
            </a:extLst>
          </p:cNvPr>
          <p:cNvSpPr/>
          <p:nvPr/>
        </p:nvSpPr>
        <p:spPr>
          <a:xfrm>
            <a:off x="1213182" y="2119526"/>
            <a:ext cx="1397821" cy="294439"/>
          </a:xfrm>
          <a:prstGeom prst="homePlate">
            <a:avLst/>
          </a:prstGeom>
          <a:solidFill>
            <a:srgbClr val="00338D"/>
          </a:solidFill>
          <a:ln w="25400" cap="flat" cmpd="sng" algn="ctr">
            <a:solidFill>
              <a:srgbClr val="00338D"/>
            </a:solidFill>
            <a:prstDash val="solid"/>
          </a:ln>
          <a:effectLst/>
        </p:spPr>
        <p:txBody>
          <a:bodyPr rtlCol="0" anchor="ctr"/>
          <a:lstStyle/>
          <a:p>
            <a:pPr algn="ctr" defTabSz="844083">
              <a:defRPr/>
            </a:pPr>
            <a:r>
              <a:rPr lang="en-US" sz="1846" b="1" kern="0">
                <a:solidFill>
                  <a:sysClr val="window" lastClr="FFFFFF"/>
                </a:solidFill>
                <a:cs typeface="Arial" pitchFamily="34" charset="0"/>
              </a:rPr>
              <a:t>1</a:t>
            </a:r>
          </a:p>
        </p:txBody>
      </p:sp>
      <p:sp>
        <p:nvSpPr>
          <p:cNvPr id="11" name="Rectangle 10">
            <a:extLst>
              <a:ext uri="{FF2B5EF4-FFF2-40B4-BE49-F238E27FC236}">
                <a16:creationId xmlns:a16="http://schemas.microsoft.com/office/drawing/2014/main" id="{85C03193-E826-C1FC-7A27-53EC3951225F}"/>
              </a:ext>
            </a:extLst>
          </p:cNvPr>
          <p:cNvSpPr/>
          <p:nvPr/>
        </p:nvSpPr>
        <p:spPr>
          <a:xfrm>
            <a:off x="3216914" y="2021025"/>
            <a:ext cx="1912181" cy="3773693"/>
          </a:xfrm>
          <a:prstGeom prst="rect">
            <a:avLst/>
          </a:prstGeom>
          <a:solidFill>
            <a:sysClr val="window" lastClr="FFFFFF"/>
          </a:solidFill>
          <a:ln w="6350" cap="flat" cmpd="sng" algn="ctr">
            <a:solidFill>
              <a:srgbClr val="005EB8"/>
            </a:solidFill>
            <a:prstDash val="solid"/>
          </a:ln>
          <a:effectLst/>
        </p:spPr>
        <p:txBody>
          <a:bodyPr lIns="84406" tIns="1941342" rIns="84406" rtlCol="0" anchor="t"/>
          <a:lstStyle/>
          <a:p>
            <a:pPr marL="4397" algn="ctr"/>
            <a:r>
              <a:rPr lang="en-US" sz="2000" b="1">
                <a:solidFill>
                  <a:srgbClr val="005EB8"/>
                </a:solidFill>
                <a:cs typeface="Arial" panose="020B0604020202020204" pitchFamily="34" charset="0"/>
              </a:rPr>
              <a:t>Sign Participation Request Form </a:t>
            </a:r>
          </a:p>
        </p:txBody>
      </p:sp>
      <p:sp>
        <p:nvSpPr>
          <p:cNvPr id="12" name="Pentagon 11">
            <a:extLst>
              <a:ext uri="{FF2B5EF4-FFF2-40B4-BE49-F238E27FC236}">
                <a16:creationId xmlns:a16="http://schemas.microsoft.com/office/drawing/2014/main" id="{DEA40AF6-C61D-49A3-0DC7-7EE8DA585431}"/>
              </a:ext>
            </a:extLst>
          </p:cNvPr>
          <p:cNvSpPr/>
          <p:nvPr/>
        </p:nvSpPr>
        <p:spPr>
          <a:xfrm>
            <a:off x="3184292" y="2119526"/>
            <a:ext cx="1397821" cy="294438"/>
          </a:xfrm>
          <a:prstGeom prst="homePlate">
            <a:avLst/>
          </a:prstGeom>
          <a:solidFill>
            <a:srgbClr val="005EB8"/>
          </a:solidFill>
          <a:ln w="25400" cap="flat" cmpd="sng" algn="ctr">
            <a:noFill/>
            <a:prstDash val="solid"/>
          </a:ln>
          <a:effectLst/>
        </p:spPr>
        <p:txBody>
          <a:bodyPr rtlCol="0" anchor="ctr"/>
          <a:lstStyle/>
          <a:p>
            <a:pPr algn="ctr" defTabSz="844083">
              <a:defRPr/>
            </a:pPr>
            <a:r>
              <a:rPr lang="en-US" sz="1846" b="1" kern="0">
                <a:solidFill>
                  <a:sysClr val="window" lastClr="FFFFFF"/>
                </a:solidFill>
                <a:cs typeface="Arial" pitchFamily="34" charset="0"/>
              </a:rPr>
              <a:t>2</a:t>
            </a:r>
          </a:p>
        </p:txBody>
      </p:sp>
      <p:sp>
        <p:nvSpPr>
          <p:cNvPr id="14" name="Rectangle 13">
            <a:extLst>
              <a:ext uri="{FF2B5EF4-FFF2-40B4-BE49-F238E27FC236}">
                <a16:creationId xmlns:a16="http://schemas.microsoft.com/office/drawing/2014/main" id="{7D5159CA-4E9A-8FE6-3EEF-FD4FA095A2BB}"/>
              </a:ext>
            </a:extLst>
          </p:cNvPr>
          <p:cNvSpPr/>
          <p:nvPr/>
        </p:nvSpPr>
        <p:spPr>
          <a:xfrm>
            <a:off x="5198164" y="2016578"/>
            <a:ext cx="1912181" cy="3773693"/>
          </a:xfrm>
          <a:prstGeom prst="rect">
            <a:avLst/>
          </a:prstGeom>
          <a:solidFill>
            <a:sysClr val="window" lastClr="FFFFFF"/>
          </a:solidFill>
          <a:ln w="6350" cap="flat" cmpd="sng" algn="ctr">
            <a:solidFill>
              <a:srgbClr val="0091DA"/>
            </a:solidFill>
            <a:prstDash val="solid"/>
          </a:ln>
          <a:effectLst/>
        </p:spPr>
        <p:txBody>
          <a:bodyPr lIns="84406" tIns="1941342" rIns="84406" rtlCol="0" anchor="t"/>
          <a:lstStyle/>
          <a:p>
            <a:pPr marL="4397" algn="ctr"/>
            <a:r>
              <a:rPr lang="en-US" sz="2000" b="1">
                <a:solidFill>
                  <a:srgbClr val="0091DA"/>
                </a:solidFill>
                <a:cs typeface="Arial" panose="020B0604020202020204" pitchFamily="34" charset="0"/>
              </a:rPr>
              <a:t>Complete Disaster Readiness Assessment</a:t>
            </a:r>
          </a:p>
        </p:txBody>
      </p:sp>
      <p:sp>
        <p:nvSpPr>
          <p:cNvPr id="15" name="Pentagon 14">
            <a:extLst>
              <a:ext uri="{FF2B5EF4-FFF2-40B4-BE49-F238E27FC236}">
                <a16:creationId xmlns:a16="http://schemas.microsoft.com/office/drawing/2014/main" id="{2F25347C-B6B3-93AC-E1A8-25D3E8FE4DDA}"/>
              </a:ext>
            </a:extLst>
          </p:cNvPr>
          <p:cNvSpPr/>
          <p:nvPr/>
        </p:nvSpPr>
        <p:spPr>
          <a:xfrm>
            <a:off x="5166022" y="2119526"/>
            <a:ext cx="1397821" cy="294438"/>
          </a:xfrm>
          <a:prstGeom prst="homePlate">
            <a:avLst/>
          </a:prstGeom>
          <a:solidFill>
            <a:srgbClr val="0091DA"/>
          </a:solidFill>
          <a:ln w="25400" cap="flat" cmpd="sng" algn="ctr">
            <a:noFill/>
            <a:prstDash val="solid"/>
          </a:ln>
          <a:effectLst/>
        </p:spPr>
        <p:txBody>
          <a:bodyPr rtlCol="0" anchor="ctr"/>
          <a:lstStyle/>
          <a:p>
            <a:pPr algn="ctr" defTabSz="844083">
              <a:defRPr/>
            </a:pPr>
            <a:r>
              <a:rPr lang="en-US" sz="1846" b="1" kern="0">
                <a:solidFill>
                  <a:sysClr val="window" lastClr="FFFFFF"/>
                </a:solidFill>
                <a:cs typeface="Arial" pitchFamily="34" charset="0"/>
              </a:rPr>
              <a:t>3</a:t>
            </a:r>
          </a:p>
        </p:txBody>
      </p:sp>
      <p:sp>
        <p:nvSpPr>
          <p:cNvPr id="17" name="Rectangle 16">
            <a:extLst>
              <a:ext uri="{FF2B5EF4-FFF2-40B4-BE49-F238E27FC236}">
                <a16:creationId xmlns:a16="http://schemas.microsoft.com/office/drawing/2014/main" id="{F0C1E350-F1CF-B835-1256-FD3AB2931220}"/>
              </a:ext>
            </a:extLst>
          </p:cNvPr>
          <p:cNvSpPr/>
          <p:nvPr/>
        </p:nvSpPr>
        <p:spPr>
          <a:xfrm>
            <a:off x="7171732" y="2016578"/>
            <a:ext cx="1912181" cy="3773693"/>
          </a:xfrm>
          <a:prstGeom prst="rect">
            <a:avLst/>
          </a:prstGeom>
          <a:solidFill>
            <a:sysClr val="window" lastClr="FFFFFF"/>
          </a:solidFill>
          <a:ln w="6350" cap="flat" cmpd="sng" algn="ctr">
            <a:solidFill>
              <a:srgbClr val="483698"/>
            </a:solidFill>
            <a:prstDash val="solid"/>
          </a:ln>
          <a:effectLst/>
        </p:spPr>
        <p:txBody>
          <a:bodyPr lIns="84406" tIns="1941342" rIns="84406" rtlCol="0" anchor="t"/>
          <a:lstStyle/>
          <a:p>
            <a:pPr marL="4397" algn="ctr"/>
            <a:r>
              <a:rPr lang="en-US" sz="2000" b="1">
                <a:solidFill>
                  <a:srgbClr val="483698"/>
                </a:solidFill>
                <a:cs typeface="Arial" panose="020B0604020202020204" pitchFamily="34" charset="0"/>
              </a:rPr>
              <a:t>Create Customized Abatement Plan (based on your options)</a:t>
            </a:r>
          </a:p>
        </p:txBody>
      </p:sp>
      <p:sp>
        <p:nvSpPr>
          <p:cNvPr id="18" name="Pentagon 17">
            <a:extLst>
              <a:ext uri="{FF2B5EF4-FFF2-40B4-BE49-F238E27FC236}">
                <a16:creationId xmlns:a16="http://schemas.microsoft.com/office/drawing/2014/main" id="{814A4920-3EE0-7729-71BA-266602FCDC35}"/>
              </a:ext>
            </a:extLst>
          </p:cNvPr>
          <p:cNvSpPr/>
          <p:nvPr/>
        </p:nvSpPr>
        <p:spPr>
          <a:xfrm>
            <a:off x="7142487" y="2119526"/>
            <a:ext cx="1397821" cy="294438"/>
          </a:xfrm>
          <a:prstGeom prst="homePlate">
            <a:avLst/>
          </a:prstGeom>
          <a:solidFill>
            <a:srgbClr val="483698"/>
          </a:solidFill>
          <a:ln w="25400" cap="flat" cmpd="sng" algn="ctr">
            <a:noFill/>
            <a:prstDash val="solid"/>
          </a:ln>
          <a:effectLst/>
        </p:spPr>
        <p:txBody>
          <a:bodyPr rtlCol="0" anchor="ctr"/>
          <a:lstStyle/>
          <a:p>
            <a:pPr algn="ctr" defTabSz="844083">
              <a:defRPr/>
            </a:pPr>
            <a:r>
              <a:rPr lang="en-US" sz="1846" b="1" kern="0">
                <a:solidFill>
                  <a:sysClr val="window" lastClr="FFFFFF"/>
                </a:solidFill>
                <a:cs typeface="Arial" pitchFamily="34" charset="0"/>
              </a:rPr>
              <a:t>4</a:t>
            </a:r>
          </a:p>
        </p:txBody>
      </p:sp>
      <p:sp>
        <p:nvSpPr>
          <p:cNvPr id="20" name="Rectangle 19">
            <a:extLst>
              <a:ext uri="{FF2B5EF4-FFF2-40B4-BE49-F238E27FC236}">
                <a16:creationId xmlns:a16="http://schemas.microsoft.com/office/drawing/2014/main" id="{26138A86-4184-02A1-42CA-B26D25A8DEC8}"/>
              </a:ext>
            </a:extLst>
          </p:cNvPr>
          <p:cNvSpPr/>
          <p:nvPr/>
        </p:nvSpPr>
        <p:spPr>
          <a:xfrm>
            <a:off x="9152983" y="2019221"/>
            <a:ext cx="1913915" cy="3773693"/>
          </a:xfrm>
          <a:prstGeom prst="rect">
            <a:avLst/>
          </a:prstGeom>
          <a:solidFill>
            <a:sysClr val="window" lastClr="FFFFFF"/>
          </a:solidFill>
          <a:ln w="6350" cap="flat" cmpd="sng" algn="ctr">
            <a:solidFill>
              <a:srgbClr val="470A68"/>
            </a:solidFill>
            <a:prstDash val="solid"/>
          </a:ln>
          <a:effectLst/>
        </p:spPr>
        <p:txBody>
          <a:bodyPr lIns="84406" tIns="1941342" rIns="84406" rtlCol="0" anchor="t"/>
          <a:lstStyle/>
          <a:p>
            <a:pPr marL="4397" algn="ctr"/>
            <a:r>
              <a:rPr lang="en-US" sz="2000" b="1">
                <a:solidFill>
                  <a:srgbClr val="470A68"/>
                </a:solidFill>
                <a:cs typeface="Arial" panose="020B0604020202020204" pitchFamily="34" charset="0"/>
              </a:rPr>
              <a:t>Complete and Submit Post Disaster Questionnaire</a:t>
            </a:r>
          </a:p>
        </p:txBody>
      </p:sp>
      <p:sp>
        <p:nvSpPr>
          <p:cNvPr id="21" name="Pentagon 20">
            <a:extLst>
              <a:ext uri="{FF2B5EF4-FFF2-40B4-BE49-F238E27FC236}">
                <a16:creationId xmlns:a16="http://schemas.microsoft.com/office/drawing/2014/main" id="{F890A4B6-17D0-DADD-B1A2-6432B9B20335}"/>
              </a:ext>
            </a:extLst>
          </p:cNvPr>
          <p:cNvSpPr/>
          <p:nvPr/>
        </p:nvSpPr>
        <p:spPr>
          <a:xfrm>
            <a:off x="9128489" y="2119526"/>
            <a:ext cx="1397821" cy="294438"/>
          </a:xfrm>
          <a:prstGeom prst="homePlate">
            <a:avLst/>
          </a:prstGeom>
          <a:solidFill>
            <a:srgbClr val="470A68"/>
          </a:solidFill>
          <a:ln w="25400" cap="flat" cmpd="sng" algn="ctr">
            <a:noFill/>
            <a:prstDash val="solid"/>
          </a:ln>
          <a:effectLst/>
        </p:spPr>
        <p:txBody>
          <a:bodyPr rtlCol="0" anchor="ctr"/>
          <a:lstStyle/>
          <a:p>
            <a:pPr algn="ctr" defTabSz="844083">
              <a:defRPr/>
            </a:pPr>
            <a:r>
              <a:rPr lang="en-US" sz="1846" b="1" kern="0">
                <a:solidFill>
                  <a:sysClr val="window" lastClr="FFFFFF"/>
                </a:solidFill>
                <a:cs typeface="Arial" pitchFamily="34" charset="0"/>
              </a:rPr>
              <a:t>5</a:t>
            </a:r>
          </a:p>
        </p:txBody>
      </p:sp>
      <p:grpSp>
        <p:nvGrpSpPr>
          <p:cNvPr id="438" name="Group 437">
            <a:extLst>
              <a:ext uri="{FF2B5EF4-FFF2-40B4-BE49-F238E27FC236}">
                <a16:creationId xmlns:a16="http://schemas.microsoft.com/office/drawing/2014/main" id="{FD30B32F-BD69-8F16-1F24-D5E6D2DB961D}"/>
              </a:ext>
            </a:extLst>
          </p:cNvPr>
          <p:cNvGrpSpPr/>
          <p:nvPr/>
        </p:nvGrpSpPr>
        <p:grpSpPr>
          <a:xfrm>
            <a:off x="3502725" y="2594832"/>
            <a:ext cx="1279601" cy="1141859"/>
            <a:chOff x="503700" y="2768118"/>
            <a:chExt cx="1015408" cy="946810"/>
          </a:xfrm>
        </p:grpSpPr>
        <p:sp>
          <p:nvSpPr>
            <p:cNvPr id="368" name="Freeform 23">
              <a:extLst>
                <a:ext uri="{FF2B5EF4-FFF2-40B4-BE49-F238E27FC236}">
                  <a16:creationId xmlns:a16="http://schemas.microsoft.com/office/drawing/2014/main" id="{1CFC8EEE-8A93-24E0-102F-4EE63D14096E}"/>
                </a:ext>
              </a:extLst>
            </p:cNvPr>
            <p:cNvSpPr>
              <a:spLocks/>
            </p:cNvSpPr>
            <p:nvPr/>
          </p:nvSpPr>
          <p:spPr bwMode="auto">
            <a:xfrm>
              <a:off x="503700" y="2768118"/>
              <a:ext cx="1015408" cy="946810"/>
            </a:xfrm>
            <a:custGeom>
              <a:avLst/>
              <a:gdLst>
                <a:gd name="T0" fmla="*/ 332 w 701"/>
                <a:gd name="T1" fmla="*/ 701 h 701"/>
                <a:gd name="T2" fmla="*/ 280 w 701"/>
                <a:gd name="T3" fmla="*/ 694 h 701"/>
                <a:gd name="T4" fmla="*/ 230 w 701"/>
                <a:gd name="T5" fmla="*/ 680 h 701"/>
                <a:gd name="T6" fmla="*/ 184 w 701"/>
                <a:gd name="T7" fmla="*/ 659 h 701"/>
                <a:gd name="T8" fmla="*/ 141 w 701"/>
                <a:gd name="T9" fmla="*/ 631 h 701"/>
                <a:gd name="T10" fmla="*/ 103 w 701"/>
                <a:gd name="T11" fmla="*/ 598 h 701"/>
                <a:gd name="T12" fmla="*/ 69 w 701"/>
                <a:gd name="T13" fmla="*/ 560 h 701"/>
                <a:gd name="T14" fmla="*/ 42 w 701"/>
                <a:gd name="T15" fmla="*/ 518 h 701"/>
                <a:gd name="T16" fmla="*/ 21 w 701"/>
                <a:gd name="T17" fmla="*/ 471 h 701"/>
                <a:gd name="T18" fmla="*/ 8 w 701"/>
                <a:gd name="T19" fmla="*/ 421 h 701"/>
                <a:gd name="T20" fmla="*/ 0 w 701"/>
                <a:gd name="T21" fmla="*/ 369 h 701"/>
                <a:gd name="T22" fmla="*/ 0 w 701"/>
                <a:gd name="T23" fmla="*/ 333 h 701"/>
                <a:gd name="T24" fmla="*/ 8 w 701"/>
                <a:gd name="T25" fmla="*/ 280 h 701"/>
                <a:gd name="T26" fmla="*/ 21 w 701"/>
                <a:gd name="T27" fmla="*/ 231 h 701"/>
                <a:gd name="T28" fmla="*/ 42 w 701"/>
                <a:gd name="T29" fmla="*/ 184 h 701"/>
                <a:gd name="T30" fmla="*/ 69 w 701"/>
                <a:gd name="T31" fmla="*/ 141 h 701"/>
                <a:gd name="T32" fmla="*/ 103 w 701"/>
                <a:gd name="T33" fmla="*/ 102 h 701"/>
                <a:gd name="T34" fmla="*/ 141 w 701"/>
                <a:gd name="T35" fmla="*/ 70 h 701"/>
                <a:gd name="T36" fmla="*/ 184 w 701"/>
                <a:gd name="T37" fmla="*/ 42 h 701"/>
                <a:gd name="T38" fmla="*/ 230 w 701"/>
                <a:gd name="T39" fmla="*/ 21 h 701"/>
                <a:gd name="T40" fmla="*/ 280 w 701"/>
                <a:gd name="T41" fmla="*/ 7 h 701"/>
                <a:gd name="T42" fmla="*/ 332 w 701"/>
                <a:gd name="T43" fmla="*/ 0 h 701"/>
                <a:gd name="T44" fmla="*/ 369 w 701"/>
                <a:gd name="T45" fmla="*/ 0 h 701"/>
                <a:gd name="T46" fmla="*/ 421 w 701"/>
                <a:gd name="T47" fmla="*/ 7 h 701"/>
                <a:gd name="T48" fmla="*/ 472 w 701"/>
                <a:gd name="T49" fmla="*/ 21 h 701"/>
                <a:gd name="T50" fmla="*/ 517 w 701"/>
                <a:gd name="T51" fmla="*/ 42 h 701"/>
                <a:gd name="T52" fmla="*/ 560 w 701"/>
                <a:gd name="T53" fmla="*/ 70 h 701"/>
                <a:gd name="T54" fmla="*/ 599 w 701"/>
                <a:gd name="T55" fmla="*/ 102 h 701"/>
                <a:gd name="T56" fmla="*/ 632 w 701"/>
                <a:gd name="T57" fmla="*/ 141 h 701"/>
                <a:gd name="T58" fmla="*/ 659 w 701"/>
                <a:gd name="T59" fmla="*/ 184 h 701"/>
                <a:gd name="T60" fmla="*/ 680 w 701"/>
                <a:gd name="T61" fmla="*/ 231 h 701"/>
                <a:gd name="T62" fmla="*/ 694 w 701"/>
                <a:gd name="T63" fmla="*/ 280 h 701"/>
                <a:gd name="T64" fmla="*/ 701 w 701"/>
                <a:gd name="T65" fmla="*/ 333 h 701"/>
                <a:gd name="T66" fmla="*/ 701 w 701"/>
                <a:gd name="T67" fmla="*/ 369 h 701"/>
                <a:gd name="T68" fmla="*/ 694 w 701"/>
                <a:gd name="T69" fmla="*/ 421 h 701"/>
                <a:gd name="T70" fmla="*/ 680 w 701"/>
                <a:gd name="T71" fmla="*/ 471 h 701"/>
                <a:gd name="T72" fmla="*/ 659 w 701"/>
                <a:gd name="T73" fmla="*/ 518 h 701"/>
                <a:gd name="T74" fmla="*/ 632 w 701"/>
                <a:gd name="T75" fmla="*/ 560 h 701"/>
                <a:gd name="T76" fmla="*/ 599 w 701"/>
                <a:gd name="T77" fmla="*/ 598 h 701"/>
                <a:gd name="T78" fmla="*/ 560 w 701"/>
                <a:gd name="T79" fmla="*/ 631 h 701"/>
                <a:gd name="T80" fmla="*/ 517 w 701"/>
                <a:gd name="T81" fmla="*/ 659 h 701"/>
                <a:gd name="T82" fmla="*/ 472 w 701"/>
                <a:gd name="T83" fmla="*/ 680 h 701"/>
                <a:gd name="T84" fmla="*/ 421 w 701"/>
                <a:gd name="T85" fmla="*/ 694 h 701"/>
                <a:gd name="T86" fmla="*/ 369 w 701"/>
                <a:gd name="T87" fmla="*/ 701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1">
                  <a:moveTo>
                    <a:pt x="351" y="701"/>
                  </a:moveTo>
                  <a:lnTo>
                    <a:pt x="351" y="701"/>
                  </a:lnTo>
                  <a:lnTo>
                    <a:pt x="332" y="701"/>
                  </a:lnTo>
                  <a:lnTo>
                    <a:pt x="315" y="699"/>
                  </a:lnTo>
                  <a:lnTo>
                    <a:pt x="298" y="697"/>
                  </a:lnTo>
                  <a:lnTo>
                    <a:pt x="280" y="694"/>
                  </a:lnTo>
                  <a:lnTo>
                    <a:pt x="263" y="689"/>
                  </a:lnTo>
                  <a:lnTo>
                    <a:pt x="247" y="686"/>
                  </a:lnTo>
                  <a:lnTo>
                    <a:pt x="230" y="680"/>
                  </a:lnTo>
                  <a:lnTo>
                    <a:pt x="214" y="673"/>
                  </a:lnTo>
                  <a:lnTo>
                    <a:pt x="199" y="666"/>
                  </a:lnTo>
                  <a:lnTo>
                    <a:pt x="184" y="659"/>
                  </a:lnTo>
                  <a:lnTo>
                    <a:pt x="169" y="650"/>
                  </a:lnTo>
                  <a:lnTo>
                    <a:pt x="155" y="641"/>
                  </a:lnTo>
                  <a:lnTo>
                    <a:pt x="141" y="631"/>
                  </a:lnTo>
                  <a:lnTo>
                    <a:pt x="127" y="620"/>
                  </a:lnTo>
                  <a:lnTo>
                    <a:pt x="115" y="611"/>
                  </a:lnTo>
                  <a:lnTo>
                    <a:pt x="103" y="598"/>
                  </a:lnTo>
                  <a:lnTo>
                    <a:pt x="92" y="586"/>
                  </a:lnTo>
                  <a:lnTo>
                    <a:pt x="81" y="573"/>
                  </a:lnTo>
                  <a:lnTo>
                    <a:pt x="69" y="560"/>
                  </a:lnTo>
                  <a:lnTo>
                    <a:pt x="60" y="546"/>
                  </a:lnTo>
                  <a:lnTo>
                    <a:pt x="51" y="533"/>
                  </a:lnTo>
                  <a:lnTo>
                    <a:pt x="42" y="518"/>
                  </a:lnTo>
                  <a:lnTo>
                    <a:pt x="35" y="502"/>
                  </a:lnTo>
                  <a:lnTo>
                    <a:pt x="28" y="487"/>
                  </a:lnTo>
                  <a:lnTo>
                    <a:pt x="21" y="471"/>
                  </a:lnTo>
                  <a:lnTo>
                    <a:pt x="16" y="455"/>
                  </a:lnTo>
                  <a:lnTo>
                    <a:pt x="11" y="438"/>
                  </a:lnTo>
                  <a:lnTo>
                    <a:pt x="8" y="421"/>
                  </a:lnTo>
                  <a:lnTo>
                    <a:pt x="4" y="403"/>
                  </a:lnTo>
                  <a:lnTo>
                    <a:pt x="2" y="386"/>
                  </a:lnTo>
                  <a:lnTo>
                    <a:pt x="0" y="369"/>
                  </a:lnTo>
                  <a:lnTo>
                    <a:pt x="0" y="350"/>
                  </a:lnTo>
                  <a:lnTo>
                    <a:pt x="0" y="350"/>
                  </a:lnTo>
                  <a:lnTo>
                    <a:pt x="0" y="333"/>
                  </a:lnTo>
                  <a:lnTo>
                    <a:pt x="2" y="314"/>
                  </a:lnTo>
                  <a:lnTo>
                    <a:pt x="4" y="297"/>
                  </a:lnTo>
                  <a:lnTo>
                    <a:pt x="8" y="280"/>
                  </a:lnTo>
                  <a:lnTo>
                    <a:pt x="11" y="263"/>
                  </a:lnTo>
                  <a:lnTo>
                    <a:pt x="16" y="247"/>
                  </a:lnTo>
                  <a:lnTo>
                    <a:pt x="21" y="231"/>
                  </a:lnTo>
                  <a:lnTo>
                    <a:pt x="28" y="215"/>
                  </a:lnTo>
                  <a:lnTo>
                    <a:pt x="35" y="198"/>
                  </a:lnTo>
                  <a:lnTo>
                    <a:pt x="42" y="184"/>
                  </a:lnTo>
                  <a:lnTo>
                    <a:pt x="51" y="169"/>
                  </a:lnTo>
                  <a:lnTo>
                    <a:pt x="60" y="154"/>
                  </a:lnTo>
                  <a:lnTo>
                    <a:pt x="69" y="141"/>
                  </a:lnTo>
                  <a:lnTo>
                    <a:pt x="81" y="127"/>
                  </a:lnTo>
                  <a:lnTo>
                    <a:pt x="92" y="115"/>
                  </a:lnTo>
                  <a:lnTo>
                    <a:pt x="103" y="102"/>
                  </a:lnTo>
                  <a:lnTo>
                    <a:pt x="115" y="91"/>
                  </a:lnTo>
                  <a:lnTo>
                    <a:pt x="127" y="80"/>
                  </a:lnTo>
                  <a:lnTo>
                    <a:pt x="141" y="70"/>
                  </a:lnTo>
                  <a:lnTo>
                    <a:pt x="155" y="60"/>
                  </a:lnTo>
                  <a:lnTo>
                    <a:pt x="169" y="50"/>
                  </a:lnTo>
                  <a:lnTo>
                    <a:pt x="184" y="42"/>
                  </a:lnTo>
                  <a:lnTo>
                    <a:pt x="199" y="34"/>
                  </a:lnTo>
                  <a:lnTo>
                    <a:pt x="214" y="27"/>
                  </a:lnTo>
                  <a:lnTo>
                    <a:pt x="230" y="21"/>
                  </a:lnTo>
                  <a:lnTo>
                    <a:pt x="247" y="16"/>
                  </a:lnTo>
                  <a:lnTo>
                    <a:pt x="263" y="11"/>
                  </a:lnTo>
                  <a:lnTo>
                    <a:pt x="280" y="7"/>
                  </a:lnTo>
                  <a:lnTo>
                    <a:pt x="298" y="4"/>
                  </a:lnTo>
                  <a:lnTo>
                    <a:pt x="315" y="2"/>
                  </a:lnTo>
                  <a:lnTo>
                    <a:pt x="332" y="0"/>
                  </a:lnTo>
                  <a:lnTo>
                    <a:pt x="351" y="0"/>
                  </a:lnTo>
                  <a:lnTo>
                    <a:pt x="351" y="0"/>
                  </a:lnTo>
                  <a:lnTo>
                    <a:pt x="369" y="0"/>
                  </a:lnTo>
                  <a:lnTo>
                    <a:pt x="386" y="2"/>
                  </a:lnTo>
                  <a:lnTo>
                    <a:pt x="404" y="4"/>
                  </a:lnTo>
                  <a:lnTo>
                    <a:pt x="421" y="7"/>
                  </a:lnTo>
                  <a:lnTo>
                    <a:pt x="438" y="11"/>
                  </a:lnTo>
                  <a:lnTo>
                    <a:pt x="456" y="16"/>
                  </a:lnTo>
                  <a:lnTo>
                    <a:pt x="472" y="21"/>
                  </a:lnTo>
                  <a:lnTo>
                    <a:pt x="488" y="27"/>
                  </a:lnTo>
                  <a:lnTo>
                    <a:pt x="502" y="34"/>
                  </a:lnTo>
                  <a:lnTo>
                    <a:pt x="517" y="42"/>
                  </a:lnTo>
                  <a:lnTo>
                    <a:pt x="532" y="50"/>
                  </a:lnTo>
                  <a:lnTo>
                    <a:pt x="547" y="60"/>
                  </a:lnTo>
                  <a:lnTo>
                    <a:pt x="560" y="70"/>
                  </a:lnTo>
                  <a:lnTo>
                    <a:pt x="574" y="80"/>
                  </a:lnTo>
                  <a:lnTo>
                    <a:pt x="586" y="91"/>
                  </a:lnTo>
                  <a:lnTo>
                    <a:pt x="599" y="102"/>
                  </a:lnTo>
                  <a:lnTo>
                    <a:pt x="610" y="115"/>
                  </a:lnTo>
                  <a:lnTo>
                    <a:pt x="621" y="127"/>
                  </a:lnTo>
                  <a:lnTo>
                    <a:pt x="632" y="141"/>
                  </a:lnTo>
                  <a:lnTo>
                    <a:pt x="642" y="154"/>
                  </a:lnTo>
                  <a:lnTo>
                    <a:pt x="650" y="169"/>
                  </a:lnTo>
                  <a:lnTo>
                    <a:pt x="659" y="184"/>
                  </a:lnTo>
                  <a:lnTo>
                    <a:pt x="666" y="198"/>
                  </a:lnTo>
                  <a:lnTo>
                    <a:pt x="674" y="215"/>
                  </a:lnTo>
                  <a:lnTo>
                    <a:pt x="680" y="231"/>
                  </a:lnTo>
                  <a:lnTo>
                    <a:pt x="685" y="247"/>
                  </a:lnTo>
                  <a:lnTo>
                    <a:pt x="690" y="263"/>
                  </a:lnTo>
                  <a:lnTo>
                    <a:pt x="694" y="280"/>
                  </a:lnTo>
                  <a:lnTo>
                    <a:pt x="697" y="297"/>
                  </a:lnTo>
                  <a:lnTo>
                    <a:pt x="700" y="314"/>
                  </a:lnTo>
                  <a:lnTo>
                    <a:pt x="701" y="333"/>
                  </a:lnTo>
                  <a:lnTo>
                    <a:pt x="701" y="350"/>
                  </a:lnTo>
                  <a:lnTo>
                    <a:pt x="701" y="350"/>
                  </a:lnTo>
                  <a:lnTo>
                    <a:pt x="701" y="369"/>
                  </a:lnTo>
                  <a:lnTo>
                    <a:pt x="700" y="386"/>
                  </a:lnTo>
                  <a:lnTo>
                    <a:pt x="697" y="403"/>
                  </a:lnTo>
                  <a:lnTo>
                    <a:pt x="694" y="421"/>
                  </a:lnTo>
                  <a:lnTo>
                    <a:pt x="690" y="438"/>
                  </a:lnTo>
                  <a:lnTo>
                    <a:pt x="685" y="455"/>
                  </a:lnTo>
                  <a:lnTo>
                    <a:pt x="680" y="471"/>
                  </a:lnTo>
                  <a:lnTo>
                    <a:pt x="674" y="487"/>
                  </a:lnTo>
                  <a:lnTo>
                    <a:pt x="666" y="502"/>
                  </a:lnTo>
                  <a:lnTo>
                    <a:pt x="659" y="518"/>
                  </a:lnTo>
                  <a:lnTo>
                    <a:pt x="650" y="533"/>
                  </a:lnTo>
                  <a:lnTo>
                    <a:pt x="642" y="546"/>
                  </a:lnTo>
                  <a:lnTo>
                    <a:pt x="632" y="560"/>
                  </a:lnTo>
                  <a:lnTo>
                    <a:pt x="621" y="573"/>
                  </a:lnTo>
                  <a:lnTo>
                    <a:pt x="610" y="586"/>
                  </a:lnTo>
                  <a:lnTo>
                    <a:pt x="599" y="598"/>
                  </a:lnTo>
                  <a:lnTo>
                    <a:pt x="586" y="611"/>
                  </a:lnTo>
                  <a:lnTo>
                    <a:pt x="574" y="620"/>
                  </a:lnTo>
                  <a:lnTo>
                    <a:pt x="560" y="631"/>
                  </a:lnTo>
                  <a:lnTo>
                    <a:pt x="547" y="641"/>
                  </a:lnTo>
                  <a:lnTo>
                    <a:pt x="532" y="650"/>
                  </a:lnTo>
                  <a:lnTo>
                    <a:pt x="517" y="659"/>
                  </a:lnTo>
                  <a:lnTo>
                    <a:pt x="502" y="666"/>
                  </a:lnTo>
                  <a:lnTo>
                    <a:pt x="488" y="673"/>
                  </a:lnTo>
                  <a:lnTo>
                    <a:pt x="472" y="680"/>
                  </a:lnTo>
                  <a:lnTo>
                    <a:pt x="456" y="686"/>
                  </a:lnTo>
                  <a:lnTo>
                    <a:pt x="438" y="689"/>
                  </a:lnTo>
                  <a:lnTo>
                    <a:pt x="421" y="694"/>
                  </a:lnTo>
                  <a:lnTo>
                    <a:pt x="404" y="697"/>
                  </a:lnTo>
                  <a:lnTo>
                    <a:pt x="386" y="699"/>
                  </a:lnTo>
                  <a:lnTo>
                    <a:pt x="369" y="701"/>
                  </a:lnTo>
                  <a:lnTo>
                    <a:pt x="351" y="701"/>
                  </a:lnTo>
                  <a:lnTo>
                    <a:pt x="351" y="701"/>
                  </a:lnTo>
                  <a:close/>
                </a:path>
              </a:pathLst>
            </a:custGeom>
            <a:solidFill>
              <a:srgbClr val="005EB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0" name="Freeform 325">
              <a:extLst>
                <a:ext uri="{FF2B5EF4-FFF2-40B4-BE49-F238E27FC236}">
                  <a16:creationId xmlns:a16="http://schemas.microsoft.com/office/drawing/2014/main" id="{68EAA97D-F64E-15DA-F2A6-839F06F2152A}"/>
                </a:ext>
              </a:extLst>
            </p:cNvPr>
            <p:cNvSpPr>
              <a:spLocks/>
            </p:cNvSpPr>
            <p:nvPr/>
          </p:nvSpPr>
          <p:spPr bwMode="auto">
            <a:xfrm>
              <a:off x="776020" y="2990977"/>
              <a:ext cx="398342" cy="507847"/>
            </a:xfrm>
            <a:custGeom>
              <a:avLst/>
              <a:gdLst>
                <a:gd name="T0" fmla="*/ 0 w 275"/>
                <a:gd name="T1" fmla="*/ 376 h 376"/>
                <a:gd name="T2" fmla="*/ 0 w 275"/>
                <a:gd name="T3" fmla="*/ 174 h 376"/>
                <a:gd name="T4" fmla="*/ 0 w 275"/>
                <a:gd name="T5" fmla="*/ 73 h 376"/>
                <a:gd name="T6" fmla="*/ 71 w 275"/>
                <a:gd name="T7" fmla="*/ 0 h 376"/>
                <a:gd name="T8" fmla="*/ 275 w 275"/>
                <a:gd name="T9" fmla="*/ 0 h 376"/>
                <a:gd name="T10" fmla="*/ 275 w 275"/>
                <a:gd name="T11" fmla="*/ 75 h 376"/>
                <a:gd name="T12" fmla="*/ 275 w 275"/>
                <a:gd name="T13" fmla="*/ 174 h 376"/>
                <a:gd name="T14" fmla="*/ 275 w 275"/>
                <a:gd name="T15" fmla="*/ 376 h 376"/>
                <a:gd name="T16" fmla="*/ 0 w 275"/>
                <a:gd name="T17" fmla="*/ 37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 h="376">
                  <a:moveTo>
                    <a:pt x="0" y="376"/>
                  </a:moveTo>
                  <a:lnTo>
                    <a:pt x="0" y="174"/>
                  </a:lnTo>
                  <a:lnTo>
                    <a:pt x="0" y="73"/>
                  </a:lnTo>
                  <a:lnTo>
                    <a:pt x="71" y="0"/>
                  </a:lnTo>
                  <a:lnTo>
                    <a:pt x="275" y="0"/>
                  </a:lnTo>
                  <a:lnTo>
                    <a:pt x="275" y="75"/>
                  </a:lnTo>
                  <a:lnTo>
                    <a:pt x="275" y="174"/>
                  </a:lnTo>
                  <a:lnTo>
                    <a:pt x="275" y="376"/>
                  </a:lnTo>
                  <a:lnTo>
                    <a:pt x="0" y="3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1" name="Freeform 326">
              <a:extLst>
                <a:ext uri="{FF2B5EF4-FFF2-40B4-BE49-F238E27FC236}">
                  <a16:creationId xmlns:a16="http://schemas.microsoft.com/office/drawing/2014/main" id="{87C7CDF8-AAE3-3215-7FD2-1A97B7E3D2A2}"/>
                </a:ext>
              </a:extLst>
            </p:cNvPr>
            <p:cNvSpPr>
              <a:spLocks/>
            </p:cNvSpPr>
            <p:nvPr/>
          </p:nvSpPr>
          <p:spPr bwMode="auto">
            <a:xfrm>
              <a:off x="776020" y="2990977"/>
              <a:ext cx="102845" cy="98598"/>
            </a:xfrm>
            <a:custGeom>
              <a:avLst/>
              <a:gdLst>
                <a:gd name="T0" fmla="*/ 71 w 71"/>
                <a:gd name="T1" fmla="*/ 73 h 73"/>
                <a:gd name="T2" fmla="*/ 0 w 71"/>
                <a:gd name="T3" fmla="*/ 73 h 73"/>
                <a:gd name="T4" fmla="*/ 71 w 71"/>
                <a:gd name="T5" fmla="*/ 0 h 73"/>
                <a:gd name="T6" fmla="*/ 71 w 71"/>
                <a:gd name="T7" fmla="*/ 73 h 73"/>
              </a:gdLst>
              <a:ahLst/>
              <a:cxnLst>
                <a:cxn ang="0">
                  <a:pos x="T0" y="T1"/>
                </a:cxn>
                <a:cxn ang="0">
                  <a:pos x="T2" y="T3"/>
                </a:cxn>
                <a:cxn ang="0">
                  <a:pos x="T4" y="T5"/>
                </a:cxn>
                <a:cxn ang="0">
                  <a:pos x="T6" y="T7"/>
                </a:cxn>
              </a:cxnLst>
              <a:rect l="0" t="0" r="r" b="b"/>
              <a:pathLst>
                <a:path w="71" h="73">
                  <a:moveTo>
                    <a:pt x="71" y="73"/>
                  </a:moveTo>
                  <a:lnTo>
                    <a:pt x="0" y="73"/>
                  </a:lnTo>
                  <a:lnTo>
                    <a:pt x="71" y="0"/>
                  </a:lnTo>
                  <a:lnTo>
                    <a:pt x="71" y="73"/>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2" name="Freeform 327">
              <a:extLst>
                <a:ext uri="{FF2B5EF4-FFF2-40B4-BE49-F238E27FC236}">
                  <a16:creationId xmlns:a16="http://schemas.microsoft.com/office/drawing/2014/main" id="{FA31AB41-0E90-AAA3-F534-0DFC3AB46707}"/>
                </a:ext>
              </a:extLst>
            </p:cNvPr>
            <p:cNvSpPr>
              <a:spLocks/>
            </p:cNvSpPr>
            <p:nvPr/>
          </p:nvSpPr>
          <p:spPr bwMode="auto">
            <a:xfrm>
              <a:off x="776020" y="3089574"/>
              <a:ext cx="102845" cy="98598"/>
            </a:xfrm>
            <a:custGeom>
              <a:avLst/>
              <a:gdLst>
                <a:gd name="T0" fmla="*/ 0 w 71"/>
                <a:gd name="T1" fmla="*/ 0 h 73"/>
                <a:gd name="T2" fmla="*/ 71 w 71"/>
                <a:gd name="T3" fmla="*/ 0 h 73"/>
                <a:gd name="T4" fmla="*/ 0 w 71"/>
                <a:gd name="T5" fmla="*/ 73 h 73"/>
                <a:gd name="T6" fmla="*/ 0 w 71"/>
                <a:gd name="T7" fmla="*/ 0 h 73"/>
              </a:gdLst>
              <a:ahLst/>
              <a:cxnLst>
                <a:cxn ang="0">
                  <a:pos x="T0" y="T1"/>
                </a:cxn>
                <a:cxn ang="0">
                  <a:pos x="T2" y="T3"/>
                </a:cxn>
                <a:cxn ang="0">
                  <a:pos x="T4" y="T5"/>
                </a:cxn>
                <a:cxn ang="0">
                  <a:pos x="T6" y="T7"/>
                </a:cxn>
              </a:cxnLst>
              <a:rect l="0" t="0" r="r" b="b"/>
              <a:pathLst>
                <a:path w="71" h="73">
                  <a:moveTo>
                    <a:pt x="0" y="0"/>
                  </a:moveTo>
                  <a:lnTo>
                    <a:pt x="71" y="0"/>
                  </a:lnTo>
                  <a:lnTo>
                    <a:pt x="0" y="73"/>
                  </a:lnTo>
                  <a:lnTo>
                    <a:pt x="0" y="0"/>
                  </a:lnTo>
                  <a:close/>
                </a:path>
              </a:pathLst>
            </a:custGeom>
            <a:solidFill>
              <a:srgbClr val="D1E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3" name="Freeform 328">
              <a:extLst>
                <a:ext uri="{FF2B5EF4-FFF2-40B4-BE49-F238E27FC236}">
                  <a16:creationId xmlns:a16="http://schemas.microsoft.com/office/drawing/2014/main" id="{6086F631-692B-9E16-E0DE-E23BAE157A3F}"/>
                </a:ext>
              </a:extLst>
            </p:cNvPr>
            <p:cNvSpPr>
              <a:spLocks/>
            </p:cNvSpPr>
            <p:nvPr/>
          </p:nvSpPr>
          <p:spPr bwMode="auto">
            <a:xfrm>
              <a:off x="897696" y="3296225"/>
              <a:ext cx="163682" cy="155326"/>
            </a:xfrm>
            <a:custGeom>
              <a:avLst/>
              <a:gdLst>
                <a:gd name="T0" fmla="*/ 18 w 113"/>
                <a:gd name="T1" fmla="*/ 43 h 115"/>
                <a:gd name="T2" fmla="*/ 18 w 113"/>
                <a:gd name="T3" fmla="*/ 43 h 115"/>
                <a:gd name="T4" fmla="*/ 21 w 113"/>
                <a:gd name="T5" fmla="*/ 49 h 115"/>
                <a:gd name="T6" fmla="*/ 22 w 113"/>
                <a:gd name="T7" fmla="*/ 55 h 115"/>
                <a:gd name="T8" fmla="*/ 21 w 113"/>
                <a:gd name="T9" fmla="*/ 63 h 115"/>
                <a:gd name="T10" fmla="*/ 19 w 113"/>
                <a:gd name="T11" fmla="*/ 71 h 115"/>
                <a:gd name="T12" fmla="*/ 16 w 113"/>
                <a:gd name="T13" fmla="*/ 80 h 115"/>
                <a:gd name="T14" fmla="*/ 12 w 113"/>
                <a:gd name="T15" fmla="*/ 89 h 115"/>
                <a:gd name="T16" fmla="*/ 6 w 113"/>
                <a:gd name="T17" fmla="*/ 97 h 115"/>
                <a:gd name="T18" fmla="*/ 0 w 113"/>
                <a:gd name="T19" fmla="*/ 106 h 115"/>
                <a:gd name="T20" fmla="*/ 2 w 113"/>
                <a:gd name="T21" fmla="*/ 108 h 115"/>
                <a:gd name="T22" fmla="*/ 2 w 113"/>
                <a:gd name="T23" fmla="*/ 108 h 115"/>
                <a:gd name="T24" fmla="*/ 48 w 113"/>
                <a:gd name="T25" fmla="*/ 63 h 115"/>
                <a:gd name="T26" fmla="*/ 48 w 113"/>
                <a:gd name="T27" fmla="*/ 63 h 115"/>
                <a:gd name="T28" fmla="*/ 47 w 113"/>
                <a:gd name="T29" fmla="*/ 59 h 115"/>
                <a:gd name="T30" fmla="*/ 49 w 113"/>
                <a:gd name="T31" fmla="*/ 55 h 115"/>
                <a:gd name="T32" fmla="*/ 49 w 113"/>
                <a:gd name="T33" fmla="*/ 55 h 115"/>
                <a:gd name="T34" fmla="*/ 50 w 113"/>
                <a:gd name="T35" fmla="*/ 54 h 115"/>
                <a:gd name="T36" fmla="*/ 53 w 113"/>
                <a:gd name="T37" fmla="*/ 54 h 115"/>
                <a:gd name="T38" fmla="*/ 55 w 113"/>
                <a:gd name="T39" fmla="*/ 54 h 115"/>
                <a:gd name="T40" fmla="*/ 58 w 113"/>
                <a:gd name="T41" fmla="*/ 55 h 115"/>
                <a:gd name="T42" fmla="*/ 58 w 113"/>
                <a:gd name="T43" fmla="*/ 55 h 115"/>
                <a:gd name="T44" fmla="*/ 59 w 113"/>
                <a:gd name="T45" fmla="*/ 58 h 115"/>
                <a:gd name="T46" fmla="*/ 59 w 113"/>
                <a:gd name="T47" fmla="*/ 60 h 115"/>
                <a:gd name="T48" fmla="*/ 59 w 113"/>
                <a:gd name="T49" fmla="*/ 63 h 115"/>
                <a:gd name="T50" fmla="*/ 58 w 113"/>
                <a:gd name="T51" fmla="*/ 64 h 115"/>
                <a:gd name="T52" fmla="*/ 58 w 113"/>
                <a:gd name="T53" fmla="*/ 64 h 115"/>
                <a:gd name="T54" fmla="*/ 54 w 113"/>
                <a:gd name="T55" fmla="*/ 67 h 115"/>
                <a:gd name="T56" fmla="*/ 50 w 113"/>
                <a:gd name="T57" fmla="*/ 65 h 115"/>
                <a:gd name="T58" fmla="*/ 5 w 113"/>
                <a:gd name="T59" fmla="*/ 111 h 115"/>
                <a:gd name="T60" fmla="*/ 5 w 113"/>
                <a:gd name="T61" fmla="*/ 111 h 115"/>
                <a:gd name="T62" fmla="*/ 7 w 113"/>
                <a:gd name="T63" fmla="*/ 115 h 115"/>
                <a:gd name="T64" fmla="*/ 7 w 113"/>
                <a:gd name="T65" fmla="*/ 115 h 115"/>
                <a:gd name="T66" fmla="*/ 16 w 113"/>
                <a:gd name="T67" fmla="*/ 107 h 115"/>
                <a:gd name="T68" fmla="*/ 24 w 113"/>
                <a:gd name="T69" fmla="*/ 102 h 115"/>
                <a:gd name="T70" fmla="*/ 33 w 113"/>
                <a:gd name="T71" fmla="*/ 97 h 115"/>
                <a:gd name="T72" fmla="*/ 42 w 113"/>
                <a:gd name="T73" fmla="*/ 94 h 115"/>
                <a:gd name="T74" fmla="*/ 50 w 113"/>
                <a:gd name="T75" fmla="*/ 92 h 115"/>
                <a:gd name="T76" fmla="*/ 58 w 113"/>
                <a:gd name="T77" fmla="*/ 91 h 115"/>
                <a:gd name="T78" fmla="*/ 65 w 113"/>
                <a:gd name="T79" fmla="*/ 92 h 115"/>
                <a:gd name="T80" fmla="*/ 71 w 113"/>
                <a:gd name="T81" fmla="*/ 95 h 115"/>
                <a:gd name="T82" fmla="*/ 71 w 113"/>
                <a:gd name="T83" fmla="*/ 95 h 115"/>
                <a:gd name="T84" fmla="*/ 80 w 113"/>
                <a:gd name="T85" fmla="*/ 81 h 115"/>
                <a:gd name="T86" fmla="*/ 90 w 113"/>
                <a:gd name="T87" fmla="*/ 67 h 115"/>
                <a:gd name="T88" fmla="*/ 90 w 113"/>
                <a:gd name="T89" fmla="*/ 67 h 115"/>
                <a:gd name="T90" fmla="*/ 102 w 113"/>
                <a:gd name="T91" fmla="*/ 54 h 115"/>
                <a:gd name="T92" fmla="*/ 113 w 113"/>
                <a:gd name="T93" fmla="*/ 43 h 115"/>
                <a:gd name="T94" fmla="*/ 113 w 113"/>
                <a:gd name="T95" fmla="*/ 43 h 115"/>
                <a:gd name="T96" fmla="*/ 102 w 113"/>
                <a:gd name="T97" fmla="*/ 34 h 115"/>
                <a:gd name="T98" fmla="*/ 90 w 113"/>
                <a:gd name="T99" fmla="*/ 23 h 115"/>
                <a:gd name="T100" fmla="*/ 90 w 113"/>
                <a:gd name="T101" fmla="*/ 23 h 115"/>
                <a:gd name="T102" fmla="*/ 80 w 113"/>
                <a:gd name="T103" fmla="*/ 12 h 115"/>
                <a:gd name="T104" fmla="*/ 70 w 113"/>
                <a:gd name="T105" fmla="*/ 0 h 115"/>
                <a:gd name="T106" fmla="*/ 70 w 113"/>
                <a:gd name="T107" fmla="*/ 0 h 115"/>
                <a:gd name="T108" fmla="*/ 59 w 113"/>
                <a:gd name="T109" fmla="*/ 12 h 115"/>
                <a:gd name="T110" fmla="*/ 47 w 113"/>
                <a:gd name="T111" fmla="*/ 23 h 115"/>
                <a:gd name="T112" fmla="*/ 47 w 113"/>
                <a:gd name="T113" fmla="*/ 23 h 115"/>
                <a:gd name="T114" fmla="*/ 33 w 113"/>
                <a:gd name="T115" fmla="*/ 33 h 115"/>
                <a:gd name="T116" fmla="*/ 18 w 113"/>
                <a:gd name="T117" fmla="*/ 43 h 115"/>
                <a:gd name="T118" fmla="*/ 18 w 113"/>
                <a:gd name="T119" fmla="*/ 4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 h="115">
                  <a:moveTo>
                    <a:pt x="18" y="43"/>
                  </a:moveTo>
                  <a:lnTo>
                    <a:pt x="18" y="43"/>
                  </a:lnTo>
                  <a:lnTo>
                    <a:pt x="21" y="49"/>
                  </a:lnTo>
                  <a:lnTo>
                    <a:pt x="22" y="55"/>
                  </a:lnTo>
                  <a:lnTo>
                    <a:pt x="21" y="63"/>
                  </a:lnTo>
                  <a:lnTo>
                    <a:pt x="19" y="71"/>
                  </a:lnTo>
                  <a:lnTo>
                    <a:pt x="16" y="80"/>
                  </a:lnTo>
                  <a:lnTo>
                    <a:pt x="12" y="89"/>
                  </a:lnTo>
                  <a:lnTo>
                    <a:pt x="6" y="97"/>
                  </a:lnTo>
                  <a:lnTo>
                    <a:pt x="0" y="106"/>
                  </a:lnTo>
                  <a:lnTo>
                    <a:pt x="2" y="108"/>
                  </a:lnTo>
                  <a:lnTo>
                    <a:pt x="2" y="108"/>
                  </a:lnTo>
                  <a:lnTo>
                    <a:pt x="48" y="63"/>
                  </a:lnTo>
                  <a:lnTo>
                    <a:pt x="48" y="63"/>
                  </a:lnTo>
                  <a:lnTo>
                    <a:pt x="47" y="59"/>
                  </a:lnTo>
                  <a:lnTo>
                    <a:pt x="49" y="55"/>
                  </a:lnTo>
                  <a:lnTo>
                    <a:pt x="49" y="55"/>
                  </a:lnTo>
                  <a:lnTo>
                    <a:pt x="50" y="54"/>
                  </a:lnTo>
                  <a:lnTo>
                    <a:pt x="53" y="54"/>
                  </a:lnTo>
                  <a:lnTo>
                    <a:pt x="55" y="54"/>
                  </a:lnTo>
                  <a:lnTo>
                    <a:pt x="58" y="55"/>
                  </a:lnTo>
                  <a:lnTo>
                    <a:pt x="58" y="55"/>
                  </a:lnTo>
                  <a:lnTo>
                    <a:pt x="59" y="58"/>
                  </a:lnTo>
                  <a:lnTo>
                    <a:pt x="59" y="60"/>
                  </a:lnTo>
                  <a:lnTo>
                    <a:pt x="59" y="63"/>
                  </a:lnTo>
                  <a:lnTo>
                    <a:pt x="58" y="64"/>
                  </a:lnTo>
                  <a:lnTo>
                    <a:pt x="58" y="64"/>
                  </a:lnTo>
                  <a:lnTo>
                    <a:pt x="54" y="67"/>
                  </a:lnTo>
                  <a:lnTo>
                    <a:pt x="50" y="65"/>
                  </a:lnTo>
                  <a:lnTo>
                    <a:pt x="5" y="111"/>
                  </a:lnTo>
                  <a:lnTo>
                    <a:pt x="5" y="111"/>
                  </a:lnTo>
                  <a:lnTo>
                    <a:pt x="7" y="115"/>
                  </a:lnTo>
                  <a:lnTo>
                    <a:pt x="7" y="115"/>
                  </a:lnTo>
                  <a:lnTo>
                    <a:pt x="16" y="107"/>
                  </a:lnTo>
                  <a:lnTo>
                    <a:pt x="24" y="102"/>
                  </a:lnTo>
                  <a:lnTo>
                    <a:pt x="33" y="97"/>
                  </a:lnTo>
                  <a:lnTo>
                    <a:pt x="42" y="94"/>
                  </a:lnTo>
                  <a:lnTo>
                    <a:pt x="50" y="92"/>
                  </a:lnTo>
                  <a:lnTo>
                    <a:pt x="58" y="91"/>
                  </a:lnTo>
                  <a:lnTo>
                    <a:pt x="65" y="92"/>
                  </a:lnTo>
                  <a:lnTo>
                    <a:pt x="71" y="95"/>
                  </a:lnTo>
                  <a:lnTo>
                    <a:pt x="71" y="95"/>
                  </a:lnTo>
                  <a:lnTo>
                    <a:pt x="80" y="81"/>
                  </a:lnTo>
                  <a:lnTo>
                    <a:pt x="90" y="67"/>
                  </a:lnTo>
                  <a:lnTo>
                    <a:pt x="90" y="67"/>
                  </a:lnTo>
                  <a:lnTo>
                    <a:pt x="102" y="54"/>
                  </a:lnTo>
                  <a:lnTo>
                    <a:pt x="113" y="43"/>
                  </a:lnTo>
                  <a:lnTo>
                    <a:pt x="113" y="43"/>
                  </a:lnTo>
                  <a:lnTo>
                    <a:pt x="102" y="34"/>
                  </a:lnTo>
                  <a:lnTo>
                    <a:pt x="90" y="23"/>
                  </a:lnTo>
                  <a:lnTo>
                    <a:pt x="90" y="23"/>
                  </a:lnTo>
                  <a:lnTo>
                    <a:pt x="80" y="12"/>
                  </a:lnTo>
                  <a:lnTo>
                    <a:pt x="70" y="0"/>
                  </a:lnTo>
                  <a:lnTo>
                    <a:pt x="70" y="0"/>
                  </a:lnTo>
                  <a:lnTo>
                    <a:pt x="59" y="12"/>
                  </a:lnTo>
                  <a:lnTo>
                    <a:pt x="47" y="23"/>
                  </a:lnTo>
                  <a:lnTo>
                    <a:pt x="47" y="23"/>
                  </a:lnTo>
                  <a:lnTo>
                    <a:pt x="33" y="33"/>
                  </a:lnTo>
                  <a:lnTo>
                    <a:pt x="18" y="43"/>
                  </a:lnTo>
                  <a:lnTo>
                    <a:pt x="18" y="43"/>
                  </a:lnTo>
                  <a:close/>
                </a:path>
              </a:pathLst>
            </a:custGeom>
            <a:solidFill>
              <a:srgbClr val="0E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4" name="Freeform 329">
              <a:extLst>
                <a:ext uri="{FF2B5EF4-FFF2-40B4-BE49-F238E27FC236}">
                  <a16:creationId xmlns:a16="http://schemas.microsoft.com/office/drawing/2014/main" id="{DB0329E2-41D0-3D1C-3B79-F87226C94258}"/>
                </a:ext>
              </a:extLst>
            </p:cNvPr>
            <p:cNvSpPr>
              <a:spLocks/>
            </p:cNvSpPr>
            <p:nvPr/>
          </p:nvSpPr>
          <p:spPr bwMode="auto">
            <a:xfrm>
              <a:off x="1000539" y="3131445"/>
              <a:ext cx="237556" cy="222859"/>
            </a:xfrm>
            <a:custGeom>
              <a:avLst/>
              <a:gdLst>
                <a:gd name="T0" fmla="*/ 156 w 164"/>
                <a:gd name="T1" fmla="*/ 45 h 165"/>
                <a:gd name="T2" fmla="*/ 156 w 164"/>
                <a:gd name="T3" fmla="*/ 45 h 165"/>
                <a:gd name="T4" fmla="*/ 159 w 164"/>
                <a:gd name="T5" fmla="*/ 41 h 165"/>
                <a:gd name="T6" fmla="*/ 162 w 164"/>
                <a:gd name="T7" fmla="*/ 36 h 165"/>
                <a:gd name="T8" fmla="*/ 164 w 164"/>
                <a:gd name="T9" fmla="*/ 31 h 165"/>
                <a:gd name="T10" fmla="*/ 164 w 164"/>
                <a:gd name="T11" fmla="*/ 24 h 165"/>
                <a:gd name="T12" fmla="*/ 164 w 164"/>
                <a:gd name="T13" fmla="*/ 20 h 165"/>
                <a:gd name="T14" fmla="*/ 162 w 164"/>
                <a:gd name="T15" fmla="*/ 16 h 165"/>
                <a:gd name="T16" fmla="*/ 159 w 164"/>
                <a:gd name="T17" fmla="*/ 11 h 165"/>
                <a:gd name="T18" fmla="*/ 157 w 164"/>
                <a:gd name="T19" fmla="*/ 7 h 165"/>
                <a:gd name="T20" fmla="*/ 153 w 164"/>
                <a:gd name="T21" fmla="*/ 5 h 165"/>
                <a:gd name="T22" fmla="*/ 148 w 164"/>
                <a:gd name="T23" fmla="*/ 2 h 165"/>
                <a:gd name="T24" fmla="*/ 145 w 164"/>
                <a:gd name="T25" fmla="*/ 1 h 165"/>
                <a:gd name="T26" fmla="*/ 140 w 164"/>
                <a:gd name="T27" fmla="*/ 0 h 165"/>
                <a:gd name="T28" fmla="*/ 135 w 164"/>
                <a:gd name="T29" fmla="*/ 0 h 165"/>
                <a:gd name="T30" fmla="*/ 129 w 164"/>
                <a:gd name="T31" fmla="*/ 2 h 165"/>
                <a:gd name="T32" fmla="*/ 124 w 164"/>
                <a:gd name="T33" fmla="*/ 5 h 165"/>
                <a:gd name="T34" fmla="*/ 119 w 164"/>
                <a:gd name="T35" fmla="*/ 8 h 165"/>
                <a:gd name="T36" fmla="*/ 119 w 164"/>
                <a:gd name="T37" fmla="*/ 8 h 165"/>
                <a:gd name="T38" fmla="*/ 0 w 164"/>
                <a:gd name="T39" fmla="*/ 123 h 165"/>
                <a:gd name="T40" fmla="*/ 0 w 164"/>
                <a:gd name="T41" fmla="*/ 123 h 165"/>
                <a:gd name="T42" fmla="*/ 42 w 164"/>
                <a:gd name="T43" fmla="*/ 165 h 165"/>
                <a:gd name="T44" fmla="*/ 42 w 164"/>
                <a:gd name="T45" fmla="*/ 165 h 165"/>
                <a:gd name="T46" fmla="*/ 156 w 164"/>
                <a:gd name="T47" fmla="*/ 45 h 165"/>
                <a:gd name="T48" fmla="*/ 156 w 164"/>
                <a:gd name="T49" fmla="*/ 4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4" h="165">
                  <a:moveTo>
                    <a:pt x="156" y="45"/>
                  </a:moveTo>
                  <a:lnTo>
                    <a:pt x="156" y="45"/>
                  </a:lnTo>
                  <a:lnTo>
                    <a:pt x="159" y="41"/>
                  </a:lnTo>
                  <a:lnTo>
                    <a:pt x="162" y="36"/>
                  </a:lnTo>
                  <a:lnTo>
                    <a:pt x="164" y="31"/>
                  </a:lnTo>
                  <a:lnTo>
                    <a:pt x="164" y="24"/>
                  </a:lnTo>
                  <a:lnTo>
                    <a:pt x="164" y="20"/>
                  </a:lnTo>
                  <a:lnTo>
                    <a:pt x="162" y="16"/>
                  </a:lnTo>
                  <a:lnTo>
                    <a:pt x="159" y="11"/>
                  </a:lnTo>
                  <a:lnTo>
                    <a:pt x="157" y="7"/>
                  </a:lnTo>
                  <a:lnTo>
                    <a:pt x="153" y="5"/>
                  </a:lnTo>
                  <a:lnTo>
                    <a:pt x="148" y="2"/>
                  </a:lnTo>
                  <a:lnTo>
                    <a:pt x="145" y="1"/>
                  </a:lnTo>
                  <a:lnTo>
                    <a:pt x="140" y="0"/>
                  </a:lnTo>
                  <a:lnTo>
                    <a:pt x="135" y="0"/>
                  </a:lnTo>
                  <a:lnTo>
                    <a:pt x="129" y="2"/>
                  </a:lnTo>
                  <a:lnTo>
                    <a:pt x="124" y="5"/>
                  </a:lnTo>
                  <a:lnTo>
                    <a:pt x="119" y="8"/>
                  </a:lnTo>
                  <a:lnTo>
                    <a:pt x="119" y="8"/>
                  </a:lnTo>
                  <a:lnTo>
                    <a:pt x="0" y="123"/>
                  </a:lnTo>
                  <a:lnTo>
                    <a:pt x="0" y="123"/>
                  </a:lnTo>
                  <a:lnTo>
                    <a:pt x="42" y="165"/>
                  </a:lnTo>
                  <a:lnTo>
                    <a:pt x="42" y="165"/>
                  </a:lnTo>
                  <a:lnTo>
                    <a:pt x="156" y="45"/>
                  </a:lnTo>
                  <a:lnTo>
                    <a:pt x="156" y="45"/>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5" name="Freeform 330">
              <a:extLst>
                <a:ext uri="{FF2B5EF4-FFF2-40B4-BE49-F238E27FC236}">
                  <a16:creationId xmlns:a16="http://schemas.microsoft.com/office/drawing/2014/main" id="{CD3EEAC0-3B59-86FD-5244-16D778DB5BA9}"/>
                </a:ext>
              </a:extLst>
            </p:cNvPr>
            <p:cNvSpPr>
              <a:spLocks/>
            </p:cNvSpPr>
            <p:nvPr/>
          </p:nvSpPr>
          <p:spPr bwMode="auto">
            <a:xfrm>
              <a:off x="990400" y="3296225"/>
              <a:ext cx="70978" cy="66183"/>
            </a:xfrm>
            <a:custGeom>
              <a:avLst/>
              <a:gdLst>
                <a:gd name="T0" fmla="*/ 49 w 49"/>
                <a:gd name="T1" fmla="*/ 43 h 49"/>
                <a:gd name="T2" fmla="*/ 6 w 49"/>
                <a:gd name="T3" fmla="*/ 0 h 49"/>
                <a:gd name="T4" fmla="*/ 0 w 49"/>
                <a:gd name="T5" fmla="*/ 6 h 49"/>
                <a:gd name="T6" fmla="*/ 43 w 49"/>
                <a:gd name="T7" fmla="*/ 49 h 49"/>
                <a:gd name="T8" fmla="*/ 49 w 49"/>
                <a:gd name="T9" fmla="*/ 43 h 49"/>
              </a:gdLst>
              <a:ahLst/>
              <a:cxnLst>
                <a:cxn ang="0">
                  <a:pos x="T0" y="T1"/>
                </a:cxn>
                <a:cxn ang="0">
                  <a:pos x="T2" y="T3"/>
                </a:cxn>
                <a:cxn ang="0">
                  <a:pos x="T4" y="T5"/>
                </a:cxn>
                <a:cxn ang="0">
                  <a:pos x="T6" y="T7"/>
                </a:cxn>
                <a:cxn ang="0">
                  <a:pos x="T8" y="T9"/>
                </a:cxn>
              </a:cxnLst>
              <a:rect l="0" t="0" r="r" b="b"/>
              <a:pathLst>
                <a:path w="49" h="49">
                  <a:moveTo>
                    <a:pt x="49" y="43"/>
                  </a:moveTo>
                  <a:lnTo>
                    <a:pt x="6" y="0"/>
                  </a:lnTo>
                  <a:lnTo>
                    <a:pt x="0" y="6"/>
                  </a:lnTo>
                  <a:lnTo>
                    <a:pt x="43" y="49"/>
                  </a:lnTo>
                  <a:lnTo>
                    <a:pt x="49" y="43"/>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6" name="Freeform 331">
              <a:extLst>
                <a:ext uri="{FF2B5EF4-FFF2-40B4-BE49-F238E27FC236}">
                  <a16:creationId xmlns:a16="http://schemas.microsoft.com/office/drawing/2014/main" id="{4BEEFC0A-1F42-65F3-2948-D33224628389}"/>
                </a:ext>
              </a:extLst>
            </p:cNvPr>
            <p:cNvSpPr>
              <a:spLocks/>
            </p:cNvSpPr>
            <p:nvPr/>
          </p:nvSpPr>
          <p:spPr bwMode="auto">
            <a:xfrm>
              <a:off x="1083105" y="3067964"/>
              <a:ext cx="224520" cy="209352"/>
            </a:xfrm>
            <a:custGeom>
              <a:avLst/>
              <a:gdLst>
                <a:gd name="T0" fmla="*/ 52 w 155"/>
                <a:gd name="T1" fmla="*/ 155 h 155"/>
                <a:gd name="T2" fmla="*/ 148 w 155"/>
                <a:gd name="T3" fmla="*/ 59 h 155"/>
                <a:gd name="T4" fmla="*/ 148 w 155"/>
                <a:gd name="T5" fmla="*/ 59 h 155"/>
                <a:gd name="T6" fmla="*/ 150 w 155"/>
                <a:gd name="T7" fmla="*/ 55 h 155"/>
                <a:gd name="T8" fmla="*/ 153 w 155"/>
                <a:gd name="T9" fmla="*/ 50 h 155"/>
                <a:gd name="T10" fmla="*/ 154 w 155"/>
                <a:gd name="T11" fmla="*/ 46 h 155"/>
                <a:gd name="T12" fmla="*/ 155 w 155"/>
                <a:gd name="T13" fmla="*/ 41 h 155"/>
                <a:gd name="T14" fmla="*/ 154 w 155"/>
                <a:gd name="T15" fmla="*/ 36 h 155"/>
                <a:gd name="T16" fmla="*/ 153 w 155"/>
                <a:gd name="T17" fmla="*/ 31 h 155"/>
                <a:gd name="T18" fmla="*/ 150 w 155"/>
                <a:gd name="T19" fmla="*/ 26 h 155"/>
                <a:gd name="T20" fmla="*/ 147 w 155"/>
                <a:gd name="T21" fmla="*/ 21 h 155"/>
                <a:gd name="T22" fmla="*/ 133 w 155"/>
                <a:gd name="T23" fmla="*/ 9 h 155"/>
                <a:gd name="T24" fmla="*/ 133 w 155"/>
                <a:gd name="T25" fmla="*/ 9 h 155"/>
                <a:gd name="T26" fmla="*/ 130 w 155"/>
                <a:gd name="T27" fmla="*/ 5 h 155"/>
                <a:gd name="T28" fmla="*/ 125 w 155"/>
                <a:gd name="T29" fmla="*/ 2 h 155"/>
                <a:gd name="T30" fmla="*/ 120 w 155"/>
                <a:gd name="T31" fmla="*/ 1 h 155"/>
                <a:gd name="T32" fmla="*/ 115 w 155"/>
                <a:gd name="T33" fmla="*/ 0 h 155"/>
                <a:gd name="T34" fmla="*/ 110 w 155"/>
                <a:gd name="T35" fmla="*/ 1 h 155"/>
                <a:gd name="T36" fmla="*/ 105 w 155"/>
                <a:gd name="T37" fmla="*/ 2 h 155"/>
                <a:gd name="T38" fmla="*/ 100 w 155"/>
                <a:gd name="T39" fmla="*/ 5 h 155"/>
                <a:gd name="T40" fmla="*/ 96 w 155"/>
                <a:gd name="T41" fmla="*/ 7 h 155"/>
                <a:gd name="T42" fmla="*/ 0 w 155"/>
                <a:gd name="T43" fmla="*/ 104 h 155"/>
                <a:gd name="T44" fmla="*/ 52 w 155"/>
                <a:gd name="T45"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5" h="155">
                  <a:moveTo>
                    <a:pt x="52" y="155"/>
                  </a:moveTo>
                  <a:lnTo>
                    <a:pt x="148" y="59"/>
                  </a:lnTo>
                  <a:lnTo>
                    <a:pt x="148" y="59"/>
                  </a:lnTo>
                  <a:lnTo>
                    <a:pt x="150" y="55"/>
                  </a:lnTo>
                  <a:lnTo>
                    <a:pt x="153" y="50"/>
                  </a:lnTo>
                  <a:lnTo>
                    <a:pt x="154" y="46"/>
                  </a:lnTo>
                  <a:lnTo>
                    <a:pt x="155" y="41"/>
                  </a:lnTo>
                  <a:lnTo>
                    <a:pt x="154" y="36"/>
                  </a:lnTo>
                  <a:lnTo>
                    <a:pt x="153" y="31"/>
                  </a:lnTo>
                  <a:lnTo>
                    <a:pt x="150" y="26"/>
                  </a:lnTo>
                  <a:lnTo>
                    <a:pt x="147" y="21"/>
                  </a:lnTo>
                  <a:lnTo>
                    <a:pt x="133" y="9"/>
                  </a:lnTo>
                  <a:lnTo>
                    <a:pt x="133" y="9"/>
                  </a:lnTo>
                  <a:lnTo>
                    <a:pt x="130" y="5"/>
                  </a:lnTo>
                  <a:lnTo>
                    <a:pt x="125" y="2"/>
                  </a:lnTo>
                  <a:lnTo>
                    <a:pt x="120" y="1"/>
                  </a:lnTo>
                  <a:lnTo>
                    <a:pt x="115" y="0"/>
                  </a:lnTo>
                  <a:lnTo>
                    <a:pt x="110" y="1"/>
                  </a:lnTo>
                  <a:lnTo>
                    <a:pt x="105" y="2"/>
                  </a:lnTo>
                  <a:lnTo>
                    <a:pt x="100" y="5"/>
                  </a:lnTo>
                  <a:lnTo>
                    <a:pt x="96" y="7"/>
                  </a:lnTo>
                  <a:lnTo>
                    <a:pt x="0" y="104"/>
                  </a:lnTo>
                  <a:lnTo>
                    <a:pt x="52" y="155"/>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7" name="Freeform 332">
              <a:extLst>
                <a:ext uri="{FF2B5EF4-FFF2-40B4-BE49-F238E27FC236}">
                  <a16:creationId xmlns:a16="http://schemas.microsoft.com/office/drawing/2014/main" id="{6D0D0B8D-0D91-7CFA-9D23-3AE4785A944A}"/>
                </a:ext>
              </a:extLst>
            </p:cNvPr>
            <p:cNvSpPr>
              <a:spLocks/>
            </p:cNvSpPr>
            <p:nvPr/>
          </p:nvSpPr>
          <p:spPr bwMode="auto">
            <a:xfrm>
              <a:off x="1083105" y="3074717"/>
              <a:ext cx="215829" cy="99949"/>
            </a:xfrm>
            <a:custGeom>
              <a:avLst/>
              <a:gdLst>
                <a:gd name="T0" fmla="*/ 148 w 149"/>
                <a:gd name="T1" fmla="*/ 59 h 74"/>
                <a:gd name="T2" fmla="*/ 96 w 149"/>
                <a:gd name="T3" fmla="*/ 7 h 74"/>
                <a:gd name="T4" fmla="*/ 96 w 149"/>
                <a:gd name="T5" fmla="*/ 7 h 74"/>
                <a:gd name="T6" fmla="*/ 93 w 149"/>
                <a:gd name="T7" fmla="*/ 5 h 74"/>
                <a:gd name="T8" fmla="*/ 89 w 149"/>
                <a:gd name="T9" fmla="*/ 2 h 74"/>
                <a:gd name="T10" fmla="*/ 84 w 149"/>
                <a:gd name="T11" fmla="*/ 1 h 74"/>
                <a:gd name="T12" fmla="*/ 80 w 149"/>
                <a:gd name="T13" fmla="*/ 0 h 74"/>
                <a:gd name="T14" fmla="*/ 75 w 149"/>
                <a:gd name="T15" fmla="*/ 0 h 74"/>
                <a:gd name="T16" fmla="*/ 72 w 149"/>
                <a:gd name="T17" fmla="*/ 1 h 74"/>
                <a:gd name="T18" fmla="*/ 68 w 149"/>
                <a:gd name="T19" fmla="*/ 2 h 74"/>
                <a:gd name="T20" fmla="*/ 64 w 149"/>
                <a:gd name="T21" fmla="*/ 6 h 74"/>
                <a:gd name="T22" fmla="*/ 9 w 149"/>
                <a:gd name="T23" fmla="*/ 60 h 74"/>
                <a:gd name="T24" fmla="*/ 9 w 149"/>
                <a:gd name="T25" fmla="*/ 60 h 74"/>
                <a:gd name="T26" fmla="*/ 0 w 149"/>
                <a:gd name="T27" fmla="*/ 70 h 74"/>
                <a:gd name="T28" fmla="*/ 0 w 149"/>
                <a:gd name="T29" fmla="*/ 70 h 74"/>
                <a:gd name="T30" fmla="*/ 6 w 149"/>
                <a:gd name="T31" fmla="*/ 73 h 74"/>
                <a:gd name="T32" fmla="*/ 12 w 149"/>
                <a:gd name="T33" fmla="*/ 74 h 74"/>
                <a:gd name="T34" fmla="*/ 19 w 149"/>
                <a:gd name="T35" fmla="*/ 73 h 74"/>
                <a:gd name="T36" fmla="*/ 22 w 149"/>
                <a:gd name="T37" fmla="*/ 70 h 74"/>
                <a:gd name="T38" fmla="*/ 22 w 149"/>
                <a:gd name="T39" fmla="*/ 70 h 74"/>
                <a:gd name="T40" fmla="*/ 25 w 149"/>
                <a:gd name="T41" fmla="*/ 65 h 74"/>
                <a:gd name="T42" fmla="*/ 25 w 149"/>
                <a:gd name="T43" fmla="*/ 62 h 74"/>
                <a:gd name="T44" fmla="*/ 73 w 149"/>
                <a:gd name="T45" fmla="*/ 13 h 74"/>
                <a:gd name="T46" fmla="*/ 73 w 149"/>
                <a:gd name="T47" fmla="*/ 13 h 74"/>
                <a:gd name="T48" fmla="*/ 76 w 149"/>
                <a:gd name="T49" fmla="*/ 11 h 74"/>
                <a:gd name="T50" fmla="*/ 80 w 149"/>
                <a:gd name="T51" fmla="*/ 11 h 74"/>
                <a:gd name="T52" fmla="*/ 85 w 149"/>
                <a:gd name="T53" fmla="*/ 11 h 74"/>
                <a:gd name="T54" fmla="*/ 90 w 149"/>
                <a:gd name="T55" fmla="*/ 15 h 74"/>
                <a:gd name="T56" fmla="*/ 141 w 149"/>
                <a:gd name="T57" fmla="*/ 66 h 74"/>
                <a:gd name="T58" fmla="*/ 141 w 149"/>
                <a:gd name="T59" fmla="*/ 66 h 74"/>
                <a:gd name="T60" fmla="*/ 143 w 149"/>
                <a:gd name="T61" fmla="*/ 68 h 74"/>
                <a:gd name="T62" fmla="*/ 144 w 149"/>
                <a:gd name="T63" fmla="*/ 68 h 74"/>
                <a:gd name="T64" fmla="*/ 147 w 149"/>
                <a:gd name="T65" fmla="*/ 68 h 74"/>
                <a:gd name="T66" fmla="*/ 148 w 149"/>
                <a:gd name="T67" fmla="*/ 66 h 74"/>
                <a:gd name="T68" fmla="*/ 148 w 149"/>
                <a:gd name="T69" fmla="*/ 66 h 74"/>
                <a:gd name="T70" fmla="*/ 149 w 149"/>
                <a:gd name="T71" fmla="*/ 65 h 74"/>
                <a:gd name="T72" fmla="*/ 149 w 149"/>
                <a:gd name="T73" fmla="*/ 63 h 74"/>
                <a:gd name="T74" fmla="*/ 149 w 149"/>
                <a:gd name="T75" fmla="*/ 60 h 74"/>
                <a:gd name="T76" fmla="*/ 148 w 149"/>
                <a:gd name="T77" fmla="*/ 59 h 74"/>
                <a:gd name="T78" fmla="*/ 148 w 149"/>
                <a:gd name="T79" fmla="*/ 5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9" h="74">
                  <a:moveTo>
                    <a:pt x="148" y="59"/>
                  </a:moveTo>
                  <a:lnTo>
                    <a:pt x="96" y="7"/>
                  </a:lnTo>
                  <a:lnTo>
                    <a:pt x="96" y="7"/>
                  </a:lnTo>
                  <a:lnTo>
                    <a:pt x="93" y="5"/>
                  </a:lnTo>
                  <a:lnTo>
                    <a:pt x="89" y="2"/>
                  </a:lnTo>
                  <a:lnTo>
                    <a:pt x="84" y="1"/>
                  </a:lnTo>
                  <a:lnTo>
                    <a:pt x="80" y="0"/>
                  </a:lnTo>
                  <a:lnTo>
                    <a:pt x="75" y="0"/>
                  </a:lnTo>
                  <a:lnTo>
                    <a:pt x="72" y="1"/>
                  </a:lnTo>
                  <a:lnTo>
                    <a:pt x="68" y="2"/>
                  </a:lnTo>
                  <a:lnTo>
                    <a:pt x="64" y="6"/>
                  </a:lnTo>
                  <a:lnTo>
                    <a:pt x="9" y="60"/>
                  </a:lnTo>
                  <a:lnTo>
                    <a:pt x="9" y="60"/>
                  </a:lnTo>
                  <a:lnTo>
                    <a:pt x="0" y="70"/>
                  </a:lnTo>
                  <a:lnTo>
                    <a:pt x="0" y="70"/>
                  </a:lnTo>
                  <a:lnTo>
                    <a:pt x="6" y="73"/>
                  </a:lnTo>
                  <a:lnTo>
                    <a:pt x="12" y="74"/>
                  </a:lnTo>
                  <a:lnTo>
                    <a:pt x="19" y="73"/>
                  </a:lnTo>
                  <a:lnTo>
                    <a:pt x="22" y="70"/>
                  </a:lnTo>
                  <a:lnTo>
                    <a:pt x="22" y="70"/>
                  </a:lnTo>
                  <a:lnTo>
                    <a:pt x="25" y="65"/>
                  </a:lnTo>
                  <a:lnTo>
                    <a:pt x="25" y="62"/>
                  </a:lnTo>
                  <a:lnTo>
                    <a:pt x="73" y="13"/>
                  </a:lnTo>
                  <a:lnTo>
                    <a:pt x="73" y="13"/>
                  </a:lnTo>
                  <a:lnTo>
                    <a:pt x="76" y="11"/>
                  </a:lnTo>
                  <a:lnTo>
                    <a:pt x="80" y="11"/>
                  </a:lnTo>
                  <a:lnTo>
                    <a:pt x="85" y="11"/>
                  </a:lnTo>
                  <a:lnTo>
                    <a:pt x="90" y="15"/>
                  </a:lnTo>
                  <a:lnTo>
                    <a:pt x="141" y="66"/>
                  </a:lnTo>
                  <a:lnTo>
                    <a:pt x="141" y="66"/>
                  </a:lnTo>
                  <a:lnTo>
                    <a:pt x="143" y="68"/>
                  </a:lnTo>
                  <a:lnTo>
                    <a:pt x="144" y="68"/>
                  </a:lnTo>
                  <a:lnTo>
                    <a:pt x="147" y="68"/>
                  </a:lnTo>
                  <a:lnTo>
                    <a:pt x="148" y="66"/>
                  </a:lnTo>
                  <a:lnTo>
                    <a:pt x="148" y="66"/>
                  </a:lnTo>
                  <a:lnTo>
                    <a:pt x="149" y="65"/>
                  </a:lnTo>
                  <a:lnTo>
                    <a:pt x="149" y="63"/>
                  </a:lnTo>
                  <a:lnTo>
                    <a:pt x="149" y="60"/>
                  </a:lnTo>
                  <a:lnTo>
                    <a:pt x="148" y="59"/>
                  </a:lnTo>
                  <a:lnTo>
                    <a:pt x="148" y="59"/>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grpSp>
        <p:nvGrpSpPr>
          <p:cNvPr id="463" name="Group 462">
            <a:extLst>
              <a:ext uri="{FF2B5EF4-FFF2-40B4-BE49-F238E27FC236}">
                <a16:creationId xmlns:a16="http://schemas.microsoft.com/office/drawing/2014/main" id="{CE4340AC-6735-38E8-9631-5234748CF3B5}"/>
              </a:ext>
            </a:extLst>
          </p:cNvPr>
          <p:cNvGrpSpPr/>
          <p:nvPr/>
        </p:nvGrpSpPr>
        <p:grpSpPr>
          <a:xfrm>
            <a:off x="5567487" y="2635426"/>
            <a:ext cx="1264209" cy="1139881"/>
            <a:chOff x="5552619" y="2943755"/>
            <a:chExt cx="1003177" cy="955950"/>
          </a:xfrm>
        </p:grpSpPr>
        <p:grpSp>
          <p:nvGrpSpPr>
            <p:cNvPr id="439" name="Group 438">
              <a:extLst>
                <a:ext uri="{FF2B5EF4-FFF2-40B4-BE49-F238E27FC236}">
                  <a16:creationId xmlns:a16="http://schemas.microsoft.com/office/drawing/2014/main" id="{FFAC5487-F2F3-E522-3C12-CA8CA9935E41}"/>
                </a:ext>
              </a:extLst>
            </p:cNvPr>
            <p:cNvGrpSpPr/>
            <p:nvPr/>
          </p:nvGrpSpPr>
          <p:grpSpPr>
            <a:xfrm>
              <a:off x="5552619" y="2943755"/>
              <a:ext cx="1003177" cy="955950"/>
              <a:chOff x="5552619" y="2943755"/>
              <a:chExt cx="1003177" cy="955950"/>
            </a:xfrm>
          </p:grpSpPr>
          <p:sp>
            <p:nvSpPr>
              <p:cNvPr id="379" name="Freeform 16">
                <a:extLst>
                  <a:ext uri="{FF2B5EF4-FFF2-40B4-BE49-F238E27FC236}">
                    <a16:creationId xmlns:a16="http://schemas.microsoft.com/office/drawing/2014/main" id="{3D10B883-EDCD-A727-3D3B-207C6655B8EA}"/>
                  </a:ext>
                </a:extLst>
              </p:cNvPr>
              <p:cNvSpPr>
                <a:spLocks/>
              </p:cNvSpPr>
              <p:nvPr/>
            </p:nvSpPr>
            <p:spPr bwMode="auto">
              <a:xfrm>
                <a:off x="5552619" y="2943755"/>
                <a:ext cx="1003177" cy="955950"/>
              </a:xfrm>
              <a:custGeom>
                <a:avLst/>
                <a:gdLst>
                  <a:gd name="T0" fmla="*/ 333 w 702"/>
                  <a:gd name="T1" fmla="*/ 700 h 700"/>
                  <a:gd name="T2" fmla="*/ 280 w 702"/>
                  <a:gd name="T3" fmla="*/ 693 h 700"/>
                  <a:gd name="T4" fmla="*/ 231 w 702"/>
                  <a:gd name="T5" fmla="*/ 679 h 700"/>
                  <a:gd name="T6" fmla="*/ 184 w 702"/>
                  <a:gd name="T7" fmla="*/ 658 h 700"/>
                  <a:gd name="T8" fmla="*/ 142 w 702"/>
                  <a:gd name="T9" fmla="*/ 631 h 700"/>
                  <a:gd name="T10" fmla="*/ 104 w 702"/>
                  <a:gd name="T11" fmla="*/ 598 h 700"/>
                  <a:gd name="T12" fmla="*/ 70 w 702"/>
                  <a:gd name="T13" fmla="*/ 560 h 700"/>
                  <a:gd name="T14" fmla="*/ 43 w 702"/>
                  <a:gd name="T15" fmla="*/ 517 h 700"/>
                  <a:gd name="T16" fmla="*/ 22 w 702"/>
                  <a:gd name="T17" fmla="*/ 471 h 700"/>
                  <a:gd name="T18" fmla="*/ 7 w 702"/>
                  <a:gd name="T19" fmla="*/ 420 h 700"/>
                  <a:gd name="T20" fmla="*/ 1 w 702"/>
                  <a:gd name="T21" fmla="*/ 369 h 700"/>
                  <a:gd name="T22" fmla="*/ 1 w 702"/>
                  <a:gd name="T23" fmla="*/ 331 h 700"/>
                  <a:gd name="T24" fmla="*/ 7 w 702"/>
                  <a:gd name="T25" fmla="*/ 280 h 700"/>
                  <a:gd name="T26" fmla="*/ 22 w 702"/>
                  <a:gd name="T27" fmla="*/ 229 h 700"/>
                  <a:gd name="T28" fmla="*/ 43 w 702"/>
                  <a:gd name="T29" fmla="*/ 183 h 700"/>
                  <a:gd name="T30" fmla="*/ 70 w 702"/>
                  <a:gd name="T31" fmla="*/ 140 h 700"/>
                  <a:gd name="T32" fmla="*/ 104 w 702"/>
                  <a:gd name="T33" fmla="*/ 102 h 700"/>
                  <a:gd name="T34" fmla="*/ 142 w 702"/>
                  <a:gd name="T35" fmla="*/ 69 h 700"/>
                  <a:gd name="T36" fmla="*/ 184 w 702"/>
                  <a:gd name="T37" fmla="*/ 42 h 700"/>
                  <a:gd name="T38" fmla="*/ 231 w 702"/>
                  <a:gd name="T39" fmla="*/ 21 h 700"/>
                  <a:gd name="T40" fmla="*/ 280 w 702"/>
                  <a:gd name="T41" fmla="*/ 7 h 700"/>
                  <a:gd name="T42" fmla="*/ 333 w 702"/>
                  <a:gd name="T43" fmla="*/ 0 h 700"/>
                  <a:gd name="T44" fmla="*/ 369 w 702"/>
                  <a:gd name="T45" fmla="*/ 0 h 700"/>
                  <a:gd name="T46" fmla="*/ 422 w 702"/>
                  <a:gd name="T47" fmla="*/ 7 h 700"/>
                  <a:gd name="T48" fmla="*/ 471 w 702"/>
                  <a:gd name="T49" fmla="*/ 21 h 700"/>
                  <a:gd name="T50" fmla="*/ 518 w 702"/>
                  <a:gd name="T51" fmla="*/ 42 h 700"/>
                  <a:gd name="T52" fmla="*/ 561 w 702"/>
                  <a:gd name="T53" fmla="*/ 69 h 700"/>
                  <a:gd name="T54" fmla="*/ 598 w 702"/>
                  <a:gd name="T55" fmla="*/ 102 h 700"/>
                  <a:gd name="T56" fmla="*/ 632 w 702"/>
                  <a:gd name="T57" fmla="*/ 140 h 700"/>
                  <a:gd name="T58" fmla="*/ 659 w 702"/>
                  <a:gd name="T59" fmla="*/ 183 h 700"/>
                  <a:gd name="T60" fmla="*/ 680 w 702"/>
                  <a:gd name="T61" fmla="*/ 229 h 700"/>
                  <a:gd name="T62" fmla="*/ 694 w 702"/>
                  <a:gd name="T63" fmla="*/ 280 h 700"/>
                  <a:gd name="T64" fmla="*/ 701 w 702"/>
                  <a:gd name="T65" fmla="*/ 331 h 700"/>
                  <a:gd name="T66" fmla="*/ 701 w 702"/>
                  <a:gd name="T67" fmla="*/ 369 h 700"/>
                  <a:gd name="T68" fmla="*/ 694 w 702"/>
                  <a:gd name="T69" fmla="*/ 420 h 700"/>
                  <a:gd name="T70" fmla="*/ 680 w 702"/>
                  <a:gd name="T71" fmla="*/ 471 h 700"/>
                  <a:gd name="T72" fmla="*/ 659 w 702"/>
                  <a:gd name="T73" fmla="*/ 517 h 700"/>
                  <a:gd name="T74" fmla="*/ 632 w 702"/>
                  <a:gd name="T75" fmla="*/ 560 h 700"/>
                  <a:gd name="T76" fmla="*/ 598 w 702"/>
                  <a:gd name="T77" fmla="*/ 598 h 700"/>
                  <a:gd name="T78" fmla="*/ 561 w 702"/>
                  <a:gd name="T79" fmla="*/ 631 h 700"/>
                  <a:gd name="T80" fmla="*/ 518 w 702"/>
                  <a:gd name="T81" fmla="*/ 658 h 700"/>
                  <a:gd name="T82" fmla="*/ 471 w 702"/>
                  <a:gd name="T83" fmla="*/ 679 h 700"/>
                  <a:gd name="T84" fmla="*/ 422 w 702"/>
                  <a:gd name="T85" fmla="*/ 693 h 700"/>
                  <a:gd name="T86" fmla="*/ 369 w 702"/>
                  <a:gd name="T87" fmla="*/ 70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2" h="700">
                    <a:moveTo>
                      <a:pt x="352" y="700"/>
                    </a:moveTo>
                    <a:lnTo>
                      <a:pt x="352" y="700"/>
                    </a:lnTo>
                    <a:lnTo>
                      <a:pt x="333" y="700"/>
                    </a:lnTo>
                    <a:lnTo>
                      <a:pt x="316" y="699"/>
                    </a:lnTo>
                    <a:lnTo>
                      <a:pt x="297" y="697"/>
                    </a:lnTo>
                    <a:lnTo>
                      <a:pt x="280" y="693"/>
                    </a:lnTo>
                    <a:lnTo>
                      <a:pt x="264" y="689"/>
                    </a:lnTo>
                    <a:lnTo>
                      <a:pt x="247" y="684"/>
                    </a:lnTo>
                    <a:lnTo>
                      <a:pt x="231" y="679"/>
                    </a:lnTo>
                    <a:lnTo>
                      <a:pt x="215" y="673"/>
                    </a:lnTo>
                    <a:lnTo>
                      <a:pt x="199" y="666"/>
                    </a:lnTo>
                    <a:lnTo>
                      <a:pt x="184" y="658"/>
                    </a:lnTo>
                    <a:lnTo>
                      <a:pt x="169" y="650"/>
                    </a:lnTo>
                    <a:lnTo>
                      <a:pt x="155" y="641"/>
                    </a:lnTo>
                    <a:lnTo>
                      <a:pt x="142" y="631"/>
                    </a:lnTo>
                    <a:lnTo>
                      <a:pt x="128" y="620"/>
                    </a:lnTo>
                    <a:lnTo>
                      <a:pt x="116" y="609"/>
                    </a:lnTo>
                    <a:lnTo>
                      <a:pt x="104" y="598"/>
                    </a:lnTo>
                    <a:lnTo>
                      <a:pt x="91" y="586"/>
                    </a:lnTo>
                    <a:lnTo>
                      <a:pt x="80" y="573"/>
                    </a:lnTo>
                    <a:lnTo>
                      <a:pt x="70" y="560"/>
                    </a:lnTo>
                    <a:lnTo>
                      <a:pt x="60" y="546"/>
                    </a:lnTo>
                    <a:lnTo>
                      <a:pt x="52" y="531"/>
                    </a:lnTo>
                    <a:lnTo>
                      <a:pt x="43" y="517"/>
                    </a:lnTo>
                    <a:lnTo>
                      <a:pt x="35" y="502"/>
                    </a:lnTo>
                    <a:lnTo>
                      <a:pt x="28" y="487"/>
                    </a:lnTo>
                    <a:lnTo>
                      <a:pt x="22" y="471"/>
                    </a:lnTo>
                    <a:lnTo>
                      <a:pt x="16" y="454"/>
                    </a:lnTo>
                    <a:lnTo>
                      <a:pt x="11" y="438"/>
                    </a:lnTo>
                    <a:lnTo>
                      <a:pt x="7" y="420"/>
                    </a:lnTo>
                    <a:lnTo>
                      <a:pt x="5" y="403"/>
                    </a:lnTo>
                    <a:lnTo>
                      <a:pt x="3" y="386"/>
                    </a:lnTo>
                    <a:lnTo>
                      <a:pt x="1" y="369"/>
                    </a:lnTo>
                    <a:lnTo>
                      <a:pt x="0" y="350"/>
                    </a:lnTo>
                    <a:lnTo>
                      <a:pt x="0" y="350"/>
                    </a:lnTo>
                    <a:lnTo>
                      <a:pt x="1" y="331"/>
                    </a:lnTo>
                    <a:lnTo>
                      <a:pt x="3" y="314"/>
                    </a:lnTo>
                    <a:lnTo>
                      <a:pt x="5" y="297"/>
                    </a:lnTo>
                    <a:lnTo>
                      <a:pt x="7" y="280"/>
                    </a:lnTo>
                    <a:lnTo>
                      <a:pt x="11" y="262"/>
                    </a:lnTo>
                    <a:lnTo>
                      <a:pt x="16" y="246"/>
                    </a:lnTo>
                    <a:lnTo>
                      <a:pt x="22" y="229"/>
                    </a:lnTo>
                    <a:lnTo>
                      <a:pt x="28" y="213"/>
                    </a:lnTo>
                    <a:lnTo>
                      <a:pt x="35" y="198"/>
                    </a:lnTo>
                    <a:lnTo>
                      <a:pt x="43" y="183"/>
                    </a:lnTo>
                    <a:lnTo>
                      <a:pt x="52" y="169"/>
                    </a:lnTo>
                    <a:lnTo>
                      <a:pt x="60" y="154"/>
                    </a:lnTo>
                    <a:lnTo>
                      <a:pt x="70" y="140"/>
                    </a:lnTo>
                    <a:lnTo>
                      <a:pt x="80" y="127"/>
                    </a:lnTo>
                    <a:lnTo>
                      <a:pt x="91" y="114"/>
                    </a:lnTo>
                    <a:lnTo>
                      <a:pt x="104" y="102"/>
                    </a:lnTo>
                    <a:lnTo>
                      <a:pt x="116" y="91"/>
                    </a:lnTo>
                    <a:lnTo>
                      <a:pt x="128" y="80"/>
                    </a:lnTo>
                    <a:lnTo>
                      <a:pt x="142" y="69"/>
                    </a:lnTo>
                    <a:lnTo>
                      <a:pt x="155" y="59"/>
                    </a:lnTo>
                    <a:lnTo>
                      <a:pt x="169" y="50"/>
                    </a:lnTo>
                    <a:lnTo>
                      <a:pt x="184" y="42"/>
                    </a:lnTo>
                    <a:lnTo>
                      <a:pt x="199" y="34"/>
                    </a:lnTo>
                    <a:lnTo>
                      <a:pt x="215" y="27"/>
                    </a:lnTo>
                    <a:lnTo>
                      <a:pt x="231" y="21"/>
                    </a:lnTo>
                    <a:lnTo>
                      <a:pt x="247" y="16"/>
                    </a:lnTo>
                    <a:lnTo>
                      <a:pt x="264" y="11"/>
                    </a:lnTo>
                    <a:lnTo>
                      <a:pt x="280" y="7"/>
                    </a:lnTo>
                    <a:lnTo>
                      <a:pt x="297" y="3"/>
                    </a:lnTo>
                    <a:lnTo>
                      <a:pt x="316" y="1"/>
                    </a:lnTo>
                    <a:lnTo>
                      <a:pt x="333" y="0"/>
                    </a:lnTo>
                    <a:lnTo>
                      <a:pt x="352" y="0"/>
                    </a:lnTo>
                    <a:lnTo>
                      <a:pt x="352" y="0"/>
                    </a:lnTo>
                    <a:lnTo>
                      <a:pt x="369" y="0"/>
                    </a:lnTo>
                    <a:lnTo>
                      <a:pt x="387" y="1"/>
                    </a:lnTo>
                    <a:lnTo>
                      <a:pt x="405" y="3"/>
                    </a:lnTo>
                    <a:lnTo>
                      <a:pt x="422" y="7"/>
                    </a:lnTo>
                    <a:lnTo>
                      <a:pt x="439" y="11"/>
                    </a:lnTo>
                    <a:lnTo>
                      <a:pt x="455" y="16"/>
                    </a:lnTo>
                    <a:lnTo>
                      <a:pt x="471" y="21"/>
                    </a:lnTo>
                    <a:lnTo>
                      <a:pt x="487" y="27"/>
                    </a:lnTo>
                    <a:lnTo>
                      <a:pt x="503" y="34"/>
                    </a:lnTo>
                    <a:lnTo>
                      <a:pt x="518" y="42"/>
                    </a:lnTo>
                    <a:lnTo>
                      <a:pt x="533" y="50"/>
                    </a:lnTo>
                    <a:lnTo>
                      <a:pt x="546" y="59"/>
                    </a:lnTo>
                    <a:lnTo>
                      <a:pt x="561" y="69"/>
                    </a:lnTo>
                    <a:lnTo>
                      <a:pt x="574" y="80"/>
                    </a:lnTo>
                    <a:lnTo>
                      <a:pt x="587" y="91"/>
                    </a:lnTo>
                    <a:lnTo>
                      <a:pt x="598" y="102"/>
                    </a:lnTo>
                    <a:lnTo>
                      <a:pt x="611" y="114"/>
                    </a:lnTo>
                    <a:lnTo>
                      <a:pt x="622" y="127"/>
                    </a:lnTo>
                    <a:lnTo>
                      <a:pt x="632" y="140"/>
                    </a:lnTo>
                    <a:lnTo>
                      <a:pt x="641" y="154"/>
                    </a:lnTo>
                    <a:lnTo>
                      <a:pt x="651" y="169"/>
                    </a:lnTo>
                    <a:lnTo>
                      <a:pt x="659" y="183"/>
                    </a:lnTo>
                    <a:lnTo>
                      <a:pt x="667" y="198"/>
                    </a:lnTo>
                    <a:lnTo>
                      <a:pt x="673" y="213"/>
                    </a:lnTo>
                    <a:lnTo>
                      <a:pt x="680" y="229"/>
                    </a:lnTo>
                    <a:lnTo>
                      <a:pt x="686" y="246"/>
                    </a:lnTo>
                    <a:lnTo>
                      <a:pt x="691" y="262"/>
                    </a:lnTo>
                    <a:lnTo>
                      <a:pt x="694" y="280"/>
                    </a:lnTo>
                    <a:lnTo>
                      <a:pt x="697" y="297"/>
                    </a:lnTo>
                    <a:lnTo>
                      <a:pt x="699" y="314"/>
                    </a:lnTo>
                    <a:lnTo>
                      <a:pt x="701" y="331"/>
                    </a:lnTo>
                    <a:lnTo>
                      <a:pt x="702" y="350"/>
                    </a:lnTo>
                    <a:lnTo>
                      <a:pt x="702" y="350"/>
                    </a:lnTo>
                    <a:lnTo>
                      <a:pt x="701" y="369"/>
                    </a:lnTo>
                    <a:lnTo>
                      <a:pt x="699" y="386"/>
                    </a:lnTo>
                    <a:lnTo>
                      <a:pt x="697" y="403"/>
                    </a:lnTo>
                    <a:lnTo>
                      <a:pt x="694" y="420"/>
                    </a:lnTo>
                    <a:lnTo>
                      <a:pt x="691" y="438"/>
                    </a:lnTo>
                    <a:lnTo>
                      <a:pt x="686" y="454"/>
                    </a:lnTo>
                    <a:lnTo>
                      <a:pt x="680" y="471"/>
                    </a:lnTo>
                    <a:lnTo>
                      <a:pt x="673" y="487"/>
                    </a:lnTo>
                    <a:lnTo>
                      <a:pt x="667" y="502"/>
                    </a:lnTo>
                    <a:lnTo>
                      <a:pt x="659" y="517"/>
                    </a:lnTo>
                    <a:lnTo>
                      <a:pt x="651" y="531"/>
                    </a:lnTo>
                    <a:lnTo>
                      <a:pt x="641" y="546"/>
                    </a:lnTo>
                    <a:lnTo>
                      <a:pt x="632" y="560"/>
                    </a:lnTo>
                    <a:lnTo>
                      <a:pt x="622" y="573"/>
                    </a:lnTo>
                    <a:lnTo>
                      <a:pt x="611" y="586"/>
                    </a:lnTo>
                    <a:lnTo>
                      <a:pt x="598" y="598"/>
                    </a:lnTo>
                    <a:lnTo>
                      <a:pt x="587" y="609"/>
                    </a:lnTo>
                    <a:lnTo>
                      <a:pt x="574" y="620"/>
                    </a:lnTo>
                    <a:lnTo>
                      <a:pt x="561" y="631"/>
                    </a:lnTo>
                    <a:lnTo>
                      <a:pt x="546" y="641"/>
                    </a:lnTo>
                    <a:lnTo>
                      <a:pt x="533" y="650"/>
                    </a:lnTo>
                    <a:lnTo>
                      <a:pt x="518" y="658"/>
                    </a:lnTo>
                    <a:lnTo>
                      <a:pt x="503" y="666"/>
                    </a:lnTo>
                    <a:lnTo>
                      <a:pt x="487" y="673"/>
                    </a:lnTo>
                    <a:lnTo>
                      <a:pt x="471" y="679"/>
                    </a:lnTo>
                    <a:lnTo>
                      <a:pt x="455" y="684"/>
                    </a:lnTo>
                    <a:lnTo>
                      <a:pt x="439" y="689"/>
                    </a:lnTo>
                    <a:lnTo>
                      <a:pt x="422" y="693"/>
                    </a:lnTo>
                    <a:lnTo>
                      <a:pt x="405" y="697"/>
                    </a:lnTo>
                    <a:lnTo>
                      <a:pt x="387" y="699"/>
                    </a:lnTo>
                    <a:lnTo>
                      <a:pt x="369" y="700"/>
                    </a:lnTo>
                    <a:lnTo>
                      <a:pt x="352" y="700"/>
                    </a:lnTo>
                    <a:lnTo>
                      <a:pt x="352" y="700"/>
                    </a:lnTo>
                    <a:close/>
                  </a:path>
                </a:pathLst>
              </a:custGeom>
              <a:solidFill>
                <a:srgbClr val="0091D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1" name="Freeform 61">
                <a:extLst>
                  <a:ext uri="{FF2B5EF4-FFF2-40B4-BE49-F238E27FC236}">
                    <a16:creationId xmlns:a16="http://schemas.microsoft.com/office/drawing/2014/main" id="{7C6C5397-7B55-71B3-C7DD-AECAFCE6BA28}"/>
                  </a:ext>
                </a:extLst>
              </p:cNvPr>
              <p:cNvSpPr>
                <a:spLocks/>
              </p:cNvSpPr>
              <p:nvPr/>
            </p:nvSpPr>
            <p:spPr bwMode="auto">
              <a:xfrm>
                <a:off x="5824134" y="3149968"/>
                <a:ext cx="410131" cy="539429"/>
              </a:xfrm>
              <a:custGeom>
                <a:avLst/>
                <a:gdLst>
                  <a:gd name="T0" fmla="*/ 0 w 287"/>
                  <a:gd name="T1" fmla="*/ 395 h 395"/>
                  <a:gd name="T2" fmla="*/ 0 w 287"/>
                  <a:gd name="T3" fmla="*/ 183 h 395"/>
                  <a:gd name="T4" fmla="*/ 0 w 287"/>
                  <a:gd name="T5" fmla="*/ 77 h 395"/>
                  <a:gd name="T6" fmla="*/ 75 w 287"/>
                  <a:gd name="T7" fmla="*/ 0 h 395"/>
                  <a:gd name="T8" fmla="*/ 287 w 287"/>
                  <a:gd name="T9" fmla="*/ 0 h 395"/>
                  <a:gd name="T10" fmla="*/ 287 w 287"/>
                  <a:gd name="T11" fmla="*/ 79 h 395"/>
                  <a:gd name="T12" fmla="*/ 287 w 287"/>
                  <a:gd name="T13" fmla="*/ 183 h 395"/>
                  <a:gd name="T14" fmla="*/ 287 w 287"/>
                  <a:gd name="T15" fmla="*/ 395 h 395"/>
                  <a:gd name="T16" fmla="*/ 0 w 287"/>
                  <a:gd name="T17" fmla="*/ 39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7" h="395">
                    <a:moveTo>
                      <a:pt x="0" y="395"/>
                    </a:moveTo>
                    <a:lnTo>
                      <a:pt x="0" y="183"/>
                    </a:lnTo>
                    <a:lnTo>
                      <a:pt x="0" y="77"/>
                    </a:lnTo>
                    <a:lnTo>
                      <a:pt x="75" y="0"/>
                    </a:lnTo>
                    <a:lnTo>
                      <a:pt x="287" y="0"/>
                    </a:lnTo>
                    <a:lnTo>
                      <a:pt x="287" y="79"/>
                    </a:lnTo>
                    <a:lnTo>
                      <a:pt x="287" y="183"/>
                    </a:lnTo>
                    <a:lnTo>
                      <a:pt x="287" y="395"/>
                    </a:lnTo>
                    <a:lnTo>
                      <a:pt x="0" y="3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sp>
          <p:nvSpPr>
            <p:cNvPr id="382" name="Freeform 62">
              <a:extLst>
                <a:ext uri="{FF2B5EF4-FFF2-40B4-BE49-F238E27FC236}">
                  <a16:creationId xmlns:a16="http://schemas.microsoft.com/office/drawing/2014/main" id="{6836A92B-0D4F-2B35-1F99-8F4EB7E6336C}"/>
                </a:ext>
              </a:extLst>
            </p:cNvPr>
            <p:cNvSpPr>
              <a:spLocks/>
            </p:cNvSpPr>
            <p:nvPr/>
          </p:nvSpPr>
          <p:spPr bwMode="auto">
            <a:xfrm>
              <a:off x="5824134" y="3149968"/>
              <a:ext cx="107177" cy="105155"/>
            </a:xfrm>
            <a:custGeom>
              <a:avLst/>
              <a:gdLst>
                <a:gd name="T0" fmla="*/ 75 w 75"/>
                <a:gd name="T1" fmla="*/ 77 h 77"/>
                <a:gd name="T2" fmla="*/ 0 w 75"/>
                <a:gd name="T3" fmla="*/ 77 h 77"/>
                <a:gd name="T4" fmla="*/ 75 w 75"/>
                <a:gd name="T5" fmla="*/ 0 h 77"/>
                <a:gd name="T6" fmla="*/ 75 w 75"/>
                <a:gd name="T7" fmla="*/ 77 h 77"/>
              </a:gdLst>
              <a:ahLst/>
              <a:cxnLst>
                <a:cxn ang="0">
                  <a:pos x="T0" y="T1"/>
                </a:cxn>
                <a:cxn ang="0">
                  <a:pos x="T2" y="T3"/>
                </a:cxn>
                <a:cxn ang="0">
                  <a:pos x="T4" y="T5"/>
                </a:cxn>
                <a:cxn ang="0">
                  <a:pos x="T6" y="T7"/>
                </a:cxn>
              </a:cxnLst>
              <a:rect l="0" t="0" r="r" b="b"/>
              <a:pathLst>
                <a:path w="75" h="77">
                  <a:moveTo>
                    <a:pt x="75" y="77"/>
                  </a:moveTo>
                  <a:lnTo>
                    <a:pt x="0" y="77"/>
                  </a:lnTo>
                  <a:lnTo>
                    <a:pt x="75" y="0"/>
                  </a:lnTo>
                  <a:lnTo>
                    <a:pt x="75" y="77"/>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3" name="Freeform 63">
              <a:extLst>
                <a:ext uri="{FF2B5EF4-FFF2-40B4-BE49-F238E27FC236}">
                  <a16:creationId xmlns:a16="http://schemas.microsoft.com/office/drawing/2014/main" id="{FE928E08-9172-AD02-AF25-9B5D47267D5A}"/>
                </a:ext>
              </a:extLst>
            </p:cNvPr>
            <p:cNvSpPr>
              <a:spLocks/>
            </p:cNvSpPr>
            <p:nvPr/>
          </p:nvSpPr>
          <p:spPr bwMode="auto">
            <a:xfrm>
              <a:off x="5824134" y="3255122"/>
              <a:ext cx="107177" cy="103789"/>
            </a:xfrm>
            <a:custGeom>
              <a:avLst/>
              <a:gdLst>
                <a:gd name="T0" fmla="*/ 0 w 75"/>
                <a:gd name="T1" fmla="*/ 0 h 76"/>
                <a:gd name="T2" fmla="*/ 75 w 75"/>
                <a:gd name="T3" fmla="*/ 0 h 76"/>
                <a:gd name="T4" fmla="*/ 0 w 75"/>
                <a:gd name="T5" fmla="*/ 76 h 76"/>
                <a:gd name="T6" fmla="*/ 0 w 75"/>
                <a:gd name="T7" fmla="*/ 0 h 76"/>
              </a:gdLst>
              <a:ahLst/>
              <a:cxnLst>
                <a:cxn ang="0">
                  <a:pos x="T0" y="T1"/>
                </a:cxn>
                <a:cxn ang="0">
                  <a:pos x="T2" y="T3"/>
                </a:cxn>
                <a:cxn ang="0">
                  <a:pos x="T4" y="T5"/>
                </a:cxn>
                <a:cxn ang="0">
                  <a:pos x="T6" y="T7"/>
                </a:cxn>
              </a:cxnLst>
              <a:rect l="0" t="0" r="r" b="b"/>
              <a:pathLst>
                <a:path w="75" h="76">
                  <a:moveTo>
                    <a:pt x="0" y="0"/>
                  </a:moveTo>
                  <a:lnTo>
                    <a:pt x="75" y="0"/>
                  </a:lnTo>
                  <a:lnTo>
                    <a:pt x="0" y="76"/>
                  </a:lnTo>
                  <a:lnTo>
                    <a:pt x="0" y="0"/>
                  </a:lnTo>
                  <a:close/>
                </a:path>
              </a:pathLst>
            </a:custGeom>
            <a:solidFill>
              <a:srgbClr val="D1E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4" name="Freeform 64">
              <a:extLst>
                <a:ext uri="{FF2B5EF4-FFF2-40B4-BE49-F238E27FC236}">
                  <a16:creationId xmlns:a16="http://schemas.microsoft.com/office/drawing/2014/main" id="{32D2778C-5DC7-BFE0-261B-E72F9A69330F}"/>
                </a:ext>
              </a:extLst>
            </p:cNvPr>
            <p:cNvSpPr>
              <a:spLocks/>
            </p:cNvSpPr>
            <p:nvPr/>
          </p:nvSpPr>
          <p:spPr bwMode="auto">
            <a:xfrm>
              <a:off x="5861289" y="3506400"/>
              <a:ext cx="134329" cy="127005"/>
            </a:xfrm>
            <a:custGeom>
              <a:avLst/>
              <a:gdLst>
                <a:gd name="T0" fmla="*/ 43 w 94"/>
                <a:gd name="T1" fmla="*/ 49 h 93"/>
                <a:gd name="T2" fmla="*/ 43 w 94"/>
                <a:gd name="T3" fmla="*/ 0 h 93"/>
                <a:gd name="T4" fmla="*/ 43 w 94"/>
                <a:gd name="T5" fmla="*/ 0 h 93"/>
                <a:gd name="T6" fmla="*/ 34 w 94"/>
                <a:gd name="T7" fmla="*/ 1 h 93"/>
                <a:gd name="T8" fmla="*/ 27 w 94"/>
                <a:gd name="T9" fmla="*/ 5 h 93"/>
                <a:gd name="T10" fmla="*/ 20 w 94"/>
                <a:gd name="T11" fmla="*/ 8 h 93"/>
                <a:gd name="T12" fmla="*/ 12 w 94"/>
                <a:gd name="T13" fmla="*/ 14 h 93"/>
                <a:gd name="T14" fmla="*/ 7 w 94"/>
                <a:gd name="T15" fmla="*/ 21 h 93"/>
                <a:gd name="T16" fmla="*/ 4 w 94"/>
                <a:gd name="T17" fmla="*/ 29 h 93"/>
                <a:gd name="T18" fmla="*/ 1 w 94"/>
                <a:gd name="T19" fmla="*/ 37 h 93"/>
                <a:gd name="T20" fmla="*/ 0 w 94"/>
                <a:gd name="T21" fmla="*/ 47 h 93"/>
                <a:gd name="T22" fmla="*/ 0 w 94"/>
                <a:gd name="T23" fmla="*/ 47 h 93"/>
                <a:gd name="T24" fmla="*/ 1 w 94"/>
                <a:gd name="T25" fmla="*/ 55 h 93"/>
                <a:gd name="T26" fmla="*/ 4 w 94"/>
                <a:gd name="T27" fmla="*/ 64 h 93"/>
                <a:gd name="T28" fmla="*/ 9 w 94"/>
                <a:gd name="T29" fmla="*/ 72 h 93"/>
                <a:gd name="T30" fmla="*/ 13 w 94"/>
                <a:gd name="T31" fmla="*/ 79 h 93"/>
                <a:gd name="T32" fmla="*/ 21 w 94"/>
                <a:gd name="T33" fmla="*/ 85 h 93"/>
                <a:gd name="T34" fmla="*/ 28 w 94"/>
                <a:gd name="T35" fmla="*/ 90 h 93"/>
                <a:gd name="T36" fmla="*/ 37 w 94"/>
                <a:gd name="T37" fmla="*/ 92 h 93"/>
                <a:gd name="T38" fmla="*/ 47 w 94"/>
                <a:gd name="T39" fmla="*/ 93 h 93"/>
                <a:gd name="T40" fmla="*/ 47 w 94"/>
                <a:gd name="T41" fmla="*/ 93 h 93"/>
                <a:gd name="T42" fmla="*/ 55 w 94"/>
                <a:gd name="T43" fmla="*/ 92 h 93"/>
                <a:gd name="T44" fmla="*/ 64 w 94"/>
                <a:gd name="T45" fmla="*/ 90 h 93"/>
                <a:gd name="T46" fmla="*/ 71 w 94"/>
                <a:gd name="T47" fmla="*/ 86 h 93"/>
                <a:gd name="T48" fmla="*/ 79 w 94"/>
                <a:gd name="T49" fmla="*/ 80 h 93"/>
                <a:gd name="T50" fmla="*/ 84 w 94"/>
                <a:gd name="T51" fmla="*/ 74 h 93"/>
                <a:gd name="T52" fmla="*/ 89 w 94"/>
                <a:gd name="T53" fmla="*/ 66 h 93"/>
                <a:gd name="T54" fmla="*/ 91 w 94"/>
                <a:gd name="T55" fmla="*/ 58 h 93"/>
                <a:gd name="T56" fmla="*/ 94 w 94"/>
                <a:gd name="T57" fmla="*/ 49 h 93"/>
                <a:gd name="T58" fmla="*/ 43 w 94"/>
                <a:gd name="T59" fmla="*/ 4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4" h="93">
                  <a:moveTo>
                    <a:pt x="43" y="49"/>
                  </a:moveTo>
                  <a:lnTo>
                    <a:pt x="43" y="0"/>
                  </a:lnTo>
                  <a:lnTo>
                    <a:pt x="43" y="0"/>
                  </a:lnTo>
                  <a:lnTo>
                    <a:pt x="34" y="1"/>
                  </a:lnTo>
                  <a:lnTo>
                    <a:pt x="27" y="5"/>
                  </a:lnTo>
                  <a:lnTo>
                    <a:pt x="20" y="8"/>
                  </a:lnTo>
                  <a:lnTo>
                    <a:pt x="12" y="14"/>
                  </a:lnTo>
                  <a:lnTo>
                    <a:pt x="7" y="21"/>
                  </a:lnTo>
                  <a:lnTo>
                    <a:pt x="4" y="29"/>
                  </a:lnTo>
                  <a:lnTo>
                    <a:pt x="1" y="37"/>
                  </a:lnTo>
                  <a:lnTo>
                    <a:pt x="0" y="47"/>
                  </a:lnTo>
                  <a:lnTo>
                    <a:pt x="0" y="47"/>
                  </a:lnTo>
                  <a:lnTo>
                    <a:pt x="1" y="55"/>
                  </a:lnTo>
                  <a:lnTo>
                    <a:pt x="4" y="64"/>
                  </a:lnTo>
                  <a:lnTo>
                    <a:pt x="9" y="72"/>
                  </a:lnTo>
                  <a:lnTo>
                    <a:pt x="13" y="79"/>
                  </a:lnTo>
                  <a:lnTo>
                    <a:pt x="21" y="85"/>
                  </a:lnTo>
                  <a:lnTo>
                    <a:pt x="28" y="90"/>
                  </a:lnTo>
                  <a:lnTo>
                    <a:pt x="37" y="92"/>
                  </a:lnTo>
                  <a:lnTo>
                    <a:pt x="47" y="93"/>
                  </a:lnTo>
                  <a:lnTo>
                    <a:pt x="47" y="93"/>
                  </a:lnTo>
                  <a:lnTo>
                    <a:pt x="55" y="92"/>
                  </a:lnTo>
                  <a:lnTo>
                    <a:pt x="64" y="90"/>
                  </a:lnTo>
                  <a:lnTo>
                    <a:pt x="71" y="86"/>
                  </a:lnTo>
                  <a:lnTo>
                    <a:pt x="79" y="80"/>
                  </a:lnTo>
                  <a:lnTo>
                    <a:pt x="84" y="74"/>
                  </a:lnTo>
                  <a:lnTo>
                    <a:pt x="89" y="66"/>
                  </a:lnTo>
                  <a:lnTo>
                    <a:pt x="91" y="58"/>
                  </a:lnTo>
                  <a:lnTo>
                    <a:pt x="94" y="49"/>
                  </a:lnTo>
                  <a:lnTo>
                    <a:pt x="43" y="49"/>
                  </a:lnTo>
                  <a:close/>
                </a:path>
              </a:pathLst>
            </a:custGeom>
            <a:solidFill>
              <a:srgbClr val="2C58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5" name="Freeform 65">
              <a:extLst>
                <a:ext uri="{FF2B5EF4-FFF2-40B4-BE49-F238E27FC236}">
                  <a16:creationId xmlns:a16="http://schemas.microsoft.com/office/drawing/2014/main" id="{C3C909CE-604F-4DF6-18BC-6CBC0E0C11CD}"/>
                </a:ext>
              </a:extLst>
            </p:cNvPr>
            <p:cNvSpPr>
              <a:spLocks/>
            </p:cNvSpPr>
            <p:nvPr/>
          </p:nvSpPr>
          <p:spPr bwMode="auto">
            <a:xfrm>
              <a:off x="5942744" y="3509131"/>
              <a:ext cx="48587" cy="49163"/>
            </a:xfrm>
            <a:custGeom>
              <a:avLst/>
              <a:gdLst>
                <a:gd name="T0" fmla="*/ 34 w 34"/>
                <a:gd name="T1" fmla="*/ 36 h 36"/>
                <a:gd name="T2" fmla="*/ 34 w 34"/>
                <a:gd name="T3" fmla="*/ 36 h 36"/>
                <a:gd name="T4" fmla="*/ 33 w 34"/>
                <a:gd name="T5" fmla="*/ 29 h 36"/>
                <a:gd name="T6" fmla="*/ 32 w 34"/>
                <a:gd name="T7" fmla="*/ 22 h 36"/>
                <a:gd name="T8" fmla="*/ 28 w 34"/>
                <a:gd name="T9" fmla="*/ 16 h 36"/>
                <a:gd name="T10" fmla="*/ 24 w 34"/>
                <a:gd name="T11" fmla="*/ 11 h 36"/>
                <a:gd name="T12" fmla="*/ 18 w 34"/>
                <a:gd name="T13" fmla="*/ 6 h 36"/>
                <a:gd name="T14" fmla="*/ 13 w 34"/>
                <a:gd name="T15" fmla="*/ 4 h 36"/>
                <a:gd name="T16" fmla="*/ 6 w 34"/>
                <a:gd name="T17" fmla="*/ 1 h 36"/>
                <a:gd name="T18" fmla="*/ 0 w 34"/>
                <a:gd name="T19" fmla="*/ 0 h 36"/>
                <a:gd name="T20" fmla="*/ 0 w 34"/>
                <a:gd name="T21" fmla="*/ 36 h 36"/>
                <a:gd name="T22" fmla="*/ 34 w 34"/>
                <a:gd name="T2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6">
                  <a:moveTo>
                    <a:pt x="34" y="36"/>
                  </a:moveTo>
                  <a:lnTo>
                    <a:pt x="34" y="36"/>
                  </a:lnTo>
                  <a:lnTo>
                    <a:pt x="33" y="29"/>
                  </a:lnTo>
                  <a:lnTo>
                    <a:pt x="32" y="22"/>
                  </a:lnTo>
                  <a:lnTo>
                    <a:pt x="28" y="16"/>
                  </a:lnTo>
                  <a:lnTo>
                    <a:pt x="24" y="11"/>
                  </a:lnTo>
                  <a:lnTo>
                    <a:pt x="18" y="6"/>
                  </a:lnTo>
                  <a:lnTo>
                    <a:pt x="13" y="4"/>
                  </a:lnTo>
                  <a:lnTo>
                    <a:pt x="6" y="1"/>
                  </a:lnTo>
                  <a:lnTo>
                    <a:pt x="0" y="0"/>
                  </a:lnTo>
                  <a:lnTo>
                    <a:pt x="0" y="36"/>
                  </a:lnTo>
                  <a:lnTo>
                    <a:pt x="34" y="36"/>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6" name="Freeform 66">
              <a:extLst>
                <a:ext uri="{FF2B5EF4-FFF2-40B4-BE49-F238E27FC236}">
                  <a16:creationId xmlns:a16="http://schemas.microsoft.com/office/drawing/2014/main" id="{A4C918D4-A62E-5F2D-8179-7A0DB9D0653D}"/>
                </a:ext>
              </a:extLst>
            </p:cNvPr>
            <p:cNvSpPr>
              <a:spLocks/>
            </p:cNvSpPr>
            <p:nvPr/>
          </p:nvSpPr>
          <p:spPr bwMode="auto">
            <a:xfrm>
              <a:off x="5949889" y="3376664"/>
              <a:ext cx="42871" cy="39604"/>
            </a:xfrm>
            <a:custGeom>
              <a:avLst/>
              <a:gdLst>
                <a:gd name="T0" fmla="*/ 4 w 30"/>
                <a:gd name="T1" fmla="*/ 0 h 29"/>
                <a:gd name="T2" fmla="*/ 4 w 30"/>
                <a:gd name="T3" fmla="*/ 0 h 29"/>
                <a:gd name="T4" fmla="*/ 2 w 30"/>
                <a:gd name="T5" fmla="*/ 5 h 29"/>
                <a:gd name="T6" fmla="*/ 0 w 30"/>
                <a:gd name="T7" fmla="*/ 8 h 29"/>
                <a:gd name="T8" fmla="*/ 16 w 30"/>
                <a:gd name="T9" fmla="*/ 29 h 29"/>
                <a:gd name="T10" fmla="*/ 16 w 30"/>
                <a:gd name="T11" fmla="*/ 29 h 29"/>
                <a:gd name="T12" fmla="*/ 21 w 30"/>
                <a:gd name="T13" fmla="*/ 23 h 29"/>
                <a:gd name="T14" fmla="*/ 24 w 30"/>
                <a:gd name="T15" fmla="*/ 17 h 29"/>
                <a:gd name="T16" fmla="*/ 28 w 30"/>
                <a:gd name="T17" fmla="*/ 11 h 29"/>
                <a:gd name="T18" fmla="*/ 30 w 30"/>
                <a:gd name="T19" fmla="*/ 3 h 29"/>
                <a:gd name="T20" fmla="*/ 4 w 30"/>
                <a:gd name="T2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29">
                  <a:moveTo>
                    <a:pt x="4" y="0"/>
                  </a:moveTo>
                  <a:lnTo>
                    <a:pt x="4" y="0"/>
                  </a:lnTo>
                  <a:lnTo>
                    <a:pt x="2" y="5"/>
                  </a:lnTo>
                  <a:lnTo>
                    <a:pt x="0" y="8"/>
                  </a:lnTo>
                  <a:lnTo>
                    <a:pt x="16" y="29"/>
                  </a:lnTo>
                  <a:lnTo>
                    <a:pt x="16" y="29"/>
                  </a:lnTo>
                  <a:lnTo>
                    <a:pt x="21" y="23"/>
                  </a:lnTo>
                  <a:lnTo>
                    <a:pt x="24" y="17"/>
                  </a:lnTo>
                  <a:lnTo>
                    <a:pt x="28" y="11"/>
                  </a:lnTo>
                  <a:lnTo>
                    <a:pt x="30" y="3"/>
                  </a:lnTo>
                  <a:lnTo>
                    <a:pt x="4" y="0"/>
                  </a:ln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7" name="Freeform 67">
              <a:extLst>
                <a:ext uri="{FF2B5EF4-FFF2-40B4-BE49-F238E27FC236}">
                  <a16:creationId xmlns:a16="http://schemas.microsoft.com/office/drawing/2014/main" id="{1AC0E4BE-4B02-05F1-C6EF-2C59C7C05246}"/>
                </a:ext>
              </a:extLst>
            </p:cNvPr>
            <p:cNvSpPr>
              <a:spLocks/>
            </p:cNvSpPr>
            <p:nvPr/>
          </p:nvSpPr>
          <p:spPr bwMode="auto">
            <a:xfrm>
              <a:off x="5932740" y="3304285"/>
              <a:ext cx="62877" cy="65551"/>
            </a:xfrm>
            <a:custGeom>
              <a:avLst/>
              <a:gdLst>
                <a:gd name="T0" fmla="*/ 0 w 44"/>
                <a:gd name="T1" fmla="*/ 27 h 48"/>
                <a:gd name="T2" fmla="*/ 0 w 44"/>
                <a:gd name="T3" fmla="*/ 27 h 48"/>
                <a:gd name="T4" fmla="*/ 7 w 44"/>
                <a:gd name="T5" fmla="*/ 28 h 48"/>
                <a:gd name="T6" fmla="*/ 12 w 44"/>
                <a:gd name="T7" fmla="*/ 33 h 48"/>
                <a:gd name="T8" fmla="*/ 15 w 44"/>
                <a:gd name="T9" fmla="*/ 38 h 48"/>
                <a:gd name="T10" fmla="*/ 18 w 44"/>
                <a:gd name="T11" fmla="*/ 44 h 48"/>
                <a:gd name="T12" fmla="*/ 44 w 44"/>
                <a:gd name="T13" fmla="*/ 48 h 48"/>
                <a:gd name="T14" fmla="*/ 44 w 44"/>
                <a:gd name="T15" fmla="*/ 48 h 48"/>
                <a:gd name="T16" fmla="*/ 44 w 44"/>
                <a:gd name="T17" fmla="*/ 47 h 48"/>
                <a:gd name="T18" fmla="*/ 44 w 44"/>
                <a:gd name="T19" fmla="*/ 47 h 48"/>
                <a:gd name="T20" fmla="*/ 42 w 44"/>
                <a:gd name="T21" fmla="*/ 38 h 48"/>
                <a:gd name="T22" fmla="*/ 40 w 44"/>
                <a:gd name="T23" fmla="*/ 29 h 48"/>
                <a:gd name="T24" fmla="*/ 36 w 44"/>
                <a:gd name="T25" fmla="*/ 22 h 48"/>
                <a:gd name="T26" fmla="*/ 31 w 44"/>
                <a:gd name="T27" fmla="*/ 16 h 48"/>
                <a:gd name="T28" fmla="*/ 25 w 44"/>
                <a:gd name="T29" fmla="*/ 10 h 48"/>
                <a:gd name="T30" fmla="*/ 18 w 44"/>
                <a:gd name="T31" fmla="*/ 5 h 48"/>
                <a:gd name="T32" fmla="*/ 9 w 44"/>
                <a:gd name="T33" fmla="*/ 2 h 48"/>
                <a:gd name="T34" fmla="*/ 0 w 44"/>
                <a:gd name="T35" fmla="*/ 0 h 48"/>
                <a:gd name="T36" fmla="*/ 0 w 44"/>
                <a:gd name="T37" fmla="*/ 2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 h="48">
                  <a:moveTo>
                    <a:pt x="0" y="27"/>
                  </a:moveTo>
                  <a:lnTo>
                    <a:pt x="0" y="27"/>
                  </a:lnTo>
                  <a:lnTo>
                    <a:pt x="7" y="28"/>
                  </a:lnTo>
                  <a:lnTo>
                    <a:pt x="12" y="33"/>
                  </a:lnTo>
                  <a:lnTo>
                    <a:pt x="15" y="38"/>
                  </a:lnTo>
                  <a:lnTo>
                    <a:pt x="18" y="44"/>
                  </a:lnTo>
                  <a:lnTo>
                    <a:pt x="44" y="48"/>
                  </a:lnTo>
                  <a:lnTo>
                    <a:pt x="44" y="48"/>
                  </a:lnTo>
                  <a:lnTo>
                    <a:pt x="44" y="47"/>
                  </a:lnTo>
                  <a:lnTo>
                    <a:pt x="44" y="47"/>
                  </a:lnTo>
                  <a:lnTo>
                    <a:pt x="42" y="38"/>
                  </a:lnTo>
                  <a:lnTo>
                    <a:pt x="40" y="29"/>
                  </a:lnTo>
                  <a:lnTo>
                    <a:pt x="36" y="22"/>
                  </a:lnTo>
                  <a:lnTo>
                    <a:pt x="31" y="16"/>
                  </a:lnTo>
                  <a:lnTo>
                    <a:pt x="25" y="10"/>
                  </a:lnTo>
                  <a:lnTo>
                    <a:pt x="18" y="5"/>
                  </a:lnTo>
                  <a:lnTo>
                    <a:pt x="9" y="2"/>
                  </a:lnTo>
                  <a:lnTo>
                    <a:pt x="0" y="0"/>
                  </a:lnTo>
                  <a:lnTo>
                    <a:pt x="0" y="27"/>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8" name="Freeform 68">
              <a:extLst>
                <a:ext uri="{FF2B5EF4-FFF2-40B4-BE49-F238E27FC236}">
                  <a16:creationId xmlns:a16="http://schemas.microsoft.com/office/drawing/2014/main" id="{1FC6C340-EC7A-7A2F-A6B7-D1A4F01820A1}"/>
                </a:ext>
              </a:extLst>
            </p:cNvPr>
            <p:cNvSpPr>
              <a:spLocks/>
            </p:cNvSpPr>
            <p:nvPr/>
          </p:nvSpPr>
          <p:spPr bwMode="auto">
            <a:xfrm>
              <a:off x="5874151" y="3304285"/>
              <a:ext cx="47158" cy="45067"/>
            </a:xfrm>
            <a:custGeom>
              <a:avLst/>
              <a:gdLst>
                <a:gd name="T0" fmla="*/ 22 w 33"/>
                <a:gd name="T1" fmla="*/ 33 h 33"/>
                <a:gd name="T2" fmla="*/ 22 w 33"/>
                <a:gd name="T3" fmla="*/ 33 h 33"/>
                <a:gd name="T4" fmla="*/ 27 w 33"/>
                <a:gd name="T5" fmla="*/ 28 h 33"/>
                <a:gd name="T6" fmla="*/ 33 w 33"/>
                <a:gd name="T7" fmla="*/ 27 h 33"/>
                <a:gd name="T8" fmla="*/ 33 w 33"/>
                <a:gd name="T9" fmla="*/ 0 h 33"/>
                <a:gd name="T10" fmla="*/ 33 w 33"/>
                <a:gd name="T11" fmla="*/ 0 h 33"/>
                <a:gd name="T12" fmla="*/ 23 w 33"/>
                <a:gd name="T13" fmla="*/ 2 h 33"/>
                <a:gd name="T14" fmla="*/ 14 w 33"/>
                <a:gd name="T15" fmla="*/ 6 h 33"/>
                <a:gd name="T16" fmla="*/ 7 w 33"/>
                <a:gd name="T17" fmla="*/ 12 h 33"/>
                <a:gd name="T18" fmla="*/ 0 w 33"/>
                <a:gd name="T19" fmla="*/ 19 h 33"/>
                <a:gd name="T20" fmla="*/ 22 w 33"/>
                <a:gd name="T21"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3">
                  <a:moveTo>
                    <a:pt x="22" y="33"/>
                  </a:moveTo>
                  <a:lnTo>
                    <a:pt x="22" y="33"/>
                  </a:lnTo>
                  <a:lnTo>
                    <a:pt x="27" y="28"/>
                  </a:lnTo>
                  <a:lnTo>
                    <a:pt x="33" y="27"/>
                  </a:lnTo>
                  <a:lnTo>
                    <a:pt x="33" y="0"/>
                  </a:lnTo>
                  <a:lnTo>
                    <a:pt x="33" y="0"/>
                  </a:lnTo>
                  <a:lnTo>
                    <a:pt x="23" y="2"/>
                  </a:lnTo>
                  <a:lnTo>
                    <a:pt x="14" y="6"/>
                  </a:lnTo>
                  <a:lnTo>
                    <a:pt x="7" y="12"/>
                  </a:lnTo>
                  <a:lnTo>
                    <a:pt x="0" y="19"/>
                  </a:lnTo>
                  <a:lnTo>
                    <a:pt x="22" y="33"/>
                  </a:lnTo>
                  <a:close/>
                </a:path>
              </a:pathLst>
            </a:custGeom>
            <a:solidFill>
              <a:srgbClr val="15B0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9" name="Freeform 69">
              <a:extLst>
                <a:ext uri="{FF2B5EF4-FFF2-40B4-BE49-F238E27FC236}">
                  <a16:creationId xmlns:a16="http://schemas.microsoft.com/office/drawing/2014/main" id="{1D1BC845-C7E8-577D-187A-844046C58903}"/>
                </a:ext>
              </a:extLst>
            </p:cNvPr>
            <p:cNvSpPr>
              <a:spLocks/>
            </p:cNvSpPr>
            <p:nvPr/>
          </p:nvSpPr>
          <p:spPr bwMode="auto">
            <a:xfrm>
              <a:off x="5861289" y="3341158"/>
              <a:ext cx="100032" cy="90132"/>
            </a:xfrm>
            <a:custGeom>
              <a:avLst/>
              <a:gdLst>
                <a:gd name="T0" fmla="*/ 55 w 70"/>
                <a:gd name="T1" fmla="*/ 39 h 66"/>
                <a:gd name="T2" fmla="*/ 55 w 70"/>
                <a:gd name="T3" fmla="*/ 39 h 66"/>
                <a:gd name="T4" fmla="*/ 50 w 70"/>
                <a:gd name="T5" fmla="*/ 40 h 66"/>
                <a:gd name="T6" fmla="*/ 47 w 70"/>
                <a:gd name="T7" fmla="*/ 40 h 66"/>
                <a:gd name="T8" fmla="*/ 47 w 70"/>
                <a:gd name="T9" fmla="*/ 40 h 66"/>
                <a:gd name="T10" fmla="*/ 42 w 70"/>
                <a:gd name="T11" fmla="*/ 40 h 66"/>
                <a:gd name="T12" fmla="*/ 38 w 70"/>
                <a:gd name="T13" fmla="*/ 39 h 66"/>
                <a:gd name="T14" fmla="*/ 34 w 70"/>
                <a:gd name="T15" fmla="*/ 37 h 66"/>
                <a:gd name="T16" fmla="*/ 32 w 70"/>
                <a:gd name="T17" fmla="*/ 34 h 66"/>
                <a:gd name="T18" fmla="*/ 29 w 70"/>
                <a:gd name="T19" fmla="*/ 32 h 66"/>
                <a:gd name="T20" fmla="*/ 27 w 70"/>
                <a:gd name="T21" fmla="*/ 28 h 66"/>
                <a:gd name="T22" fmla="*/ 26 w 70"/>
                <a:gd name="T23" fmla="*/ 24 h 66"/>
                <a:gd name="T24" fmla="*/ 26 w 70"/>
                <a:gd name="T25" fmla="*/ 20 h 66"/>
                <a:gd name="T26" fmla="*/ 26 w 70"/>
                <a:gd name="T27" fmla="*/ 20 h 66"/>
                <a:gd name="T28" fmla="*/ 27 w 70"/>
                <a:gd name="T29" fmla="*/ 13 h 66"/>
                <a:gd name="T30" fmla="*/ 5 w 70"/>
                <a:gd name="T31" fmla="*/ 0 h 66"/>
                <a:gd name="T32" fmla="*/ 5 w 70"/>
                <a:gd name="T33" fmla="*/ 0 h 66"/>
                <a:gd name="T34" fmla="*/ 1 w 70"/>
                <a:gd name="T35" fmla="*/ 10 h 66"/>
                <a:gd name="T36" fmla="*/ 0 w 70"/>
                <a:gd name="T37" fmla="*/ 20 h 66"/>
                <a:gd name="T38" fmla="*/ 0 w 70"/>
                <a:gd name="T39" fmla="*/ 20 h 66"/>
                <a:gd name="T40" fmla="*/ 1 w 70"/>
                <a:gd name="T41" fmla="*/ 29 h 66"/>
                <a:gd name="T42" fmla="*/ 4 w 70"/>
                <a:gd name="T43" fmla="*/ 38 h 66"/>
                <a:gd name="T44" fmla="*/ 9 w 70"/>
                <a:gd name="T45" fmla="*/ 45 h 66"/>
                <a:gd name="T46" fmla="*/ 13 w 70"/>
                <a:gd name="T47" fmla="*/ 53 h 66"/>
                <a:gd name="T48" fmla="*/ 21 w 70"/>
                <a:gd name="T49" fmla="*/ 58 h 66"/>
                <a:gd name="T50" fmla="*/ 28 w 70"/>
                <a:gd name="T51" fmla="*/ 63 h 66"/>
                <a:gd name="T52" fmla="*/ 37 w 70"/>
                <a:gd name="T53" fmla="*/ 65 h 66"/>
                <a:gd name="T54" fmla="*/ 47 w 70"/>
                <a:gd name="T55" fmla="*/ 66 h 66"/>
                <a:gd name="T56" fmla="*/ 47 w 70"/>
                <a:gd name="T57" fmla="*/ 66 h 66"/>
                <a:gd name="T58" fmla="*/ 53 w 70"/>
                <a:gd name="T59" fmla="*/ 66 h 66"/>
                <a:gd name="T60" fmla="*/ 59 w 70"/>
                <a:gd name="T61" fmla="*/ 65 h 66"/>
                <a:gd name="T62" fmla="*/ 65 w 70"/>
                <a:gd name="T63" fmla="*/ 63 h 66"/>
                <a:gd name="T64" fmla="*/ 70 w 70"/>
                <a:gd name="T65" fmla="*/ 60 h 66"/>
                <a:gd name="T66" fmla="*/ 55 w 70"/>
                <a:gd name="T67" fmla="*/ 3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0" h="66">
                  <a:moveTo>
                    <a:pt x="55" y="39"/>
                  </a:moveTo>
                  <a:lnTo>
                    <a:pt x="55" y="39"/>
                  </a:lnTo>
                  <a:lnTo>
                    <a:pt x="50" y="40"/>
                  </a:lnTo>
                  <a:lnTo>
                    <a:pt x="47" y="40"/>
                  </a:lnTo>
                  <a:lnTo>
                    <a:pt x="47" y="40"/>
                  </a:lnTo>
                  <a:lnTo>
                    <a:pt x="42" y="40"/>
                  </a:lnTo>
                  <a:lnTo>
                    <a:pt x="38" y="39"/>
                  </a:lnTo>
                  <a:lnTo>
                    <a:pt x="34" y="37"/>
                  </a:lnTo>
                  <a:lnTo>
                    <a:pt x="32" y="34"/>
                  </a:lnTo>
                  <a:lnTo>
                    <a:pt x="29" y="32"/>
                  </a:lnTo>
                  <a:lnTo>
                    <a:pt x="27" y="28"/>
                  </a:lnTo>
                  <a:lnTo>
                    <a:pt x="26" y="24"/>
                  </a:lnTo>
                  <a:lnTo>
                    <a:pt x="26" y="20"/>
                  </a:lnTo>
                  <a:lnTo>
                    <a:pt x="26" y="20"/>
                  </a:lnTo>
                  <a:lnTo>
                    <a:pt x="27" y="13"/>
                  </a:lnTo>
                  <a:lnTo>
                    <a:pt x="5" y="0"/>
                  </a:lnTo>
                  <a:lnTo>
                    <a:pt x="5" y="0"/>
                  </a:lnTo>
                  <a:lnTo>
                    <a:pt x="1" y="10"/>
                  </a:lnTo>
                  <a:lnTo>
                    <a:pt x="0" y="20"/>
                  </a:lnTo>
                  <a:lnTo>
                    <a:pt x="0" y="20"/>
                  </a:lnTo>
                  <a:lnTo>
                    <a:pt x="1" y="29"/>
                  </a:lnTo>
                  <a:lnTo>
                    <a:pt x="4" y="38"/>
                  </a:lnTo>
                  <a:lnTo>
                    <a:pt x="9" y="45"/>
                  </a:lnTo>
                  <a:lnTo>
                    <a:pt x="13" y="53"/>
                  </a:lnTo>
                  <a:lnTo>
                    <a:pt x="21" y="58"/>
                  </a:lnTo>
                  <a:lnTo>
                    <a:pt x="28" y="63"/>
                  </a:lnTo>
                  <a:lnTo>
                    <a:pt x="37" y="65"/>
                  </a:lnTo>
                  <a:lnTo>
                    <a:pt x="47" y="66"/>
                  </a:lnTo>
                  <a:lnTo>
                    <a:pt x="47" y="66"/>
                  </a:lnTo>
                  <a:lnTo>
                    <a:pt x="53" y="66"/>
                  </a:lnTo>
                  <a:lnTo>
                    <a:pt x="59" y="65"/>
                  </a:lnTo>
                  <a:lnTo>
                    <a:pt x="65" y="63"/>
                  </a:lnTo>
                  <a:lnTo>
                    <a:pt x="70" y="60"/>
                  </a:lnTo>
                  <a:lnTo>
                    <a:pt x="55" y="39"/>
                  </a:lnTo>
                  <a:close/>
                </a:path>
              </a:pathLst>
            </a:custGeom>
            <a:solidFill>
              <a:srgbClr val="2C58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0" name="Rectangle 70">
              <a:extLst>
                <a:ext uri="{FF2B5EF4-FFF2-40B4-BE49-F238E27FC236}">
                  <a16:creationId xmlns:a16="http://schemas.microsoft.com/office/drawing/2014/main" id="{574D496B-3BA6-A4CB-ECA7-3F23F401D2D2}"/>
                </a:ext>
              </a:extLst>
            </p:cNvPr>
            <p:cNvSpPr>
              <a:spLocks noChangeArrowheads="1"/>
            </p:cNvSpPr>
            <p:nvPr/>
          </p:nvSpPr>
          <p:spPr bwMode="auto">
            <a:xfrm>
              <a:off x="6025627" y="3304285"/>
              <a:ext cx="161481" cy="16388"/>
            </a:xfrm>
            <a:prstGeom prst="rect">
              <a:avLst/>
            </a:prstGeom>
            <a:solidFill>
              <a:srgbClr val="15B0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1" name="Rectangle 71">
              <a:extLst>
                <a:ext uri="{FF2B5EF4-FFF2-40B4-BE49-F238E27FC236}">
                  <a16:creationId xmlns:a16="http://schemas.microsoft.com/office/drawing/2014/main" id="{61602DA9-2EE2-C2F2-30F6-6F2CD3C419EA}"/>
                </a:ext>
              </a:extLst>
            </p:cNvPr>
            <p:cNvSpPr>
              <a:spLocks noChangeArrowheads="1"/>
            </p:cNvSpPr>
            <p:nvPr/>
          </p:nvSpPr>
          <p:spPr bwMode="auto">
            <a:xfrm>
              <a:off x="6025627" y="3354814"/>
              <a:ext cx="161481" cy="15023"/>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2" name="Rectangle 72">
              <a:extLst>
                <a:ext uri="{FF2B5EF4-FFF2-40B4-BE49-F238E27FC236}">
                  <a16:creationId xmlns:a16="http://schemas.microsoft.com/office/drawing/2014/main" id="{3345FDC7-598E-5A39-B5CD-D4006F5A5CC8}"/>
                </a:ext>
              </a:extLst>
            </p:cNvPr>
            <p:cNvSpPr>
              <a:spLocks noChangeArrowheads="1"/>
            </p:cNvSpPr>
            <p:nvPr/>
          </p:nvSpPr>
          <p:spPr bwMode="auto">
            <a:xfrm>
              <a:off x="6025627" y="3402611"/>
              <a:ext cx="161481" cy="17754"/>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3" name="Rectangle 73">
              <a:extLst>
                <a:ext uri="{FF2B5EF4-FFF2-40B4-BE49-F238E27FC236}">
                  <a16:creationId xmlns:a16="http://schemas.microsoft.com/office/drawing/2014/main" id="{0E3567C0-00EA-5F6A-10B6-7EA39BA076BE}"/>
                </a:ext>
              </a:extLst>
            </p:cNvPr>
            <p:cNvSpPr>
              <a:spLocks noChangeArrowheads="1"/>
            </p:cNvSpPr>
            <p:nvPr/>
          </p:nvSpPr>
          <p:spPr bwMode="auto">
            <a:xfrm>
              <a:off x="6025627" y="3506400"/>
              <a:ext cx="112894" cy="15023"/>
            </a:xfrm>
            <a:prstGeom prst="rect">
              <a:avLst/>
            </a:prstGeom>
            <a:solidFill>
              <a:srgbClr val="15B0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4" name="Rectangle 74">
              <a:extLst>
                <a:ext uri="{FF2B5EF4-FFF2-40B4-BE49-F238E27FC236}">
                  <a16:creationId xmlns:a16="http://schemas.microsoft.com/office/drawing/2014/main" id="{32B96A6A-9345-3108-3651-F71E1B6BE6FB}"/>
                </a:ext>
              </a:extLst>
            </p:cNvPr>
            <p:cNvSpPr>
              <a:spLocks noChangeArrowheads="1"/>
            </p:cNvSpPr>
            <p:nvPr/>
          </p:nvSpPr>
          <p:spPr bwMode="auto">
            <a:xfrm>
              <a:off x="6025627" y="3554198"/>
              <a:ext cx="161481" cy="17754"/>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5" name="Rectangle 75">
              <a:extLst>
                <a:ext uri="{FF2B5EF4-FFF2-40B4-BE49-F238E27FC236}">
                  <a16:creationId xmlns:a16="http://schemas.microsoft.com/office/drawing/2014/main" id="{42AC68A9-C596-D91E-ABF6-4CB084DC1356}"/>
                </a:ext>
              </a:extLst>
            </p:cNvPr>
            <p:cNvSpPr>
              <a:spLocks noChangeArrowheads="1"/>
            </p:cNvSpPr>
            <p:nvPr/>
          </p:nvSpPr>
          <p:spPr bwMode="auto">
            <a:xfrm>
              <a:off x="6025627" y="3604726"/>
              <a:ext cx="161481" cy="16388"/>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grpSp>
        <p:nvGrpSpPr>
          <p:cNvPr id="437" name="Group 436">
            <a:extLst>
              <a:ext uri="{FF2B5EF4-FFF2-40B4-BE49-F238E27FC236}">
                <a16:creationId xmlns:a16="http://schemas.microsoft.com/office/drawing/2014/main" id="{507244DB-2886-BE84-2B6C-6B9290B4305A}"/>
              </a:ext>
            </a:extLst>
          </p:cNvPr>
          <p:cNvGrpSpPr/>
          <p:nvPr/>
        </p:nvGrpSpPr>
        <p:grpSpPr>
          <a:xfrm>
            <a:off x="1581928" y="2594833"/>
            <a:ext cx="1326551" cy="1141859"/>
            <a:chOff x="2532615" y="2953500"/>
            <a:chExt cx="1061632" cy="937065"/>
          </a:xfrm>
        </p:grpSpPr>
        <p:sp>
          <p:nvSpPr>
            <p:cNvPr id="397" name="Freeform 13">
              <a:extLst>
                <a:ext uri="{FF2B5EF4-FFF2-40B4-BE49-F238E27FC236}">
                  <a16:creationId xmlns:a16="http://schemas.microsoft.com/office/drawing/2014/main" id="{90CC1C98-2886-4151-729F-65D2469BDD89}"/>
                </a:ext>
              </a:extLst>
            </p:cNvPr>
            <p:cNvSpPr>
              <a:spLocks/>
            </p:cNvSpPr>
            <p:nvPr/>
          </p:nvSpPr>
          <p:spPr bwMode="auto">
            <a:xfrm>
              <a:off x="2532615" y="2953500"/>
              <a:ext cx="1061632" cy="937065"/>
            </a:xfrm>
            <a:custGeom>
              <a:avLst/>
              <a:gdLst>
                <a:gd name="T0" fmla="*/ 368 w 701"/>
                <a:gd name="T1" fmla="*/ 0 h 701"/>
                <a:gd name="T2" fmla="*/ 421 w 701"/>
                <a:gd name="T3" fmla="*/ 7 h 701"/>
                <a:gd name="T4" fmla="*/ 470 w 701"/>
                <a:gd name="T5" fmla="*/ 21 h 701"/>
                <a:gd name="T6" fmla="*/ 517 w 701"/>
                <a:gd name="T7" fmla="*/ 42 h 701"/>
                <a:gd name="T8" fmla="*/ 560 w 701"/>
                <a:gd name="T9" fmla="*/ 70 h 701"/>
                <a:gd name="T10" fmla="*/ 599 w 701"/>
                <a:gd name="T11" fmla="*/ 103 h 701"/>
                <a:gd name="T12" fmla="*/ 631 w 701"/>
                <a:gd name="T13" fmla="*/ 141 h 701"/>
                <a:gd name="T14" fmla="*/ 659 w 701"/>
                <a:gd name="T15" fmla="*/ 183 h 701"/>
                <a:gd name="T16" fmla="*/ 680 w 701"/>
                <a:gd name="T17" fmla="*/ 230 h 701"/>
                <a:gd name="T18" fmla="*/ 693 w 701"/>
                <a:gd name="T19" fmla="*/ 280 h 701"/>
                <a:gd name="T20" fmla="*/ 701 w 701"/>
                <a:gd name="T21" fmla="*/ 332 h 701"/>
                <a:gd name="T22" fmla="*/ 701 w 701"/>
                <a:gd name="T23" fmla="*/ 368 h 701"/>
                <a:gd name="T24" fmla="*/ 693 w 701"/>
                <a:gd name="T25" fmla="*/ 421 h 701"/>
                <a:gd name="T26" fmla="*/ 680 w 701"/>
                <a:gd name="T27" fmla="*/ 470 h 701"/>
                <a:gd name="T28" fmla="*/ 659 w 701"/>
                <a:gd name="T29" fmla="*/ 517 h 701"/>
                <a:gd name="T30" fmla="*/ 631 w 701"/>
                <a:gd name="T31" fmla="*/ 560 h 701"/>
                <a:gd name="T32" fmla="*/ 599 w 701"/>
                <a:gd name="T33" fmla="*/ 599 h 701"/>
                <a:gd name="T34" fmla="*/ 560 w 701"/>
                <a:gd name="T35" fmla="*/ 631 h 701"/>
                <a:gd name="T36" fmla="*/ 517 w 701"/>
                <a:gd name="T37" fmla="*/ 659 h 701"/>
                <a:gd name="T38" fmla="*/ 470 w 701"/>
                <a:gd name="T39" fmla="*/ 680 h 701"/>
                <a:gd name="T40" fmla="*/ 421 w 701"/>
                <a:gd name="T41" fmla="*/ 694 h 701"/>
                <a:gd name="T42" fmla="*/ 368 w 701"/>
                <a:gd name="T43" fmla="*/ 701 h 701"/>
                <a:gd name="T44" fmla="*/ 332 w 701"/>
                <a:gd name="T45" fmla="*/ 701 h 701"/>
                <a:gd name="T46" fmla="*/ 280 w 701"/>
                <a:gd name="T47" fmla="*/ 694 h 701"/>
                <a:gd name="T48" fmla="*/ 230 w 701"/>
                <a:gd name="T49" fmla="*/ 680 h 701"/>
                <a:gd name="T50" fmla="*/ 183 w 701"/>
                <a:gd name="T51" fmla="*/ 659 h 701"/>
                <a:gd name="T52" fmla="*/ 141 w 701"/>
                <a:gd name="T53" fmla="*/ 631 h 701"/>
                <a:gd name="T54" fmla="*/ 103 w 701"/>
                <a:gd name="T55" fmla="*/ 599 h 701"/>
                <a:gd name="T56" fmla="*/ 69 w 701"/>
                <a:gd name="T57" fmla="*/ 560 h 701"/>
                <a:gd name="T58" fmla="*/ 42 w 701"/>
                <a:gd name="T59" fmla="*/ 517 h 701"/>
                <a:gd name="T60" fmla="*/ 21 w 701"/>
                <a:gd name="T61" fmla="*/ 470 h 701"/>
                <a:gd name="T62" fmla="*/ 7 w 701"/>
                <a:gd name="T63" fmla="*/ 421 h 701"/>
                <a:gd name="T64" fmla="*/ 0 w 701"/>
                <a:gd name="T65" fmla="*/ 368 h 701"/>
                <a:gd name="T66" fmla="*/ 0 w 701"/>
                <a:gd name="T67" fmla="*/ 332 h 701"/>
                <a:gd name="T68" fmla="*/ 7 w 701"/>
                <a:gd name="T69" fmla="*/ 280 h 701"/>
                <a:gd name="T70" fmla="*/ 21 w 701"/>
                <a:gd name="T71" fmla="*/ 230 h 701"/>
                <a:gd name="T72" fmla="*/ 42 w 701"/>
                <a:gd name="T73" fmla="*/ 183 h 701"/>
                <a:gd name="T74" fmla="*/ 69 w 701"/>
                <a:gd name="T75" fmla="*/ 141 h 701"/>
                <a:gd name="T76" fmla="*/ 103 w 701"/>
                <a:gd name="T77" fmla="*/ 103 h 701"/>
                <a:gd name="T78" fmla="*/ 141 w 701"/>
                <a:gd name="T79" fmla="*/ 70 h 701"/>
                <a:gd name="T80" fmla="*/ 183 w 701"/>
                <a:gd name="T81" fmla="*/ 42 h 701"/>
                <a:gd name="T82" fmla="*/ 230 w 701"/>
                <a:gd name="T83" fmla="*/ 21 h 701"/>
                <a:gd name="T84" fmla="*/ 280 w 701"/>
                <a:gd name="T85" fmla="*/ 7 h 701"/>
                <a:gd name="T86" fmla="*/ 332 w 701"/>
                <a:gd name="T87" fmla="*/ 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1">
                  <a:moveTo>
                    <a:pt x="351" y="0"/>
                  </a:moveTo>
                  <a:lnTo>
                    <a:pt x="351" y="0"/>
                  </a:lnTo>
                  <a:lnTo>
                    <a:pt x="368" y="0"/>
                  </a:lnTo>
                  <a:lnTo>
                    <a:pt x="386" y="2"/>
                  </a:lnTo>
                  <a:lnTo>
                    <a:pt x="404" y="4"/>
                  </a:lnTo>
                  <a:lnTo>
                    <a:pt x="421" y="7"/>
                  </a:lnTo>
                  <a:lnTo>
                    <a:pt x="438" y="12"/>
                  </a:lnTo>
                  <a:lnTo>
                    <a:pt x="454" y="15"/>
                  </a:lnTo>
                  <a:lnTo>
                    <a:pt x="470" y="21"/>
                  </a:lnTo>
                  <a:lnTo>
                    <a:pt x="486" y="28"/>
                  </a:lnTo>
                  <a:lnTo>
                    <a:pt x="502" y="35"/>
                  </a:lnTo>
                  <a:lnTo>
                    <a:pt x="517" y="42"/>
                  </a:lnTo>
                  <a:lnTo>
                    <a:pt x="532" y="51"/>
                  </a:lnTo>
                  <a:lnTo>
                    <a:pt x="547" y="60"/>
                  </a:lnTo>
                  <a:lnTo>
                    <a:pt x="560" y="70"/>
                  </a:lnTo>
                  <a:lnTo>
                    <a:pt x="574" y="81"/>
                  </a:lnTo>
                  <a:lnTo>
                    <a:pt x="586" y="90"/>
                  </a:lnTo>
                  <a:lnTo>
                    <a:pt x="599" y="103"/>
                  </a:lnTo>
                  <a:lnTo>
                    <a:pt x="610" y="115"/>
                  </a:lnTo>
                  <a:lnTo>
                    <a:pt x="621" y="128"/>
                  </a:lnTo>
                  <a:lnTo>
                    <a:pt x="631" y="141"/>
                  </a:lnTo>
                  <a:lnTo>
                    <a:pt x="640" y="155"/>
                  </a:lnTo>
                  <a:lnTo>
                    <a:pt x="650" y="168"/>
                  </a:lnTo>
                  <a:lnTo>
                    <a:pt x="659" y="183"/>
                  </a:lnTo>
                  <a:lnTo>
                    <a:pt x="666" y="199"/>
                  </a:lnTo>
                  <a:lnTo>
                    <a:pt x="674" y="214"/>
                  </a:lnTo>
                  <a:lnTo>
                    <a:pt x="680" y="230"/>
                  </a:lnTo>
                  <a:lnTo>
                    <a:pt x="685" y="246"/>
                  </a:lnTo>
                  <a:lnTo>
                    <a:pt x="690" y="263"/>
                  </a:lnTo>
                  <a:lnTo>
                    <a:pt x="693" y="280"/>
                  </a:lnTo>
                  <a:lnTo>
                    <a:pt x="697" y="298"/>
                  </a:lnTo>
                  <a:lnTo>
                    <a:pt x="698" y="315"/>
                  </a:lnTo>
                  <a:lnTo>
                    <a:pt x="701" y="332"/>
                  </a:lnTo>
                  <a:lnTo>
                    <a:pt x="701" y="351"/>
                  </a:lnTo>
                  <a:lnTo>
                    <a:pt x="701" y="351"/>
                  </a:lnTo>
                  <a:lnTo>
                    <a:pt x="701" y="368"/>
                  </a:lnTo>
                  <a:lnTo>
                    <a:pt x="698" y="387"/>
                  </a:lnTo>
                  <a:lnTo>
                    <a:pt x="697" y="404"/>
                  </a:lnTo>
                  <a:lnTo>
                    <a:pt x="693" y="421"/>
                  </a:lnTo>
                  <a:lnTo>
                    <a:pt x="690" y="438"/>
                  </a:lnTo>
                  <a:lnTo>
                    <a:pt x="685" y="454"/>
                  </a:lnTo>
                  <a:lnTo>
                    <a:pt x="680" y="470"/>
                  </a:lnTo>
                  <a:lnTo>
                    <a:pt x="674" y="486"/>
                  </a:lnTo>
                  <a:lnTo>
                    <a:pt x="666" y="503"/>
                  </a:lnTo>
                  <a:lnTo>
                    <a:pt x="659" y="517"/>
                  </a:lnTo>
                  <a:lnTo>
                    <a:pt x="650" y="532"/>
                  </a:lnTo>
                  <a:lnTo>
                    <a:pt x="640" y="547"/>
                  </a:lnTo>
                  <a:lnTo>
                    <a:pt x="631" y="560"/>
                  </a:lnTo>
                  <a:lnTo>
                    <a:pt x="621" y="574"/>
                  </a:lnTo>
                  <a:lnTo>
                    <a:pt x="610" y="586"/>
                  </a:lnTo>
                  <a:lnTo>
                    <a:pt x="599" y="599"/>
                  </a:lnTo>
                  <a:lnTo>
                    <a:pt x="586" y="610"/>
                  </a:lnTo>
                  <a:lnTo>
                    <a:pt x="574" y="621"/>
                  </a:lnTo>
                  <a:lnTo>
                    <a:pt x="560" y="631"/>
                  </a:lnTo>
                  <a:lnTo>
                    <a:pt x="547" y="641"/>
                  </a:lnTo>
                  <a:lnTo>
                    <a:pt x="532" y="651"/>
                  </a:lnTo>
                  <a:lnTo>
                    <a:pt x="517" y="659"/>
                  </a:lnTo>
                  <a:lnTo>
                    <a:pt x="502" y="667"/>
                  </a:lnTo>
                  <a:lnTo>
                    <a:pt x="486" y="674"/>
                  </a:lnTo>
                  <a:lnTo>
                    <a:pt x="470" y="680"/>
                  </a:lnTo>
                  <a:lnTo>
                    <a:pt x="454" y="685"/>
                  </a:lnTo>
                  <a:lnTo>
                    <a:pt x="438" y="690"/>
                  </a:lnTo>
                  <a:lnTo>
                    <a:pt x="421" y="694"/>
                  </a:lnTo>
                  <a:lnTo>
                    <a:pt x="404" y="697"/>
                  </a:lnTo>
                  <a:lnTo>
                    <a:pt x="386" y="699"/>
                  </a:lnTo>
                  <a:lnTo>
                    <a:pt x="368" y="701"/>
                  </a:lnTo>
                  <a:lnTo>
                    <a:pt x="351" y="701"/>
                  </a:lnTo>
                  <a:lnTo>
                    <a:pt x="351" y="701"/>
                  </a:lnTo>
                  <a:lnTo>
                    <a:pt x="332" y="701"/>
                  </a:lnTo>
                  <a:lnTo>
                    <a:pt x="315" y="699"/>
                  </a:lnTo>
                  <a:lnTo>
                    <a:pt x="298" y="697"/>
                  </a:lnTo>
                  <a:lnTo>
                    <a:pt x="280" y="694"/>
                  </a:lnTo>
                  <a:lnTo>
                    <a:pt x="263" y="690"/>
                  </a:lnTo>
                  <a:lnTo>
                    <a:pt x="246" y="685"/>
                  </a:lnTo>
                  <a:lnTo>
                    <a:pt x="230" y="680"/>
                  </a:lnTo>
                  <a:lnTo>
                    <a:pt x="214" y="674"/>
                  </a:lnTo>
                  <a:lnTo>
                    <a:pt x="199" y="667"/>
                  </a:lnTo>
                  <a:lnTo>
                    <a:pt x="183" y="659"/>
                  </a:lnTo>
                  <a:lnTo>
                    <a:pt x="168" y="651"/>
                  </a:lnTo>
                  <a:lnTo>
                    <a:pt x="155" y="641"/>
                  </a:lnTo>
                  <a:lnTo>
                    <a:pt x="141" y="631"/>
                  </a:lnTo>
                  <a:lnTo>
                    <a:pt x="127" y="621"/>
                  </a:lnTo>
                  <a:lnTo>
                    <a:pt x="115" y="610"/>
                  </a:lnTo>
                  <a:lnTo>
                    <a:pt x="103" y="599"/>
                  </a:lnTo>
                  <a:lnTo>
                    <a:pt x="90" y="586"/>
                  </a:lnTo>
                  <a:lnTo>
                    <a:pt x="81" y="574"/>
                  </a:lnTo>
                  <a:lnTo>
                    <a:pt x="69" y="560"/>
                  </a:lnTo>
                  <a:lnTo>
                    <a:pt x="60" y="547"/>
                  </a:lnTo>
                  <a:lnTo>
                    <a:pt x="51" y="532"/>
                  </a:lnTo>
                  <a:lnTo>
                    <a:pt x="42" y="517"/>
                  </a:lnTo>
                  <a:lnTo>
                    <a:pt x="35" y="503"/>
                  </a:lnTo>
                  <a:lnTo>
                    <a:pt x="27" y="486"/>
                  </a:lnTo>
                  <a:lnTo>
                    <a:pt x="21" y="470"/>
                  </a:lnTo>
                  <a:lnTo>
                    <a:pt x="15" y="454"/>
                  </a:lnTo>
                  <a:lnTo>
                    <a:pt x="11" y="438"/>
                  </a:lnTo>
                  <a:lnTo>
                    <a:pt x="7" y="421"/>
                  </a:lnTo>
                  <a:lnTo>
                    <a:pt x="4" y="404"/>
                  </a:lnTo>
                  <a:lnTo>
                    <a:pt x="2" y="387"/>
                  </a:lnTo>
                  <a:lnTo>
                    <a:pt x="0" y="368"/>
                  </a:lnTo>
                  <a:lnTo>
                    <a:pt x="0" y="351"/>
                  </a:lnTo>
                  <a:lnTo>
                    <a:pt x="0" y="351"/>
                  </a:lnTo>
                  <a:lnTo>
                    <a:pt x="0" y="332"/>
                  </a:lnTo>
                  <a:lnTo>
                    <a:pt x="2" y="315"/>
                  </a:lnTo>
                  <a:lnTo>
                    <a:pt x="4" y="298"/>
                  </a:lnTo>
                  <a:lnTo>
                    <a:pt x="7" y="280"/>
                  </a:lnTo>
                  <a:lnTo>
                    <a:pt x="11" y="263"/>
                  </a:lnTo>
                  <a:lnTo>
                    <a:pt x="15" y="246"/>
                  </a:lnTo>
                  <a:lnTo>
                    <a:pt x="21" y="230"/>
                  </a:lnTo>
                  <a:lnTo>
                    <a:pt x="27" y="214"/>
                  </a:lnTo>
                  <a:lnTo>
                    <a:pt x="35" y="199"/>
                  </a:lnTo>
                  <a:lnTo>
                    <a:pt x="42" y="183"/>
                  </a:lnTo>
                  <a:lnTo>
                    <a:pt x="51" y="168"/>
                  </a:lnTo>
                  <a:lnTo>
                    <a:pt x="60" y="155"/>
                  </a:lnTo>
                  <a:lnTo>
                    <a:pt x="69" y="141"/>
                  </a:lnTo>
                  <a:lnTo>
                    <a:pt x="81" y="128"/>
                  </a:lnTo>
                  <a:lnTo>
                    <a:pt x="90" y="115"/>
                  </a:lnTo>
                  <a:lnTo>
                    <a:pt x="103" y="103"/>
                  </a:lnTo>
                  <a:lnTo>
                    <a:pt x="115" y="90"/>
                  </a:lnTo>
                  <a:lnTo>
                    <a:pt x="127" y="81"/>
                  </a:lnTo>
                  <a:lnTo>
                    <a:pt x="141" y="70"/>
                  </a:lnTo>
                  <a:lnTo>
                    <a:pt x="155" y="60"/>
                  </a:lnTo>
                  <a:lnTo>
                    <a:pt x="168" y="51"/>
                  </a:lnTo>
                  <a:lnTo>
                    <a:pt x="183" y="42"/>
                  </a:lnTo>
                  <a:lnTo>
                    <a:pt x="199" y="35"/>
                  </a:lnTo>
                  <a:lnTo>
                    <a:pt x="214" y="28"/>
                  </a:lnTo>
                  <a:lnTo>
                    <a:pt x="230" y="21"/>
                  </a:lnTo>
                  <a:lnTo>
                    <a:pt x="246" y="15"/>
                  </a:lnTo>
                  <a:lnTo>
                    <a:pt x="263" y="12"/>
                  </a:lnTo>
                  <a:lnTo>
                    <a:pt x="280" y="7"/>
                  </a:lnTo>
                  <a:lnTo>
                    <a:pt x="298" y="4"/>
                  </a:lnTo>
                  <a:lnTo>
                    <a:pt x="315" y="2"/>
                  </a:lnTo>
                  <a:lnTo>
                    <a:pt x="332" y="0"/>
                  </a:lnTo>
                  <a:lnTo>
                    <a:pt x="351" y="0"/>
                  </a:lnTo>
                  <a:lnTo>
                    <a:pt x="351" y="0"/>
                  </a:ln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9" name="Freeform 114">
              <a:extLst>
                <a:ext uri="{FF2B5EF4-FFF2-40B4-BE49-F238E27FC236}">
                  <a16:creationId xmlns:a16="http://schemas.microsoft.com/office/drawing/2014/main" id="{7AACE63D-D17B-ED13-1E1A-96CFC7668898}"/>
                </a:ext>
              </a:extLst>
            </p:cNvPr>
            <p:cNvSpPr>
              <a:spLocks/>
            </p:cNvSpPr>
            <p:nvPr/>
          </p:nvSpPr>
          <p:spPr bwMode="auto">
            <a:xfrm>
              <a:off x="2862351" y="3466144"/>
              <a:ext cx="375730" cy="232313"/>
            </a:xfrm>
            <a:custGeom>
              <a:avLst/>
              <a:gdLst>
                <a:gd name="T0" fmla="*/ 126 w 252"/>
                <a:gd name="T1" fmla="*/ 92 h 172"/>
                <a:gd name="T2" fmla="*/ 146 w 252"/>
                <a:gd name="T3" fmla="*/ 93 h 172"/>
                <a:gd name="T4" fmla="*/ 164 w 252"/>
                <a:gd name="T5" fmla="*/ 98 h 172"/>
                <a:gd name="T6" fmla="*/ 198 w 252"/>
                <a:gd name="T7" fmla="*/ 114 h 172"/>
                <a:gd name="T8" fmla="*/ 225 w 252"/>
                <a:gd name="T9" fmla="*/ 140 h 172"/>
                <a:gd name="T10" fmla="*/ 243 w 252"/>
                <a:gd name="T11" fmla="*/ 172 h 172"/>
                <a:gd name="T12" fmla="*/ 247 w 252"/>
                <a:gd name="T13" fmla="*/ 161 h 172"/>
                <a:gd name="T14" fmla="*/ 251 w 252"/>
                <a:gd name="T15" fmla="*/ 137 h 172"/>
                <a:gd name="T16" fmla="*/ 252 w 252"/>
                <a:gd name="T17" fmla="*/ 126 h 172"/>
                <a:gd name="T18" fmla="*/ 249 w 252"/>
                <a:gd name="T19" fmla="*/ 100 h 172"/>
                <a:gd name="T20" fmla="*/ 242 w 252"/>
                <a:gd name="T21" fmla="*/ 77 h 172"/>
                <a:gd name="T22" fmla="*/ 230 w 252"/>
                <a:gd name="T23" fmla="*/ 56 h 172"/>
                <a:gd name="T24" fmla="*/ 215 w 252"/>
                <a:gd name="T25" fmla="*/ 37 h 172"/>
                <a:gd name="T26" fmla="*/ 196 w 252"/>
                <a:gd name="T27" fmla="*/ 21 h 172"/>
                <a:gd name="T28" fmla="*/ 174 w 252"/>
                <a:gd name="T29" fmla="*/ 10 h 172"/>
                <a:gd name="T30" fmla="*/ 151 w 252"/>
                <a:gd name="T31" fmla="*/ 3 h 172"/>
                <a:gd name="T32" fmla="*/ 126 w 252"/>
                <a:gd name="T33" fmla="*/ 0 h 172"/>
                <a:gd name="T34" fmla="*/ 114 w 252"/>
                <a:gd name="T35" fmla="*/ 2 h 172"/>
                <a:gd name="T36" fmla="*/ 89 w 252"/>
                <a:gd name="T37" fmla="*/ 7 h 172"/>
                <a:gd name="T38" fmla="*/ 66 w 252"/>
                <a:gd name="T39" fmla="*/ 15 h 172"/>
                <a:gd name="T40" fmla="*/ 46 w 252"/>
                <a:gd name="T41" fmla="*/ 29 h 172"/>
                <a:gd name="T42" fmla="*/ 29 w 252"/>
                <a:gd name="T43" fmla="*/ 46 h 172"/>
                <a:gd name="T44" fmla="*/ 15 w 252"/>
                <a:gd name="T45" fmla="*/ 66 h 172"/>
                <a:gd name="T46" fmla="*/ 6 w 252"/>
                <a:gd name="T47" fmla="*/ 88 h 172"/>
                <a:gd name="T48" fmla="*/ 1 w 252"/>
                <a:gd name="T49" fmla="*/ 113 h 172"/>
                <a:gd name="T50" fmla="*/ 0 w 252"/>
                <a:gd name="T51" fmla="*/ 126 h 172"/>
                <a:gd name="T52" fmla="*/ 3 w 252"/>
                <a:gd name="T53" fmla="*/ 150 h 172"/>
                <a:gd name="T54" fmla="*/ 9 w 252"/>
                <a:gd name="T55" fmla="*/ 172 h 172"/>
                <a:gd name="T56" fmla="*/ 18 w 252"/>
                <a:gd name="T57" fmla="*/ 155 h 172"/>
                <a:gd name="T58" fmla="*/ 40 w 252"/>
                <a:gd name="T59" fmla="*/ 126 h 172"/>
                <a:gd name="T60" fmla="*/ 71 w 252"/>
                <a:gd name="T61" fmla="*/ 104 h 172"/>
                <a:gd name="T62" fmla="*/ 96 w 252"/>
                <a:gd name="T63" fmla="*/ 95 h 172"/>
                <a:gd name="T64" fmla="*/ 116 w 252"/>
                <a:gd name="T65" fmla="*/ 92 h 172"/>
                <a:gd name="T66" fmla="*/ 126 w 252"/>
                <a:gd name="T67" fmla="*/ 9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2" h="172">
                  <a:moveTo>
                    <a:pt x="126" y="92"/>
                  </a:moveTo>
                  <a:lnTo>
                    <a:pt x="126" y="92"/>
                  </a:lnTo>
                  <a:lnTo>
                    <a:pt x="136" y="92"/>
                  </a:lnTo>
                  <a:lnTo>
                    <a:pt x="146" y="93"/>
                  </a:lnTo>
                  <a:lnTo>
                    <a:pt x="154" y="95"/>
                  </a:lnTo>
                  <a:lnTo>
                    <a:pt x="164" y="98"/>
                  </a:lnTo>
                  <a:lnTo>
                    <a:pt x="182" y="104"/>
                  </a:lnTo>
                  <a:lnTo>
                    <a:pt x="198" y="114"/>
                  </a:lnTo>
                  <a:lnTo>
                    <a:pt x="212" y="126"/>
                  </a:lnTo>
                  <a:lnTo>
                    <a:pt x="225" y="140"/>
                  </a:lnTo>
                  <a:lnTo>
                    <a:pt x="235" y="155"/>
                  </a:lnTo>
                  <a:lnTo>
                    <a:pt x="243" y="172"/>
                  </a:lnTo>
                  <a:lnTo>
                    <a:pt x="243" y="172"/>
                  </a:lnTo>
                  <a:lnTo>
                    <a:pt x="247" y="161"/>
                  </a:lnTo>
                  <a:lnTo>
                    <a:pt x="249" y="150"/>
                  </a:lnTo>
                  <a:lnTo>
                    <a:pt x="251" y="137"/>
                  </a:lnTo>
                  <a:lnTo>
                    <a:pt x="252" y="126"/>
                  </a:lnTo>
                  <a:lnTo>
                    <a:pt x="252" y="126"/>
                  </a:lnTo>
                  <a:lnTo>
                    <a:pt x="251" y="113"/>
                  </a:lnTo>
                  <a:lnTo>
                    <a:pt x="249" y="100"/>
                  </a:lnTo>
                  <a:lnTo>
                    <a:pt x="246" y="88"/>
                  </a:lnTo>
                  <a:lnTo>
                    <a:pt x="242" y="77"/>
                  </a:lnTo>
                  <a:lnTo>
                    <a:pt x="236" y="66"/>
                  </a:lnTo>
                  <a:lnTo>
                    <a:pt x="230" y="56"/>
                  </a:lnTo>
                  <a:lnTo>
                    <a:pt x="222" y="46"/>
                  </a:lnTo>
                  <a:lnTo>
                    <a:pt x="215" y="37"/>
                  </a:lnTo>
                  <a:lnTo>
                    <a:pt x="206" y="29"/>
                  </a:lnTo>
                  <a:lnTo>
                    <a:pt x="196" y="21"/>
                  </a:lnTo>
                  <a:lnTo>
                    <a:pt x="185" y="15"/>
                  </a:lnTo>
                  <a:lnTo>
                    <a:pt x="174" y="10"/>
                  </a:lnTo>
                  <a:lnTo>
                    <a:pt x="163" y="7"/>
                  </a:lnTo>
                  <a:lnTo>
                    <a:pt x="151" y="3"/>
                  </a:lnTo>
                  <a:lnTo>
                    <a:pt x="138" y="2"/>
                  </a:lnTo>
                  <a:lnTo>
                    <a:pt x="126" y="0"/>
                  </a:lnTo>
                  <a:lnTo>
                    <a:pt x="126" y="0"/>
                  </a:lnTo>
                  <a:lnTo>
                    <a:pt x="114" y="2"/>
                  </a:lnTo>
                  <a:lnTo>
                    <a:pt x="100" y="3"/>
                  </a:lnTo>
                  <a:lnTo>
                    <a:pt x="89" y="7"/>
                  </a:lnTo>
                  <a:lnTo>
                    <a:pt x="77" y="10"/>
                  </a:lnTo>
                  <a:lnTo>
                    <a:pt x="66" y="15"/>
                  </a:lnTo>
                  <a:lnTo>
                    <a:pt x="56" y="21"/>
                  </a:lnTo>
                  <a:lnTo>
                    <a:pt x="46" y="29"/>
                  </a:lnTo>
                  <a:lnTo>
                    <a:pt x="37" y="37"/>
                  </a:lnTo>
                  <a:lnTo>
                    <a:pt x="29" y="46"/>
                  </a:lnTo>
                  <a:lnTo>
                    <a:pt x="22" y="56"/>
                  </a:lnTo>
                  <a:lnTo>
                    <a:pt x="15" y="66"/>
                  </a:lnTo>
                  <a:lnTo>
                    <a:pt x="10" y="77"/>
                  </a:lnTo>
                  <a:lnTo>
                    <a:pt x="6" y="88"/>
                  </a:lnTo>
                  <a:lnTo>
                    <a:pt x="3" y="100"/>
                  </a:lnTo>
                  <a:lnTo>
                    <a:pt x="1" y="113"/>
                  </a:lnTo>
                  <a:lnTo>
                    <a:pt x="0" y="126"/>
                  </a:lnTo>
                  <a:lnTo>
                    <a:pt x="0" y="126"/>
                  </a:lnTo>
                  <a:lnTo>
                    <a:pt x="1" y="137"/>
                  </a:lnTo>
                  <a:lnTo>
                    <a:pt x="3" y="150"/>
                  </a:lnTo>
                  <a:lnTo>
                    <a:pt x="5" y="161"/>
                  </a:lnTo>
                  <a:lnTo>
                    <a:pt x="9" y="172"/>
                  </a:lnTo>
                  <a:lnTo>
                    <a:pt x="9" y="172"/>
                  </a:lnTo>
                  <a:lnTo>
                    <a:pt x="18" y="155"/>
                  </a:lnTo>
                  <a:lnTo>
                    <a:pt x="27" y="140"/>
                  </a:lnTo>
                  <a:lnTo>
                    <a:pt x="40" y="126"/>
                  </a:lnTo>
                  <a:lnTo>
                    <a:pt x="55" y="114"/>
                  </a:lnTo>
                  <a:lnTo>
                    <a:pt x="71" y="104"/>
                  </a:lnTo>
                  <a:lnTo>
                    <a:pt x="88" y="98"/>
                  </a:lnTo>
                  <a:lnTo>
                    <a:pt x="96" y="95"/>
                  </a:lnTo>
                  <a:lnTo>
                    <a:pt x="106" y="93"/>
                  </a:lnTo>
                  <a:lnTo>
                    <a:pt x="116" y="92"/>
                  </a:lnTo>
                  <a:lnTo>
                    <a:pt x="126" y="92"/>
                  </a:lnTo>
                  <a:lnTo>
                    <a:pt x="126" y="9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0" name="Freeform 115">
              <a:extLst>
                <a:ext uri="{FF2B5EF4-FFF2-40B4-BE49-F238E27FC236}">
                  <a16:creationId xmlns:a16="http://schemas.microsoft.com/office/drawing/2014/main" id="{B480D3F3-34EC-3D24-FE0B-5716C8D262E7}"/>
                </a:ext>
              </a:extLst>
            </p:cNvPr>
            <p:cNvSpPr>
              <a:spLocks/>
            </p:cNvSpPr>
            <p:nvPr/>
          </p:nvSpPr>
          <p:spPr bwMode="auto">
            <a:xfrm>
              <a:off x="3097932" y="3471546"/>
              <a:ext cx="140154" cy="226910"/>
            </a:xfrm>
            <a:custGeom>
              <a:avLst/>
              <a:gdLst>
                <a:gd name="T0" fmla="*/ 0 w 94"/>
                <a:gd name="T1" fmla="*/ 0 h 168"/>
                <a:gd name="T2" fmla="*/ 0 w 94"/>
                <a:gd name="T3" fmla="*/ 91 h 168"/>
                <a:gd name="T4" fmla="*/ 0 w 94"/>
                <a:gd name="T5" fmla="*/ 91 h 168"/>
                <a:gd name="T6" fmla="*/ 14 w 94"/>
                <a:gd name="T7" fmla="*/ 96 h 168"/>
                <a:gd name="T8" fmla="*/ 27 w 94"/>
                <a:gd name="T9" fmla="*/ 102 h 168"/>
                <a:gd name="T10" fmla="*/ 40 w 94"/>
                <a:gd name="T11" fmla="*/ 110 h 168"/>
                <a:gd name="T12" fmla="*/ 52 w 94"/>
                <a:gd name="T13" fmla="*/ 120 h 168"/>
                <a:gd name="T14" fmla="*/ 62 w 94"/>
                <a:gd name="T15" fmla="*/ 130 h 168"/>
                <a:gd name="T16" fmla="*/ 70 w 94"/>
                <a:gd name="T17" fmla="*/ 142 h 168"/>
                <a:gd name="T18" fmla="*/ 79 w 94"/>
                <a:gd name="T19" fmla="*/ 154 h 168"/>
                <a:gd name="T20" fmla="*/ 85 w 94"/>
                <a:gd name="T21" fmla="*/ 168 h 168"/>
                <a:gd name="T22" fmla="*/ 85 w 94"/>
                <a:gd name="T23" fmla="*/ 168 h 168"/>
                <a:gd name="T24" fmla="*/ 89 w 94"/>
                <a:gd name="T25" fmla="*/ 157 h 168"/>
                <a:gd name="T26" fmla="*/ 91 w 94"/>
                <a:gd name="T27" fmla="*/ 146 h 168"/>
                <a:gd name="T28" fmla="*/ 93 w 94"/>
                <a:gd name="T29" fmla="*/ 133 h 168"/>
                <a:gd name="T30" fmla="*/ 94 w 94"/>
                <a:gd name="T31" fmla="*/ 122 h 168"/>
                <a:gd name="T32" fmla="*/ 94 w 94"/>
                <a:gd name="T33" fmla="*/ 122 h 168"/>
                <a:gd name="T34" fmla="*/ 93 w 94"/>
                <a:gd name="T35" fmla="*/ 111 h 168"/>
                <a:gd name="T36" fmla="*/ 91 w 94"/>
                <a:gd name="T37" fmla="*/ 100 h 168"/>
                <a:gd name="T38" fmla="*/ 89 w 94"/>
                <a:gd name="T39" fmla="*/ 90 h 168"/>
                <a:gd name="T40" fmla="*/ 86 w 94"/>
                <a:gd name="T41" fmla="*/ 80 h 168"/>
                <a:gd name="T42" fmla="*/ 83 w 94"/>
                <a:gd name="T43" fmla="*/ 70 h 168"/>
                <a:gd name="T44" fmla="*/ 78 w 94"/>
                <a:gd name="T45" fmla="*/ 62 h 168"/>
                <a:gd name="T46" fmla="*/ 73 w 94"/>
                <a:gd name="T47" fmla="*/ 53 h 168"/>
                <a:gd name="T48" fmla="*/ 67 w 94"/>
                <a:gd name="T49" fmla="*/ 45 h 168"/>
                <a:gd name="T50" fmla="*/ 61 w 94"/>
                <a:gd name="T51" fmla="*/ 37 h 168"/>
                <a:gd name="T52" fmla="*/ 53 w 94"/>
                <a:gd name="T53" fmla="*/ 30 h 168"/>
                <a:gd name="T54" fmla="*/ 46 w 94"/>
                <a:gd name="T55" fmla="*/ 24 h 168"/>
                <a:gd name="T56" fmla="*/ 37 w 94"/>
                <a:gd name="T57" fmla="*/ 17 h 168"/>
                <a:gd name="T58" fmla="*/ 28 w 94"/>
                <a:gd name="T59" fmla="*/ 12 h 168"/>
                <a:gd name="T60" fmla="*/ 20 w 94"/>
                <a:gd name="T61" fmla="*/ 7 h 168"/>
                <a:gd name="T62" fmla="*/ 10 w 94"/>
                <a:gd name="T63" fmla="*/ 4 h 168"/>
                <a:gd name="T64" fmla="*/ 0 w 94"/>
                <a:gd name="T65" fmla="*/ 0 h 168"/>
                <a:gd name="T66" fmla="*/ 0 w 94"/>
                <a:gd name="T6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4" h="168">
                  <a:moveTo>
                    <a:pt x="0" y="0"/>
                  </a:moveTo>
                  <a:lnTo>
                    <a:pt x="0" y="91"/>
                  </a:lnTo>
                  <a:lnTo>
                    <a:pt x="0" y="91"/>
                  </a:lnTo>
                  <a:lnTo>
                    <a:pt x="14" y="96"/>
                  </a:lnTo>
                  <a:lnTo>
                    <a:pt x="27" y="102"/>
                  </a:lnTo>
                  <a:lnTo>
                    <a:pt x="40" y="110"/>
                  </a:lnTo>
                  <a:lnTo>
                    <a:pt x="52" y="120"/>
                  </a:lnTo>
                  <a:lnTo>
                    <a:pt x="62" y="130"/>
                  </a:lnTo>
                  <a:lnTo>
                    <a:pt x="70" y="142"/>
                  </a:lnTo>
                  <a:lnTo>
                    <a:pt x="79" y="154"/>
                  </a:lnTo>
                  <a:lnTo>
                    <a:pt x="85" y="168"/>
                  </a:lnTo>
                  <a:lnTo>
                    <a:pt x="85" y="168"/>
                  </a:lnTo>
                  <a:lnTo>
                    <a:pt x="89" y="157"/>
                  </a:lnTo>
                  <a:lnTo>
                    <a:pt x="91" y="146"/>
                  </a:lnTo>
                  <a:lnTo>
                    <a:pt x="93" y="133"/>
                  </a:lnTo>
                  <a:lnTo>
                    <a:pt x="94" y="122"/>
                  </a:lnTo>
                  <a:lnTo>
                    <a:pt x="94" y="122"/>
                  </a:lnTo>
                  <a:lnTo>
                    <a:pt x="93" y="111"/>
                  </a:lnTo>
                  <a:lnTo>
                    <a:pt x="91" y="100"/>
                  </a:lnTo>
                  <a:lnTo>
                    <a:pt x="89" y="90"/>
                  </a:lnTo>
                  <a:lnTo>
                    <a:pt x="86" y="80"/>
                  </a:lnTo>
                  <a:lnTo>
                    <a:pt x="83" y="70"/>
                  </a:lnTo>
                  <a:lnTo>
                    <a:pt x="78" y="62"/>
                  </a:lnTo>
                  <a:lnTo>
                    <a:pt x="73" y="53"/>
                  </a:lnTo>
                  <a:lnTo>
                    <a:pt x="67" y="45"/>
                  </a:lnTo>
                  <a:lnTo>
                    <a:pt x="61" y="37"/>
                  </a:lnTo>
                  <a:lnTo>
                    <a:pt x="53" y="30"/>
                  </a:lnTo>
                  <a:lnTo>
                    <a:pt x="46" y="24"/>
                  </a:lnTo>
                  <a:lnTo>
                    <a:pt x="37" y="17"/>
                  </a:lnTo>
                  <a:lnTo>
                    <a:pt x="28" y="12"/>
                  </a:lnTo>
                  <a:lnTo>
                    <a:pt x="20" y="7"/>
                  </a:lnTo>
                  <a:lnTo>
                    <a:pt x="10" y="4"/>
                  </a:lnTo>
                  <a:lnTo>
                    <a:pt x="0" y="0"/>
                  </a:lnTo>
                  <a:lnTo>
                    <a:pt x="0"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1" name="Freeform 116">
              <a:extLst>
                <a:ext uri="{FF2B5EF4-FFF2-40B4-BE49-F238E27FC236}">
                  <a16:creationId xmlns:a16="http://schemas.microsoft.com/office/drawing/2014/main" id="{56BEFEC5-0486-F5C5-6B06-AA7B1AAEE956}"/>
                </a:ext>
              </a:extLst>
            </p:cNvPr>
            <p:cNvSpPr>
              <a:spLocks/>
            </p:cNvSpPr>
            <p:nvPr/>
          </p:nvSpPr>
          <p:spPr bwMode="auto">
            <a:xfrm>
              <a:off x="2933924" y="3120376"/>
              <a:ext cx="232595" cy="501093"/>
            </a:xfrm>
            <a:custGeom>
              <a:avLst/>
              <a:gdLst>
                <a:gd name="T0" fmla="*/ 78 w 156"/>
                <a:gd name="T1" fmla="*/ 364 h 371"/>
                <a:gd name="T2" fmla="*/ 78 w 156"/>
                <a:gd name="T3" fmla="*/ 364 h 371"/>
                <a:gd name="T4" fmla="*/ 89 w 156"/>
                <a:gd name="T5" fmla="*/ 365 h 371"/>
                <a:gd name="T6" fmla="*/ 100 w 156"/>
                <a:gd name="T7" fmla="*/ 366 h 371"/>
                <a:gd name="T8" fmla="*/ 111 w 156"/>
                <a:gd name="T9" fmla="*/ 367 h 371"/>
                <a:gd name="T10" fmla="*/ 122 w 156"/>
                <a:gd name="T11" fmla="*/ 371 h 371"/>
                <a:gd name="T12" fmla="*/ 122 w 156"/>
                <a:gd name="T13" fmla="*/ 371 h 371"/>
                <a:gd name="T14" fmla="*/ 130 w 156"/>
                <a:gd name="T15" fmla="*/ 354 h 371"/>
                <a:gd name="T16" fmla="*/ 136 w 156"/>
                <a:gd name="T17" fmla="*/ 337 h 371"/>
                <a:gd name="T18" fmla="*/ 142 w 156"/>
                <a:gd name="T19" fmla="*/ 319 h 371"/>
                <a:gd name="T20" fmla="*/ 147 w 156"/>
                <a:gd name="T21" fmla="*/ 300 h 371"/>
                <a:gd name="T22" fmla="*/ 151 w 156"/>
                <a:gd name="T23" fmla="*/ 280 h 371"/>
                <a:gd name="T24" fmla="*/ 153 w 156"/>
                <a:gd name="T25" fmla="*/ 259 h 371"/>
                <a:gd name="T26" fmla="*/ 155 w 156"/>
                <a:gd name="T27" fmla="*/ 238 h 371"/>
                <a:gd name="T28" fmla="*/ 156 w 156"/>
                <a:gd name="T29" fmla="*/ 216 h 371"/>
                <a:gd name="T30" fmla="*/ 156 w 156"/>
                <a:gd name="T31" fmla="*/ 216 h 371"/>
                <a:gd name="T32" fmla="*/ 155 w 156"/>
                <a:gd name="T33" fmla="*/ 181 h 371"/>
                <a:gd name="T34" fmla="*/ 150 w 156"/>
                <a:gd name="T35" fmla="*/ 148 h 371"/>
                <a:gd name="T36" fmla="*/ 143 w 156"/>
                <a:gd name="T37" fmla="*/ 117 h 371"/>
                <a:gd name="T38" fmla="*/ 134 w 156"/>
                <a:gd name="T39" fmla="*/ 87 h 371"/>
                <a:gd name="T40" fmla="*/ 122 w 156"/>
                <a:gd name="T41" fmla="*/ 61 h 371"/>
                <a:gd name="T42" fmla="*/ 116 w 156"/>
                <a:gd name="T43" fmla="*/ 49 h 371"/>
                <a:gd name="T44" fmla="*/ 109 w 156"/>
                <a:gd name="T45" fmla="*/ 38 h 371"/>
                <a:gd name="T46" fmla="*/ 103 w 156"/>
                <a:gd name="T47" fmla="*/ 27 h 371"/>
                <a:gd name="T48" fmla="*/ 94 w 156"/>
                <a:gd name="T49" fmla="*/ 17 h 371"/>
                <a:gd name="T50" fmla="*/ 87 w 156"/>
                <a:gd name="T51" fmla="*/ 8 h 371"/>
                <a:gd name="T52" fmla="*/ 78 w 156"/>
                <a:gd name="T53" fmla="*/ 0 h 371"/>
                <a:gd name="T54" fmla="*/ 78 w 156"/>
                <a:gd name="T55" fmla="*/ 0 h 371"/>
                <a:gd name="T56" fmla="*/ 69 w 156"/>
                <a:gd name="T57" fmla="*/ 8 h 371"/>
                <a:gd name="T58" fmla="*/ 62 w 156"/>
                <a:gd name="T59" fmla="*/ 17 h 371"/>
                <a:gd name="T60" fmla="*/ 53 w 156"/>
                <a:gd name="T61" fmla="*/ 27 h 371"/>
                <a:gd name="T62" fmla="*/ 46 w 156"/>
                <a:gd name="T63" fmla="*/ 38 h 371"/>
                <a:gd name="T64" fmla="*/ 40 w 156"/>
                <a:gd name="T65" fmla="*/ 49 h 371"/>
                <a:gd name="T66" fmla="*/ 34 w 156"/>
                <a:gd name="T67" fmla="*/ 61 h 371"/>
                <a:gd name="T68" fmla="*/ 23 w 156"/>
                <a:gd name="T69" fmla="*/ 87 h 371"/>
                <a:gd name="T70" fmla="*/ 13 w 156"/>
                <a:gd name="T71" fmla="*/ 117 h 371"/>
                <a:gd name="T72" fmla="*/ 7 w 156"/>
                <a:gd name="T73" fmla="*/ 148 h 371"/>
                <a:gd name="T74" fmla="*/ 2 w 156"/>
                <a:gd name="T75" fmla="*/ 181 h 371"/>
                <a:gd name="T76" fmla="*/ 0 w 156"/>
                <a:gd name="T77" fmla="*/ 216 h 371"/>
                <a:gd name="T78" fmla="*/ 0 w 156"/>
                <a:gd name="T79" fmla="*/ 216 h 371"/>
                <a:gd name="T80" fmla="*/ 2 w 156"/>
                <a:gd name="T81" fmla="*/ 238 h 371"/>
                <a:gd name="T82" fmla="*/ 3 w 156"/>
                <a:gd name="T83" fmla="*/ 259 h 371"/>
                <a:gd name="T84" fmla="*/ 5 w 156"/>
                <a:gd name="T85" fmla="*/ 280 h 371"/>
                <a:gd name="T86" fmla="*/ 9 w 156"/>
                <a:gd name="T87" fmla="*/ 300 h 371"/>
                <a:gd name="T88" fmla="*/ 14 w 156"/>
                <a:gd name="T89" fmla="*/ 319 h 371"/>
                <a:gd name="T90" fmla="*/ 20 w 156"/>
                <a:gd name="T91" fmla="*/ 337 h 371"/>
                <a:gd name="T92" fmla="*/ 26 w 156"/>
                <a:gd name="T93" fmla="*/ 354 h 371"/>
                <a:gd name="T94" fmla="*/ 34 w 156"/>
                <a:gd name="T95" fmla="*/ 371 h 371"/>
                <a:gd name="T96" fmla="*/ 34 w 156"/>
                <a:gd name="T97" fmla="*/ 371 h 371"/>
                <a:gd name="T98" fmla="*/ 45 w 156"/>
                <a:gd name="T99" fmla="*/ 367 h 371"/>
                <a:gd name="T100" fmla="*/ 56 w 156"/>
                <a:gd name="T101" fmla="*/ 366 h 371"/>
                <a:gd name="T102" fmla="*/ 67 w 156"/>
                <a:gd name="T103" fmla="*/ 365 h 371"/>
                <a:gd name="T104" fmla="*/ 78 w 156"/>
                <a:gd name="T105" fmla="*/ 364 h 371"/>
                <a:gd name="T106" fmla="*/ 78 w 156"/>
                <a:gd name="T107" fmla="*/ 364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 h="371">
                  <a:moveTo>
                    <a:pt x="78" y="364"/>
                  </a:moveTo>
                  <a:lnTo>
                    <a:pt x="78" y="364"/>
                  </a:lnTo>
                  <a:lnTo>
                    <a:pt x="89" y="365"/>
                  </a:lnTo>
                  <a:lnTo>
                    <a:pt x="100" y="366"/>
                  </a:lnTo>
                  <a:lnTo>
                    <a:pt x="111" y="367"/>
                  </a:lnTo>
                  <a:lnTo>
                    <a:pt x="122" y="371"/>
                  </a:lnTo>
                  <a:lnTo>
                    <a:pt x="122" y="371"/>
                  </a:lnTo>
                  <a:lnTo>
                    <a:pt x="130" y="354"/>
                  </a:lnTo>
                  <a:lnTo>
                    <a:pt x="136" y="337"/>
                  </a:lnTo>
                  <a:lnTo>
                    <a:pt x="142" y="319"/>
                  </a:lnTo>
                  <a:lnTo>
                    <a:pt x="147" y="300"/>
                  </a:lnTo>
                  <a:lnTo>
                    <a:pt x="151" y="280"/>
                  </a:lnTo>
                  <a:lnTo>
                    <a:pt x="153" y="259"/>
                  </a:lnTo>
                  <a:lnTo>
                    <a:pt x="155" y="238"/>
                  </a:lnTo>
                  <a:lnTo>
                    <a:pt x="156" y="216"/>
                  </a:lnTo>
                  <a:lnTo>
                    <a:pt x="156" y="216"/>
                  </a:lnTo>
                  <a:lnTo>
                    <a:pt x="155" y="181"/>
                  </a:lnTo>
                  <a:lnTo>
                    <a:pt x="150" y="148"/>
                  </a:lnTo>
                  <a:lnTo>
                    <a:pt x="143" y="117"/>
                  </a:lnTo>
                  <a:lnTo>
                    <a:pt x="134" y="87"/>
                  </a:lnTo>
                  <a:lnTo>
                    <a:pt x="122" y="61"/>
                  </a:lnTo>
                  <a:lnTo>
                    <a:pt x="116" y="49"/>
                  </a:lnTo>
                  <a:lnTo>
                    <a:pt x="109" y="38"/>
                  </a:lnTo>
                  <a:lnTo>
                    <a:pt x="103" y="27"/>
                  </a:lnTo>
                  <a:lnTo>
                    <a:pt x="94" y="17"/>
                  </a:lnTo>
                  <a:lnTo>
                    <a:pt x="87" y="8"/>
                  </a:lnTo>
                  <a:lnTo>
                    <a:pt x="78" y="0"/>
                  </a:lnTo>
                  <a:lnTo>
                    <a:pt x="78" y="0"/>
                  </a:lnTo>
                  <a:lnTo>
                    <a:pt x="69" y="8"/>
                  </a:lnTo>
                  <a:lnTo>
                    <a:pt x="62" y="17"/>
                  </a:lnTo>
                  <a:lnTo>
                    <a:pt x="53" y="27"/>
                  </a:lnTo>
                  <a:lnTo>
                    <a:pt x="46" y="38"/>
                  </a:lnTo>
                  <a:lnTo>
                    <a:pt x="40" y="49"/>
                  </a:lnTo>
                  <a:lnTo>
                    <a:pt x="34" y="61"/>
                  </a:lnTo>
                  <a:lnTo>
                    <a:pt x="23" y="87"/>
                  </a:lnTo>
                  <a:lnTo>
                    <a:pt x="13" y="117"/>
                  </a:lnTo>
                  <a:lnTo>
                    <a:pt x="7" y="148"/>
                  </a:lnTo>
                  <a:lnTo>
                    <a:pt x="2" y="181"/>
                  </a:lnTo>
                  <a:lnTo>
                    <a:pt x="0" y="216"/>
                  </a:lnTo>
                  <a:lnTo>
                    <a:pt x="0" y="216"/>
                  </a:lnTo>
                  <a:lnTo>
                    <a:pt x="2" y="238"/>
                  </a:lnTo>
                  <a:lnTo>
                    <a:pt x="3" y="259"/>
                  </a:lnTo>
                  <a:lnTo>
                    <a:pt x="5" y="280"/>
                  </a:lnTo>
                  <a:lnTo>
                    <a:pt x="9" y="300"/>
                  </a:lnTo>
                  <a:lnTo>
                    <a:pt x="14" y="319"/>
                  </a:lnTo>
                  <a:lnTo>
                    <a:pt x="20" y="337"/>
                  </a:lnTo>
                  <a:lnTo>
                    <a:pt x="26" y="354"/>
                  </a:lnTo>
                  <a:lnTo>
                    <a:pt x="34" y="371"/>
                  </a:lnTo>
                  <a:lnTo>
                    <a:pt x="34" y="371"/>
                  </a:lnTo>
                  <a:lnTo>
                    <a:pt x="45" y="367"/>
                  </a:lnTo>
                  <a:lnTo>
                    <a:pt x="56" y="366"/>
                  </a:lnTo>
                  <a:lnTo>
                    <a:pt x="67" y="365"/>
                  </a:lnTo>
                  <a:lnTo>
                    <a:pt x="78" y="364"/>
                  </a:lnTo>
                  <a:lnTo>
                    <a:pt x="78" y="364"/>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2" name="Freeform 117">
              <a:extLst>
                <a:ext uri="{FF2B5EF4-FFF2-40B4-BE49-F238E27FC236}">
                  <a16:creationId xmlns:a16="http://schemas.microsoft.com/office/drawing/2014/main" id="{C35C3F66-9A04-8296-75C8-58390A0FEB33}"/>
                </a:ext>
              </a:extLst>
            </p:cNvPr>
            <p:cNvSpPr>
              <a:spLocks/>
            </p:cNvSpPr>
            <p:nvPr/>
          </p:nvSpPr>
          <p:spPr bwMode="auto">
            <a:xfrm>
              <a:off x="3050214" y="3120376"/>
              <a:ext cx="116298" cy="501093"/>
            </a:xfrm>
            <a:custGeom>
              <a:avLst/>
              <a:gdLst>
                <a:gd name="T0" fmla="*/ 0 w 78"/>
                <a:gd name="T1" fmla="*/ 0 h 371"/>
                <a:gd name="T2" fmla="*/ 0 w 78"/>
                <a:gd name="T3" fmla="*/ 0 h 371"/>
                <a:gd name="T4" fmla="*/ 0 w 78"/>
                <a:gd name="T5" fmla="*/ 1 h 371"/>
                <a:gd name="T6" fmla="*/ 0 w 78"/>
                <a:gd name="T7" fmla="*/ 364 h 371"/>
                <a:gd name="T8" fmla="*/ 0 w 78"/>
                <a:gd name="T9" fmla="*/ 364 h 371"/>
                <a:gd name="T10" fmla="*/ 0 w 78"/>
                <a:gd name="T11" fmla="*/ 364 h 371"/>
                <a:gd name="T12" fmla="*/ 0 w 78"/>
                <a:gd name="T13" fmla="*/ 364 h 371"/>
                <a:gd name="T14" fmla="*/ 11 w 78"/>
                <a:gd name="T15" fmla="*/ 365 h 371"/>
                <a:gd name="T16" fmla="*/ 22 w 78"/>
                <a:gd name="T17" fmla="*/ 366 h 371"/>
                <a:gd name="T18" fmla="*/ 33 w 78"/>
                <a:gd name="T19" fmla="*/ 367 h 371"/>
                <a:gd name="T20" fmla="*/ 44 w 78"/>
                <a:gd name="T21" fmla="*/ 371 h 371"/>
                <a:gd name="T22" fmla="*/ 44 w 78"/>
                <a:gd name="T23" fmla="*/ 371 h 371"/>
                <a:gd name="T24" fmla="*/ 52 w 78"/>
                <a:gd name="T25" fmla="*/ 354 h 371"/>
                <a:gd name="T26" fmla="*/ 58 w 78"/>
                <a:gd name="T27" fmla="*/ 337 h 371"/>
                <a:gd name="T28" fmla="*/ 64 w 78"/>
                <a:gd name="T29" fmla="*/ 319 h 371"/>
                <a:gd name="T30" fmla="*/ 69 w 78"/>
                <a:gd name="T31" fmla="*/ 300 h 371"/>
                <a:gd name="T32" fmla="*/ 73 w 78"/>
                <a:gd name="T33" fmla="*/ 280 h 371"/>
                <a:gd name="T34" fmla="*/ 75 w 78"/>
                <a:gd name="T35" fmla="*/ 259 h 371"/>
                <a:gd name="T36" fmla="*/ 77 w 78"/>
                <a:gd name="T37" fmla="*/ 238 h 371"/>
                <a:gd name="T38" fmla="*/ 78 w 78"/>
                <a:gd name="T39" fmla="*/ 216 h 371"/>
                <a:gd name="T40" fmla="*/ 78 w 78"/>
                <a:gd name="T41" fmla="*/ 216 h 371"/>
                <a:gd name="T42" fmla="*/ 77 w 78"/>
                <a:gd name="T43" fmla="*/ 181 h 371"/>
                <a:gd name="T44" fmla="*/ 72 w 78"/>
                <a:gd name="T45" fmla="*/ 148 h 371"/>
                <a:gd name="T46" fmla="*/ 65 w 78"/>
                <a:gd name="T47" fmla="*/ 117 h 371"/>
                <a:gd name="T48" fmla="*/ 56 w 78"/>
                <a:gd name="T49" fmla="*/ 87 h 371"/>
                <a:gd name="T50" fmla="*/ 44 w 78"/>
                <a:gd name="T51" fmla="*/ 61 h 371"/>
                <a:gd name="T52" fmla="*/ 38 w 78"/>
                <a:gd name="T53" fmla="*/ 49 h 371"/>
                <a:gd name="T54" fmla="*/ 31 w 78"/>
                <a:gd name="T55" fmla="*/ 38 h 371"/>
                <a:gd name="T56" fmla="*/ 25 w 78"/>
                <a:gd name="T57" fmla="*/ 27 h 371"/>
                <a:gd name="T58" fmla="*/ 16 w 78"/>
                <a:gd name="T59" fmla="*/ 17 h 371"/>
                <a:gd name="T60" fmla="*/ 9 w 78"/>
                <a:gd name="T61" fmla="*/ 8 h 371"/>
                <a:gd name="T62" fmla="*/ 0 w 78"/>
                <a:gd name="T63" fmla="*/ 0 h 371"/>
                <a:gd name="T64" fmla="*/ 0 w 78"/>
                <a:gd name="T65"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371">
                  <a:moveTo>
                    <a:pt x="0" y="0"/>
                  </a:moveTo>
                  <a:lnTo>
                    <a:pt x="0" y="0"/>
                  </a:lnTo>
                  <a:lnTo>
                    <a:pt x="0" y="1"/>
                  </a:lnTo>
                  <a:lnTo>
                    <a:pt x="0" y="364"/>
                  </a:lnTo>
                  <a:lnTo>
                    <a:pt x="0" y="364"/>
                  </a:lnTo>
                  <a:lnTo>
                    <a:pt x="0" y="364"/>
                  </a:lnTo>
                  <a:lnTo>
                    <a:pt x="0" y="364"/>
                  </a:lnTo>
                  <a:lnTo>
                    <a:pt x="11" y="365"/>
                  </a:lnTo>
                  <a:lnTo>
                    <a:pt x="22" y="366"/>
                  </a:lnTo>
                  <a:lnTo>
                    <a:pt x="33" y="367"/>
                  </a:lnTo>
                  <a:lnTo>
                    <a:pt x="44" y="371"/>
                  </a:lnTo>
                  <a:lnTo>
                    <a:pt x="44" y="371"/>
                  </a:lnTo>
                  <a:lnTo>
                    <a:pt x="52" y="354"/>
                  </a:lnTo>
                  <a:lnTo>
                    <a:pt x="58" y="337"/>
                  </a:lnTo>
                  <a:lnTo>
                    <a:pt x="64" y="319"/>
                  </a:lnTo>
                  <a:lnTo>
                    <a:pt x="69" y="300"/>
                  </a:lnTo>
                  <a:lnTo>
                    <a:pt x="73" y="280"/>
                  </a:lnTo>
                  <a:lnTo>
                    <a:pt x="75" y="259"/>
                  </a:lnTo>
                  <a:lnTo>
                    <a:pt x="77" y="238"/>
                  </a:lnTo>
                  <a:lnTo>
                    <a:pt x="78" y="216"/>
                  </a:lnTo>
                  <a:lnTo>
                    <a:pt x="78" y="216"/>
                  </a:lnTo>
                  <a:lnTo>
                    <a:pt x="77" y="181"/>
                  </a:lnTo>
                  <a:lnTo>
                    <a:pt x="72" y="148"/>
                  </a:lnTo>
                  <a:lnTo>
                    <a:pt x="65" y="117"/>
                  </a:lnTo>
                  <a:lnTo>
                    <a:pt x="56" y="87"/>
                  </a:lnTo>
                  <a:lnTo>
                    <a:pt x="44" y="61"/>
                  </a:lnTo>
                  <a:lnTo>
                    <a:pt x="38" y="49"/>
                  </a:lnTo>
                  <a:lnTo>
                    <a:pt x="31" y="38"/>
                  </a:lnTo>
                  <a:lnTo>
                    <a:pt x="25" y="27"/>
                  </a:lnTo>
                  <a:lnTo>
                    <a:pt x="16" y="17"/>
                  </a:lnTo>
                  <a:lnTo>
                    <a:pt x="9" y="8"/>
                  </a:lnTo>
                  <a:lnTo>
                    <a:pt x="0"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3" name="Freeform 118">
              <a:extLst>
                <a:ext uri="{FF2B5EF4-FFF2-40B4-BE49-F238E27FC236}">
                  <a16:creationId xmlns:a16="http://schemas.microsoft.com/office/drawing/2014/main" id="{70870EA4-0FE3-C959-7C6E-8C119C494AEC}"/>
                </a:ext>
              </a:extLst>
            </p:cNvPr>
            <p:cNvSpPr>
              <a:spLocks/>
            </p:cNvSpPr>
            <p:nvPr/>
          </p:nvSpPr>
          <p:spPr bwMode="auto">
            <a:xfrm>
              <a:off x="2965235" y="3120376"/>
              <a:ext cx="169973" cy="122910"/>
            </a:xfrm>
            <a:custGeom>
              <a:avLst/>
              <a:gdLst>
                <a:gd name="T0" fmla="*/ 57 w 114"/>
                <a:gd name="T1" fmla="*/ 90 h 91"/>
                <a:gd name="T2" fmla="*/ 57 w 114"/>
                <a:gd name="T3" fmla="*/ 90 h 91"/>
                <a:gd name="T4" fmla="*/ 85 w 114"/>
                <a:gd name="T5" fmla="*/ 90 h 91"/>
                <a:gd name="T6" fmla="*/ 114 w 114"/>
                <a:gd name="T7" fmla="*/ 91 h 91"/>
                <a:gd name="T8" fmla="*/ 114 w 114"/>
                <a:gd name="T9" fmla="*/ 91 h 91"/>
                <a:gd name="T10" fmla="*/ 109 w 114"/>
                <a:gd name="T11" fmla="*/ 78 h 91"/>
                <a:gd name="T12" fmla="*/ 103 w 114"/>
                <a:gd name="T13" fmla="*/ 64 h 91"/>
                <a:gd name="T14" fmla="*/ 97 w 114"/>
                <a:gd name="T15" fmla="*/ 50 h 91"/>
                <a:gd name="T16" fmla="*/ 89 w 114"/>
                <a:gd name="T17" fmla="*/ 39 h 91"/>
                <a:gd name="T18" fmla="*/ 82 w 114"/>
                <a:gd name="T19" fmla="*/ 28 h 91"/>
                <a:gd name="T20" fmla="*/ 74 w 114"/>
                <a:gd name="T21" fmla="*/ 18 h 91"/>
                <a:gd name="T22" fmla="*/ 66 w 114"/>
                <a:gd name="T23" fmla="*/ 8 h 91"/>
                <a:gd name="T24" fmla="*/ 57 w 114"/>
                <a:gd name="T25" fmla="*/ 0 h 91"/>
                <a:gd name="T26" fmla="*/ 57 w 114"/>
                <a:gd name="T27" fmla="*/ 0 h 91"/>
                <a:gd name="T28" fmla="*/ 48 w 114"/>
                <a:gd name="T29" fmla="*/ 8 h 91"/>
                <a:gd name="T30" fmla="*/ 40 w 114"/>
                <a:gd name="T31" fmla="*/ 18 h 91"/>
                <a:gd name="T32" fmla="*/ 32 w 114"/>
                <a:gd name="T33" fmla="*/ 28 h 91"/>
                <a:gd name="T34" fmla="*/ 25 w 114"/>
                <a:gd name="T35" fmla="*/ 39 h 91"/>
                <a:gd name="T36" fmla="*/ 18 w 114"/>
                <a:gd name="T37" fmla="*/ 50 h 91"/>
                <a:gd name="T38" fmla="*/ 11 w 114"/>
                <a:gd name="T39" fmla="*/ 64 h 91"/>
                <a:gd name="T40" fmla="*/ 5 w 114"/>
                <a:gd name="T41" fmla="*/ 78 h 91"/>
                <a:gd name="T42" fmla="*/ 0 w 114"/>
                <a:gd name="T43" fmla="*/ 91 h 91"/>
                <a:gd name="T44" fmla="*/ 0 w 114"/>
                <a:gd name="T45" fmla="*/ 91 h 91"/>
                <a:gd name="T46" fmla="*/ 27 w 114"/>
                <a:gd name="T47" fmla="*/ 90 h 91"/>
                <a:gd name="T48" fmla="*/ 57 w 114"/>
                <a:gd name="T49" fmla="*/ 90 h 91"/>
                <a:gd name="T50" fmla="*/ 57 w 114"/>
                <a:gd name="T51" fmla="*/ 9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4" h="91">
                  <a:moveTo>
                    <a:pt x="57" y="90"/>
                  </a:moveTo>
                  <a:lnTo>
                    <a:pt x="57" y="90"/>
                  </a:lnTo>
                  <a:lnTo>
                    <a:pt x="85" y="90"/>
                  </a:lnTo>
                  <a:lnTo>
                    <a:pt x="114" y="91"/>
                  </a:lnTo>
                  <a:lnTo>
                    <a:pt x="114" y="91"/>
                  </a:lnTo>
                  <a:lnTo>
                    <a:pt x="109" y="78"/>
                  </a:lnTo>
                  <a:lnTo>
                    <a:pt x="103" y="64"/>
                  </a:lnTo>
                  <a:lnTo>
                    <a:pt x="97" y="50"/>
                  </a:lnTo>
                  <a:lnTo>
                    <a:pt x="89" y="39"/>
                  </a:lnTo>
                  <a:lnTo>
                    <a:pt x="82" y="28"/>
                  </a:lnTo>
                  <a:lnTo>
                    <a:pt x="74" y="18"/>
                  </a:lnTo>
                  <a:lnTo>
                    <a:pt x="66" y="8"/>
                  </a:lnTo>
                  <a:lnTo>
                    <a:pt x="57" y="0"/>
                  </a:lnTo>
                  <a:lnTo>
                    <a:pt x="57" y="0"/>
                  </a:lnTo>
                  <a:lnTo>
                    <a:pt x="48" y="8"/>
                  </a:lnTo>
                  <a:lnTo>
                    <a:pt x="40" y="18"/>
                  </a:lnTo>
                  <a:lnTo>
                    <a:pt x="32" y="28"/>
                  </a:lnTo>
                  <a:lnTo>
                    <a:pt x="25" y="39"/>
                  </a:lnTo>
                  <a:lnTo>
                    <a:pt x="18" y="50"/>
                  </a:lnTo>
                  <a:lnTo>
                    <a:pt x="11" y="64"/>
                  </a:lnTo>
                  <a:lnTo>
                    <a:pt x="5" y="78"/>
                  </a:lnTo>
                  <a:lnTo>
                    <a:pt x="0" y="91"/>
                  </a:lnTo>
                  <a:lnTo>
                    <a:pt x="0" y="91"/>
                  </a:lnTo>
                  <a:lnTo>
                    <a:pt x="27" y="90"/>
                  </a:lnTo>
                  <a:lnTo>
                    <a:pt x="57" y="90"/>
                  </a:lnTo>
                  <a:lnTo>
                    <a:pt x="57" y="9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4" name="Freeform 119">
              <a:extLst>
                <a:ext uri="{FF2B5EF4-FFF2-40B4-BE49-F238E27FC236}">
                  <a16:creationId xmlns:a16="http://schemas.microsoft.com/office/drawing/2014/main" id="{63CFA789-91F2-CBFF-A2B6-F136364B97D5}"/>
                </a:ext>
              </a:extLst>
            </p:cNvPr>
            <p:cNvSpPr>
              <a:spLocks/>
            </p:cNvSpPr>
            <p:nvPr/>
          </p:nvSpPr>
          <p:spPr bwMode="auto">
            <a:xfrm>
              <a:off x="3050230" y="3120376"/>
              <a:ext cx="84987" cy="122910"/>
            </a:xfrm>
            <a:custGeom>
              <a:avLst/>
              <a:gdLst>
                <a:gd name="T0" fmla="*/ 0 w 57"/>
                <a:gd name="T1" fmla="*/ 1 h 91"/>
                <a:gd name="T2" fmla="*/ 0 w 57"/>
                <a:gd name="T3" fmla="*/ 90 h 91"/>
                <a:gd name="T4" fmla="*/ 0 w 57"/>
                <a:gd name="T5" fmla="*/ 90 h 91"/>
                <a:gd name="T6" fmla="*/ 0 w 57"/>
                <a:gd name="T7" fmla="*/ 90 h 91"/>
                <a:gd name="T8" fmla="*/ 0 w 57"/>
                <a:gd name="T9" fmla="*/ 90 h 91"/>
                <a:gd name="T10" fmla="*/ 28 w 57"/>
                <a:gd name="T11" fmla="*/ 90 h 91"/>
                <a:gd name="T12" fmla="*/ 57 w 57"/>
                <a:gd name="T13" fmla="*/ 91 h 91"/>
                <a:gd name="T14" fmla="*/ 57 w 57"/>
                <a:gd name="T15" fmla="*/ 91 h 91"/>
                <a:gd name="T16" fmla="*/ 52 w 57"/>
                <a:gd name="T17" fmla="*/ 78 h 91"/>
                <a:gd name="T18" fmla="*/ 46 w 57"/>
                <a:gd name="T19" fmla="*/ 64 h 91"/>
                <a:gd name="T20" fmla="*/ 40 w 57"/>
                <a:gd name="T21" fmla="*/ 50 h 91"/>
                <a:gd name="T22" fmla="*/ 32 w 57"/>
                <a:gd name="T23" fmla="*/ 39 h 91"/>
                <a:gd name="T24" fmla="*/ 25 w 57"/>
                <a:gd name="T25" fmla="*/ 28 h 91"/>
                <a:gd name="T26" fmla="*/ 17 w 57"/>
                <a:gd name="T27" fmla="*/ 18 h 91"/>
                <a:gd name="T28" fmla="*/ 9 w 57"/>
                <a:gd name="T29" fmla="*/ 8 h 91"/>
                <a:gd name="T30" fmla="*/ 0 w 57"/>
                <a:gd name="T31" fmla="*/ 0 h 91"/>
                <a:gd name="T32" fmla="*/ 0 w 57"/>
                <a:gd name="T33" fmla="*/ 0 h 91"/>
                <a:gd name="T34" fmla="*/ 0 w 57"/>
                <a:gd name="T35" fmla="*/ 1 h 91"/>
                <a:gd name="T36" fmla="*/ 0 w 57"/>
                <a:gd name="T3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91">
                  <a:moveTo>
                    <a:pt x="0" y="1"/>
                  </a:moveTo>
                  <a:lnTo>
                    <a:pt x="0" y="90"/>
                  </a:lnTo>
                  <a:lnTo>
                    <a:pt x="0" y="90"/>
                  </a:lnTo>
                  <a:lnTo>
                    <a:pt x="0" y="90"/>
                  </a:lnTo>
                  <a:lnTo>
                    <a:pt x="0" y="90"/>
                  </a:lnTo>
                  <a:lnTo>
                    <a:pt x="28" y="90"/>
                  </a:lnTo>
                  <a:lnTo>
                    <a:pt x="57" y="91"/>
                  </a:lnTo>
                  <a:lnTo>
                    <a:pt x="57" y="91"/>
                  </a:lnTo>
                  <a:lnTo>
                    <a:pt x="52" y="78"/>
                  </a:lnTo>
                  <a:lnTo>
                    <a:pt x="46" y="64"/>
                  </a:lnTo>
                  <a:lnTo>
                    <a:pt x="40" y="50"/>
                  </a:lnTo>
                  <a:lnTo>
                    <a:pt x="32" y="39"/>
                  </a:lnTo>
                  <a:lnTo>
                    <a:pt x="25" y="28"/>
                  </a:lnTo>
                  <a:lnTo>
                    <a:pt x="17" y="18"/>
                  </a:lnTo>
                  <a:lnTo>
                    <a:pt x="9" y="8"/>
                  </a:lnTo>
                  <a:lnTo>
                    <a:pt x="0" y="0"/>
                  </a:lnTo>
                  <a:lnTo>
                    <a:pt x="0" y="0"/>
                  </a:lnTo>
                  <a:lnTo>
                    <a:pt x="0" y="1"/>
                  </a:lnTo>
                  <a:lnTo>
                    <a:pt x="0" y="1"/>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5" name="Freeform 120">
              <a:extLst>
                <a:ext uri="{FF2B5EF4-FFF2-40B4-BE49-F238E27FC236}">
                  <a16:creationId xmlns:a16="http://schemas.microsoft.com/office/drawing/2014/main" id="{77CCB424-7EC5-4561-4087-DA4748FEEACA}"/>
                </a:ext>
              </a:extLst>
            </p:cNvPr>
            <p:cNvSpPr>
              <a:spLocks/>
            </p:cNvSpPr>
            <p:nvPr/>
          </p:nvSpPr>
          <p:spPr bwMode="auto">
            <a:xfrm>
              <a:off x="3024883" y="3456690"/>
              <a:ext cx="49203" cy="241768"/>
            </a:xfrm>
            <a:custGeom>
              <a:avLst/>
              <a:gdLst>
                <a:gd name="T0" fmla="*/ 17 w 33"/>
                <a:gd name="T1" fmla="*/ 0 h 179"/>
                <a:gd name="T2" fmla="*/ 17 w 33"/>
                <a:gd name="T3" fmla="*/ 0 h 179"/>
                <a:gd name="T4" fmla="*/ 13 w 33"/>
                <a:gd name="T5" fmla="*/ 6 h 179"/>
                <a:gd name="T6" fmla="*/ 10 w 33"/>
                <a:gd name="T7" fmla="*/ 15 h 179"/>
                <a:gd name="T8" fmla="*/ 5 w 33"/>
                <a:gd name="T9" fmla="*/ 36 h 179"/>
                <a:gd name="T10" fmla="*/ 1 w 33"/>
                <a:gd name="T11" fmla="*/ 62 h 179"/>
                <a:gd name="T12" fmla="*/ 0 w 33"/>
                <a:gd name="T13" fmla="*/ 89 h 179"/>
                <a:gd name="T14" fmla="*/ 0 w 33"/>
                <a:gd name="T15" fmla="*/ 89 h 179"/>
                <a:gd name="T16" fmla="*/ 1 w 33"/>
                <a:gd name="T17" fmla="*/ 117 h 179"/>
                <a:gd name="T18" fmla="*/ 5 w 33"/>
                <a:gd name="T19" fmla="*/ 142 h 179"/>
                <a:gd name="T20" fmla="*/ 10 w 33"/>
                <a:gd name="T21" fmla="*/ 163 h 179"/>
                <a:gd name="T22" fmla="*/ 13 w 33"/>
                <a:gd name="T23" fmla="*/ 171 h 179"/>
                <a:gd name="T24" fmla="*/ 17 w 33"/>
                <a:gd name="T25" fmla="*/ 179 h 179"/>
                <a:gd name="T26" fmla="*/ 17 w 33"/>
                <a:gd name="T27" fmla="*/ 179 h 179"/>
                <a:gd name="T28" fmla="*/ 21 w 33"/>
                <a:gd name="T29" fmla="*/ 171 h 179"/>
                <a:gd name="T30" fmla="*/ 23 w 33"/>
                <a:gd name="T31" fmla="*/ 163 h 179"/>
                <a:gd name="T32" fmla="*/ 29 w 33"/>
                <a:gd name="T33" fmla="*/ 142 h 179"/>
                <a:gd name="T34" fmla="*/ 32 w 33"/>
                <a:gd name="T35" fmla="*/ 117 h 179"/>
                <a:gd name="T36" fmla="*/ 33 w 33"/>
                <a:gd name="T37" fmla="*/ 89 h 179"/>
                <a:gd name="T38" fmla="*/ 33 w 33"/>
                <a:gd name="T39" fmla="*/ 89 h 179"/>
                <a:gd name="T40" fmla="*/ 32 w 33"/>
                <a:gd name="T41" fmla="*/ 62 h 179"/>
                <a:gd name="T42" fmla="*/ 29 w 33"/>
                <a:gd name="T43" fmla="*/ 36 h 179"/>
                <a:gd name="T44" fmla="*/ 23 w 33"/>
                <a:gd name="T45" fmla="*/ 15 h 179"/>
                <a:gd name="T46" fmla="*/ 21 w 33"/>
                <a:gd name="T47" fmla="*/ 6 h 179"/>
                <a:gd name="T48" fmla="*/ 17 w 33"/>
                <a:gd name="T49" fmla="*/ 0 h 179"/>
                <a:gd name="T50" fmla="*/ 17 w 33"/>
                <a:gd name="T51"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 h="179">
                  <a:moveTo>
                    <a:pt x="17" y="0"/>
                  </a:moveTo>
                  <a:lnTo>
                    <a:pt x="17" y="0"/>
                  </a:lnTo>
                  <a:lnTo>
                    <a:pt x="13" y="6"/>
                  </a:lnTo>
                  <a:lnTo>
                    <a:pt x="10" y="15"/>
                  </a:lnTo>
                  <a:lnTo>
                    <a:pt x="5" y="36"/>
                  </a:lnTo>
                  <a:lnTo>
                    <a:pt x="1" y="62"/>
                  </a:lnTo>
                  <a:lnTo>
                    <a:pt x="0" y="89"/>
                  </a:lnTo>
                  <a:lnTo>
                    <a:pt x="0" y="89"/>
                  </a:lnTo>
                  <a:lnTo>
                    <a:pt x="1" y="117"/>
                  </a:lnTo>
                  <a:lnTo>
                    <a:pt x="5" y="142"/>
                  </a:lnTo>
                  <a:lnTo>
                    <a:pt x="10" y="163"/>
                  </a:lnTo>
                  <a:lnTo>
                    <a:pt x="13" y="171"/>
                  </a:lnTo>
                  <a:lnTo>
                    <a:pt x="17" y="179"/>
                  </a:lnTo>
                  <a:lnTo>
                    <a:pt x="17" y="179"/>
                  </a:lnTo>
                  <a:lnTo>
                    <a:pt x="21" y="171"/>
                  </a:lnTo>
                  <a:lnTo>
                    <a:pt x="23" y="163"/>
                  </a:lnTo>
                  <a:lnTo>
                    <a:pt x="29" y="142"/>
                  </a:lnTo>
                  <a:lnTo>
                    <a:pt x="32" y="117"/>
                  </a:lnTo>
                  <a:lnTo>
                    <a:pt x="33" y="89"/>
                  </a:lnTo>
                  <a:lnTo>
                    <a:pt x="33" y="89"/>
                  </a:lnTo>
                  <a:lnTo>
                    <a:pt x="32" y="62"/>
                  </a:lnTo>
                  <a:lnTo>
                    <a:pt x="29" y="36"/>
                  </a:lnTo>
                  <a:lnTo>
                    <a:pt x="23" y="15"/>
                  </a:lnTo>
                  <a:lnTo>
                    <a:pt x="21" y="6"/>
                  </a:lnTo>
                  <a:lnTo>
                    <a:pt x="17" y="0"/>
                  </a:lnTo>
                  <a:lnTo>
                    <a:pt x="17"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6" name="Freeform 121">
              <a:extLst>
                <a:ext uri="{FF2B5EF4-FFF2-40B4-BE49-F238E27FC236}">
                  <a16:creationId xmlns:a16="http://schemas.microsoft.com/office/drawing/2014/main" id="{8CBC38B7-664F-6C54-AC0A-77BECF2D10E6}"/>
                </a:ext>
              </a:extLst>
            </p:cNvPr>
            <p:cNvSpPr>
              <a:spLocks/>
            </p:cNvSpPr>
            <p:nvPr/>
          </p:nvSpPr>
          <p:spPr bwMode="auto">
            <a:xfrm>
              <a:off x="3050230" y="3456689"/>
              <a:ext cx="23856" cy="241768"/>
            </a:xfrm>
            <a:custGeom>
              <a:avLst/>
              <a:gdLst>
                <a:gd name="T0" fmla="*/ 0 w 16"/>
                <a:gd name="T1" fmla="*/ 0 h 179"/>
                <a:gd name="T2" fmla="*/ 0 w 16"/>
                <a:gd name="T3" fmla="*/ 178 h 179"/>
                <a:gd name="T4" fmla="*/ 0 w 16"/>
                <a:gd name="T5" fmla="*/ 178 h 179"/>
                <a:gd name="T6" fmla="*/ 0 w 16"/>
                <a:gd name="T7" fmla="*/ 179 h 179"/>
                <a:gd name="T8" fmla="*/ 0 w 16"/>
                <a:gd name="T9" fmla="*/ 179 h 179"/>
                <a:gd name="T10" fmla="*/ 4 w 16"/>
                <a:gd name="T11" fmla="*/ 171 h 179"/>
                <a:gd name="T12" fmla="*/ 6 w 16"/>
                <a:gd name="T13" fmla="*/ 163 h 179"/>
                <a:gd name="T14" fmla="*/ 12 w 16"/>
                <a:gd name="T15" fmla="*/ 142 h 179"/>
                <a:gd name="T16" fmla="*/ 15 w 16"/>
                <a:gd name="T17" fmla="*/ 117 h 179"/>
                <a:gd name="T18" fmla="*/ 16 w 16"/>
                <a:gd name="T19" fmla="*/ 89 h 179"/>
                <a:gd name="T20" fmla="*/ 16 w 16"/>
                <a:gd name="T21" fmla="*/ 89 h 179"/>
                <a:gd name="T22" fmla="*/ 15 w 16"/>
                <a:gd name="T23" fmla="*/ 62 h 179"/>
                <a:gd name="T24" fmla="*/ 12 w 16"/>
                <a:gd name="T25" fmla="*/ 36 h 179"/>
                <a:gd name="T26" fmla="*/ 6 w 16"/>
                <a:gd name="T27" fmla="*/ 15 h 179"/>
                <a:gd name="T28" fmla="*/ 4 w 16"/>
                <a:gd name="T29" fmla="*/ 6 h 179"/>
                <a:gd name="T30" fmla="*/ 0 w 16"/>
                <a:gd name="T31" fmla="*/ 0 h 179"/>
                <a:gd name="T32" fmla="*/ 0 w 16"/>
                <a:gd name="T33" fmla="*/ 0 h 179"/>
                <a:gd name="T34" fmla="*/ 0 w 16"/>
                <a:gd name="T35" fmla="*/ 0 h 179"/>
                <a:gd name="T36" fmla="*/ 0 w 16"/>
                <a:gd name="T37"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179">
                  <a:moveTo>
                    <a:pt x="0" y="0"/>
                  </a:moveTo>
                  <a:lnTo>
                    <a:pt x="0" y="178"/>
                  </a:lnTo>
                  <a:lnTo>
                    <a:pt x="0" y="178"/>
                  </a:lnTo>
                  <a:lnTo>
                    <a:pt x="0" y="179"/>
                  </a:lnTo>
                  <a:lnTo>
                    <a:pt x="0" y="179"/>
                  </a:lnTo>
                  <a:lnTo>
                    <a:pt x="4" y="171"/>
                  </a:lnTo>
                  <a:lnTo>
                    <a:pt x="6" y="163"/>
                  </a:lnTo>
                  <a:lnTo>
                    <a:pt x="12" y="142"/>
                  </a:lnTo>
                  <a:lnTo>
                    <a:pt x="15" y="117"/>
                  </a:lnTo>
                  <a:lnTo>
                    <a:pt x="16" y="89"/>
                  </a:lnTo>
                  <a:lnTo>
                    <a:pt x="16" y="89"/>
                  </a:lnTo>
                  <a:lnTo>
                    <a:pt x="15" y="62"/>
                  </a:lnTo>
                  <a:lnTo>
                    <a:pt x="12" y="36"/>
                  </a:lnTo>
                  <a:lnTo>
                    <a:pt x="6" y="15"/>
                  </a:lnTo>
                  <a:lnTo>
                    <a:pt x="4" y="6"/>
                  </a:lnTo>
                  <a:lnTo>
                    <a:pt x="0" y="0"/>
                  </a:lnTo>
                  <a:lnTo>
                    <a:pt x="0" y="0"/>
                  </a:lnTo>
                  <a:lnTo>
                    <a:pt x="0" y="0"/>
                  </a:lnTo>
                  <a:lnTo>
                    <a:pt x="0"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7" name="Freeform 122">
              <a:extLst>
                <a:ext uri="{FF2B5EF4-FFF2-40B4-BE49-F238E27FC236}">
                  <a16:creationId xmlns:a16="http://schemas.microsoft.com/office/drawing/2014/main" id="{7A0141EF-4118-5B3A-1690-5896519DEED5}"/>
                </a:ext>
              </a:extLst>
            </p:cNvPr>
            <p:cNvSpPr>
              <a:spLocks/>
            </p:cNvSpPr>
            <p:nvPr/>
          </p:nvSpPr>
          <p:spPr bwMode="auto">
            <a:xfrm>
              <a:off x="2986113" y="3293261"/>
              <a:ext cx="128226" cy="118858"/>
            </a:xfrm>
            <a:custGeom>
              <a:avLst/>
              <a:gdLst>
                <a:gd name="T0" fmla="*/ 43 w 86"/>
                <a:gd name="T1" fmla="*/ 88 h 88"/>
                <a:gd name="T2" fmla="*/ 43 w 86"/>
                <a:gd name="T3" fmla="*/ 88 h 88"/>
                <a:gd name="T4" fmla="*/ 34 w 86"/>
                <a:gd name="T5" fmla="*/ 86 h 88"/>
                <a:gd name="T6" fmla="*/ 26 w 86"/>
                <a:gd name="T7" fmla="*/ 84 h 88"/>
                <a:gd name="T8" fmla="*/ 18 w 86"/>
                <a:gd name="T9" fmla="*/ 80 h 88"/>
                <a:gd name="T10" fmla="*/ 12 w 86"/>
                <a:gd name="T11" fmla="*/ 75 h 88"/>
                <a:gd name="T12" fmla="*/ 7 w 86"/>
                <a:gd name="T13" fmla="*/ 68 h 88"/>
                <a:gd name="T14" fmla="*/ 2 w 86"/>
                <a:gd name="T15" fmla="*/ 61 h 88"/>
                <a:gd name="T16" fmla="*/ 0 w 86"/>
                <a:gd name="T17" fmla="*/ 53 h 88"/>
                <a:gd name="T18" fmla="*/ 0 w 86"/>
                <a:gd name="T19" fmla="*/ 45 h 88"/>
                <a:gd name="T20" fmla="*/ 0 w 86"/>
                <a:gd name="T21" fmla="*/ 45 h 88"/>
                <a:gd name="T22" fmla="*/ 0 w 86"/>
                <a:gd name="T23" fmla="*/ 35 h 88"/>
                <a:gd name="T24" fmla="*/ 2 w 86"/>
                <a:gd name="T25" fmla="*/ 27 h 88"/>
                <a:gd name="T26" fmla="*/ 7 w 86"/>
                <a:gd name="T27" fmla="*/ 20 h 88"/>
                <a:gd name="T28" fmla="*/ 12 w 86"/>
                <a:gd name="T29" fmla="*/ 14 h 88"/>
                <a:gd name="T30" fmla="*/ 18 w 86"/>
                <a:gd name="T31" fmla="*/ 8 h 88"/>
                <a:gd name="T32" fmla="*/ 26 w 86"/>
                <a:gd name="T33" fmla="*/ 4 h 88"/>
                <a:gd name="T34" fmla="*/ 34 w 86"/>
                <a:gd name="T35" fmla="*/ 1 h 88"/>
                <a:gd name="T36" fmla="*/ 43 w 86"/>
                <a:gd name="T37" fmla="*/ 0 h 88"/>
                <a:gd name="T38" fmla="*/ 43 w 86"/>
                <a:gd name="T39" fmla="*/ 0 h 88"/>
                <a:gd name="T40" fmla="*/ 52 w 86"/>
                <a:gd name="T41" fmla="*/ 1 h 88"/>
                <a:gd name="T42" fmla="*/ 60 w 86"/>
                <a:gd name="T43" fmla="*/ 4 h 88"/>
                <a:gd name="T44" fmla="*/ 68 w 86"/>
                <a:gd name="T45" fmla="*/ 8 h 88"/>
                <a:gd name="T46" fmla="*/ 74 w 86"/>
                <a:gd name="T47" fmla="*/ 14 h 88"/>
                <a:gd name="T48" fmla="*/ 79 w 86"/>
                <a:gd name="T49" fmla="*/ 20 h 88"/>
                <a:gd name="T50" fmla="*/ 83 w 86"/>
                <a:gd name="T51" fmla="*/ 27 h 88"/>
                <a:gd name="T52" fmla="*/ 85 w 86"/>
                <a:gd name="T53" fmla="*/ 35 h 88"/>
                <a:gd name="T54" fmla="*/ 86 w 86"/>
                <a:gd name="T55" fmla="*/ 45 h 88"/>
                <a:gd name="T56" fmla="*/ 86 w 86"/>
                <a:gd name="T57" fmla="*/ 45 h 88"/>
                <a:gd name="T58" fmla="*/ 85 w 86"/>
                <a:gd name="T59" fmla="*/ 53 h 88"/>
                <a:gd name="T60" fmla="*/ 83 w 86"/>
                <a:gd name="T61" fmla="*/ 61 h 88"/>
                <a:gd name="T62" fmla="*/ 79 w 86"/>
                <a:gd name="T63" fmla="*/ 68 h 88"/>
                <a:gd name="T64" fmla="*/ 74 w 86"/>
                <a:gd name="T65" fmla="*/ 75 h 88"/>
                <a:gd name="T66" fmla="*/ 68 w 86"/>
                <a:gd name="T67" fmla="*/ 80 h 88"/>
                <a:gd name="T68" fmla="*/ 60 w 86"/>
                <a:gd name="T69" fmla="*/ 84 h 88"/>
                <a:gd name="T70" fmla="*/ 52 w 86"/>
                <a:gd name="T71" fmla="*/ 86 h 88"/>
                <a:gd name="T72" fmla="*/ 43 w 86"/>
                <a:gd name="T73" fmla="*/ 88 h 88"/>
                <a:gd name="T74" fmla="*/ 43 w 86"/>
                <a:gd name="T7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6" h="88">
                  <a:moveTo>
                    <a:pt x="43" y="88"/>
                  </a:moveTo>
                  <a:lnTo>
                    <a:pt x="43" y="88"/>
                  </a:lnTo>
                  <a:lnTo>
                    <a:pt x="34" y="86"/>
                  </a:lnTo>
                  <a:lnTo>
                    <a:pt x="26" y="84"/>
                  </a:lnTo>
                  <a:lnTo>
                    <a:pt x="18" y="80"/>
                  </a:lnTo>
                  <a:lnTo>
                    <a:pt x="12" y="75"/>
                  </a:lnTo>
                  <a:lnTo>
                    <a:pt x="7" y="68"/>
                  </a:lnTo>
                  <a:lnTo>
                    <a:pt x="2" y="61"/>
                  </a:lnTo>
                  <a:lnTo>
                    <a:pt x="0" y="53"/>
                  </a:lnTo>
                  <a:lnTo>
                    <a:pt x="0" y="45"/>
                  </a:lnTo>
                  <a:lnTo>
                    <a:pt x="0" y="45"/>
                  </a:lnTo>
                  <a:lnTo>
                    <a:pt x="0" y="35"/>
                  </a:lnTo>
                  <a:lnTo>
                    <a:pt x="2" y="27"/>
                  </a:lnTo>
                  <a:lnTo>
                    <a:pt x="7" y="20"/>
                  </a:lnTo>
                  <a:lnTo>
                    <a:pt x="12" y="14"/>
                  </a:lnTo>
                  <a:lnTo>
                    <a:pt x="18" y="8"/>
                  </a:lnTo>
                  <a:lnTo>
                    <a:pt x="26" y="4"/>
                  </a:lnTo>
                  <a:lnTo>
                    <a:pt x="34" y="1"/>
                  </a:lnTo>
                  <a:lnTo>
                    <a:pt x="43" y="0"/>
                  </a:lnTo>
                  <a:lnTo>
                    <a:pt x="43" y="0"/>
                  </a:lnTo>
                  <a:lnTo>
                    <a:pt x="52" y="1"/>
                  </a:lnTo>
                  <a:lnTo>
                    <a:pt x="60" y="4"/>
                  </a:lnTo>
                  <a:lnTo>
                    <a:pt x="68" y="8"/>
                  </a:lnTo>
                  <a:lnTo>
                    <a:pt x="74" y="14"/>
                  </a:lnTo>
                  <a:lnTo>
                    <a:pt x="79" y="20"/>
                  </a:lnTo>
                  <a:lnTo>
                    <a:pt x="83" y="27"/>
                  </a:lnTo>
                  <a:lnTo>
                    <a:pt x="85" y="35"/>
                  </a:lnTo>
                  <a:lnTo>
                    <a:pt x="86" y="45"/>
                  </a:lnTo>
                  <a:lnTo>
                    <a:pt x="86" y="45"/>
                  </a:lnTo>
                  <a:lnTo>
                    <a:pt x="85" y="53"/>
                  </a:lnTo>
                  <a:lnTo>
                    <a:pt x="83" y="61"/>
                  </a:lnTo>
                  <a:lnTo>
                    <a:pt x="79" y="68"/>
                  </a:lnTo>
                  <a:lnTo>
                    <a:pt x="74" y="75"/>
                  </a:lnTo>
                  <a:lnTo>
                    <a:pt x="68" y="80"/>
                  </a:lnTo>
                  <a:lnTo>
                    <a:pt x="60" y="84"/>
                  </a:lnTo>
                  <a:lnTo>
                    <a:pt x="52" y="86"/>
                  </a:lnTo>
                  <a:lnTo>
                    <a:pt x="43" y="88"/>
                  </a:lnTo>
                  <a:lnTo>
                    <a:pt x="43" y="88"/>
                  </a:lnTo>
                  <a:close/>
                </a:path>
              </a:pathLst>
            </a:custGeom>
            <a:solidFill>
              <a:srgbClr val="174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8" name="Freeform 123">
              <a:extLst>
                <a:ext uri="{FF2B5EF4-FFF2-40B4-BE49-F238E27FC236}">
                  <a16:creationId xmlns:a16="http://schemas.microsoft.com/office/drawing/2014/main" id="{A3A8572A-80AB-2F5A-60E9-E9955D76F0FC}"/>
                </a:ext>
              </a:extLst>
            </p:cNvPr>
            <p:cNvSpPr>
              <a:spLocks/>
            </p:cNvSpPr>
            <p:nvPr/>
          </p:nvSpPr>
          <p:spPr bwMode="auto">
            <a:xfrm>
              <a:off x="3004009" y="3312171"/>
              <a:ext cx="90951" cy="81039"/>
            </a:xfrm>
            <a:custGeom>
              <a:avLst/>
              <a:gdLst>
                <a:gd name="T0" fmla="*/ 31 w 61"/>
                <a:gd name="T1" fmla="*/ 0 h 60"/>
                <a:gd name="T2" fmla="*/ 31 w 61"/>
                <a:gd name="T3" fmla="*/ 0 h 60"/>
                <a:gd name="T4" fmla="*/ 25 w 61"/>
                <a:gd name="T5" fmla="*/ 1 h 60"/>
                <a:gd name="T6" fmla="*/ 19 w 61"/>
                <a:gd name="T7" fmla="*/ 2 h 60"/>
                <a:gd name="T8" fmla="*/ 14 w 61"/>
                <a:gd name="T9" fmla="*/ 5 h 60"/>
                <a:gd name="T10" fmla="*/ 10 w 61"/>
                <a:gd name="T11" fmla="*/ 8 h 60"/>
                <a:gd name="T12" fmla="*/ 6 w 61"/>
                <a:gd name="T13" fmla="*/ 13 h 60"/>
                <a:gd name="T14" fmla="*/ 3 w 61"/>
                <a:gd name="T15" fmla="*/ 18 h 60"/>
                <a:gd name="T16" fmla="*/ 1 w 61"/>
                <a:gd name="T17" fmla="*/ 24 h 60"/>
                <a:gd name="T18" fmla="*/ 0 w 61"/>
                <a:gd name="T19" fmla="*/ 31 h 60"/>
                <a:gd name="T20" fmla="*/ 0 w 61"/>
                <a:gd name="T21" fmla="*/ 31 h 60"/>
                <a:gd name="T22" fmla="*/ 1 w 61"/>
                <a:gd name="T23" fmla="*/ 37 h 60"/>
                <a:gd name="T24" fmla="*/ 3 w 61"/>
                <a:gd name="T25" fmla="*/ 42 h 60"/>
                <a:gd name="T26" fmla="*/ 6 w 61"/>
                <a:gd name="T27" fmla="*/ 47 h 60"/>
                <a:gd name="T28" fmla="*/ 10 w 61"/>
                <a:gd name="T29" fmla="*/ 51 h 60"/>
                <a:gd name="T30" fmla="*/ 14 w 61"/>
                <a:gd name="T31" fmla="*/ 55 h 60"/>
                <a:gd name="T32" fmla="*/ 19 w 61"/>
                <a:gd name="T33" fmla="*/ 58 h 60"/>
                <a:gd name="T34" fmla="*/ 25 w 61"/>
                <a:gd name="T35" fmla="*/ 60 h 60"/>
                <a:gd name="T36" fmla="*/ 31 w 61"/>
                <a:gd name="T37" fmla="*/ 60 h 60"/>
                <a:gd name="T38" fmla="*/ 31 w 61"/>
                <a:gd name="T39" fmla="*/ 60 h 60"/>
                <a:gd name="T40" fmla="*/ 37 w 61"/>
                <a:gd name="T41" fmla="*/ 60 h 60"/>
                <a:gd name="T42" fmla="*/ 42 w 61"/>
                <a:gd name="T43" fmla="*/ 58 h 60"/>
                <a:gd name="T44" fmla="*/ 48 w 61"/>
                <a:gd name="T45" fmla="*/ 55 h 60"/>
                <a:gd name="T46" fmla="*/ 52 w 61"/>
                <a:gd name="T47" fmla="*/ 51 h 60"/>
                <a:gd name="T48" fmla="*/ 56 w 61"/>
                <a:gd name="T49" fmla="*/ 47 h 60"/>
                <a:gd name="T50" fmla="*/ 59 w 61"/>
                <a:gd name="T51" fmla="*/ 42 h 60"/>
                <a:gd name="T52" fmla="*/ 61 w 61"/>
                <a:gd name="T53" fmla="*/ 37 h 60"/>
                <a:gd name="T54" fmla="*/ 61 w 61"/>
                <a:gd name="T55" fmla="*/ 31 h 60"/>
                <a:gd name="T56" fmla="*/ 61 w 61"/>
                <a:gd name="T57" fmla="*/ 31 h 60"/>
                <a:gd name="T58" fmla="*/ 61 w 61"/>
                <a:gd name="T59" fmla="*/ 24 h 60"/>
                <a:gd name="T60" fmla="*/ 59 w 61"/>
                <a:gd name="T61" fmla="*/ 18 h 60"/>
                <a:gd name="T62" fmla="*/ 56 w 61"/>
                <a:gd name="T63" fmla="*/ 13 h 60"/>
                <a:gd name="T64" fmla="*/ 52 w 61"/>
                <a:gd name="T65" fmla="*/ 8 h 60"/>
                <a:gd name="T66" fmla="*/ 48 w 61"/>
                <a:gd name="T67" fmla="*/ 5 h 60"/>
                <a:gd name="T68" fmla="*/ 42 w 61"/>
                <a:gd name="T69" fmla="*/ 2 h 60"/>
                <a:gd name="T70" fmla="*/ 37 w 61"/>
                <a:gd name="T71" fmla="*/ 1 h 60"/>
                <a:gd name="T72" fmla="*/ 31 w 61"/>
                <a:gd name="T73" fmla="*/ 0 h 60"/>
                <a:gd name="T74" fmla="*/ 31 w 61"/>
                <a:gd name="T7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 h="60">
                  <a:moveTo>
                    <a:pt x="31" y="0"/>
                  </a:moveTo>
                  <a:lnTo>
                    <a:pt x="31" y="0"/>
                  </a:lnTo>
                  <a:lnTo>
                    <a:pt x="25" y="1"/>
                  </a:lnTo>
                  <a:lnTo>
                    <a:pt x="19" y="2"/>
                  </a:lnTo>
                  <a:lnTo>
                    <a:pt x="14" y="5"/>
                  </a:lnTo>
                  <a:lnTo>
                    <a:pt x="10" y="8"/>
                  </a:lnTo>
                  <a:lnTo>
                    <a:pt x="6" y="13"/>
                  </a:lnTo>
                  <a:lnTo>
                    <a:pt x="3" y="18"/>
                  </a:lnTo>
                  <a:lnTo>
                    <a:pt x="1" y="24"/>
                  </a:lnTo>
                  <a:lnTo>
                    <a:pt x="0" y="31"/>
                  </a:lnTo>
                  <a:lnTo>
                    <a:pt x="0" y="31"/>
                  </a:lnTo>
                  <a:lnTo>
                    <a:pt x="1" y="37"/>
                  </a:lnTo>
                  <a:lnTo>
                    <a:pt x="3" y="42"/>
                  </a:lnTo>
                  <a:lnTo>
                    <a:pt x="6" y="47"/>
                  </a:lnTo>
                  <a:lnTo>
                    <a:pt x="10" y="51"/>
                  </a:lnTo>
                  <a:lnTo>
                    <a:pt x="14" y="55"/>
                  </a:lnTo>
                  <a:lnTo>
                    <a:pt x="19" y="58"/>
                  </a:lnTo>
                  <a:lnTo>
                    <a:pt x="25" y="60"/>
                  </a:lnTo>
                  <a:lnTo>
                    <a:pt x="31" y="60"/>
                  </a:lnTo>
                  <a:lnTo>
                    <a:pt x="31" y="60"/>
                  </a:lnTo>
                  <a:lnTo>
                    <a:pt x="37" y="60"/>
                  </a:lnTo>
                  <a:lnTo>
                    <a:pt x="42" y="58"/>
                  </a:lnTo>
                  <a:lnTo>
                    <a:pt x="48" y="55"/>
                  </a:lnTo>
                  <a:lnTo>
                    <a:pt x="52" y="51"/>
                  </a:lnTo>
                  <a:lnTo>
                    <a:pt x="56" y="47"/>
                  </a:lnTo>
                  <a:lnTo>
                    <a:pt x="59" y="42"/>
                  </a:lnTo>
                  <a:lnTo>
                    <a:pt x="61" y="37"/>
                  </a:lnTo>
                  <a:lnTo>
                    <a:pt x="61" y="31"/>
                  </a:lnTo>
                  <a:lnTo>
                    <a:pt x="61" y="31"/>
                  </a:lnTo>
                  <a:lnTo>
                    <a:pt x="61" y="24"/>
                  </a:lnTo>
                  <a:lnTo>
                    <a:pt x="59" y="18"/>
                  </a:lnTo>
                  <a:lnTo>
                    <a:pt x="56" y="13"/>
                  </a:lnTo>
                  <a:lnTo>
                    <a:pt x="52" y="8"/>
                  </a:lnTo>
                  <a:lnTo>
                    <a:pt x="48" y="5"/>
                  </a:lnTo>
                  <a:lnTo>
                    <a:pt x="42" y="2"/>
                  </a:lnTo>
                  <a:lnTo>
                    <a:pt x="37" y="1"/>
                  </a:lnTo>
                  <a:lnTo>
                    <a:pt x="31" y="0"/>
                  </a:lnTo>
                  <a:lnTo>
                    <a:pt x="3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9" name="Freeform 124">
              <a:extLst>
                <a:ext uri="{FF2B5EF4-FFF2-40B4-BE49-F238E27FC236}">
                  <a16:creationId xmlns:a16="http://schemas.microsoft.com/office/drawing/2014/main" id="{68985CAD-2244-5904-0EA8-D4FCFE51AD54}"/>
                </a:ext>
              </a:extLst>
            </p:cNvPr>
            <p:cNvSpPr>
              <a:spLocks/>
            </p:cNvSpPr>
            <p:nvPr/>
          </p:nvSpPr>
          <p:spPr bwMode="auto">
            <a:xfrm>
              <a:off x="3050204" y="3293261"/>
              <a:ext cx="64113" cy="118858"/>
            </a:xfrm>
            <a:custGeom>
              <a:avLst/>
              <a:gdLst>
                <a:gd name="T0" fmla="*/ 0 w 43"/>
                <a:gd name="T1" fmla="*/ 0 h 88"/>
                <a:gd name="T2" fmla="*/ 0 w 43"/>
                <a:gd name="T3" fmla="*/ 0 h 88"/>
                <a:gd name="T4" fmla="*/ 0 w 43"/>
                <a:gd name="T5" fmla="*/ 0 h 88"/>
                <a:gd name="T6" fmla="*/ 0 w 43"/>
                <a:gd name="T7" fmla="*/ 14 h 88"/>
                <a:gd name="T8" fmla="*/ 0 w 43"/>
                <a:gd name="T9" fmla="*/ 14 h 88"/>
                <a:gd name="T10" fmla="*/ 0 w 43"/>
                <a:gd name="T11" fmla="*/ 14 h 88"/>
                <a:gd name="T12" fmla="*/ 0 w 43"/>
                <a:gd name="T13" fmla="*/ 14 h 88"/>
                <a:gd name="T14" fmla="*/ 6 w 43"/>
                <a:gd name="T15" fmla="*/ 15 h 88"/>
                <a:gd name="T16" fmla="*/ 11 w 43"/>
                <a:gd name="T17" fmla="*/ 16 h 88"/>
                <a:gd name="T18" fmla="*/ 17 w 43"/>
                <a:gd name="T19" fmla="*/ 19 h 88"/>
                <a:gd name="T20" fmla="*/ 21 w 43"/>
                <a:gd name="T21" fmla="*/ 22 h 88"/>
                <a:gd name="T22" fmla="*/ 25 w 43"/>
                <a:gd name="T23" fmla="*/ 27 h 88"/>
                <a:gd name="T24" fmla="*/ 28 w 43"/>
                <a:gd name="T25" fmla="*/ 32 h 88"/>
                <a:gd name="T26" fmla="*/ 30 w 43"/>
                <a:gd name="T27" fmla="*/ 38 h 88"/>
                <a:gd name="T28" fmla="*/ 30 w 43"/>
                <a:gd name="T29" fmla="*/ 45 h 88"/>
                <a:gd name="T30" fmla="*/ 30 w 43"/>
                <a:gd name="T31" fmla="*/ 45 h 88"/>
                <a:gd name="T32" fmla="*/ 30 w 43"/>
                <a:gd name="T33" fmla="*/ 51 h 88"/>
                <a:gd name="T34" fmla="*/ 28 w 43"/>
                <a:gd name="T35" fmla="*/ 56 h 88"/>
                <a:gd name="T36" fmla="*/ 25 w 43"/>
                <a:gd name="T37" fmla="*/ 61 h 88"/>
                <a:gd name="T38" fmla="*/ 21 w 43"/>
                <a:gd name="T39" fmla="*/ 65 h 88"/>
                <a:gd name="T40" fmla="*/ 17 w 43"/>
                <a:gd name="T41" fmla="*/ 69 h 88"/>
                <a:gd name="T42" fmla="*/ 11 w 43"/>
                <a:gd name="T43" fmla="*/ 72 h 88"/>
                <a:gd name="T44" fmla="*/ 6 w 43"/>
                <a:gd name="T45" fmla="*/ 74 h 88"/>
                <a:gd name="T46" fmla="*/ 0 w 43"/>
                <a:gd name="T47" fmla="*/ 74 h 88"/>
                <a:gd name="T48" fmla="*/ 0 w 43"/>
                <a:gd name="T49" fmla="*/ 74 h 88"/>
                <a:gd name="T50" fmla="*/ 0 w 43"/>
                <a:gd name="T51" fmla="*/ 74 h 88"/>
                <a:gd name="T52" fmla="*/ 0 w 43"/>
                <a:gd name="T53" fmla="*/ 88 h 88"/>
                <a:gd name="T54" fmla="*/ 0 w 43"/>
                <a:gd name="T55" fmla="*/ 88 h 88"/>
                <a:gd name="T56" fmla="*/ 0 w 43"/>
                <a:gd name="T57" fmla="*/ 88 h 88"/>
                <a:gd name="T58" fmla="*/ 0 w 43"/>
                <a:gd name="T59" fmla="*/ 88 h 88"/>
                <a:gd name="T60" fmla="*/ 9 w 43"/>
                <a:gd name="T61" fmla="*/ 86 h 88"/>
                <a:gd name="T62" fmla="*/ 17 w 43"/>
                <a:gd name="T63" fmla="*/ 84 h 88"/>
                <a:gd name="T64" fmla="*/ 25 w 43"/>
                <a:gd name="T65" fmla="*/ 80 h 88"/>
                <a:gd name="T66" fmla="*/ 31 w 43"/>
                <a:gd name="T67" fmla="*/ 75 h 88"/>
                <a:gd name="T68" fmla="*/ 36 w 43"/>
                <a:gd name="T69" fmla="*/ 68 h 88"/>
                <a:gd name="T70" fmla="*/ 40 w 43"/>
                <a:gd name="T71" fmla="*/ 61 h 88"/>
                <a:gd name="T72" fmla="*/ 42 w 43"/>
                <a:gd name="T73" fmla="*/ 53 h 88"/>
                <a:gd name="T74" fmla="*/ 43 w 43"/>
                <a:gd name="T75" fmla="*/ 45 h 88"/>
                <a:gd name="T76" fmla="*/ 43 w 43"/>
                <a:gd name="T77" fmla="*/ 45 h 88"/>
                <a:gd name="T78" fmla="*/ 42 w 43"/>
                <a:gd name="T79" fmla="*/ 35 h 88"/>
                <a:gd name="T80" fmla="*/ 40 w 43"/>
                <a:gd name="T81" fmla="*/ 27 h 88"/>
                <a:gd name="T82" fmla="*/ 36 w 43"/>
                <a:gd name="T83" fmla="*/ 20 h 88"/>
                <a:gd name="T84" fmla="*/ 31 w 43"/>
                <a:gd name="T85" fmla="*/ 14 h 88"/>
                <a:gd name="T86" fmla="*/ 25 w 43"/>
                <a:gd name="T87" fmla="*/ 8 h 88"/>
                <a:gd name="T88" fmla="*/ 17 w 43"/>
                <a:gd name="T89" fmla="*/ 4 h 88"/>
                <a:gd name="T90" fmla="*/ 9 w 43"/>
                <a:gd name="T91" fmla="*/ 1 h 88"/>
                <a:gd name="T92" fmla="*/ 0 w 43"/>
                <a:gd name="T93" fmla="*/ 0 h 88"/>
                <a:gd name="T94" fmla="*/ 0 w 43"/>
                <a:gd name="T9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 h="88">
                  <a:moveTo>
                    <a:pt x="0" y="0"/>
                  </a:moveTo>
                  <a:lnTo>
                    <a:pt x="0" y="0"/>
                  </a:lnTo>
                  <a:lnTo>
                    <a:pt x="0" y="0"/>
                  </a:lnTo>
                  <a:lnTo>
                    <a:pt x="0" y="14"/>
                  </a:lnTo>
                  <a:lnTo>
                    <a:pt x="0" y="14"/>
                  </a:lnTo>
                  <a:lnTo>
                    <a:pt x="0" y="14"/>
                  </a:lnTo>
                  <a:lnTo>
                    <a:pt x="0" y="14"/>
                  </a:lnTo>
                  <a:lnTo>
                    <a:pt x="6" y="15"/>
                  </a:lnTo>
                  <a:lnTo>
                    <a:pt x="11" y="16"/>
                  </a:lnTo>
                  <a:lnTo>
                    <a:pt x="17" y="19"/>
                  </a:lnTo>
                  <a:lnTo>
                    <a:pt x="21" y="22"/>
                  </a:lnTo>
                  <a:lnTo>
                    <a:pt x="25" y="27"/>
                  </a:lnTo>
                  <a:lnTo>
                    <a:pt x="28" y="32"/>
                  </a:lnTo>
                  <a:lnTo>
                    <a:pt x="30" y="38"/>
                  </a:lnTo>
                  <a:lnTo>
                    <a:pt x="30" y="45"/>
                  </a:lnTo>
                  <a:lnTo>
                    <a:pt x="30" y="45"/>
                  </a:lnTo>
                  <a:lnTo>
                    <a:pt x="30" y="51"/>
                  </a:lnTo>
                  <a:lnTo>
                    <a:pt x="28" y="56"/>
                  </a:lnTo>
                  <a:lnTo>
                    <a:pt x="25" y="61"/>
                  </a:lnTo>
                  <a:lnTo>
                    <a:pt x="21" y="65"/>
                  </a:lnTo>
                  <a:lnTo>
                    <a:pt x="17" y="69"/>
                  </a:lnTo>
                  <a:lnTo>
                    <a:pt x="11" y="72"/>
                  </a:lnTo>
                  <a:lnTo>
                    <a:pt x="6" y="74"/>
                  </a:lnTo>
                  <a:lnTo>
                    <a:pt x="0" y="74"/>
                  </a:lnTo>
                  <a:lnTo>
                    <a:pt x="0" y="74"/>
                  </a:lnTo>
                  <a:lnTo>
                    <a:pt x="0" y="74"/>
                  </a:lnTo>
                  <a:lnTo>
                    <a:pt x="0" y="88"/>
                  </a:lnTo>
                  <a:lnTo>
                    <a:pt x="0" y="88"/>
                  </a:lnTo>
                  <a:lnTo>
                    <a:pt x="0" y="88"/>
                  </a:lnTo>
                  <a:lnTo>
                    <a:pt x="0" y="88"/>
                  </a:lnTo>
                  <a:lnTo>
                    <a:pt x="9" y="86"/>
                  </a:lnTo>
                  <a:lnTo>
                    <a:pt x="17" y="84"/>
                  </a:lnTo>
                  <a:lnTo>
                    <a:pt x="25" y="80"/>
                  </a:lnTo>
                  <a:lnTo>
                    <a:pt x="31" y="75"/>
                  </a:lnTo>
                  <a:lnTo>
                    <a:pt x="36" y="68"/>
                  </a:lnTo>
                  <a:lnTo>
                    <a:pt x="40" y="61"/>
                  </a:lnTo>
                  <a:lnTo>
                    <a:pt x="42" y="53"/>
                  </a:lnTo>
                  <a:lnTo>
                    <a:pt x="43" y="45"/>
                  </a:lnTo>
                  <a:lnTo>
                    <a:pt x="43" y="45"/>
                  </a:lnTo>
                  <a:lnTo>
                    <a:pt x="42" y="35"/>
                  </a:lnTo>
                  <a:lnTo>
                    <a:pt x="40" y="27"/>
                  </a:lnTo>
                  <a:lnTo>
                    <a:pt x="36" y="20"/>
                  </a:lnTo>
                  <a:lnTo>
                    <a:pt x="31" y="14"/>
                  </a:lnTo>
                  <a:lnTo>
                    <a:pt x="25" y="8"/>
                  </a:lnTo>
                  <a:lnTo>
                    <a:pt x="17" y="4"/>
                  </a:lnTo>
                  <a:lnTo>
                    <a:pt x="9" y="1"/>
                  </a:lnTo>
                  <a:lnTo>
                    <a:pt x="0" y="0"/>
                  </a:lnTo>
                  <a:lnTo>
                    <a:pt x="0" y="0"/>
                  </a:lnTo>
                  <a:close/>
                </a:path>
              </a:pathLst>
            </a:custGeom>
            <a:solidFill>
              <a:srgbClr val="1037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0" name="Freeform 125">
              <a:extLst>
                <a:ext uri="{FF2B5EF4-FFF2-40B4-BE49-F238E27FC236}">
                  <a16:creationId xmlns:a16="http://schemas.microsoft.com/office/drawing/2014/main" id="{3E5343A2-BE24-4246-97CE-95B7E78581F9}"/>
                </a:ext>
              </a:extLst>
            </p:cNvPr>
            <p:cNvSpPr>
              <a:spLocks/>
            </p:cNvSpPr>
            <p:nvPr/>
          </p:nvSpPr>
          <p:spPr bwMode="auto">
            <a:xfrm>
              <a:off x="3050215" y="3312165"/>
              <a:ext cx="44730" cy="81039"/>
            </a:xfrm>
            <a:custGeom>
              <a:avLst/>
              <a:gdLst>
                <a:gd name="T0" fmla="*/ 30 w 30"/>
                <a:gd name="T1" fmla="*/ 31 h 60"/>
                <a:gd name="T2" fmla="*/ 30 w 30"/>
                <a:gd name="T3" fmla="*/ 31 h 60"/>
                <a:gd name="T4" fmla="*/ 30 w 30"/>
                <a:gd name="T5" fmla="*/ 24 h 60"/>
                <a:gd name="T6" fmla="*/ 28 w 30"/>
                <a:gd name="T7" fmla="*/ 18 h 60"/>
                <a:gd name="T8" fmla="*/ 25 w 30"/>
                <a:gd name="T9" fmla="*/ 13 h 60"/>
                <a:gd name="T10" fmla="*/ 21 w 30"/>
                <a:gd name="T11" fmla="*/ 8 h 60"/>
                <a:gd name="T12" fmla="*/ 17 w 30"/>
                <a:gd name="T13" fmla="*/ 5 h 60"/>
                <a:gd name="T14" fmla="*/ 11 w 30"/>
                <a:gd name="T15" fmla="*/ 2 h 60"/>
                <a:gd name="T16" fmla="*/ 6 w 30"/>
                <a:gd name="T17" fmla="*/ 1 h 60"/>
                <a:gd name="T18" fmla="*/ 0 w 30"/>
                <a:gd name="T19" fmla="*/ 0 h 60"/>
                <a:gd name="T20" fmla="*/ 0 w 30"/>
                <a:gd name="T21" fmla="*/ 0 h 60"/>
                <a:gd name="T22" fmla="*/ 0 w 30"/>
                <a:gd name="T23" fmla="*/ 0 h 60"/>
                <a:gd name="T24" fmla="*/ 0 w 30"/>
                <a:gd name="T25" fmla="*/ 60 h 60"/>
                <a:gd name="T26" fmla="*/ 0 w 30"/>
                <a:gd name="T27" fmla="*/ 60 h 60"/>
                <a:gd name="T28" fmla="*/ 0 w 30"/>
                <a:gd name="T29" fmla="*/ 60 h 60"/>
                <a:gd name="T30" fmla="*/ 0 w 30"/>
                <a:gd name="T31" fmla="*/ 60 h 60"/>
                <a:gd name="T32" fmla="*/ 6 w 30"/>
                <a:gd name="T33" fmla="*/ 60 h 60"/>
                <a:gd name="T34" fmla="*/ 11 w 30"/>
                <a:gd name="T35" fmla="*/ 58 h 60"/>
                <a:gd name="T36" fmla="*/ 17 w 30"/>
                <a:gd name="T37" fmla="*/ 55 h 60"/>
                <a:gd name="T38" fmla="*/ 21 w 30"/>
                <a:gd name="T39" fmla="*/ 51 h 60"/>
                <a:gd name="T40" fmla="*/ 25 w 30"/>
                <a:gd name="T41" fmla="*/ 47 h 60"/>
                <a:gd name="T42" fmla="*/ 28 w 30"/>
                <a:gd name="T43" fmla="*/ 42 h 60"/>
                <a:gd name="T44" fmla="*/ 30 w 30"/>
                <a:gd name="T45" fmla="*/ 37 h 60"/>
                <a:gd name="T46" fmla="*/ 30 w 30"/>
                <a:gd name="T47" fmla="*/ 31 h 60"/>
                <a:gd name="T48" fmla="*/ 30 w 30"/>
                <a:gd name="T49" fmla="*/ 3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 h="60">
                  <a:moveTo>
                    <a:pt x="30" y="31"/>
                  </a:moveTo>
                  <a:lnTo>
                    <a:pt x="30" y="31"/>
                  </a:lnTo>
                  <a:lnTo>
                    <a:pt x="30" y="24"/>
                  </a:lnTo>
                  <a:lnTo>
                    <a:pt x="28" y="18"/>
                  </a:lnTo>
                  <a:lnTo>
                    <a:pt x="25" y="13"/>
                  </a:lnTo>
                  <a:lnTo>
                    <a:pt x="21" y="8"/>
                  </a:lnTo>
                  <a:lnTo>
                    <a:pt x="17" y="5"/>
                  </a:lnTo>
                  <a:lnTo>
                    <a:pt x="11" y="2"/>
                  </a:lnTo>
                  <a:lnTo>
                    <a:pt x="6" y="1"/>
                  </a:lnTo>
                  <a:lnTo>
                    <a:pt x="0" y="0"/>
                  </a:lnTo>
                  <a:lnTo>
                    <a:pt x="0" y="0"/>
                  </a:lnTo>
                  <a:lnTo>
                    <a:pt x="0" y="0"/>
                  </a:lnTo>
                  <a:lnTo>
                    <a:pt x="0" y="60"/>
                  </a:lnTo>
                  <a:lnTo>
                    <a:pt x="0" y="60"/>
                  </a:lnTo>
                  <a:lnTo>
                    <a:pt x="0" y="60"/>
                  </a:lnTo>
                  <a:lnTo>
                    <a:pt x="0" y="60"/>
                  </a:lnTo>
                  <a:lnTo>
                    <a:pt x="6" y="60"/>
                  </a:lnTo>
                  <a:lnTo>
                    <a:pt x="11" y="58"/>
                  </a:lnTo>
                  <a:lnTo>
                    <a:pt x="17" y="55"/>
                  </a:lnTo>
                  <a:lnTo>
                    <a:pt x="21" y="51"/>
                  </a:lnTo>
                  <a:lnTo>
                    <a:pt x="25" y="47"/>
                  </a:lnTo>
                  <a:lnTo>
                    <a:pt x="28" y="42"/>
                  </a:lnTo>
                  <a:lnTo>
                    <a:pt x="30" y="37"/>
                  </a:lnTo>
                  <a:lnTo>
                    <a:pt x="30" y="31"/>
                  </a:lnTo>
                  <a:lnTo>
                    <a:pt x="30" y="31"/>
                  </a:lnTo>
                  <a:close/>
                </a:path>
              </a:pathLst>
            </a:custGeom>
            <a:solidFill>
              <a:srgbClr val="D1E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grpSp>
        <p:nvGrpSpPr>
          <p:cNvPr id="464" name="Group 463">
            <a:extLst>
              <a:ext uri="{FF2B5EF4-FFF2-40B4-BE49-F238E27FC236}">
                <a16:creationId xmlns:a16="http://schemas.microsoft.com/office/drawing/2014/main" id="{FE0DFA2D-9405-9AB9-A215-F4C6AB844558}"/>
              </a:ext>
            </a:extLst>
          </p:cNvPr>
          <p:cNvGrpSpPr/>
          <p:nvPr/>
        </p:nvGrpSpPr>
        <p:grpSpPr>
          <a:xfrm>
            <a:off x="7506200" y="2635887"/>
            <a:ext cx="1289347" cy="1139420"/>
            <a:chOff x="7087417" y="2952895"/>
            <a:chExt cx="1035028" cy="946809"/>
          </a:xfrm>
        </p:grpSpPr>
        <p:sp>
          <p:nvSpPr>
            <p:cNvPr id="412" name="Freeform 25">
              <a:extLst>
                <a:ext uri="{FF2B5EF4-FFF2-40B4-BE49-F238E27FC236}">
                  <a16:creationId xmlns:a16="http://schemas.microsoft.com/office/drawing/2014/main" id="{67012AA4-984B-DC2B-EC60-EB807F159439}"/>
                </a:ext>
              </a:extLst>
            </p:cNvPr>
            <p:cNvSpPr>
              <a:spLocks/>
            </p:cNvSpPr>
            <p:nvPr/>
          </p:nvSpPr>
          <p:spPr bwMode="auto">
            <a:xfrm>
              <a:off x="7087417" y="2952895"/>
              <a:ext cx="1035028" cy="946809"/>
            </a:xfrm>
            <a:custGeom>
              <a:avLst/>
              <a:gdLst>
                <a:gd name="T0" fmla="*/ 333 w 701"/>
                <a:gd name="T1" fmla="*/ 701 h 702"/>
                <a:gd name="T2" fmla="*/ 280 w 701"/>
                <a:gd name="T3" fmla="*/ 695 h 702"/>
                <a:gd name="T4" fmla="*/ 231 w 701"/>
                <a:gd name="T5" fmla="*/ 680 h 702"/>
                <a:gd name="T6" fmla="*/ 184 w 701"/>
                <a:gd name="T7" fmla="*/ 659 h 702"/>
                <a:gd name="T8" fmla="*/ 141 w 701"/>
                <a:gd name="T9" fmla="*/ 632 h 702"/>
                <a:gd name="T10" fmla="*/ 102 w 701"/>
                <a:gd name="T11" fmla="*/ 598 h 702"/>
                <a:gd name="T12" fmla="*/ 70 w 701"/>
                <a:gd name="T13" fmla="*/ 560 h 702"/>
                <a:gd name="T14" fmla="*/ 43 w 701"/>
                <a:gd name="T15" fmla="*/ 518 h 702"/>
                <a:gd name="T16" fmla="*/ 21 w 701"/>
                <a:gd name="T17" fmla="*/ 471 h 702"/>
                <a:gd name="T18" fmla="*/ 7 w 701"/>
                <a:gd name="T19" fmla="*/ 422 h 702"/>
                <a:gd name="T20" fmla="*/ 1 w 701"/>
                <a:gd name="T21" fmla="*/ 369 h 702"/>
                <a:gd name="T22" fmla="*/ 1 w 701"/>
                <a:gd name="T23" fmla="*/ 333 h 702"/>
                <a:gd name="T24" fmla="*/ 7 w 701"/>
                <a:gd name="T25" fmla="*/ 280 h 702"/>
                <a:gd name="T26" fmla="*/ 21 w 701"/>
                <a:gd name="T27" fmla="*/ 231 h 702"/>
                <a:gd name="T28" fmla="*/ 43 w 701"/>
                <a:gd name="T29" fmla="*/ 184 h 702"/>
                <a:gd name="T30" fmla="*/ 70 w 701"/>
                <a:gd name="T31" fmla="*/ 141 h 702"/>
                <a:gd name="T32" fmla="*/ 102 w 701"/>
                <a:gd name="T33" fmla="*/ 104 h 702"/>
                <a:gd name="T34" fmla="*/ 141 w 701"/>
                <a:gd name="T35" fmla="*/ 70 h 702"/>
                <a:gd name="T36" fmla="*/ 184 w 701"/>
                <a:gd name="T37" fmla="*/ 43 h 702"/>
                <a:gd name="T38" fmla="*/ 231 w 701"/>
                <a:gd name="T39" fmla="*/ 22 h 702"/>
                <a:gd name="T40" fmla="*/ 280 w 701"/>
                <a:gd name="T41" fmla="*/ 7 h 702"/>
                <a:gd name="T42" fmla="*/ 333 w 701"/>
                <a:gd name="T43" fmla="*/ 1 h 702"/>
                <a:gd name="T44" fmla="*/ 369 w 701"/>
                <a:gd name="T45" fmla="*/ 1 h 702"/>
                <a:gd name="T46" fmla="*/ 422 w 701"/>
                <a:gd name="T47" fmla="*/ 7 h 702"/>
                <a:gd name="T48" fmla="*/ 471 w 701"/>
                <a:gd name="T49" fmla="*/ 22 h 702"/>
                <a:gd name="T50" fmla="*/ 518 w 701"/>
                <a:gd name="T51" fmla="*/ 43 h 702"/>
                <a:gd name="T52" fmla="*/ 560 w 701"/>
                <a:gd name="T53" fmla="*/ 70 h 702"/>
                <a:gd name="T54" fmla="*/ 598 w 701"/>
                <a:gd name="T55" fmla="*/ 104 h 702"/>
                <a:gd name="T56" fmla="*/ 631 w 701"/>
                <a:gd name="T57" fmla="*/ 141 h 702"/>
                <a:gd name="T58" fmla="*/ 659 w 701"/>
                <a:gd name="T59" fmla="*/ 184 h 702"/>
                <a:gd name="T60" fmla="*/ 680 w 701"/>
                <a:gd name="T61" fmla="*/ 231 h 702"/>
                <a:gd name="T62" fmla="*/ 694 w 701"/>
                <a:gd name="T63" fmla="*/ 280 h 702"/>
                <a:gd name="T64" fmla="*/ 701 w 701"/>
                <a:gd name="T65" fmla="*/ 333 h 702"/>
                <a:gd name="T66" fmla="*/ 701 w 701"/>
                <a:gd name="T67" fmla="*/ 369 h 702"/>
                <a:gd name="T68" fmla="*/ 694 w 701"/>
                <a:gd name="T69" fmla="*/ 422 h 702"/>
                <a:gd name="T70" fmla="*/ 680 w 701"/>
                <a:gd name="T71" fmla="*/ 471 h 702"/>
                <a:gd name="T72" fmla="*/ 659 w 701"/>
                <a:gd name="T73" fmla="*/ 518 h 702"/>
                <a:gd name="T74" fmla="*/ 631 w 701"/>
                <a:gd name="T75" fmla="*/ 560 h 702"/>
                <a:gd name="T76" fmla="*/ 598 w 701"/>
                <a:gd name="T77" fmla="*/ 598 h 702"/>
                <a:gd name="T78" fmla="*/ 560 w 701"/>
                <a:gd name="T79" fmla="*/ 632 h 702"/>
                <a:gd name="T80" fmla="*/ 518 w 701"/>
                <a:gd name="T81" fmla="*/ 659 h 702"/>
                <a:gd name="T82" fmla="*/ 471 w 701"/>
                <a:gd name="T83" fmla="*/ 680 h 702"/>
                <a:gd name="T84" fmla="*/ 422 w 701"/>
                <a:gd name="T85" fmla="*/ 695 h 702"/>
                <a:gd name="T86" fmla="*/ 369 w 701"/>
                <a:gd name="T87" fmla="*/ 70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2">
                  <a:moveTo>
                    <a:pt x="350" y="702"/>
                  </a:moveTo>
                  <a:lnTo>
                    <a:pt x="350" y="702"/>
                  </a:lnTo>
                  <a:lnTo>
                    <a:pt x="333" y="701"/>
                  </a:lnTo>
                  <a:lnTo>
                    <a:pt x="315" y="700"/>
                  </a:lnTo>
                  <a:lnTo>
                    <a:pt x="297" y="697"/>
                  </a:lnTo>
                  <a:lnTo>
                    <a:pt x="280" y="695"/>
                  </a:lnTo>
                  <a:lnTo>
                    <a:pt x="263" y="691"/>
                  </a:lnTo>
                  <a:lnTo>
                    <a:pt x="247" y="686"/>
                  </a:lnTo>
                  <a:lnTo>
                    <a:pt x="231" y="680"/>
                  </a:lnTo>
                  <a:lnTo>
                    <a:pt x="215" y="674"/>
                  </a:lnTo>
                  <a:lnTo>
                    <a:pt x="199" y="667"/>
                  </a:lnTo>
                  <a:lnTo>
                    <a:pt x="184" y="659"/>
                  </a:lnTo>
                  <a:lnTo>
                    <a:pt x="169" y="650"/>
                  </a:lnTo>
                  <a:lnTo>
                    <a:pt x="155" y="642"/>
                  </a:lnTo>
                  <a:lnTo>
                    <a:pt x="141" y="632"/>
                  </a:lnTo>
                  <a:lnTo>
                    <a:pt x="128" y="622"/>
                  </a:lnTo>
                  <a:lnTo>
                    <a:pt x="115" y="611"/>
                  </a:lnTo>
                  <a:lnTo>
                    <a:pt x="102" y="598"/>
                  </a:lnTo>
                  <a:lnTo>
                    <a:pt x="91" y="586"/>
                  </a:lnTo>
                  <a:lnTo>
                    <a:pt x="80" y="574"/>
                  </a:lnTo>
                  <a:lnTo>
                    <a:pt x="70" y="560"/>
                  </a:lnTo>
                  <a:lnTo>
                    <a:pt x="60" y="547"/>
                  </a:lnTo>
                  <a:lnTo>
                    <a:pt x="51" y="533"/>
                  </a:lnTo>
                  <a:lnTo>
                    <a:pt x="43" y="518"/>
                  </a:lnTo>
                  <a:lnTo>
                    <a:pt x="35" y="503"/>
                  </a:lnTo>
                  <a:lnTo>
                    <a:pt x="28" y="487"/>
                  </a:lnTo>
                  <a:lnTo>
                    <a:pt x="21" y="471"/>
                  </a:lnTo>
                  <a:lnTo>
                    <a:pt x="16" y="455"/>
                  </a:lnTo>
                  <a:lnTo>
                    <a:pt x="11" y="438"/>
                  </a:lnTo>
                  <a:lnTo>
                    <a:pt x="7" y="422"/>
                  </a:lnTo>
                  <a:lnTo>
                    <a:pt x="5" y="405"/>
                  </a:lnTo>
                  <a:lnTo>
                    <a:pt x="2" y="386"/>
                  </a:lnTo>
                  <a:lnTo>
                    <a:pt x="1" y="369"/>
                  </a:lnTo>
                  <a:lnTo>
                    <a:pt x="0" y="350"/>
                  </a:lnTo>
                  <a:lnTo>
                    <a:pt x="0" y="350"/>
                  </a:lnTo>
                  <a:lnTo>
                    <a:pt x="1" y="333"/>
                  </a:lnTo>
                  <a:lnTo>
                    <a:pt x="2" y="315"/>
                  </a:lnTo>
                  <a:lnTo>
                    <a:pt x="5" y="297"/>
                  </a:lnTo>
                  <a:lnTo>
                    <a:pt x="7" y="280"/>
                  </a:lnTo>
                  <a:lnTo>
                    <a:pt x="11" y="263"/>
                  </a:lnTo>
                  <a:lnTo>
                    <a:pt x="16" y="247"/>
                  </a:lnTo>
                  <a:lnTo>
                    <a:pt x="21" y="231"/>
                  </a:lnTo>
                  <a:lnTo>
                    <a:pt x="28" y="215"/>
                  </a:lnTo>
                  <a:lnTo>
                    <a:pt x="35" y="199"/>
                  </a:lnTo>
                  <a:lnTo>
                    <a:pt x="43" y="184"/>
                  </a:lnTo>
                  <a:lnTo>
                    <a:pt x="51" y="169"/>
                  </a:lnTo>
                  <a:lnTo>
                    <a:pt x="60" y="156"/>
                  </a:lnTo>
                  <a:lnTo>
                    <a:pt x="70" y="141"/>
                  </a:lnTo>
                  <a:lnTo>
                    <a:pt x="80" y="128"/>
                  </a:lnTo>
                  <a:lnTo>
                    <a:pt x="91" y="115"/>
                  </a:lnTo>
                  <a:lnTo>
                    <a:pt x="102" y="104"/>
                  </a:lnTo>
                  <a:lnTo>
                    <a:pt x="115" y="91"/>
                  </a:lnTo>
                  <a:lnTo>
                    <a:pt x="128" y="80"/>
                  </a:lnTo>
                  <a:lnTo>
                    <a:pt x="141" y="70"/>
                  </a:lnTo>
                  <a:lnTo>
                    <a:pt x="155" y="61"/>
                  </a:lnTo>
                  <a:lnTo>
                    <a:pt x="169" y="51"/>
                  </a:lnTo>
                  <a:lnTo>
                    <a:pt x="184" y="43"/>
                  </a:lnTo>
                  <a:lnTo>
                    <a:pt x="199" y="35"/>
                  </a:lnTo>
                  <a:lnTo>
                    <a:pt x="215" y="28"/>
                  </a:lnTo>
                  <a:lnTo>
                    <a:pt x="231" y="22"/>
                  </a:lnTo>
                  <a:lnTo>
                    <a:pt x="247" y="16"/>
                  </a:lnTo>
                  <a:lnTo>
                    <a:pt x="263" y="11"/>
                  </a:lnTo>
                  <a:lnTo>
                    <a:pt x="280" y="7"/>
                  </a:lnTo>
                  <a:lnTo>
                    <a:pt x="297" y="5"/>
                  </a:lnTo>
                  <a:lnTo>
                    <a:pt x="315" y="3"/>
                  </a:lnTo>
                  <a:lnTo>
                    <a:pt x="333" y="1"/>
                  </a:lnTo>
                  <a:lnTo>
                    <a:pt x="350" y="0"/>
                  </a:lnTo>
                  <a:lnTo>
                    <a:pt x="350" y="0"/>
                  </a:lnTo>
                  <a:lnTo>
                    <a:pt x="369" y="1"/>
                  </a:lnTo>
                  <a:lnTo>
                    <a:pt x="386" y="3"/>
                  </a:lnTo>
                  <a:lnTo>
                    <a:pt x="405" y="5"/>
                  </a:lnTo>
                  <a:lnTo>
                    <a:pt x="422" y="7"/>
                  </a:lnTo>
                  <a:lnTo>
                    <a:pt x="438" y="11"/>
                  </a:lnTo>
                  <a:lnTo>
                    <a:pt x="455" y="16"/>
                  </a:lnTo>
                  <a:lnTo>
                    <a:pt x="471" y="22"/>
                  </a:lnTo>
                  <a:lnTo>
                    <a:pt x="487" y="28"/>
                  </a:lnTo>
                  <a:lnTo>
                    <a:pt x="503" y="35"/>
                  </a:lnTo>
                  <a:lnTo>
                    <a:pt x="518" y="43"/>
                  </a:lnTo>
                  <a:lnTo>
                    <a:pt x="533" y="51"/>
                  </a:lnTo>
                  <a:lnTo>
                    <a:pt x="546" y="61"/>
                  </a:lnTo>
                  <a:lnTo>
                    <a:pt x="560" y="70"/>
                  </a:lnTo>
                  <a:lnTo>
                    <a:pt x="574" y="80"/>
                  </a:lnTo>
                  <a:lnTo>
                    <a:pt x="586" y="91"/>
                  </a:lnTo>
                  <a:lnTo>
                    <a:pt x="598" y="104"/>
                  </a:lnTo>
                  <a:lnTo>
                    <a:pt x="611" y="115"/>
                  </a:lnTo>
                  <a:lnTo>
                    <a:pt x="622" y="128"/>
                  </a:lnTo>
                  <a:lnTo>
                    <a:pt x="631" y="141"/>
                  </a:lnTo>
                  <a:lnTo>
                    <a:pt x="641" y="156"/>
                  </a:lnTo>
                  <a:lnTo>
                    <a:pt x="650" y="169"/>
                  </a:lnTo>
                  <a:lnTo>
                    <a:pt x="659" y="184"/>
                  </a:lnTo>
                  <a:lnTo>
                    <a:pt x="666" y="199"/>
                  </a:lnTo>
                  <a:lnTo>
                    <a:pt x="673" y="215"/>
                  </a:lnTo>
                  <a:lnTo>
                    <a:pt x="680" y="231"/>
                  </a:lnTo>
                  <a:lnTo>
                    <a:pt x="686" y="247"/>
                  </a:lnTo>
                  <a:lnTo>
                    <a:pt x="691" y="263"/>
                  </a:lnTo>
                  <a:lnTo>
                    <a:pt x="694" y="280"/>
                  </a:lnTo>
                  <a:lnTo>
                    <a:pt x="697" y="297"/>
                  </a:lnTo>
                  <a:lnTo>
                    <a:pt x="699" y="315"/>
                  </a:lnTo>
                  <a:lnTo>
                    <a:pt x="701" y="333"/>
                  </a:lnTo>
                  <a:lnTo>
                    <a:pt x="701" y="350"/>
                  </a:lnTo>
                  <a:lnTo>
                    <a:pt x="701" y="350"/>
                  </a:lnTo>
                  <a:lnTo>
                    <a:pt x="701" y="369"/>
                  </a:lnTo>
                  <a:lnTo>
                    <a:pt x="699" y="386"/>
                  </a:lnTo>
                  <a:lnTo>
                    <a:pt x="697" y="405"/>
                  </a:lnTo>
                  <a:lnTo>
                    <a:pt x="694" y="422"/>
                  </a:lnTo>
                  <a:lnTo>
                    <a:pt x="691" y="438"/>
                  </a:lnTo>
                  <a:lnTo>
                    <a:pt x="686" y="455"/>
                  </a:lnTo>
                  <a:lnTo>
                    <a:pt x="680" y="471"/>
                  </a:lnTo>
                  <a:lnTo>
                    <a:pt x="673" y="487"/>
                  </a:lnTo>
                  <a:lnTo>
                    <a:pt x="666" y="503"/>
                  </a:lnTo>
                  <a:lnTo>
                    <a:pt x="659" y="518"/>
                  </a:lnTo>
                  <a:lnTo>
                    <a:pt x="650" y="533"/>
                  </a:lnTo>
                  <a:lnTo>
                    <a:pt x="641" y="547"/>
                  </a:lnTo>
                  <a:lnTo>
                    <a:pt x="631" y="560"/>
                  </a:lnTo>
                  <a:lnTo>
                    <a:pt x="622" y="574"/>
                  </a:lnTo>
                  <a:lnTo>
                    <a:pt x="611" y="586"/>
                  </a:lnTo>
                  <a:lnTo>
                    <a:pt x="598" y="598"/>
                  </a:lnTo>
                  <a:lnTo>
                    <a:pt x="586" y="611"/>
                  </a:lnTo>
                  <a:lnTo>
                    <a:pt x="574" y="622"/>
                  </a:lnTo>
                  <a:lnTo>
                    <a:pt x="560" y="632"/>
                  </a:lnTo>
                  <a:lnTo>
                    <a:pt x="546" y="642"/>
                  </a:lnTo>
                  <a:lnTo>
                    <a:pt x="533" y="650"/>
                  </a:lnTo>
                  <a:lnTo>
                    <a:pt x="518" y="659"/>
                  </a:lnTo>
                  <a:lnTo>
                    <a:pt x="503" y="667"/>
                  </a:lnTo>
                  <a:lnTo>
                    <a:pt x="487" y="674"/>
                  </a:lnTo>
                  <a:lnTo>
                    <a:pt x="471" y="680"/>
                  </a:lnTo>
                  <a:lnTo>
                    <a:pt x="455" y="686"/>
                  </a:lnTo>
                  <a:lnTo>
                    <a:pt x="438" y="691"/>
                  </a:lnTo>
                  <a:lnTo>
                    <a:pt x="422" y="695"/>
                  </a:lnTo>
                  <a:lnTo>
                    <a:pt x="405" y="697"/>
                  </a:lnTo>
                  <a:lnTo>
                    <a:pt x="386" y="700"/>
                  </a:lnTo>
                  <a:lnTo>
                    <a:pt x="369" y="701"/>
                  </a:lnTo>
                  <a:lnTo>
                    <a:pt x="350" y="702"/>
                  </a:lnTo>
                  <a:lnTo>
                    <a:pt x="350" y="702"/>
                  </a:lnTo>
                  <a:close/>
                </a:path>
              </a:pathLst>
            </a:custGeom>
            <a:solidFill>
              <a:srgbClr val="48369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4" name="Freeform 252">
              <a:extLst>
                <a:ext uri="{FF2B5EF4-FFF2-40B4-BE49-F238E27FC236}">
                  <a16:creationId xmlns:a16="http://schemas.microsoft.com/office/drawing/2014/main" id="{2EDA4A66-1811-C470-DDBD-2B0A3D09D89D}"/>
                </a:ext>
              </a:extLst>
            </p:cNvPr>
            <p:cNvSpPr>
              <a:spLocks/>
            </p:cNvSpPr>
            <p:nvPr/>
          </p:nvSpPr>
          <p:spPr bwMode="auto">
            <a:xfrm>
              <a:off x="7319228" y="3223990"/>
              <a:ext cx="484292" cy="370901"/>
            </a:xfrm>
            <a:custGeom>
              <a:avLst/>
              <a:gdLst>
                <a:gd name="T0" fmla="*/ 14 w 328"/>
                <a:gd name="T1" fmla="*/ 275 h 275"/>
                <a:gd name="T2" fmla="*/ 14 w 328"/>
                <a:gd name="T3" fmla="*/ 275 h 275"/>
                <a:gd name="T4" fmla="*/ 8 w 328"/>
                <a:gd name="T5" fmla="*/ 274 h 275"/>
                <a:gd name="T6" fmla="*/ 5 w 328"/>
                <a:gd name="T7" fmla="*/ 272 h 275"/>
                <a:gd name="T8" fmla="*/ 1 w 328"/>
                <a:gd name="T9" fmla="*/ 267 h 275"/>
                <a:gd name="T10" fmla="*/ 0 w 328"/>
                <a:gd name="T11" fmla="*/ 262 h 275"/>
                <a:gd name="T12" fmla="*/ 0 w 328"/>
                <a:gd name="T13" fmla="*/ 14 h 275"/>
                <a:gd name="T14" fmla="*/ 0 w 328"/>
                <a:gd name="T15" fmla="*/ 14 h 275"/>
                <a:gd name="T16" fmla="*/ 1 w 328"/>
                <a:gd name="T17" fmla="*/ 9 h 275"/>
                <a:gd name="T18" fmla="*/ 5 w 328"/>
                <a:gd name="T19" fmla="*/ 4 h 275"/>
                <a:gd name="T20" fmla="*/ 8 w 328"/>
                <a:gd name="T21" fmla="*/ 1 h 275"/>
                <a:gd name="T22" fmla="*/ 14 w 328"/>
                <a:gd name="T23" fmla="*/ 0 h 275"/>
                <a:gd name="T24" fmla="*/ 313 w 328"/>
                <a:gd name="T25" fmla="*/ 0 h 275"/>
                <a:gd name="T26" fmla="*/ 313 w 328"/>
                <a:gd name="T27" fmla="*/ 0 h 275"/>
                <a:gd name="T28" fmla="*/ 319 w 328"/>
                <a:gd name="T29" fmla="*/ 1 h 275"/>
                <a:gd name="T30" fmla="*/ 323 w 328"/>
                <a:gd name="T31" fmla="*/ 4 h 275"/>
                <a:gd name="T32" fmla="*/ 326 w 328"/>
                <a:gd name="T33" fmla="*/ 9 h 275"/>
                <a:gd name="T34" fmla="*/ 328 w 328"/>
                <a:gd name="T35" fmla="*/ 14 h 275"/>
                <a:gd name="T36" fmla="*/ 328 w 328"/>
                <a:gd name="T37" fmla="*/ 262 h 275"/>
                <a:gd name="T38" fmla="*/ 328 w 328"/>
                <a:gd name="T39" fmla="*/ 262 h 275"/>
                <a:gd name="T40" fmla="*/ 326 w 328"/>
                <a:gd name="T41" fmla="*/ 267 h 275"/>
                <a:gd name="T42" fmla="*/ 323 w 328"/>
                <a:gd name="T43" fmla="*/ 272 h 275"/>
                <a:gd name="T44" fmla="*/ 319 w 328"/>
                <a:gd name="T45" fmla="*/ 274 h 275"/>
                <a:gd name="T46" fmla="*/ 313 w 328"/>
                <a:gd name="T47" fmla="*/ 275 h 275"/>
                <a:gd name="T48" fmla="*/ 14 w 328"/>
                <a:gd name="T49" fmla="*/ 27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8" h="275">
                  <a:moveTo>
                    <a:pt x="14" y="275"/>
                  </a:moveTo>
                  <a:lnTo>
                    <a:pt x="14" y="275"/>
                  </a:lnTo>
                  <a:lnTo>
                    <a:pt x="8" y="274"/>
                  </a:lnTo>
                  <a:lnTo>
                    <a:pt x="5" y="272"/>
                  </a:lnTo>
                  <a:lnTo>
                    <a:pt x="1" y="267"/>
                  </a:lnTo>
                  <a:lnTo>
                    <a:pt x="0" y="262"/>
                  </a:lnTo>
                  <a:lnTo>
                    <a:pt x="0" y="14"/>
                  </a:lnTo>
                  <a:lnTo>
                    <a:pt x="0" y="14"/>
                  </a:lnTo>
                  <a:lnTo>
                    <a:pt x="1" y="9"/>
                  </a:lnTo>
                  <a:lnTo>
                    <a:pt x="5" y="4"/>
                  </a:lnTo>
                  <a:lnTo>
                    <a:pt x="8" y="1"/>
                  </a:lnTo>
                  <a:lnTo>
                    <a:pt x="14" y="0"/>
                  </a:lnTo>
                  <a:lnTo>
                    <a:pt x="313" y="0"/>
                  </a:lnTo>
                  <a:lnTo>
                    <a:pt x="313" y="0"/>
                  </a:lnTo>
                  <a:lnTo>
                    <a:pt x="319" y="1"/>
                  </a:lnTo>
                  <a:lnTo>
                    <a:pt x="323" y="4"/>
                  </a:lnTo>
                  <a:lnTo>
                    <a:pt x="326" y="9"/>
                  </a:lnTo>
                  <a:lnTo>
                    <a:pt x="328" y="14"/>
                  </a:lnTo>
                  <a:lnTo>
                    <a:pt x="328" y="262"/>
                  </a:lnTo>
                  <a:lnTo>
                    <a:pt x="328" y="262"/>
                  </a:lnTo>
                  <a:lnTo>
                    <a:pt x="326" y="267"/>
                  </a:lnTo>
                  <a:lnTo>
                    <a:pt x="323" y="272"/>
                  </a:lnTo>
                  <a:lnTo>
                    <a:pt x="319" y="274"/>
                  </a:lnTo>
                  <a:lnTo>
                    <a:pt x="313" y="275"/>
                  </a:lnTo>
                  <a:lnTo>
                    <a:pt x="14" y="2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5" name="Freeform 253">
              <a:extLst>
                <a:ext uri="{FF2B5EF4-FFF2-40B4-BE49-F238E27FC236}">
                  <a16:creationId xmlns:a16="http://schemas.microsoft.com/office/drawing/2014/main" id="{545F975C-EE1F-2C54-B841-C371A1887B14}"/>
                </a:ext>
              </a:extLst>
            </p:cNvPr>
            <p:cNvSpPr>
              <a:spLocks noEditPoints="1"/>
            </p:cNvSpPr>
            <p:nvPr/>
          </p:nvSpPr>
          <p:spPr bwMode="auto">
            <a:xfrm>
              <a:off x="7316275" y="3221293"/>
              <a:ext cx="488722" cy="377645"/>
            </a:xfrm>
            <a:custGeom>
              <a:avLst/>
              <a:gdLst>
                <a:gd name="T0" fmla="*/ 315 w 331"/>
                <a:gd name="T1" fmla="*/ 3 h 280"/>
                <a:gd name="T2" fmla="*/ 315 w 331"/>
                <a:gd name="T3" fmla="*/ 3 h 280"/>
                <a:gd name="T4" fmla="*/ 320 w 331"/>
                <a:gd name="T5" fmla="*/ 5 h 280"/>
                <a:gd name="T6" fmla="*/ 324 w 331"/>
                <a:gd name="T7" fmla="*/ 7 h 280"/>
                <a:gd name="T8" fmla="*/ 327 w 331"/>
                <a:gd name="T9" fmla="*/ 11 h 280"/>
                <a:gd name="T10" fmla="*/ 327 w 331"/>
                <a:gd name="T11" fmla="*/ 16 h 280"/>
                <a:gd name="T12" fmla="*/ 327 w 331"/>
                <a:gd name="T13" fmla="*/ 264 h 280"/>
                <a:gd name="T14" fmla="*/ 327 w 331"/>
                <a:gd name="T15" fmla="*/ 264 h 280"/>
                <a:gd name="T16" fmla="*/ 327 w 331"/>
                <a:gd name="T17" fmla="*/ 269 h 280"/>
                <a:gd name="T18" fmla="*/ 324 w 331"/>
                <a:gd name="T19" fmla="*/ 272 h 280"/>
                <a:gd name="T20" fmla="*/ 320 w 331"/>
                <a:gd name="T21" fmla="*/ 275 h 280"/>
                <a:gd name="T22" fmla="*/ 315 w 331"/>
                <a:gd name="T23" fmla="*/ 276 h 280"/>
                <a:gd name="T24" fmla="*/ 16 w 331"/>
                <a:gd name="T25" fmla="*/ 276 h 280"/>
                <a:gd name="T26" fmla="*/ 16 w 331"/>
                <a:gd name="T27" fmla="*/ 276 h 280"/>
                <a:gd name="T28" fmla="*/ 12 w 331"/>
                <a:gd name="T29" fmla="*/ 275 h 280"/>
                <a:gd name="T30" fmla="*/ 8 w 331"/>
                <a:gd name="T31" fmla="*/ 272 h 280"/>
                <a:gd name="T32" fmla="*/ 5 w 331"/>
                <a:gd name="T33" fmla="*/ 269 h 280"/>
                <a:gd name="T34" fmla="*/ 4 w 331"/>
                <a:gd name="T35" fmla="*/ 264 h 280"/>
                <a:gd name="T36" fmla="*/ 4 w 331"/>
                <a:gd name="T37" fmla="*/ 16 h 280"/>
                <a:gd name="T38" fmla="*/ 4 w 331"/>
                <a:gd name="T39" fmla="*/ 16 h 280"/>
                <a:gd name="T40" fmla="*/ 5 w 331"/>
                <a:gd name="T41" fmla="*/ 11 h 280"/>
                <a:gd name="T42" fmla="*/ 8 w 331"/>
                <a:gd name="T43" fmla="*/ 7 h 280"/>
                <a:gd name="T44" fmla="*/ 12 w 331"/>
                <a:gd name="T45" fmla="*/ 5 h 280"/>
                <a:gd name="T46" fmla="*/ 16 w 331"/>
                <a:gd name="T47" fmla="*/ 3 h 280"/>
                <a:gd name="T48" fmla="*/ 315 w 331"/>
                <a:gd name="T49" fmla="*/ 3 h 280"/>
                <a:gd name="T50" fmla="*/ 315 w 331"/>
                <a:gd name="T51" fmla="*/ 0 h 280"/>
                <a:gd name="T52" fmla="*/ 16 w 331"/>
                <a:gd name="T53" fmla="*/ 0 h 280"/>
                <a:gd name="T54" fmla="*/ 16 w 331"/>
                <a:gd name="T55" fmla="*/ 0 h 280"/>
                <a:gd name="T56" fmla="*/ 10 w 331"/>
                <a:gd name="T57" fmla="*/ 1 h 280"/>
                <a:gd name="T58" fmla="*/ 5 w 331"/>
                <a:gd name="T59" fmla="*/ 5 h 280"/>
                <a:gd name="T60" fmla="*/ 2 w 331"/>
                <a:gd name="T61" fmla="*/ 10 h 280"/>
                <a:gd name="T62" fmla="*/ 0 w 331"/>
                <a:gd name="T63" fmla="*/ 16 h 280"/>
                <a:gd name="T64" fmla="*/ 0 w 331"/>
                <a:gd name="T65" fmla="*/ 264 h 280"/>
                <a:gd name="T66" fmla="*/ 0 w 331"/>
                <a:gd name="T67" fmla="*/ 264 h 280"/>
                <a:gd name="T68" fmla="*/ 2 w 331"/>
                <a:gd name="T69" fmla="*/ 270 h 280"/>
                <a:gd name="T70" fmla="*/ 5 w 331"/>
                <a:gd name="T71" fmla="*/ 275 h 280"/>
                <a:gd name="T72" fmla="*/ 10 w 331"/>
                <a:gd name="T73" fmla="*/ 278 h 280"/>
                <a:gd name="T74" fmla="*/ 16 w 331"/>
                <a:gd name="T75" fmla="*/ 280 h 280"/>
                <a:gd name="T76" fmla="*/ 315 w 331"/>
                <a:gd name="T77" fmla="*/ 280 h 280"/>
                <a:gd name="T78" fmla="*/ 315 w 331"/>
                <a:gd name="T79" fmla="*/ 280 h 280"/>
                <a:gd name="T80" fmla="*/ 321 w 331"/>
                <a:gd name="T81" fmla="*/ 278 h 280"/>
                <a:gd name="T82" fmla="*/ 326 w 331"/>
                <a:gd name="T83" fmla="*/ 275 h 280"/>
                <a:gd name="T84" fmla="*/ 330 w 331"/>
                <a:gd name="T85" fmla="*/ 270 h 280"/>
                <a:gd name="T86" fmla="*/ 331 w 331"/>
                <a:gd name="T87" fmla="*/ 264 h 280"/>
                <a:gd name="T88" fmla="*/ 331 w 331"/>
                <a:gd name="T89" fmla="*/ 16 h 280"/>
                <a:gd name="T90" fmla="*/ 331 w 331"/>
                <a:gd name="T91" fmla="*/ 16 h 280"/>
                <a:gd name="T92" fmla="*/ 330 w 331"/>
                <a:gd name="T93" fmla="*/ 10 h 280"/>
                <a:gd name="T94" fmla="*/ 326 w 331"/>
                <a:gd name="T95" fmla="*/ 5 h 280"/>
                <a:gd name="T96" fmla="*/ 321 w 331"/>
                <a:gd name="T97" fmla="*/ 1 h 280"/>
                <a:gd name="T98" fmla="*/ 315 w 331"/>
                <a:gd name="T99" fmla="*/ 0 h 280"/>
                <a:gd name="T100" fmla="*/ 315 w 331"/>
                <a:gd name="T101"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1" h="280">
                  <a:moveTo>
                    <a:pt x="315" y="3"/>
                  </a:moveTo>
                  <a:lnTo>
                    <a:pt x="315" y="3"/>
                  </a:lnTo>
                  <a:lnTo>
                    <a:pt x="320" y="5"/>
                  </a:lnTo>
                  <a:lnTo>
                    <a:pt x="324" y="7"/>
                  </a:lnTo>
                  <a:lnTo>
                    <a:pt x="327" y="11"/>
                  </a:lnTo>
                  <a:lnTo>
                    <a:pt x="327" y="16"/>
                  </a:lnTo>
                  <a:lnTo>
                    <a:pt x="327" y="264"/>
                  </a:lnTo>
                  <a:lnTo>
                    <a:pt x="327" y="264"/>
                  </a:lnTo>
                  <a:lnTo>
                    <a:pt x="327" y="269"/>
                  </a:lnTo>
                  <a:lnTo>
                    <a:pt x="324" y="272"/>
                  </a:lnTo>
                  <a:lnTo>
                    <a:pt x="320" y="275"/>
                  </a:lnTo>
                  <a:lnTo>
                    <a:pt x="315" y="276"/>
                  </a:lnTo>
                  <a:lnTo>
                    <a:pt x="16" y="276"/>
                  </a:lnTo>
                  <a:lnTo>
                    <a:pt x="16" y="276"/>
                  </a:lnTo>
                  <a:lnTo>
                    <a:pt x="12" y="275"/>
                  </a:lnTo>
                  <a:lnTo>
                    <a:pt x="8" y="272"/>
                  </a:lnTo>
                  <a:lnTo>
                    <a:pt x="5" y="269"/>
                  </a:lnTo>
                  <a:lnTo>
                    <a:pt x="4" y="264"/>
                  </a:lnTo>
                  <a:lnTo>
                    <a:pt x="4" y="16"/>
                  </a:lnTo>
                  <a:lnTo>
                    <a:pt x="4" y="16"/>
                  </a:lnTo>
                  <a:lnTo>
                    <a:pt x="5" y="11"/>
                  </a:lnTo>
                  <a:lnTo>
                    <a:pt x="8" y="7"/>
                  </a:lnTo>
                  <a:lnTo>
                    <a:pt x="12" y="5"/>
                  </a:lnTo>
                  <a:lnTo>
                    <a:pt x="16" y="3"/>
                  </a:lnTo>
                  <a:lnTo>
                    <a:pt x="315" y="3"/>
                  </a:lnTo>
                  <a:close/>
                  <a:moveTo>
                    <a:pt x="315" y="0"/>
                  </a:moveTo>
                  <a:lnTo>
                    <a:pt x="16" y="0"/>
                  </a:lnTo>
                  <a:lnTo>
                    <a:pt x="16" y="0"/>
                  </a:lnTo>
                  <a:lnTo>
                    <a:pt x="10" y="1"/>
                  </a:lnTo>
                  <a:lnTo>
                    <a:pt x="5" y="5"/>
                  </a:lnTo>
                  <a:lnTo>
                    <a:pt x="2" y="10"/>
                  </a:lnTo>
                  <a:lnTo>
                    <a:pt x="0" y="16"/>
                  </a:lnTo>
                  <a:lnTo>
                    <a:pt x="0" y="264"/>
                  </a:lnTo>
                  <a:lnTo>
                    <a:pt x="0" y="264"/>
                  </a:lnTo>
                  <a:lnTo>
                    <a:pt x="2" y="270"/>
                  </a:lnTo>
                  <a:lnTo>
                    <a:pt x="5" y="275"/>
                  </a:lnTo>
                  <a:lnTo>
                    <a:pt x="10" y="278"/>
                  </a:lnTo>
                  <a:lnTo>
                    <a:pt x="16" y="280"/>
                  </a:lnTo>
                  <a:lnTo>
                    <a:pt x="315" y="280"/>
                  </a:lnTo>
                  <a:lnTo>
                    <a:pt x="315" y="280"/>
                  </a:lnTo>
                  <a:lnTo>
                    <a:pt x="321" y="278"/>
                  </a:lnTo>
                  <a:lnTo>
                    <a:pt x="326" y="275"/>
                  </a:lnTo>
                  <a:lnTo>
                    <a:pt x="330" y="270"/>
                  </a:lnTo>
                  <a:lnTo>
                    <a:pt x="331" y="264"/>
                  </a:lnTo>
                  <a:lnTo>
                    <a:pt x="331" y="16"/>
                  </a:lnTo>
                  <a:lnTo>
                    <a:pt x="331" y="16"/>
                  </a:lnTo>
                  <a:lnTo>
                    <a:pt x="330" y="10"/>
                  </a:lnTo>
                  <a:lnTo>
                    <a:pt x="326" y="5"/>
                  </a:lnTo>
                  <a:lnTo>
                    <a:pt x="321" y="1"/>
                  </a:lnTo>
                  <a:lnTo>
                    <a:pt x="315" y="0"/>
                  </a:lnTo>
                  <a:lnTo>
                    <a:pt x="315" y="0"/>
                  </a:lnTo>
                  <a:close/>
                </a:path>
              </a:pathLst>
            </a:custGeom>
            <a:solidFill>
              <a:srgbClr val="8FC4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6" name="Freeform 254">
              <a:extLst>
                <a:ext uri="{FF2B5EF4-FFF2-40B4-BE49-F238E27FC236}">
                  <a16:creationId xmlns:a16="http://schemas.microsoft.com/office/drawing/2014/main" id="{C51F8C8B-F5CE-1D13-D78C-F734C1E5802E}"/>
                </a:ext>
              </a:extLst>
            </p:cNvPr>
            <p:cNvSpPr>
              <a:spLocks/>
            </p:cNvSpPr>
            <p:nvPr/>
          </p:nvSpPr>
          <p:spPr bwMode="auto">
            <a:xfrm>
              <a:off x="7322181" y="3225339"/>
              <a:ext cx="476910" cy="368204"/>
            </a:xfrm>
            <a:custGeom>
              <a:avLst/>
              <a:gdLst>
                <a:gd name="T0" fmla="*/ 311 w 323"/>
                <a:gd name="T1" fmla="*/ 0 h 273"/>
                <a:gd name="T2" fmla="*/ 311 w 323"/>
                <a:gd name="T3" fmla="*/ 0 h 273"/>
                <a:gd name="T4" fmla="*/ 316 w 323"/>
                <a:gd name="T5" fmla="*/ 2 h 273"/>
                <a:gd name="T6" fmla="*/ 320 w 323"/>
                <a:gd name="T7" fmla="*/ 4 h 273"/>
                <a:gd name="T8" fmla="*/ 323 w 323"/>
                <a:gd name="T9" fmla="*/ 8 h 273"/>
                <a:gd name="T10" fmla="*/ 323 w 323"/>
                <a:gd name="T11" fmla="*/ 13 h 273"/>
                <a:gd name="T12" fmla="*/ 323 w 323"/>
                <a:gd name="T13" fmla="*/ 261 h 273"/>
                <a:gd name="T14" fmla="*/ 323 w 323"/>
                <a:gd name="T15" fmla="*/ 261 h 273"/>
                <a:gd name="T16" fmla="*/ 323 w 323"/>
                <a:gd name="T17" fmla="*/ 266 h 273"/>
                <a:gd name="T18" fmla="*/ 320 w 323"/>
                <a:gd name="T19" fmla="*/ 269 h 273"/>
                <a:gd name="T20" fmla="*/ 316 w 323"/>
                <a:gd name="T21" fmla="*/ 272 h 273"/>
                <a:gd name="T22" fmla="*/ 311 w 323"/>
                <a:gd name="T23" fmla="*/ 273 h 273"/>
                <a:gd name="T24" fmla="*/ 12 w 323"/>
                <a:gd name="T25" fmla="*/ 273 h 273"/>
                <a:gd name="T26" fmla="*/ 12 w 323"/>
                <a:gd name="T27" fmla="*/ 273 h 273"/>
                <a:gd name="T28" fmla="*/ 8 w 323"/>
                <a:gd name="T29" fmla="*/ 272 h 273"/>
                <a:gd name="T30" fmla="*/ 4 w 323"/>
                <a:gd name="T31" fmla="*/ 269 h 273"/>
                <a:gd name="T32" fmla="*/ 1 w 323"/>
                <a:gd name="T33" fmla="*/ 266 h 273"/>
                <a:gd name="T34" fmla="*/ 0 w 323"/>
                <a:gd name="T35" fmla="*/ 261 h 273"/>
                <a:gd name="T36" fmla="*/ 0 w 323"/>
                <a:gd name="T37" fmla="*/ 13 h 273"/>
                <a:gd name="T38" fmla="*/ 0 w 323"/>
                <a:gd name="T39" fmla="*/ 13 h 273"/>
                <a:gd name="T40" fmla="*/ 1 w 323"/>
                <a:gd name="T41" fmla="*/ 8 h 273"/>
                <a:gd name="T42" fmla="*/ 4 w 323"/>
                <a:gd name="T43" fmla="*/ 4 h 273"/>
                <a:gd name="T44" fmla="*/ 8 w 323"/>
                <a:gd name="T45" fmla="*/ 2 h 273"/>
                <a:gd name="T46" fmla="*/ 12 w 323"/>
                <a:gd name="T47" fmla="*/ 0 h 273"/>
                <a:gd name="T48" fmla="*/ 311 w 323"/>
                <a:gd name="T49"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3" h="273">
                  <a:moveTo>
                    <a:pt x="311" y="0"/>
                  </a:moveTo>
                  <a:lnTo>
                    <a:pt x="311" y="0"/>
                  </a:lnTo>
                  <a:lnTo>
                    <a:pt x="316" y="2"/>
                  </a:lnTo>
                  <a:lnTo>
                    <a:pt x="320" y="4"/>
                  </a:lnTo>
                  <a:lnTo>
                    <a:pt x="323" y="8"/>
                  </a:lnTo>
                  <a:lnTo>
                    <a:pt x="323" y="13"/>
                  </a:lnTo>
                  <a:lnTo>
                    <a:pt x="323" y="261"/>
                  </a:lnTo>
                  <a:lnTo>
                    <a:pt x="323" y="261"/>
                  </a:lnTo>
                  <a:lnTo>
                    <a:pt x="323" y="266"/>
                  </a:lnTo>
                  <a:lnTo>
                    <a:pt x="320" y="269"/>
                  </a:lnTo>
                  <a:lnTo>
                    <a:pt x="316" y="272"/>
                  </a:lnTo>
                  <a:lnTo>
                    <a:pt x="311" y="273"/>
                  </a:lnTo>
                  <a:lnTo>
                    <a:pt x="12" y="273"/>
                  </a:lnTo>
                  <a:lnTo>
                    <a:pt x="12" y="273"/>
                  </a:lnTo>
                  <a:lnTo>
                    <a:pt x="8" y="272"/>
                  </a:lnTo>
                  <a:lnTo>
                    <a:pt x="4" y="269"/>
                  </a:lnTo>
                  <a:lnTo>
                    <a:pt x="1" y="266"/>
                  </a:lnTo>
                  <a:lnTo>
                    <a:pt x="0" y="261"/>
                  </a:lnTo>
                  <a:lnTo>
                    <a:pt x="0" y="13"/>
                  </a:lnTo>
                  <a:lnTo>
                    <a:pt x="0" y="13"/>
                  </a:lnTo>
                  <a:lnTo>
                    <a:pt x="1" y="8"/>
                  </a:lnTo>
                  <a:lnTo>
                    <a:pt x="4" y="4"/>
                  </a:lnTo>
                  <a:lnTo>
                    <a:pt x="8" y="2"/>
                  </a:lnTo>
                  <a:lnTo>
                    <a:pt x="12" y="0"/>
                  </a:lnTo>
                  <a:lnTo>
                    <a:pt x="3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7" name="Freeform 255">
              <a:extLst>
                <a:ext uri="{FF2B5EF4-FFF2-40B4-BE49-F238E27FC236}">
                  <a16:creationId xmlns:a16="http://schemas.microsoft.com/office/drawing/2014/main" id="{3A9743F8-C682-FA5A-980F-B08F3E776EDC}"/>
                </a:ext>
              </a:extLst>
            </p:cNvPr>
            <p:cNvSpPr>
              <a:spLocks/>
            </p:cNvSpPr>
            <p:nvPr/>
          </p:nvSpPr>
          <p:spPr bwMode="auto">
            <a:xfrm>
              <a:off x="7316275" y="3221293"/>
              <a:ext cx="488722" cy="377645"/>
            </a:xfrm>
            <a:custGeom>
              <a:avLst/>
              <a:gdLst>
                <a:gd name="T0" fmla="*/ 315 w 331"/>
                <a:gd name="T1" fmla="*/ 0 h 280"/>
                <a:gd name="T2" fmla="*/ 16 w 331"/>
                <a:gd name="T3" fmla="*/ 0 h 280"/>
                <a:gd name="T4" fmla="*/ 16 w 331"/>
                <a:gd name="T5" fmla="*/ 0 h 280"/>
                <a:gd name="T6" fmla="*/ 10 w 331"/>
                <a:gd name="T7" fmla="*/ 1 h 280"/>
                <a:gd name="T8" fmla="*/ 5 w 331"/>
                <a:gd name="T9" fmla="*/ 5 h 280"/>
                <a:gd name="T10" fmla="*/ 2 w 331"/>
                <a:gd name="T11" fmla="*/ 10 h 280"/>
                <a:gd name="T12" fmla="*/ 0 w 331"/>
                <a:gd name="T13" fmla="*/ 16 h 280"/>
                <a:gd name="T14" fmla="*/ 0 w 331"/>
                <a:gd name="T15" fmla="*/ 264 h 280"/>
                <a:gd name="T16" fmla="*/ 0 w 331"/>
                <a:gd name="T17" fmla="*/ 264 h 280"/>
                <a:gd name="T18" fmla="*/ 2 w 331"/>
                <a:gd name="T19" fmla="*/ 270 h 280"/>
                <a:gd name="T20" fmla="*/ 5 w 331"/>
                <a:gd name="T21" fmla="*/ 275 h 280"/>
                <a:gd name="T22" fmla="*/ 10 w 331"/>
                <a:gd name="T23" fmla="*/ 278 h 280"/>
                <a:gd name="T24" fmla="*/ 16 w 331"/>
                <a:gd name="T25" fmla="*/ 280 h 280"/>
                <a:gd name="T26" fmla="*/ 315 w 331"/>
                <a:gd name="T27" fmla="*/ 280 h 280"/>
                <a:gd name="T28" fmla="*/ 315 w 331"/>
                <a:gd name="T29" fmla="*/ 280 h 280"/>
                <a:gd name="T30" fmla="*/ 321 w 331"/>
                <a:gd name="T31" fmla="*/ 278 h 280"/>
                <a:gd name="T32" fmla="*/ 326 w 331"/>
                <a:gd name="T33" fmla="*/ 275 h 280"/>
                <a:gd name="T34" fmla="*/ 330 w 331"/>
                <a:gd name="T35" fmla="*/ 270 h 280"/>
                <a:gd name="T36" fmla="*/ 331 w 331"/>
                <a:gd name="T37" fmla="*/ 264 h 280"/>
                <a:gd name="T38" fmla="*/ 331 w 331"/>
                <a:gd name="T39" fmla="*/ 16 h 280"/>
                <a:gd name="T40" fmla="*/ 331 w 331"/>
                <a:gd name="T41" fmla="*/ 16 h 280"/>
                <a:gd name="T42" fmla="*/ 330 w 331"/>
                <a:gd name="T43" fmla="*/ 10 h 280"/>
                <a:gd name="T44" fmla="*/ 326 w 331"/>
                <a:gd name="T45" fmla="*/ 5 h 280"/>
                <a:gd name="T46" fmla="*/ 321 w 331"/>
                <a:gd name="T47" fmla="*/ 1 h 280"/>
                <a:gd name="T48" fmla="*/ 315 w 331"/>
                <a:gd name="T49" fmla="*/ 0 h 280"/>
                <a:gd name="T50" fmla="*/ 315 w 331"/>
                <a:gd name="T51"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1" h="280">
                  <a:moveTo>
                    <a:pt x="315" y="0"/>
                  </a:moveTo>
                  <a:lnTo>
                    <a:pt x="16" y="0"/>
                  </a:lnTo>
                  <a:lnTo>
                    <a:pt x="16" y="0"/>
                  </a:lnTo>
                  <a:lnTo>
                    <a:pt x="10" y="1"/>
                  </a:lnTo>
                  <a:lnTo>
                    <a:pt x="5" y="5"/>
                  </a:lnTo>
                  <a:lnTo>
                    <a:pt x="2" y="10"/>
                  </a:lnTo>
                  <a:lnTo>
                    <a:pt x="0" y="16"/>
                  </a:lnTo>
                  <a:lnTo>
                    <a:pt x="0" y="264"/>
                  </a:lnTo>
                  <a:lnTo>
                    <a:pt x="0" y="264"/>
                  </a:lnTo>
                  <a:lnTo>
                    <a:pt x="2" y="270"/>
                  </a:lnTo>
                  <a:lnTo>
                    <a:pt x="5" y="275"/>
                  </a:lnTo>
                  <a:lnTo>
                    <a:pt x="10" y="278"/>
                  </a:lnTo>
                  <a:lnTo>
                    <a:pt x="16" y="280"/>
                  </a:lnTo>
                  <a:lnTo>
                    <a:pt x="315" y="280"/>
                  </a:lnTo>
                  <a:lnTo>
                    <a:pt x="315" y="280"/>
                  </a:lnTo>
                  <a:lnTo>
                    <a:pt x="321" y="278"/>
                  </a:lnTo>
                  <a:lnTo>
                    <a:pt x="326" y="275"/>
                  </a:lnTo>
                  <a:lnTo>
                    <a:pt x="330" y="270"/>
                  </a:lnTo>
                  <a:lnTo>
                    <a:pt x="331" y="264"/>
                  </a:lnTo>
                  <a:lnTo>
                    <a:pt x="331" y="16"/>
                  </a:lnTo>
                  <a:lnTo>
                    <a:pt x="331" y="16"/>
                  </a:lnTo>
                  <a:lnTo>
                    <a:pt x="330" y="10"/>
                  </a:lnTo>
                  <a:lnTo>
                    <a:pt x="326" y="5"/>
                  </a:lnTo>
                  <a:lnTo>
                    <a:pt x="321" y="1"/>
                  </a:lnTo>
                  <a:lnTo>
                    <a:pt x="315" y="0"/>
                  </a:lnTo>
                  <a:lnTo>
                    <a:pt x="3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8" name="Freeform 256">
              <a:extLst>
                <a:ext uri="{FF2B5EF4-FFF2-40B4-BE49-F238E27FC236}">
                  <a16:creationId xmlns:a16="http://schemas.microsoft.com/office/drawing/2014/main" id="{14E79A11-601C-6043-0604-58135D4D8746}"/>
                </a:ext>
              </a:extLst>
            </p:cNvPr>
            <p:cNvSpPr>
              <a:spLocks/>
            </p:cNvSpPr>
            <p:nvPr/>
          </p:nvSpPr>
          <p:spPr bwMode="auto">
            <a:xfrm>
              <a:off x="7316275" y="3221293"/>
              <a:ext cx="488722" cy="60693"/>
            </a:xfrm>
            <a:custGeom>
              <a:avLst/>
              <a:gdLst>
                <a:gd name="T0" fmla="*/ 315 w 331"/>
                <a:gd name="T1" fmla="*/ 0 h 45"/>
                <a:gd name="T2" fmla="*/ 16 w 331"/>
                <a:gd name="T3" fmla="*/ 0 h 45"/>
                <a:gd name="T4" fmla="*/ 16 w 331"/>
                <a:gd name="T5" fmla="*/ 0 h 45"/>
                <a:gd name="T6" fmla="*/ 10 w 331"/>
                <a:gd name="T7" fmla="*/ 1 h 45"/>
                <a:gd name="T8" fmla="*/ 5 w 331"/>
                <a:gd name="T9" fmla="*/ 5 h 45"/>
                <a:gd name="T10" fmla="*/ 2 w 331"/>
                <a:gd name="T11" fmla="*/ 10 h 45"/>
                <a:gd name="T12" fmla="*/ 0 w 331"/>
                <a:gd name="T13" fmla="*/ 16 h 45"/>
                <a:gd name="T14" fmla="*/ 0 w 331"/>
                <a:gd name="T15" fmla="*/ 45 h 45"/>
                <a:gd name="T16" fmla="*/ 331 w 331"/>
                <a:gd name="T17" fmla="*/ 45 h 45"/>
                <a:gd name="T18" fmla="*/ 331 w 331"/>
                <a:gd name="T19" fmla="*/ 16 h 45"/>
                <a:gd name="T20" fmla="*/ 331 w 331"/>
                <a:gd name="T21" fmla="*/ 16 h 45"/>
                <a:gd name="T22" fmla="*/ 330 w 331"/>
                <a:gd name="T23" fmla="*/ 10 h 45"/>
                <a:gd name="T24" fmla="*/ 326 w 331"/>
                <a:gd name="T25" fmla="*/ 5 h 45"/>
                <a:gd name="T26" fmla="*/ 321 w 331"/>
                <a:gd name="T27" fmla="*/ 1 h 45"/>
                <a:gd name="T28" fmla="*/ 315 w 331"/>
                <a:gd name="T29" fmla="*/ 0 h 45"/>
                <a:gd name="T30" fmla="*/ 315 w 331"/>
                <a:gd name="T3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1" h="45">
                  <a:moveTo>
                    <a:pt x="315" y="0"/>
                  </a:moveTo>
                  <a:lnTo>
                    <a:pt x="16" y="0"/>
                  </a:lnTo>
                  <a:lnTo>
                    <a:pt x="16" y="0"/>
                  </a:lnTo>
                  <a:lnTo>
                    <a:pt x="10" y="1"/>
                  </a:lnTo>
                  <a:lnTo>
                    <a:pt x="5" y="5"/>
                  </a:lnTo>
                  <a:lnTo>
                    <a:pt x="2" y="10"/>
                  </a:lnTo>
                  <a:lnTo>
                    <a:pt x="0" y="16"/>
                  </a:lnTo>
                  <a:lnTo>
                    <a:pt x="0" y="45"/>
                  </a:lnTo>
                  <a:lnTo>
                    <a:pt x="331" y="45"/>
                  </a:lnTo>
                  <a:lnTo>
                    <a:pt x="331" y="16"/>
                  </a:lnTo>
                  <a:lnTo>
                    <a:pt x="331" y="16"/>
                  </a:lnTo>
                  <a:lnTo>
                    <a:pt x="330" y="10"/>
                  </a:lnTo>
                  <a:lnTo>
                    <a:pt x="326" y="5"/>
                  </a:lnTo>
                  <a:lnTo>
                    <a:pt x="321" y="1"/>
                  </a:lnTo>
                  <a:lnTo>
                    <a:pt x="315" y="0"/>
                  </a:lnTo>
                  <a:lnTo>
                    <a:pt x="315" y="0"/>
                  </a:lnTo>
                  <a:close/>
                </a:path>
              </a:pathLst>
            </a:custGeom>
            <a:solidFill>
              <a:srgbClr val="8FC4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9" name="Freeform 257">
              <a:extLst>
                <a:ext uri="{FF2B5EF4-FFF2-40B4-BE49-F238E27FC236}">
                  <a16:creationId xmlns:a16="http://schemas.microsoft.com/office/drawing/2014/main" id="{BF88815A-4841-00BE-0982-965529F791AF}"/>
                </a:ext>
              </a:extLst>
            </p:cNvPr>
            <p:cNvSpPr>
              <a:spLocks/>
            </p:cNvSpPr>
            <p:nvPr/>
          </p:nvSpPr>
          <p:spPr bwMode="auto">
            <a:xfrm>
              <a:off x="7338422" y="3241523"/>
              <a:ext cx="25101" cy="22929"/>
            </a:xfrm>
            <a:custGeom>
              <a:avLst/>
              <a:gdLst>
                <a:gd name="T0" fmla="*/ 17 w 17"/>
                <a:gd name="T1" fmla="*/ 8 h 17"/>
                <a:gd name="T2" fmla="*/ 17 w 17"/>
                <a:gd name="T3" fmla="*/ 8 h 17"/>
                <a:gd name="T4" fmla="*/ 16 w 17"/>
                <a:gd name="T5" fmla="*/ 12 h 17"/>
                <a:gd name="T6" fmla="*/ 15 w 17"/>
                <a:gd name="T7" fmla="*/ 14 h 17"/>
                <a:gd name="T8" fmla="*/ 13 w 17"/>
                <a:gd name="T9" fmla="*/ 17 h 17"/>
                <a:gd name="T10" fmla="*/ 9 w 17"/>
                <a:gd name="T11" fmla="*/ 17 h 17"/>
                <a:gd name="T12" fmla="*/ 9 w 17"/>
                <a:gd name="T13" fmla="*/ 17 h 17"/>
                <a:gd name="T14" fmla="*/ 5 w 17"/>
                <a:gd name="T15" fmla="*/ 17 h 17"/>
                <a:gd name="T16" fmla="*/ 3 w 17"/>
                <a:gd name="T17" fmla="*/ 14 h 17"/>
                <a:gd name="T18" fmla="*/ 0 w 17"/>
                <a:gd name="T19" fmla="*/ 12 h 17"/>
                <a:gd name="T20" fmla="*/ 0 w 17"/>
                <a:gd name="T21" fmla="*/ 8 h 17"/>
                <a:gd name="T22" fmla="*/ 0 w 17"/>
                <a:gd name="T23" fmla="*/ 8 h 17"/>
                <a:gd name="T24" fmla="*/ 0 w 17"/>
                <a:gd name="T25" fmla="*/ 4 h 17"/>
                <a:gd name="T26" fmla="*/ 3 w 17"/>
                <a:gd name="T27" fmla="*/ 2 h 17"/>
                <a:gd name="T28" fmla="*/ 5 w 17"/>
                <a:gd name="T29" fmla="*/ 1 h 17"/>
                <a:gd name="T30" fmla="*/ 9 w 17"/>
                <a:gd name="T31" fmla="*/ 0 h 17"/>
                <a:gd name="T32" fmla="*/ 9 w 17"/>
                <a:gd name="T33" fmla="*/ 0 h 17"/>
                <a:gd name="T34" fmla="*/ 13 w 17"/>
                <a:gd name="T35" fmla="*/ 1 h 17"/>
                <a:gd name="T36" fmla="*/ 15 w 17"/>
                <a:gd name="T37" fmla="*/ 2 h 17"/>
                <a:gd name="T38" fmla="*/ 16 w 17"/>
                <a:gd name="T39" fmla="*/ 4 h 17"/>
                <a:gd name="T40" fmla="*/ 17 w 17"/>
                <a:gd name="T41" fmla="*/ 8 h 17"/>
                <a:gd name="T42" fmla="*/ 17 w 17"/>
                <a:gd name="T43"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7">
                  <a:moveTo>
                    <a:pt x="17" y="8"/>
                  </a:moveTo>
                  <a:lnTo>
                    <a:pt x="17" y="8"/>
                  </a:lnTo>
                  <a:lnTo>
                    <a:pt x="16" y="12"/>
                  </a:lnTo>
                  <a:lnTo>
                    <a:pt x="15" y="14"/>
                  </a:lnTo>
                  <a:lnTo>
                    <a:pt x="13" y="17"/>
                  </a:lnTo>
                  <a:lnTo>
                    <a:pt x="9" y="17"/>
                  </a:lnTo>
                  <a:lnTo>
                    <a:pt x="9" y="17"/>
                  </a:lnTo>
                  <a:lnTo>
                    <a:pt x="5" y="17"/>
                  </a:lnTo>
                  <a:lnTo>
                    <a:pt x="3" y="14"/>
                  </a:lnTo>
                  <a:lnTo>
                    <a:pt x="0" y="12"/>
                  </a:lnTo>
                  <a:lnTo>
                    <a:pt x="0" y="8"/>
                  </a:lnTo>
                  <a:lnTo>
                    <a:pt x="0" y="8"/>
                  </a:lnTo>
                  <a:lnTo>
                    <a:pt x="0" y="4"/>
                  </a:lnTo>
                  <a:lnTo>
                    <a:pt x="3" y="2"/>
                  </a:lnTo>
                  <a:lnTo>
                    <a:pt x="5" y="1"/>
                  </a:lnTo>
                  <a:lnTo>
                    <a:pt x="9" y="0"/>
                  </a:lnTo>
                  <a:lnTo>
                    <a:pt x="9" y="0"/>
                  </a:lnTo>
                  <a:lnTo>
                    <a:pt x="13" y="1"/>
                  </a:lnTo>
                  <a:lnTo>
                    <a:pt x="15" y="2"/>
                  </a:lnTo>
                  <a:lnTo>
                    <a:pt x="16" y="4"/>
                  </a:lnTo>
                  <a:lnTo>
                    <a:pt x="17" y="8"/>
                  </a:lnTo>
                  <a:lnTo>
                    <a:pt x="17"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0" name="Freeform 258">
              <a:extLst>
                <a:ext uri="{FF2B5EF4-FFF2-40B4-BE49-F238E27FC236}">
                  <a16:creationId xmlns:a16="http://schemas.microsoft.com/office/drawing/2014/main" id="{180F1048-8DA3-D46D-D568-BCA591819AF2}"/>
                </a:ext>
              </a:extLst>
            </p:cNvPr>
            <p:cNvSpPr>
              <a:spLocks/>
            </p:cNvSpPr>
            <p:nvPr/>
          </p:nvSpPr>
          <p:spPr bwMode="auto">
            <a:xfrm>
              <a:off x="7375335" y="3241523"/>
              <a:ext cx="25101" cy="22929"/>
            </a:xfrm>
            <a:custGeom>
              <a:avLst/>
              <a:gdLst>
                <a:gd name="T0" fmla="*/ 17 w 17"/>
                <a:gd name="T1" fmla="*/ 8 h 17"/>
                <a:gd name="T2" fmla="*/ 17 w 17"/>
                <a:gd name="T3" fmla="*/ 8 h 17"/>
                <a:gd name="T4" fmla="*/ 16 w 17"/>
                <a:gd name="T5" fmla="*/ 12 h 17"/>
                <a:gd name="T6" fmla="*/ 15 w 17"/>
                <a:gd name="T7" fmla="*/ 14 h 17"/>
                <a:gd name="T8" fmla="*/ 11 w 17"/>
                <a:gd name="T9" fmla="*/ 17 h 17"/>
                <a:gd name="T10" fmla="*/ 9 w 17"/>
                <a:gd name="T11" fmla="*/ 17 h 17"/>
                <a:gd name="T12" fmla="*/ 9 w 17"/>
                <a:gd name="T13" fmla="*/ 17 h 17"/>
                <a:gd name="T14" fmla="*/ 5 w 17"/>
                <a:gd name="T15" fmla="*/ 17 h 17"/>
                <a:gd name="T16" fmla="*/ 2 w 17"/>
                <a:gd name="T17" fmla="*/ 14 h 17"/>
                <a:gd name="T18" fmla="*/ 0 w 17"/>
                <a:gd name="T19" fmla="*/ 12 h 17"/>
                <a:gd name="T20" fmla="*/ 0 w 17"/>
                <a:gd name="T21" fmla="*/ 8 h 17"/>
                <a:gd name="T22" fmla="*/ 0 w 17"/>
                <a:gd name="T23" fmla="*/ 8 h 17"/>
                <a:gd name="T24" fmla="*/ 0 w 17"/>
                <a:gd name="T25" fmla="*/ 4 h 17"/>
                <a:gd name="T26" fmla="*/ 2 w 17"/>
                <a:gd name="T27" fmla="*/ 2 h 17"/>
                <a:gd name="T28" fmla="*/ 5 w 17"/>
                <a:gd name="T29" fmla="*/ 1 h 17"/>
                <a:gd name="T30" fmla="*/ 9 w 17"/>
                <a:gd name="T31" fmla="*/ 0 h 17"/>
                <a:gd name="T32" fmla="*/ 9 w 17"/>
                <a:gd name="T33" fmla="*/ 0 h 17"/>
                <a:gd name="T34" fmla="*/ 11 w 17"/>
                <a:gd name="T35" fmla="*/ 1 h 17"/>
                <a:gd name="T36" fmla="*/ 15 w 17"/>
                <a:gd name="T37" fmla="*/ 2 h 17"/>
                <a:gd name="T38" fmla="*/ 16 w 17"/>
                <a:gd name="T39" fmla="*/ 4 h 17"/>
                <a:gd name="T40" fmla="*/ 17 w 17"/>
                <a:gd name="T41" fmla="*/ 8 h 17"/>
                <a:gd name="T42" fmla="*/ 17 w 17"/>
                <a:gd name="T43"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7">
                  <a:moveTo>
                    <a:pt x="17" y="8"/>
                  </a:moveTo>
                  <a:lnTo>
                    <a:pt x="17" y="8"/>
                  </a:lnTo>
                  <a:lnTo>
                    <a:pt x="16" y="12"/>
                  </a:lnTo>
                  <a:lnTo>
                    <a:pt x="15" y="14"/>
                  </a:lnTo>
                  <a:lnTo>
                    <a:pt x="11" y="17"/>
                  </a:lnTo>
                  <a:lnTo>
                    <a:pt x="9" y="17"/>
                  </a:lnTo>
                  <a:lnTo>
                    <a:pt x="9" y="17"/>
                  </a:lnTo>
                  <a:lnTo>
                    <a:pt x="5" y="17"/>
                  </a:lnTo>
                  <a:lnTo>
                    <a:pt x="2" y="14"/>
                  </a:lnTo>
                  <a:lnTo>
                    <a:pt x="0" y="12"/>
                  </a:lnTo>
                  <a:lnTo>
                    <a:pt x="0" y="8"/>
                  </a:lnTo>
                  <a:lnTo>
                    <a:pt x="0" y="8"/>
                  </a:lnTo>
                  <a:lnTo>
                    <a:pt x="0" y="4"/>
                  </a:lnTo>
                  <a:lnTo>
                    <a:pt x="2" y="2"/>
                  </a:lnTo>
                  <a:lnTo>
                    <a:pt x="5" y="1"/>
                  </a:lnTo>
                  <a:lnTo>
                    <a:pt x="9" y="0"/>
                  </a:lnTo>
                  <a:lnTo>
                    <a:pt x="9" y="0"/>
                  </a:lnTo>
                  <a:lnTo>
                    <a:pt x="11" y="1"/>
                  </a:lnTo>
                  <a:lnTo>
                    <a:pt x="15" y="2"/>
                  </a:lnTo>
                  <a:lnTo>
                    <a:pt x="16" y="4"/>
                  </a:lnTo>
                  <a:lnTo>
                    <a:pt x="17" y="8"/>
                  </a:lnTo>
                  <a:lnTo>
                    <a:pt x="17"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1" name="Freeform 259">
              <a:extLst>
                <a:ext uri="{FF2B5EF4-FFF2-40B4-BE49-F238E27FC236}">
                  <a16:creationId xmlns:a16="http://schemas.microsoft.com/office/drawing/2014/main" id="{15B36E3A-B814-B3B6-10A0-E5695EB053E8}"/>
                </a:ext>
              </a:extLst>
            </p:cNvPr>
            <p:cNvSpPr>
              <a:spLocks/>
            </p:cNvSpPr>
            <p:nvPr/>
          </p:nvSpPr>
          <p:spPr bwMode="auto">
            <a:xfrm>
              <a:off x="7409294" y="3241523"/>
              <a:ext cx="28054" cy="22929"/>
            </a:xfrm>
            <a:custGeom>
              <a:avLst/>
              <a:gdLst>
                <a:gd name="T0" fmla="*/ 19 w 19"/>
                <a:gd name="T1" fmla="*/ 8 h 17"/>
                <a:gd name="T2" fmla="*/ 19 w 19"/>
                <a:gd name="T3" fmla="*/ 8 h 17"/>
                <a:gd name="T4" fmla="*/ 18 w 19"/>
                <a:gd name="T5" fmla="*/ 12 h 17"/>
                <a:gd name="T6" fmla="*/ 16 w 19"/>
                <a:gd name="T7" fmla="*/ 14 h 17"/>
                <a:gd name="T8" fmla="*/ 13 w 19"/>
                <a:gd name="T9" fmla="*/ 17 h 17"/>
                <a:gd name="T10" fmla="*/ 10 w 19"/>
                <a:gd name="T11" fmla="*/ 17 h 17"/>
                <a:gd name="T12" fmla="*/ 10 w 19"/>
                <a:gd name="T13" fmla="*/ 17 h 17"/>
                <a:gd name="T14" fmla="*/ 6 w 19"/>
                <a:gd name="T15" fmla="*/ 17 h 17"/>
                <a:gd name="T16" fmla="*/ 4 w 19"/>
                <a:gd name="T17" fmla="*/ 14 h 17"/>
                <a:gd name="T18" fmla="*/ 2 w 19"/>
                <a:gd name="T19" fmla="*/ 12 h 17"/>
                <a:gd name="T20" fmla="*/ 0 w 19"/>
                <a:gd name="T21" fmla="*/ 8 h 17"/>
                <a:gd name="T22" fmla="*/ 0 w 19"/>
                <a:gd name="T23" fmla="*/ 8 h 17"/>
                <a:gd name="T24" fmla="*/ 2 w 19"/>
                <a:gd name="T25" fmla="*/ 4 h 17"/>
                <a:gd name="T26" fmla="*/ 4 w 19"/>
                <a:gd name="T27" fmla="*/ 2 h 17"/>
                <a:gd name="T28" fmla="*/ 6 w 19"/>
                <a:gd name="T29" fmla="*/ 1 h 17"/>
                <a:gd name="T30" fmla="*/ 10 w 19"/>
                <a:gd name="T31" fmla="*/ 0 h 17"/>
                <a:gd name="T32" fmla="*/ 10 w 19"/>
                <a:gd name="T33" fmla="*/ 0 h 17"/>
                <a:gd name="T34" fmla="*/ 13 w 19"/>
                <a:gd name="T35" fmla="*/ 1 h 17"/>
                <a:gd name="T36" fmla="*/ 16 w 19"/>
                <a:gd name="T37" fmla="*/ 2 h 17"/>
                <a:gd name="T38" fmla="*/ 18 w 19"/>
                <a:gd name="T39" fmla="*/ 4 h 17"/>
                <a:gd name="T40" fmla="*/ 19 w 19"/>
                <a:gd name="T41" fmla="*/ 8 h 17"/>
                <a:gd name="T42" fmla="*/ 19 w 19"/>
                <a:gd name="T43"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17">
                  <a:moveTo>
                    <a:pt x="19" y="8"/>
                  </a:moveTo>
                  <a:lnTo>
                    <a:pt x="19" y="8"/>
                  </a:lnTo>
                  <a:lnTo>
                    <a:pt x="18" y="12"/>
                  </a:lnTo>
                  <a:lnTo>
                    <a:pt x="16" y="14"/>
                  </a:lnTo>
                  <a:lnTo>
                    <a:pt x="13" y="17"/>
                  </a:lnTo>
                  <a:lnTo>
                    <a:pt x="10" y="17"/>
                  </a:lnTo>
                  <a:lnTo>
                    <a:pt x="10" y="17"/>
                  </a:lnTo>
                  <a:lnTo>
                    <a:pt x="6" y="17"/>
                  </a:lnTo>
                  <a:lnTo>
                    <a:pt x="4" y="14"/>
                  </a:lnTo>
                  <a:lnTo>
                    <a:pt x="2" y="12"/>
                  </a:lnTo>
                  <a:lnTo>
                    <a:pt x="0" y="8"/>
                  </a:lnTo>
                  <a:lnTo>
                    <a:pt x="0" y="8"/>
                  </a:lnTo>
                  <a:lnTo>
                    <a:pt x="2" y="4"/>
                  </a:lnTo>
                  <a:lnTo>
                    <a:pt x="4" y="2"/>
                  </a:lnTo>
                  <a:lnTo>
                    <a:pt x="6" y="1"/>
                  </a:lnTo>
                  <a:lnTo>
                    <a:pt x="10" y="0"/>
                  </a:lnTo>
                  <a:lnTo>
                    <a:pt x="10" y="0"/>
                  </a:lnTo>
                  <a:lnTo>
                    <a:pt x="13" y="1"/>
                  </a:lnTo>
                  <a:lnTo>
                    <a:pt x="16" y="2"/>
                  </a:lnTo>
                  <a:lnTo>
                    <a:pt x="18" y="4"/>
                  </a:lnTo>
                  <a:lnTo>
                    <a:pt x="19" y="8"/>
                  </a:lnTo>
                  <a:lnTo>
                    <a:pt x="1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2" name="Rectangle 260">
              <a:extLst>
                <a:ext uri="{FF2B5EF4-FFF2-40B4-BE49-F238E27FC236}">
                  <a16:creationId xmlns:a16="http://schemas.microsoft.com/office/drawing/2014/main" id="{512CAE42-4F72-99E1-DF54-1507D94F46C2}"/>
                </a:ext>
              </a:extLst>
            </p:cNvPr>
            <p:cNvSpPr>
              <a:spLocks noChangeArrowheads="1"/>
            </p:cNvSpPr>
            <p:nvPr/>
          </p:nvSpPr>
          <p:spPr bwMode="auto">
            <a:xfrm>
              <a:off x="7471307" y="3242873"/>
              <a:ext cx="301206" cy="2023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3" name="Rectangle 261">
              <a:extLst>
                <a:ext uri="{FF2B5EF4-FFF2-40B4-BE49-F238E27FC236}">
                  <a16:creationId xmlns:a16="http://schemas.microsoft.com/office/drawing/2014/main" id="{CD7A0892-DB42-5906-D049-0269D8FC3183}"/>
                </a:ext>
              </a:extLst>
            </p:cNvPr>
            <p:cNvSpPr>
              <a:spLocks noChangeArrowheads="1"/>
            </p:cNvSpPr>
            <p:nvPr/>
          </p:nvSpPr>
          <p:spPr bwMode="auto">
            <a:xfrm>
              <a:off x="7342852" y="3315704"/>
              <a:ext cx="106308" cy="8092"/>
            </a:xfrm>
            <a:prstGeom prst="rect">
              <a:avLst/>
            </a:prstGeom>
            <a:solidFill>
              <a:srgbClr val="8FC4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4" name="Rectangle 262">
              <a:extLst>
                <a:ext uri="{FF2B5EF4-FFF2-40B4-BE49-F238E27FC236}">
                  <a16:creationId xmlns:a16="http://schemas.microsoft.com/office/drawing/2014/main" id="{C48240DC-3520-6475-55C1-34CBA51C382B}"/>
                </a:ext>
              </a:extLst>
            </p:cNvPr>
            <p:cNvSpPr>
              <a:spLocks noChangeArrowheads="1"/>
            </p:cNvSpPr>
            <p:nvPr/>
          </p:nvSpPr>
          <p:spPr bwMode="auto">
            <a:xfrm>
              <a:off x="7342852" y="3500480"/>
              <a:ext cx="113691" cy="8092"/>
            </a:xfrm>
            <a:prstGeom prst="rect">
              <a:avLst/>
            </a:prstGeom>
            <a:solidFill>
              <a:srgbClr val="8FC4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5" name="Rectangle 263">
              <a:extLst>
                <a:ext uri="{FF2B5EF4-FFF2-40B4-BE49-F238E27FC236}">
                  <a16:creationId xmlns:a16="http://schemas.microsoft.com/office/drawing/2014/main" id="{29810933-DB3D-07E4-2CC6-0F3FE9CD90E8}"/>
                </a:ext>
              </a:extLst>
            </p:cNvPr>
            <p:cNvSpPr>
              <a:spLocks noChangeArrowheads="1"/>
            </p:cNvSpPr>
            <p:nvPr/>
          </p:nvSpPr>
          <p:spPr bwMode="auto">
            <a:xfrm>
              <a:off x="7342852" y="3524757"/>
              <a:ext cx="423756" cy="9442"/>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6" name="Rectangle 264">
              <a:extLst>
                <a:ext uri="{FF2B5EF4-FFF2-40B4-BE49-F238E27FC236}">
                  <a16:creationId xmlns:a16="http://schemas.microsoft.com/office/drawing/2014/main" id="{5AE5B2AF-9867-2AF4-7E1B-45F61846D763}"/>
                </a:ext>
              </a:extLst>
            </p:cNvPr>
            <p:cNvSpPr>
              <a:spLocks noChangeArrowheads="1"/>
            </p:cNvSpPr>
            <p:nvPr/>
          </p:nvSpPr>
          <p:spPr bwMode="auto">
            <a:xfrm>
              <a:off x="7342852" y="3550383"/>
              <a:ext cx="423756" cy="9442"/>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7" name="Rectangle 265">
              <a:extLst>
                <a:ext uri="{FF2B5EF4-FFF2-40B4-BE49-F238E27FC236}">
                  <a16:creationId xmlns:a16="http://schemas.microsoft.com/office/drawing/2014/main" id="{829E2D73-5C94-695E-D73C-7D9DE9B8C3C4}"/>
                </a:ext>
              </a:extLst>
            </p:cNvPr>
            <p:cNvSpPr>
              <a:spLocks noChangeArrowheads="1"/>
            </p:cNvSpPr>
            <p:nvPr/>
          </p:nvSpPr>
          <p:spPr bwMode="auto">
            <a:xfrm>
              <a:off x="7701642" y="3315704"/>
              <a:ext cx="66443" cy="8092"/>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8" name="Rectangle 266">
              <a:extLst>
                <a:ext uri="{FF2B5EF4-FFF2-40B4-BE49-F238E27FC236}">
                  <a16:creationId xmlns:a16="http://schemas.microsoft.com/office/drawing/2014/main" id="{99A41246-B1AC-C1C3-6123-106F3BAF61EF}"/>
                </a:ext>
              </a:extLst>
            </p:cNvPr>
            <p:cNvSpPr>
              <a:spLocks noChangeArrowheads="1"/>
            </p:cNvSpPr>
            <p:nvPr/>
          </p:nvSpPr>
          <p:spPr bwMode="auto">
            <a:xfrm>
              <a:off x="7617481" y="3315704"/>
              <a:ext cx="67919" cy="8092"/>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9" name="Rectangle 267">
              <a:extLst>
                <a:ext uri="{FF2B5EF4-FFF2-40B4-BE49-F238E27FC236}">
                  <a16:creationId xmlns:a16="http://schemas.microsoft.com/office/drawing/2014/main" id="{0428A5DC-0B07-8E34-6175-6E693CBE3FF1}"/>
                </a:ext>
              </a:extLst>
            </p:cNvPr>
            <p:cNvSpPr>
              <a:spLocks noChangeArrowheads="1"/>
            </p:cNvSpPr>
            <p:nvPr/>
          </p:nvSpPr>
          <p:spPr bwMode="auto">
            <a:xfrm>
              <a:off x="7531844" y="3315704"/>
              <a:ext cx="67919" cy="8092"/>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0" name="Rectangle 268">
              <a:extLst>
                <a:ext uri="{FF2B5EF4-FFF2-40B4-BE49-F238E27FC236}">
                  <a16:creationId xmlns:a16="http://schemas.microsoft.com/office/drawing/2014/main" id="{6EFFDFC4-EA00-99E4-0118-F94332D269FD}"/>
                </a:ext>
              </a:extLst>
            </p:cNvPr>
            <p:cNvSpPr>
              <a:spLocks noChangeArrowheads="1"/>
            </p:cNvSpPr>
            <p:nvPr/>
          </p:nvSpPr>
          <p:spPr bwMode="auto">
            <a:xfrm>
              <a:off x="7342852" y="3357514"/>
              <a:ext cx="425232" cy="115991"/>
            </a:xfrm>
            <a:prstGeom prst="rect">
              <a:avLst/>
            </a:prstGeom>
            <a:solidFill>
              <a:srgbClr val="15B0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1" name="Freeform 269">
              <a:extLst>
                <a:ext uri="{FF2B5EF4-FFF2-40B4-BE49-F238E27FC236}">
                  <a16:creationId xmlns:a16="http://schemas.microsoft.com/office/drawing/2014/main" id="{4E57AD99-34DA-8BC2-594C-CD0D698CB96A}"/>
                </a:ext>
              </a:extLst>
            </p:cNvPr>
            <p:cNvSpPr>
              <a:spLocks/>
            </p:cNvSpPr>
            <p:nvPr/>
          </p:nvSpPr>
          <p:spPr bwMode="auto">
            <a:xfrm>
              <a:off x="7415200" y="3357514"/>
              <a:ext cx="352884" cy="115991"/>
            </a:xfrm>
            <a:custGeom>
              <a:avLst/>
              <a:gdLst>
                <a:gd name="T0" fmla="*/ 0 w 239"/>
                <a:gd name="T1" fmla="*/ 86 h 86"/>
                <a:gd name="T2" fmla="*/ 239 w 239"/>
                <a:gd name="T3" fmla="*/ 86 h 86"/>
                <a:gd name="T4" fmla="*/ 239 w 239"/>
                <a:gd name="T5" fmla="*/ 0 h 86"/>
                <a:gd name="T6" fmla="*/ 142 w 239"/>
                <a:gd name="T7" fmla="*/ 0 h 86"/>
                <a:gd name="T8" fmla="*/ 0 w 239"/>
                <a:gd name="T9" fmla="*/ 86 h 86"/>
              </a:gdLst>
              <a:ahLst/>
              <a:cxnLst>
                <a:cxn ang="0">
                  <a:pos x="T0" y="T1"/>
                </a:cxn>
                <a:cxn ang="0">
                  <a:pos x="T2" y="T3"/>
                </a:cxn>
                <a:cxn ang="0">
                  <a:pos x="T4" y="T5"/>
                </a:cxn>
                <a:cxn ang="0">
                  <a:pos x="T6" y="T7"/>
                </a:cxn>
                <a:cxn ang="0">
                  <a:pos x="T8" y="T9"/>
                </a:cxn>
              </a:cxnLst>
              <a:rect l="0" t="0" r="r" b="b"/>
              <a:pathLst>
                <a:path w="239" h="86">
                  <a:moveTo>
                    <a:pt x="0" y="86"/>
                  </a:moveTo>
                  <a:lnTo>
                    <a:pt x="239" y="86"/>
                  </a:lnTo>
                  <a:lnTo>
                    <a:pt x="239" y="0"/>
                  </a:lnTo>
                  <a:lnTo>
                    <a:pt x="142" y="0"/>
                  </a:lnTo>
                  <a:lnTo>
                    <a:pt x="0" y="86"/>
                  </a:lnTo>
                  <a:close/>
                </a:path>
              </a:pathLst>
            </a:custGeom>
            <a:solidFill>
              <a:srgbClr val="1695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2" name="Freeform 270">
              <a:extLst>
                <a:ext uri="{FF2B5EF4-FFF2-40B4-BE49-F238E27FC236}">
                  <a16:creationId xmlns:a16="http://schemas.microsoft.com/office/drawing/2014/main" id="{05A6DA3E-DC83-90D5-ABFA-D770D2646822}"/>
                </a:ext>
              </a:extLst>
            </p:cNvPr>
            <p:cNvSpPr>
              <a:spLocks noEditPoints="1"/>
            </p:cNvSpPr>
            <p:nvPr/>
          </p:nvSpPr>
          <p:spPr bwMode="auto">
            <a:xfrm>
              <a:off x="7531844" y="3344027"/>
              <a:ext cx="367649" cy="334485"/>
            </a:xfrm>
            <a:custGeom>
              <a:avLst/>
              <a:gdLst>
                <a:gd name="T0" fmla="*/ 223 w 249"/>
                <a:gd name="T1" fmla="*/ 88 h 248"/>
                <a:gd name="T2" fmla="*/ 238 w 249"/>
                <a:gd name="T3" fmla="*/ 76 h 248"/>
                <a:gd name="T4" fmla="*/ 224 w 249"/>
                <a:gd name="T5" fmla="*/ 49 h 248"/>
                <a:gd name="T6" fmla="*/ 216 w 249"/>
                <a:gd name="T7" fmla="*/ 47 h 248"/>
                <a:gd name="T8" fmla="*/ 199 w 249"/>
                <a:gd name="T9" fmla="*/ 31 h 248"/>
                <a:gd name="T10" fmla="*/ 199 w 249"/>
                <a:gd name="T11" fmla="*/ 23 h 248"/>
                <a:gd name="T12" fmla="*/ 171 w 249"/>
                <a:gd name="T13" fmla="*/ 9 h 248"/>
                <a:gd name="T14" fmla="*/ 158 w 249"/>
                <a:gd name="T15" fmla="*/ 25 h 248"/>
                <a:gd name="T16" fmla="*/ 142 w 249"/>
                <a:gd name="T17" fmla="*/ 6 h 248"/>
                <a:gd name="T18" fmla="*/ 136 w 249"/>
                <a:gd name="T19" fmla="*/ 0 h 248"/>
                <a:gd name="T20" fmla="*/ 106 w 249"/>
                <a:gd name="T21" fmla="*/ 1 h 248"/>
                <a:gd name="T22" fmla="*/ 104 w 249"/>
                <a:gd name="T23" fmla="*/ 21 h 248"/>
                <a:gd name="T24" fmla="*/ 79 w 249"/>
                <a:gd name="T25" fmla="*/ 11 h 248"/>
                <a:gd name="T26" fmla="*/ 49 w 249"/>
                <a:gd name="T27" fmla="*/ 23 h 248"/>
                <a:gd name="T28" fmla="*/ 47 w 249"/>
                <a:gd name="T29" fmla="*/ 30 h 248"/>
                <a:gd name="T30" fmla="*/ 43 w 249"/>
                <a:gd name="T31" fmla="*/ 57 h 248"/>
                <a:gd name="T32" fmla="*/ 26 w 249"/>
                <a:gd name="T33" fmla="*/ 49 h 248"/>
                <a:gd name="T34" fmla="*/ 10 w 249"/>
                <a:gd name="T35" fmla="*/ 74 h 248"/>
                <a:gd name="T36" fmla="*/ 11 w 249"/>
                <a:gd name="T37" fmla="*/ 83 h 248"/>
                <a:gd name="T38" fmla="*/ 6 w 249"/>
                <a:gd name="T39" fmla="*/ 106 h 248"/>
                <a:gd name="T40" fmla="*/ 0 w 249"/>
                <a:gd name="T41" fmla="*/ 110 h 248"/>
                <a:gd name="T42" fmla="*/ 0 w 249"/>
                <a:gd name="T43" fmla="*/ 141 h 248"/>
                <a:gd name="T44" fmla="*/ 21 w 249"/>
                <a:gd name="T45" fmla="*/ 144 h 248"/>
                <a:gd name="T46" fmla="*/ 14 w 249"/>
                <a:gd name="T47" fmla="*/ 168 h 248"/>
                <a:gd name="T48" fmla="*/ 11 w 249"/>
                <a:gd name="T49" fmla="*/ 176 h 248"/>
                <a:gd name="T50" fmla="*/ 27 w 249"/>
                <a:gd name="T51" fmla="*/ 201 h 248"/>
                <a:gd name="T52" fmla="*/ 46 w 249"/>
                <a:gd name="T53" fmla="*/ 194 h 248"/>
                <a:gd name="T54" fmla="*/ 49 w 249"/>
                <a:gd name="T55" fmla="*/ 220 h 248"/>
                <a:gd name="T56" fmla="*/ 74 w 249"/>
                <a:gd name="T57" fmla="*/ 239 h 248"/>
                <a:gd name="T58" fmla="*/ 81 w 249"/>
                <a:gd name="T59" fmla="*/ 238 h 248"/>
                <a:gd name="T60" fmla="*/ 106 w 249"/>
                <a:gd name="T61" fmla="*/ 227 h 248"/>
                <a:gd name="T62" fmla="*/ 108 w 249"/>
                <a:gd name="T63" fmla="*/ 247 h 248"/>
                <a:gd name="T64" fmla="*/ 138 w 249"/>
                <a:gd name="T65" fmla="*/ 248 h 248"/>
                <a:gd name="T66" fmla="*/ 145 w 249"/>
                <a:gd name="T67" fmla="*/ 242 h 248"/>
                <a:gd name="T68" fmla="*/ 168 w 249"/>
                <a:gd name="T69" fmla="*/ 236 h 248"/>
                <a:gd name="T70" fmla="*/ 174 w 249"/>
                <a:gd name="T71" fmla="*/ 238 h 248"/>
                <a:gd name="T72" fmla="*/ 201 w 249"/>
                <a:gd name="T73" fmla="*/ 223 h 248"/>
                <a:gd name="T74" fmla="*/ 194 w 249"/>
                <a:gd name="T75" fmla="*/ 202 h 248"/>
                <a:gd name="T76" fmla="*/ 218 w 249"/>
                <a:gd name="T77" fmla="*/ 199 h 248"/>
                <a:gd name="T78" fmla="*/ 227 w 249"/>
                <a:gd name="T79" fmla="*/ 196 h 248"/>
                <a:gd name="T80" fmla="*/ 240 w 249"/>
                <a:gd name="T81" fmla="*/ 169 h 248"/>
                <a:gd name="T82" fmla="*/ 223 w 249"/>
                <a:gd name="T83" fmla="*/ 158 h 248"/>
                <a:gd name="T84" fmla="*/ 245 w 249"/>
                <a:gd name="T85" fmla="*/ 142 h 248"/>
                <a:gd name="T86" fmla="*/ 249 w 249"/>
                <a:gd name="T87" fmla="*/ 110 h 248"/>
                <a:gd name="T88" fmla="*/ 245 w 249"/>
                <a:gd name="T89" fmla="*/ 104 h 248"/>
                <a:gd name="T90" fmla="*/ 125 w 249"/>
                <a:gd name="T91" fmla="*/ 175 h 248"/>
                <a:gd name="T92" fmla="*/ 88 w 249"/>
                <a:gd name="T93" fmla="*/ 160 h 248"/>
                <a:gd name="T94" fmla="*/ 73 w 249"/>
                <a:gd name="T95" fmla="*/ 123 h 248"/>
                <a:gd name="T96" fmla="*/ 81 w 249"/>
                <a:gd name="T97" fmla="*/ 95 h 248"/>
                <a:gd name="T98" fmla="*/ 113 w 249"/>
                <a:gd name="T99" fmla="*/ 74 h 248"/>
                <a:gd name="T100" fmla="*/ 144 w 249"/>
                <a:gd name="T101" fmla="*/ 76 h 248"/>
                <a:gd name="T102" fmla="*/ 171 w 249"/>
                <a:gd name="T103" fmla="*/ 104 h 248"/>
                <a:gd name="T104" fmla="*/ 174 w 249"/>
                <a:gd name="T105" fmla="*/ 134 h 248"/>
                <a:gd name="T106" fmla="*/ 153 w 249"/>
                <a:gd name="T107" fmla="*/ 167 h 248"/>
                <a:gd name="T108" fmla="*/ 125 w 249"/>
                <a:gd name="T109" fmla="*/ 17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9" h="248">
                  <a:moveTo>
                    <a:pt x="243" y="104"/>
                  </a:moveTo>
                  <a:lnTo>
                    <a:pt x="227" y="104"/>
                  </a:lnTo>
                  <a:lnTo>
                    <a:pt x="227" y="104"/>
                  </a:lnTo>
                  <a:lnTo>
                    <a:pt x="223" y="88"/>
                  </a:lnTo>
                  <a:lnTo>
                    <a:pt x="236" y="80"/>
                  </a:lnTo>
                  <a:lnTo>
                    <a:pt x="236" y="80"/>
                  </a:lnTo>
                  <a:lnTo>
                    <a:pt x="237" y="79"/>
                  </a:lnTo>
                  <a:lnTo>
                    <a:pt x="238" y="76"/>
                  </a:lnTo>
                  <a:lnTo>
                    <a:pt x="238" y="74"/>
                  </a:lnTo>
                  <a:lnTo>
                    <a:pt x="238" y="72"/>
                  </a:lnTo>
                  <a:lnTo>
                    <a:pt x="224" y="49"/>
                  </a:lnTo>
                  <a:lnTo>
                    <a:pt x="224" y="49"/>
                  </a:lnTo>
                  <a:lnTo>
                    <a:pt x="223" y="47"/>
                  </a:lnTo>
                  <a:lnTo>
                    <a:pt x="221" y="47"/>
                  </a:lnTo>
                  <a:lnTo>
                    <a:pt x="218" y="46"/>
                  </a:lnTo>
                  <a:lnTo>
                    <a:pt x="216" y="47"/>
                  </a:lnTo>
                  <a:lnTo>
                    <a:pt x="203" y="54"/>
                  </a:lnTo>
                  <a:lnTo>
                    <a:pt x="203" y="54"/>
                  </a:lnTo>
                  <a:lnTo>
                    <a:pt x="191" y="43"/>
                  </a:lnTo>
                  <a:lnTo>
                    <a:pt x="199" y="31"/>
                  </a:lnTo>
                  <a:lnTo>
                    <a:pt x="199" y="31"/>
                  </a:lnTo>
                  <a:lnTo>
                    <a:pt x="200" y="28"/>
                  </a:lnTo>
                  <a:lnTo>
                    <a:pt x="200" y="26"/>
                  </a:lnTo>
                  <a:lnTo>
                    <a:pt x="199" y="23"/>
                  </a:lnTo>
                  <a:lnTo>
                    <a:pt x="196" y="22"/>
                  </a:lnTo>
                  <a:lnTo>
                    <a:pt x="174" y="9"/>
                  </a:lnTo>
                  <a:lnTo>
                    <a:pt x="174" y="9"/>
                  </a:lnTo>
                  <a:lnTo>
                    <a:pt x="171" y="9"/>
                  </a:lnTo>
                  <a:lnTo>
                    <a:pt x="169" y="9"/>
                  </a:lnTo>
                  <a:lnTo>
                    <a:pt x="168" y="10"/>
                  </a:lnTo>
                  <a:lnTo>
                    <a:pt x="165" y="11"/>
                  </a:lnTo>
                  <a:lnTo>
                    <a:pt x="158" y="25"/>
                  </a:lnTo>
                  <a:lnTo>
                    <a:pt x="158" y="25"/>
                  </a:lnTo>
                  <a:lnTo>
                    <a:pt x="142" y="21"/>
                  </a:lnTo>
                  <a:lnTo>
                    <a:pt x="142" y="6"/>
                  </a:lnTo>
                  <a:lnTo>
                    <a:pt x="142" y="6"/>
                  </a:lnTo>
                  <a:lnTo>
                    <a:pt x="142" y="4"/>
                  </a:lnTo>
                  <a:lnTo>
                    <a:pt x="141" y="1"/>
                  </a:lnTo>
                  <a:lnTo>
                    <a:pt x="138" y="0"/>
                  </a:lnTo>
                  <a:lnTo>
                    <a:pt x="136" y="0"/>
                  </a:lnTo>
                  <a:lnTo>
                    <a:pt x="110" y="0"/>
                  </a:lnTo>
                  <a:lnTo>
                    <a:pt x="110" y="0"/>
                  </a:lnTo>
                  <a:lnTo>
                    <a:pt x="107" y="0"/>
                  </a:lnTo>
                  <a:lnTo>
                    <a:pt x="106" y="1"/>
                  </a:lnTo>
                  <a:lnTo>
                    <a:pt x="104" y="4"/>
                  </a:lnTo>
                  <a:lnTo>
                    <a:pt x="104" y="6"/>
                  </a:lnTo>
                  <a:lnTo>
                    <a:pt x="104" y="21"/>
                  </a:lnTo>
                  <a:lnTo>
                    <a:pt x="104" y="21"/>
                  </a:lnTo>
                  <a:lnTo>
                    <a:pt x="88" y="26"/>
                  </a:lnTo>
                  <a:lnTo>
                    <a:pt x="80" y="12"/>
                  </a:lnTo>
                  <a:lnTo>
                    <a:pt x="80" y="12"/>
                  </a:lnTo>
                  <a:lnTo>
                    <a:pt x="79" y="11"/>
                  </a:lnTo>
                  <a:lnTo>
                    <a:pt x="76" y="10"/>
                  </a:lnTo>
                  <a:lnTo>
                    <a:pt x="74" y="10"/>
                  </a:lnTo>
                  <a:lnTo>
                    <a:pt x="71" y="10"/>
                  </a:lnTo>
                  <a:lnTo>
                    <a:pt x="49" y="23"/>
                  </a:lnTo>
                  <a:lnTo>
                    <a:pt x="49" y="23"/>
                  </a:lnTo>
                  <a:lnTo>
                    <a:pt x="48" y="25"/>
                  </a:lnTo>
                  <a:lnTo>
                    <a:pt x="47" y="27"/>
                  </a:lnTo>
                  <a:lnTo>
                    <a:pt x="47" y="30"/>
                  </a:lnTo>
                  <a:lnTo>
                    <a:pt x="47" y="32"/>
                  </a:lnTo>
                  <a:lnTo>
                    <a:pt x="55" y="46"/>
                  </a:lnTo>
                  <a:lnTo>
                    <a:pt x="55" y="46"/>
                  </a:lnTo>
                  <a:lnTo>
                    <a:pt x="43" y="57"/>
                  </a:lnTo>
                  <a:lnTo>
                    <a:pt x="31" y="49"/>
                  </a:lnTo>
                  <a:lnTo>
                    <a:pt x="31" y="49"/>
                  </a:lnTo>
                  <a:lnTo>
                    <a:pt x="28" y="48"/>
                  </a:lnTo>
                  <a:lnTo>
                    <a:pt x="26" y="49"/>
                  </a:lnTo>
                  <a:lnTo>
                    <a:pt x="23" y="49"/>
                  </a:lnTo>
                  <a:lnTo>
                    <a:pt x="22" y="52"/>
                  </a:lnTo>
                  <a:lnTo>
                    <a:pt x="10" y="74"/>
                  </a:lnTo>
                  <a:lnTo>
                    <a:pt x="10" y="74"/>
                  </a:lnTo>
                  <a:lnTo>
                    <a:pt x="9" y="76"/>
                  </a:lnTo>
                  <a:lnTo>
                    <a:pt x="9" y="79"/>
                  </a:lnTo>
                  <a:lnTo>
                    <a:pt x="10" y="81"/>
                  </a:lnTo>
                  <a:lnTo>
                    <a:pt x="11" y="83"/>
                  </a:lnTo>
                  <a:lnTo>
                    <a:pt x="25" y="90"/>
                  </a:lnTo>
                  <a:lnTo>
                    <a:pt x="25" y="90"/>
                  </a:lnTo>
                  <a:lnTo>
                    <a:pt x="21" y="106"/>
                  </a:lnTo>
                  <a:lnTo>
                    <a:pt x="6" y="106"/>
                  </a:lnTo>
                  <a:lnTo>
                    <a:pt x="6" y="106"/>
                  </a:lnTo>
                  <a:lnTo>
                    <a:pt x="4" y="106"/>
                  </a:lnTo>
                  <a:lnTo>
                    <a:pt x="1" y="109"/>
                  </a:lnTo>
                  <a:lnTo>
                    <a:pt x="0" y="110"/>
                  </a:lnTo>
                  <a:lnTo>
                    <a:pt x="0" y="112"/>
                  </a:lnTo>
                  <a:lnTo>
                    <a:pt x="0" y="138"/>
                  </a:lnTo>
                  <a:lnTo>
                    <a:pt x="0" y="138"/>
                  </a:lnTo>
                  <a:lnTo>
                    <a:pt x="0" y="141"/>
                  </a:lnTo>
                  <a:lnTo>
                    <a:pt x="1" y="143"/>
                  </a:lnTo>
                  <a:lnTo>
                    <a:pt x="4" y="144"/>
                  </a:lnTo>
                  <a:lnTo>
                    <a:pt x="6" y="144"/>
                  </a:lnTo>
                  <a:lnTo>
                    <a:pt x="21" y="144"/>
                  </a:lnTo>
                  <a:lnTo>
                    <a:pt x="21" y="144"/>
                  </a:lnTo>
                  <a:lnTo>
                    <a:pt x="26" y="160"/>
                  </a:lnTo>
                  <a:lnTo>
                    <a:pt x="14" y="168"/>
                  </a:lnTo>
                  <a:lnTo>
                    <a:pt x="14" y="168"/>
                  </a:lnTo>
                  <a:lnTo>
                    <a:pt x="11" y="169"/>
                  </a:lnTo>
                  <a:lnTo>
                    <a:pt x="10" y="171"/>
                  </a:lnTo>
                  <a:lnTo>
                    <a:pt x="10" y="174"/>
                  </a:lnTo>
                  <a:lnTo>
                    <a:pt x="11" y="176"/>
                  </a:lnTo>
                  <a:lnTo>
                    <a:pt x="23" y="199"/>
                  </a:lnTo>
                  <a:lnTo>
                    <a:pt x="23" y="199"/>
                  </a:lnTo>
                  <a:lnTo>
                    <a:pt x="25" y="201"/>
                  </a:lnTo>
                  <a:lnTo>
                    <a:pt x="27" y="201"/>
                  </a:lnTo>
                  <a:lnTo>
                    <a:pt x="30" y="202"/>
                  </a:lnTo>
                  <a:lnTo>
                    <a:pt x="32" y="201"/>
                  </a:lnTo>
                  <a:lnTo>
                    <a:pt x="46" y="194"/>
                  </a:lnTo>
                  <a:lnTo>
                    <a:pt x="46" y="194"/>
                  </a:lnTo>
                  <a:lnTo>
                    <a:pt x="57" y="205"/>
                  </a:lnTo>
                  <a:lnTo>
                    <a:pt x="49" y="217"/>
                  </a:lnTo>
                  <a:lnTo>
                    <a:pt x="49" y="217"/>
                  </a:lnTo>
                  <a:lnTo>
                    <a:pt x="49" y="220"/>
                  </a:lnTo>
                  <a:lnTo>
                    <a:pt x="49" y="222"/>
                  </a:lnTo>
                  <a:lnTo>
                    <a:pt x="51" y="224"/>
                  </a:lnTo>
                  <a:lnTo>
                    <a:pt x="52" y="226"/>
                  </a:lnTo>
                  <a:lnTo>
                    <a:pt x="74" y="239"/>
                  </a:lnTo>
                  <a:lnTo>
                    <a:pt x="74" y="239"/>
                  </a:lnTo>
                  <a:lnTo>
                    <a:pt x="76" y="239"/>
                  </a:lnTo>
                  <a:lnTo>
                    <a:pt x="79" y="239"/>
                  </a:lnTo>
                  <a:lnTo>
                    <a:pt x="81" y="238"/>
                  </a:lnTo>
                  <a:lnTo>
                    <a:pt x="83" y="237"/>
                  </a:lnTo>
                  <a:lnTo>
                    <a:pt x="91" y="223"/>
                  </a:lnTo>
                  <a:lnTo>
                    <a:pt x="91" y="223"/>
                  </a:lnTo>
                  <a:lnTo>
                    <a:pt x="106" y="227"/>
                  </a:lnTo>
                  <a:lnTo>
                    <a:pt x="106" y="242"/>
                  </a:lnTo>
                  <a:lnTo>
                    <a:pt x="106" y="242"/>
                  </a:lnTo>
                  <a:lnTo>
                    <a:pt x="107" y="244"/>
                  </a:lnTo>
                  <a:lnTo>
                    <a:pt x="108" y="247"/>
                  </a:lnTo>
                  <a:lnTo>
                    <a:pt x="111" y="248"/>
                  </a:lnTo>
                  <a:lnTo>
                    <a:pt x="113" y="248"/>
                  </a:lnTo>
                  <a:lnTo>
                    <a:pt x="138" y="248"/>
                  </a:lnTo>
                  <a:lnTo>
                    <a:pt x="138" y="248"/>
                  </a:lnTo>
                  <a:lnTo>
                    <a:pt x="141" y="248"/>
                  </a:lnTo>
                  <a:lnTo>
                    <a:pt x="143" y="247"/>
                  </a:lnTo>
                  <a:lnTo>
                    <a:pt x="144" y="244"/>
                  </a:lnTo>
                  <a:lnTo>
                    <a:pt x="145" y="242"/>
                  </a:lnTo>
                  <a:lnTo>
                    <a:pt x="145" y="227"/>
                  </a:lnTo>
                  <a:lnTo>
                    <a:pt x="145" y="227"/>
                  </a:lnTo>
                  <a:lnTo>
                    <a:pt x="160" y="222"/>
                  </a:lnTo>
                  <a:lnTo>
                    <a:pt x="168" y="236"/>
                  </a:lnTo>
                  <a:lnTo>
                    <a:pt x="168" y="236"/>
                  </a:lnTo>
                  <a:lnTo>
                    <a:pt x="170" y="237"/>
                  </a:lnTo>
                  <a:lnTo>
                    <a:pt x="171" y="238"/>
                  </a:lnTo>
                  <a:lnTo>
                    <a:pt x="174" y="238"/>
                  </a:lnTo>
                  <a:lnTo>
                    <a:pt x="176" y="238"/>
                  </a:lnTo>
                  <a:lnTo>
                    <a:pt x="199" y="224"/>
                  </a:lnTo>
                  <a:lnTo>
                    <a:pt x="199" y="224"/>
                  </a:lnTo>
                  <a:lnTo>
                    <a:pt x="201" y="223"/>
                  </a:lnTo>
                  <a:lnTo>
                    <a:pt x="202" y="221"/>
                  </a:lnTo>
                  <a:lnTo>
                    <a:pt x="202" y="218"/>
                  </a:lnTo>
                  <a:lnTo>
                    <a:pt x="201" y="216"/>
                  </a:lnTo>
                  <a:lnTo>
                    <a:pt x="194" y="202"/>
                  </a:lnTo>
                  <a:lnTo>
                    <a:pt x="194" y="202"/>
                  </a:lnTo>
                  <a:lnTo>
                    <a:pt x="205" y="191"/>
                  </a:lnTo>
                  <a:lnTo>
                    <a:pt x="218" y="199"/>
                  </a:lnTo>
                  <a:lnTo>
                    <a:pt x="218" y="199"/>
                  </a:lnTo>
                  <a:lnTo>
                    <a:pt x="219" y="200"/>
                  </a:lnTo>
                  <a:lnTo>
                    <a:pt x="222" y="199"/>
                  </a:lnTo>
                  <a:lnTo>
                    <a:pt x="224" y="199"/>
                  </a:lnTo>
                  <a:lnTo>
                    <a:pt x="227" y="196"/>
                  </a:lnTo>
                  <a:lnTo>
                    <a:pt x="239" y="174"/>
                  </a:lnTo>
                  <a:lnTo>
                    <a:pt x="239" y="174"/>
                  </a:lnTo>
                  <a:lnTo>
                    <a:pt x="240" y="171"/>
                  </a:lnTo>
                  <a:lnTo>
                    <a:pt x="240" y="169"/>
                  </a:lnTo>
                  <a:lnTo>
                    <a:pt x="239" y="167"/>
                  </a:lnTo>
                  <a:lnTo>
                    <a:pt x="237" y="165"/>
                  </a:lnTo>
                  <a:lnTo>
                    <a:pt x="223" y="158"/>
                  </a:lnTo>
                  <a:lnTo>
                    <a:pt x="223" y="158"/>
                  </a:lnTo>
                  <a:lnTo>
                    <a:pt x="228" y="142"/>
                  </a:lnTo>
                  <a:lnTo>
                    <a:pt x="243" y="142"/>
                  </a:lnTo>
                  <a:lnTo>
                    <a:pt x="243" y="142"/>
                  </a:lnTo>
                  <a:lnTo>
                    <a:pt x="245" y="142"/>
                  </a:lnTo>
                  <a:lnTo>
                    <a:pt x="247" y="139"/>
                  </a:lnTo>
                  <a:lnTo>
                    <a:pt x="248" y="138"/>
                  </a:lnTo>
                  <a:lnTo>
                    <a:pt x="249" y="136"/>
                  </a:lnTo>
                  <a:lnTo>
                    <a:pt x="249" y="110"/>
                  </a:lnTo>
                  <a:lnTo>
                    <a:pt x="249" y="110"/>
                  </a:lnTo>
                  <a:lnTo>
                    <a:pt x="248" y="107"/>
                  </a:lnTo>
                  <a:lnTo>
                    <a:pt x="247" y="105"/>
                  </a:lnTo>
                  <a:lnTo>
                    <a:pt x="245" y="104"/>
                  </a:lnTo>
                  <a:lnTo>
                    <a:pt x="243" y="104"/>
                  </a:lnTo>
                  <a:lnTo>
                    <a:pt x="243" y="104"/>
                  </a:lnTo>
                  <a:close/>
                  <a:moveTo>
                    <a:pt x="125" y="175"/>
                  </a:moveTo>
                  <a:lnTo>
                    <a:pt x="125" y="175"/>
                  </a:lnTo>
                  <a:lnTo>
                    <a:pt x="113" y="174"/>
                  </a:lnTo>
                  <a:lnTo>
                    <a:pt x="105" y="171"/>
                  </a:lnTo>
                  <a:lnTo>
                    <a:pt x="96" y="167"/>
                  </a:lnTo>
                  <a:lnTo>
                    <a:pt x="88" y="160"/>
                  </a:lnTo>
                  <a:lnTo>
                    <a:pt x="81" y="153"/>
                  </a:lnTo>
                  <a:lnTo>
                    <a:pt x="78" y="144"/>
                  </a:lnTo>
                  <a:lnTo>
                    <a:pt x="74" y="134"/>
                  </a:lnTo>
                  <a:lnTo>
                    <a:pt x="73" y="123"/>
                  </a:lnTo>
                  <a:lnTo>
                    <a:pt x="73" y="123"/>
                  </a:lnTo>
                  <a:lnTo>
                    <a:pt x="74" y="113"/>
                  </a:lnTo>
                  <a:lnTo>
                    <a:pt x="78" y="104"/>
                  </a:lnTo>
                  <a:lnTo>
                    <a:pt x="81" y="95"/>
                  </a:lnTo>
                  <a:lnTo>
                    <a:pt x="88" y="88"/>
                  </a:lnTo>
                  <a:lnTo>
                    <a:pt x="96" y="81"/>
                  </a:lnTo>
                  <a:lnTo>
                    <a:pt x="105" y="76"/>
                  </a:lnTo>
                  <a:lnTo>
                    <a:pt x="113" y="74"/>
                  </a:lnTo>
                  <a:lnTo>
                    <a:pt x="125" y="73"/>
                  </a:lnTo>
                  <a:lnTo>
                    <a:pt x="125" y="73"/>
                  </a:lnTo>
                  <a:lnTo>
                    <a:pt x="134" y="74"/>
                  </a:lnTo>
                  <a:lnTo>
                    <a:pt x="144" y="76"/>
                  </a:lnTo>
                  <a:lnTo>
                    <a:pt x="153" y="81"/>
                  </a:lnTo>
                  <a:lnTo>
                    <a:pt x="160" y="88"/>
                  </a:lnTo>
                  <a:lnTo>
                    <a:pt x="166" y="95"/>
                  </a:lnTo>
                  <a:lnTo>
                    <a:pt x="171" y="104"/>
                  </a:lnTo>
                  <a:lnTo>
                    <a:pt x="174" y="113"/>
                  </a:lnTo>
                  <a:lnTo>
                    <a:pt x="175" y="123"/>
                  </a:lnTo>
                  <a:lnTo>
                    <a:pt x="175" y="123"/>
                  </a:lnTo>
                  <a:lnTo>
                    <a:pt x="174" y="134"/>
                  </a:lnTo>
                  <a:lnTo>
                    <a:pt x="171" y="144"/>
                  </a:lnTo>
                  <a:lnTo>
                    <a:pt x="166" y="153"/>
                  </a:lnTo>
                  <a:lnTo>
                    <a:pt x="160" y="160"/>
                  </a:lnTo>
                  <a:lnTo>
                    <a:pt x="153" y="167"/>
                  </a:lnTo>
                  <a:lnTo>
                    <a:pt x="144" y="171"/>
                  </a:lnTo>
                  <a:lnTo>
                    <a:pt x="134" y="174"/>
                  </a:lnTo>
                  <a:lnTo>
                    <a:pt x="125" y="175"/>
                  </a:lnTo>
                  <a:lnTo>
                    <a:pt x="125" y="175"/>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3" name="Freeform 271">
              <a:extLst>
                <a:ext uri="{FF2B5EF4-FFF2-40B4-BE49-F238E27FC236}">
                  <a16:creationId xmlns:a16="http://schemas.microsoft.com/office/drawing/2014/main" id="{B71EB9B3-279F-CE36-DA0A-BC391A2E9EE9}"/>
                </a:ext>
              </a:extLst>
            </p:cNvPr>
            <p:cNvSpPr>
              <a:spLocks/>
            </p:cNvSpPr>
            <p:nvPr/>
          </p:nvSpPr>
          <p:spPr bwMode="auto">
            <a:xfrm>
              <a:off x="7531844" y="3344027"/>
              <a:ext cx="180133" cy="334485"/>
            </a:xfrm>
            <a:custGeom>
              <a:avLst/>
              <a:gdLst>
                <a:gd name="T0" fmla="*/ 122 w 122"/>
                <a:gd name="T1" fmla="*/ 190 h 248"/>
                <a:gd name="T2" fmla="*/ 97 w 122"/>
                <a:gd name="T3" fmla="*/ 185 h 248"/>
                <a:gd name="T4" fmla="*/ 76 w 122"/>
                <a:gd name="T5" fmla="*/ 170 h 248"/>
                <a:gd name="T6" fmla="*/ 63 w 122"/>
                <a:gd name="T7" fmla="*/ 149 h 248"/>
                <a:gd name="T8" fmla="*/ 58 w 122"/>
                <a:gd name="T9" fmla="*/ 123 h 248"/>
                <a:gd name="T10" fmla="*/ 59 w 122"/>
                <a:gd name="T11" fmla="*/ 111 h 248"/>
                <a:gd name="T12" fmla="*/ 69 w 122"/>
                <a:gd name="T13" fmla="*/ 88 h 248"/>
                <a:gd name="T14" fmla="*/ 86 w 122"/>
                <a:gd name="T15" fmla="*/ 69 h 248"/>
                <a:gd name="T16" fmla="*/ 108 w 122"/>
                <a:gd name="T17" fmla="*/ 59 h 248"/>
                <a:gd name="T18" fmla="*/ 122 w 122"/>
                <a:gd name="T19" fmla="*/ 0 h 248"/>
                <a:gd name="T20" fmla="*/ 110 w 122"/>
                <a:gd name="T21" fmla="*/ 0 h 248"/>
                <a:gd name="T22" fmla="*/ 106 w 122"/>
                <a:gd name="T23" fmla="*/ 1 h 248"/>
                <a:gd name="T24" fmla="*/ 104 w 122"/>
                <a:gd name="T25" fmla="*/ 6 h 248"/>
                <a:gd name="T26" fmla="*/ 104 w 122"/>
                <a:gd name="T27" fmla="*/ 21 h 248"/>
                <a:gd name="T28" fmla="*/ 80 w 122"/>
                <a:gd name="T29" fmla="*/ 12 h 248"/>
                <a:gd name="T30" fmla="*/ 79 w 122"/>
                <a:gd name="T31" fmla="*/ 11 h 248"/>
                <a:gd name="T32" fmla="*/ 74 w 122"/>
                <a:gd name="T33" fmla="*/ 10 h 248"/>
                <a:gd name="T34" fmla="*/ 49 w 122"/>
                <a:gd name="T35" fmla="*/ 23 h 248"/>
                <a:gd name="T36" fmla="*/ 48 w 122"/>
                <a:gd name="T37" fmla="*/ 25 h 248"/>
                <a:gd name="T38" fmla="*/ 47 w 122"/>
                <a:gd name="T39" fmla="*/ 30 h 248"/>
                <a:gd name="T40" fmla="*/ 55 w 122"/>
                <a:gd name="T41" fmla="*/ 46 h 248"/>
                <a:gd name="T42" fmla="*/ 43 w 122"/>
                <a:gd name="T43" fmla="*/ 57 h 248"/>
                <a:gd name="T44" fmla="*/ 31 w 122"/>
                <a:gd name="T45" fmla="*/ 49 h 248"/>
                <a:gd name="T46" fmla="*/ 26 w 122"/>
                <a:gd name="T47" fmla="*/ 49 h 248"/>
                <a:gd name="T48" fmla="*/ 22 w 122"/>
                <a:gd name="T49" fmla="*/ 52 h 248"/>
                <a:gd name="T50" fmla="*/ 10 w 122"/>
                <a:gd name="T51" fmla="*/ 74 h 248"/>
                <a:gd name="T52" fmla="*/ 9 w 122"/>
                <a:gd name="T53" fmla="*/ 79 h 248"/>
                <a:gd name="T54" fmla="*/ 11 w 122"/>
                <a:gd name="T55" fmla="*/ 83 h 248"/>
                <a:gd name="T56" fmla="*/ 25 w 122"/>
                <a:gd name="T57" fmla="*/ 90 h 248"/>
                <a:gd name="T58" fmla="*/ 6 w 122"/>
                <a:gd name="T59" fmla="*/ 106 h 248"/>
                <a:gd name="T60" fmla="*/ 4 w 122"/>
                <a:gd name="T61" fmla="*/ 106 h 248"/>
                <a:gd name="T62" fmla="*/ 0 w 122"/>
                <a:gd name="T63" fmla="*/ 110 h 248"/>
                <a:gd name="T64" fmla="*/ 0 w 122"/>
                <a:gd name="T65" fmla="*/ 138 h 248"/>
                <a:gd name="T66" fmla="*/ 0 w 122"/>
                <a:gd name="T67" fmla="*/ 141 h 248"/>
                <a:gd name="T68" fmla="*/ 4 w 122"/>
                <a:gd name="T69" fmla="*/ 144 h 248"/>
                <a:gd name="T70" fmla="*/ 21 w 122"/>
                <a:gd name="T71" fmla="*/ 144 h 248"/>
                <a:gd name="T72" fmla="*/ 26 w 122"/>
                <a:gd name="T73" fmla="*/ 160 h 248"/>
                <a:gd name="T74" fmla="*/ 14 w 122"/>
                <a:gd name="T75" fmla="*/ 168 h 248"/>
                <a:gd name="T76" fmla="*/ 10 w 122"/>
                <a:gd name="T77" fmla="*/ 171 h 248"/>
                <a:gd name="T78" fmla="*/ 11 w 122"/>
                <a:gd name="T79" fmla="*/ 176 h 248"/>
                <a:gd name="T80" fmla="*/ 23 w 122"/>
                <a:gd name="T81" fmla="*/ 199 h 248"/>
                <a:gd name="T82" fmla="*/ 27 w 122"/>
                <a:gd name="T83" fmla="*/ 201 h 248"/>
                <a:gd name="T84" fmla="*/ 32 w 122"/>
                <a:gd name="T85" fmla="*/ 201 h 248"/>
                <a:gd name="T86" fmla="*/ 46 w 122"/>
                <a:gd name="T87" fmla="*/ 194 h 248"/>
                <a:gd name="T88" fmla="*/ 49 w 122"/>
                <a:gd name="T89" fmla="*/ 217 h 248"/>
                <a:gd name="T90" fmla="*/ 49 w 122"/>
                <a:gd name="T91" fmla="*/ 220 h 248"/>
                <a:gd name="T92" fmla="*/ 51 w 122"/>
                <a:gd name="T93" fmla="*/ 224 h 248"/>
                <a:gd name="T94" fmla="*/ 74 w 122"/>
                <a:gd name="T95" fmla="*/ 239 h 248"/>
                <a:gd name="T96" fmla="*/ 76 w 122"/>
                <a:gd name="T97" fmla="*/ 239 h 248"/>
                <a:gd name="T98" fmla="*/ 81 w 122"/>
                <a:gd name="T99" fmla="*/ 238 h 248"/>
                <a:gd name="T100" fmla="*/ 91 w 122"/>
                <a:gd name="T101" fmla="*/ 223 h 248"/>
                <a:gd name="T102" fmla="*/ 106 w 122"/>
                <a:gd name="T103" fmla="*/ 227 h 248"/>
                <a:gd name="T104" fmla="*/ 106 w 122"/>
                <a:gd name="T105" fmla="*/ 242 h 248"/>
                <a:gd name="T106" fmla="*/ 108 w 122"/>
                <a:gd name="T107" fmla="*/ 247 h 248"/>
                <a:gd name="T108" fmla="*/ 113 w 122"/>
                <a:gd name="T109" fmla="*/ 248 h 248"/>
                <a:gd name="T110" fmla="*/ 122 w 122"/>
                <a:gd name="T111" fmla="*/ 19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2" h="248">
                  <a:moveTo>
                    <a:pt x="122" y="190"/>
                  </a:moveTo>
                  <a:lnTo>
                    <a:pt x="122" y="190"/>
                  </a:lnTo>
                  <a:lnTo>
                    <a:pt x="108" y="189"/>
                  </a:lnTo>
                  <a:lnTo>
                    <a:pt x="97" y="185"/>
                  </a:lnTo>
                  <a:lnTo>
                    <a:pt x="86" y="179"/>
                  </a:lnTo>
                  <a:lnTo>
                    <a:pt x="76" y="170"/>
                  </a:lnTo>
                  <a:lnTo>
                    <a:pt x="69" y="160"/>
                  </a:lnTo>
                  <a:lnTo>
                    <a:pt x="63" y="149"/>
                  </a:lnTo>
                  <a:lnTo>
                    <a:pt x="59" y="137"/>
                  </a:lnTo>
                  <a:lnTo>
                    <a:pt x="58" y="123"/>
                  </a:lnTo>
                  <a:lnTo>
                    <a:pt x="58" y="123"/>
                  </a:lnTo>
                  <a:lnTo>
                    <a:pt x="59" y="111"/>
                  </a:lnTo>
                  <a:lnTo>
                    <a:pt x="63" y="99"/>
                  </a:lnTo>
                  <a:lnTo>
                    <a:pt x="69" y="88"/>
                  </a:lnTo>
                  <a:lnTo>
                    <a:pt x="76" y="78"/>
                  </a:lnTo>
                  <a:lnTo>
                    <a:pt x="86" y="69"/>
                  </a:lnTo>
                  <a:lnTo>
                    <a:pt x="97" y="63"/>
                  </a:lnTo>
                  <a:lnTo>
                    <a:pt x="108" y="59"/>
                  </a:lnTo>
                  <a:lnTo>
                    <a:pt x="122" y="58"/>
                  </a:lnTo>
                  <a:lnTo>
                    <a:pt x="122" y="0"/>
                  </a:lnTo>
                  <a:lnTo>
                    <a:pt x="110" y="0"/>
                  </a:lnTo>
                  <a:lnTo>
                    <a:pt x="110" y="0"/>
                  </a:lnTo>
                  <a:lnTo>
                    <a:pt x="107" y="0"/>
                  </a:lnTo>
                  <a:lnTo>
                    <a:pt x="106" y="1"/>
                  </a:lnTo>
                  <a:lnTo>
                    <a:pt x="104" y="4"/>
                  </a:lnTo>
                  <a:lnTo>
                    <a:pt x="104" y="6"/>
                  </a:lnTo>
                  <a:lnTo>
                    <a:pt x="104" y="21"/>
                  </a:lnTo>
                  <a:lnTo>
                    <a:pt x="104" y="21"/>
                  </a:lnTo>
                  <a:lnTo>
                    <a:pt x="88" y="26"/>
                  </a:lnTo>
                  <a:lnTo>
                    <a:pt x="80" y="12"/>
                  </a:lnTo>
                  <a:lnTo>
                    <a:pt x="80" y="12"/>
                  </a:lnTo>
                  <a:lnTo>
                    <a:pt x="79" y="11"/>
                  </a:lnTo>
                  <a:lnTo>
                    <a:pt x="76" y="10"/>
                  </a:lnTo>
                  <a:lnTo>
                    <a:pt x="74" y="10"/>
                  </a:lnTo>
                  <a:lnTo>
                    <a:pt x="71" y="10"/>
                  </a:lnTo>
                  <a:lnTo>
                    <a:pt x="49" y="23"/>
                  </a:lnTo>
                  <a:lnTo>
                    <a:pt x="49" y="23"/>
                  </a:lnTo>
                  <a:lnTo>
                    <a:pt x="48" y="25"/>
                  </a:lnTo>
                  <a:lnTo>
                    <a:pt x="47" y="27"/>
                  </a:lnTo>
                  <a:lnTo>
                    <a:pt x="47" y="30"/>
                  </a:lnTo>
                  <a:lnTo>
                    <a:pt x="47" y="32"/>
                  </a:lnTo>
                  <a:lnTo>
                    <a:pt x="55" y="46"/>
                  </a:lnTo>
                  <a:lnTo>
                    <a:pt x="55" y="46"/>
                  </a:lnTo>
                  <a:lnTo>
                    <a:pt x="43" y="57"/>
                  </a:lnTo>
                  <a:lnTo>
                    <a:pt x="31" y="49"/>
                  </a:lnTo>
                  <a:lnTo>
                    <a:pt x="31" y="49"/>
                  </a:lnTo>
                  <a:lnTo>
                    <a:pt x="28" y="48"/>
                  </a:lnTo>
                  <a:lnTo>
                    <a:pt x="26" y="49"/>
                  </a:lnTo>
                  <a:lnTo>
                    <a:pt x="23" y="49"/>
                  </a:lnTo>
                  <a:lnTo>
                    <a:pt x="22" y="52"/>
                  </a:lnTo>
                  <a:lnTo>
                    <a:pt x="10" y="74"/>
                  </a:lnTo>
                  <a:lnTo>
                    <a:pt x="10" y="74"/>
                  </a:lnTo>
                  <a:lnTo>
                    <a:pt x="9" y="76"/>
                  </a:lnTo>
                  <a:lnTo>
                    <a:pt x="9" y="79"/>
                  </a:lnTo>
                  <a:lnTo>
                    <a:pt x="10" y="81"/>
                  </a:lnTo>
                  <a:lnTo>
                    <a:pt x="11" y="83"/>
                  </a:lnTo>
                  <a:lnTo>
                    <a:pt x="25" y="90"/>
                  </a:lnTo>
                  <a:lnTo>
                    <a:pt x="25" y="90"/>
                  </a:lnTo>
                  <a:lnTo>
                    <a:pt x="21" y="106"/>
                  </a:lnTo>
                  <a:lnTo>
                    <a:pt x="6" y="106"/>
                  </a:lnTo>
                  <a:lnTo>
                    <a:pt x="6" y="106"/>
                  </a:lnTo>
                  <a:lnTo>
                    <a:pt x="4" y="106"/>
                  </a:lnTo>
                  <a:lnTo>
                    <a:pt x="1" y="109"/>
                  </a:lnTo>
                  <a:lnTo>
                    <a:pt x="0" y="110"/>
                  </a:lnTo>
                  <a:lnTo>
                    <a:pt x="0" y="112"/>
                  </a:lnTo>
                  <a:lnTo>
                    <a:pt x="0" y="138"/>
                  </a:lnTo>
                  <a:lnTo>
                    <a:pt x="0" y="138"/>
                  </a:lnTo>
                  <a:lnTo>
                    <a:pt x="0" y="141"/>
                  </a:lnTo>
                  <a:lnTo>
                    <a:pt x="1" y="143"/>
                  </a:lnTo>
                  <a:lnTo>
                    <a:pt x="4" y="144"/>
                  </a:lnTo>
                  <a:lnTo>
                    <a:pt x="6" y="144"/>
                  </a:lnTo>
                  <a:lnTo>
                    <a:pt x="21" y="144"/>
                  </a:lnTo>
                  <a:lnTo>
                    <a:pt x="21" y="144"/>
                  </a:lnTo>
                  <a:lnTo>
                    <a:pt x="26" y="160"/>
                  </a:lnTo>
                  <a:lnTo>
                    <a:pt x="14" y="168"/>
                  </a:lnTo>
                  <a:lnTo>
                    <a:pt x="14" y="168"/>
                  </a:lnTo>
                  <a:lnTo>
                    <a:pt x="11" y="169"/>
                  </a:lnTo>
                  <a:lnTo>
                    <a:pt x="10" y="171"/>
                  </a:lnTo>
                  <a:lnTo>
                    <a:pt x="10" y="174"/>
                  </a:lnTo>
                  <a:lnTo>
                    <a:pt x="11" y="176"/>
                  </a:lnTo>
                  <a:lnTo>
                    <a:pt x="23" y="199"/>
                  </a:lnTo>
                  <a:lnTo>
                    <a:pt x="23" y="199"/>
                  </a:lnTo>
                  <a:lnTo>
                    <a:pt x="25" y="201"/>
                  </a:lnTo>
                  <a:lnTo>
                    <a:pt x="27" y="201"/>
                  </a:lnTo>
                  <a:lnTo>
                    <a:pt x="30" y="202"/>
                  </a:lnTo>
                  <a:lnTo>
                    <a:pt x="32" y="201"/>
                  </a:lnTo>
                  <a:lnTo>
                    <a:pt x="46" y="194"/>
                  </a:lnTo>
                  <a:lnTo>
                    <a:pt x="46" y="194"/>
                  </a:lnTo>
                  <a:lnTo>
                    <a:pt x="57" y="205"/>
                  </a:lnTo>
                  <a:lnTo>
                    <a:pt x="49" y="217"/>
                  </a:lnTo>
                  <a:lnTo>
                    <a:pt x="49" y="217"/>
                  </a:lnTo>
                  <a:lnTo>
                    <a:pt x="49" y="220"/>
                  </a:lnTo>
                  <a:lnTo>
                    <a:pt x="49" y="222"/>
                  </a:lnTo>
                  <a:lnTo>
                    <a:pt x="51" y="224"/>
                  </a:lnTo>
                  <a:lnTo>
                    <a:pt x="52" y="226"/>
                  </a:lnTo>
                  <a:lnTo>
                    <a:pt x="74" y="239"/>
                  </a:lnTo>
                  <a:lnTo>
                    <a:pt x="74" y="239"/>
                  </a:lnTo>
                  <a:lnTo>
                    <a:pt x="76" y="239"/>
                  </a:lnTo>
                  <a:lnTo>
                    <a:pt x="79" y="239"/>
                  </a:lnTo>
                  <a:lnTo>
                    <a:pt x="81" y="238"/>
                  </a:lnTo>
                  <a:lnTo>
                    <a:pt x="83" y="237"/>
                  </a:lnTo>
                  <a:lnTo>
                    <a:pt x="91" y="223"/>
                  </a:lnTo>
                  <a:lnTo>
                    <a:pt x="91" y="223"/>
                  </a:lnTo>
                  <a:lnTo>
                    <a:pt x="106" y="227"/>
                  </a:lnTo>
                  <a:lnTo>
                    <a:pt x="106" y="242"/>
                  </a:lnTo>
                  <a:lnTo>
                    <a:pt x="106" y="242"/>
                  </a:lnTo>
                  <a:lnTo>
                    <a:pt x="107" y="244"/>
                  </a:lnTo>
                  <a:lnTo>
                    <a:pt x="108" y="247"/>
                  </a:lnTo>
                  <a:lnTo>
                    <a:pt x="111" y="248"/>
                  </a:lnTo>
                  <a:lnTo>
                    <a:pt x="113" y="248"/>
                  </a:lnTo>
                  <a:lnTo>
                    <a:pt x="122" y="248"/>
                  </a:lnTo>
                  <a:lnTo>
                    <a:pt x="122" y="190"/>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4" name="Freeform 272">
              <a:extLst>
                <a:ext uri="{FF2B5EF4-FFF2-40B4-BE49-F238E27FC236}">
                  <a16:creationId xmlns:a16="http://schemas.microsoft.com/office/drawing/2014/main" id="{C170E87F-9CAF-9586-6C3A-631ADEBB1B0B}"/>
                </a:ext>
              </a:extLst>
            </p:cNvPr>
            <p:cNvSpPr>
              <a:spLocks noEditPoints="1"/>
            </p:cNvSpPr>
            <p:nvPr/>
          </p:nvSpPr>
          <p:spPr bwMode="auto">
            <a:xfrm>
              <a:off x="7595334" y="3402023"/>
              <a:ext cx="239193" cy="218494"/>
            </a:xfrm>
            <a:custGeom>
              <a:avLst/>
              <a:gdLst>
                <a:gd name="T0" fmla="*/ 82 w 162"/>
                <a:gd name="T1" fmla="*/ 0 h 162"/>
                <a:gd name="T2" fmla="*/ 65 w 162"/>
                <a:gd name="T3" fmla="*/ 1 h 162"/>
                <a:gd name="T4" fmla="*/ 49 w 162"/>
                <a:gd name="T5" fmla="*/ 6 h 162"/>
                <a:gd name="T6" fmla="*/ 36 w 162"/>
                <a:gd name="T7" fmla="*/ 14 h 162"/>
                <a:gd name="T8" fmla="*/ 24 w 162"/>
                <a:gd name="T9" fmla="*/ 24 h 162"/>
                <a:gd name="T10" fmla="*/ 14 w 162"/>
                <a:gd name="T11" fmla="*/ 36 h 162"/>
                <a:gd name="T12" fmla="*/ 6 w 162"/>
                <a:gd name="T13" fmla="*/ 50 h 162"/>
                <a:gd name="T14" fmla="*/ 3 w 162"/>
                <a:gd name="T15" fmla="*/ 64 h 162"/>
                <a:gd name="T16" fmla="*/ 0 w 162"/>
                <a:gd name="T17" fmla="*/ 82 h 162"/>
                <a:gd name="T18" fmla="*/ 1 w 162"/>
                <a:gd name="T19" fmla="*/ 89 h 162"/>
                <a:gd name="T20" fmla="*/ 4 w 162"/>
                <a:gd name="T21" fmla="*/ 105 h 162"/>
                <a:gd name="T22" fmla="*/ 10 w 162"/>
                <a:gd name="T23" fmla="*/ 120 h 162"/>
                <a:gd name="T24" fmla="*/ 19 w 162"/>
                <a:gd name="T25" fmla="*/ 132 h 162"/>
                <a:gd name="T26" fmla="*/ 30 w 162"/>
                <a:gd name="T27" fmla="*/ 143 h 162"/>
                <a:gd name="T28" fmla="*/ 43 w 162"/>
                <a:gd name="T29" fmla="*/ 152 h 162"/>
                <a:gd name="T30" fmla="*/ 57 w 162"/>
                <a:gd name="T31" fmla="*/ 158 h 162"/>
                <a:gd name="T32" fmla="*/ 73 w 162"/>
                <a:gd name="T33" fmla="*/ 162 h 162"/>
                <a:gd name="T34" fmla="*/ 82 w 162"/>
                <a:gd name="T35" fmla="*/ 162 h 162"/>
                <a:gd name="T36" fmla="*/ 98 w 162"/>
                <a:gd name="T37" fmla="*/ 161 h 162"/>
                <a:gd name="T38" fmla="*/ 112 w 162"/>
                <a:gd name="T39" fmla="*/ 156 h 162"/>
                <a:gd name="T40" fmla="*/ 126 w 162"/>
                <a:gd name="T41" fmla="*/ 148 h 162"/>
                <a:gd name="T42" fmla="*/ 138 w 162"/>
                <a:gd name="T43" fmla="*/ 138 h 162"/>
                <a:gd name="T44" fmla="*/ 148 w 162"/>
                <a:gd name="T45" fmla="*/ 126 h 162"/>
                <a:gd name="T46" fmla="*/ 156 w 162"/>
                <a:gd name="T47" fmla="*/ 112 h 162"/>
                <a:gd name="T48" fmla="*/ 160 w 162"/>
                <a:gd name="T49" fmla="*/ 98 h 162"/>
                <a:gd name="T50" fmla="*/ 162 w 162"/>
                <a:gd name="T51" fmla="*/ 82 h 162"/>
                <a:gd name="T52" fmla="*/ 162 w 162"/>
                <a:gd name="T53" fmla="*/ 73 h 162"/>
                <a:gd name="T54" fmla="*/ 158 w 162"/>
                <a:gd name="T55" fmla="*/ 57 h 162"/>
                <a:gd name="T56" fmla="*/ 152 w 162"/>
                <a:gd name="T57" fmla="*/ 42 h 162"/>
                <a:gd name="T58" fmla="*/ 143 w 162"/>
                <a:gd name="T59" fmla="*/ 30 h 162"/>
                <a:gd name="T60" fmla="*/ 133 w 162"/>
                <a:gd name="T61" fmla="*/ 19 h 162"/>
                <a:gd name="T62" fmla="*/ 120 w 162"/>
                <a:gd name="T63" fmla="*/ 10 h 162"/>
                <a:gd name="T64" fmla="*/ 105 w 162"/>
                <a:gd name="T65" fmla="*/ 4 h 162"/>
                <a:gd name="T66" fmla="*/ 89 w 162"/>
                <a:gd name="T67" fmla="*/ 0 h 162"/>
                <a:gd name="T68" fmla="*/ 82 w 162"/>
                <a:gd name="T69" fmla="*/ 0 h 162"/>
                <a:gd name="T70" fmla="*/ 82 w 162"/>
                <a:gd name="T71" fmla="*/ 147 h 162"/>
                <a:gd name="T72" fmla="*/ 56 w 162"/>
                <a:gd name="T73" fmla="*/ 142 h 162"/>
                <a:gd name="T74" fmla="*/ 35 w 162"/>
                <a:gd name="T75" fmla="*/ 128 h 162"/>
                <a:gd name="T76" fmla="*/ 20 w 162"/>
                <a:gd name="T77" fmla="*/ 106 h 162"/>
                <a:gd name="T78" fmla="*/ 15 w 162"/>
                <a:gd name="T79" fmla="*/ 80 h 162"/>
                <a:gd name="T80" fmla="*/ 16 w 162"/>
                <a:gd name="T81" fmla="*/ 68 h 162"/>
                <a:gd name="T82" fmla="*/ 26 w 162"/>
                <a:gd name="T83" fmla="*/ 43 h 162"/>
                <a:gd name="T84" fmla="*/ 45 w 162"/>
                <a:gd name="T85" fmla="*/ 26 h 162"/>
                <a:gd name="T86" fmla="*/ 68 w 162"/>
                <a:gd name="T87" fmla="*/ 16 h 162"/>
                <a:gd name="T88" fmla="*/ 82 w 162"/>
                <a:gd name="T89" fmla="*/ 15 h 162"/>
                <a:gd name="T90" fmla="*/ 107 w 162"/>
                <a:gd name="T91" fmla="*/ 20 h 162"/>
                <a:gd name="T92" fmla="*/ 128 w 162"/>
                <a:gd name="T93" fmla="*/ 33 h 162"/>
                <a:gd name="T94" fmla="*/ 142 w 162"/>
                <a:gd name="T95" fmla="*/ 56 h 162"/>
                <a:gd name="T96" fmla="*/ 148 w 162"/>
                <a:gd name="T97" fmla="*/ 80 h 162"/>
                <a:gd name="T98" fmla="*/ 147 w 162"/>
                <a:gd name="T99" fmla="*/ 94 h 162"/>
                <a:gd name="T100" fmla="*/ 136 w 162"/>
                <a:gd name="T101" fmla="*/ 119 h 162"/>
                <a:gd name="T102" fmla="*/ 119 w 162"/>
                <a:gd name="T103" fmla="*/ 136 h 162"/>
                <a:gd name="T104" fmla="*/ 95 w 162"/>
                <a:gd name="T105" fmla="*/ 146 h 162"/>
                <a:gd name="T106" fmla="*/ 82 w 162"/>
                <a:gd name="T107" fmla="*/ 147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2" h="162">
                  <a:moveTo>
                    <a:pt x="82" y="0"/>
                  </a:moveTo>
                  <a:lnTo>
                    <a:pt x="82" y="0"/>
                  </a:lnTo>
                  <a:lnTo>
                    <a:pt x="73" y="0"/>
                  </a:lnTo>
                  <a:lnTo>
                    <a:pt x="65" y="1"/>
                  </a:lnTo>
                  <a:lnTo>
                    <a:pt x="57" y="4"/>
                  </a:lnTo>
                  <a:lnTo>
                    <a:pt x="49" y="6"/>
                  </a:lnTo>
                  <a:lnTo>
                    <a:pt x="43" y="10"/>
                  </a:lnTo>
                  <a:lnTo>
                    <a:pt x="36" y="14"/>
                  </a:lnTo>
                  <a:lnTo>
                    <a:pt x="30" y="19"/>
                  </a:lnTo>
                  <a:lnTo>
                    <a:pt x="24" y="24"/>
                  </a:lnTo>
                  <a:lnTo>
                    <a:pt x="19" y="30"/>
                  </a:lnTo>
                  <a:lnTo>
                    <a:pt x="14" y="36"/>
                  </a:lnTo>
                  <a:lnTo>
                    <a:pt x="10" y="42"/>
                  </a:lnTo>
                  <a:lnTo>
                    <a:pt x="6" y="50"/>
                  </a:lnTo>
                  <a:lnTo>
                    <a:pt x="4" y="57"/>
                  </a:lnTo>
                  <a:lnTo>
                    <a:pt x="3" y="64"/>
                  </a:lnTo>
                  <a:lnTo>
                    <a:pt x="1" y="73"/>
                  </a:lnTo>
                  <a:lnTo>
                    <a:pt x="0" y="82"/>
                  </a:lnTo>
                  <a:lnTo>
                    <a:pt x="0" y="82"/>
                  </a:lnTo>
                  <a:lnTo>
                    <a:pt x="1" y="89"/>
                  </a:lnTo>
                  <a:lnTo>
                    <a:pt x="3" y="98"/>
                  </a:lnTo>
                  <a:lnTo>
                    <a:pt x="4" y="105"/>
                  </a:lnTo>
                  <a:lnTo>
                    <a:pt x="6" y="112"/>
                  </a:lnTo>
                  <a:lnTo>
                    <a:pt x="10" y="120"/>
                  </a:lnTo>
                  <a:lnTo>
                    <a:pt x="14" y="126"/>
                  </a:lnTo>
                  <a:lnTo>
                    <a:pt x="19" y="132"/>
                  </a:lnTo>
                  <a:lnTo>
                    <a:pt x="24" y="138"/>
                  </a:lnTo>
                  <a:lnTo>
                    <a:pt x="30" y="143"/>
                  </a:lnTo>
                  <a:lnTo>
                    <a:pt x="36" y="148"/>
                  </a:lnTo>
                  <a:lnTo>
                    <a:pt x="43" y="152"/>
                  </a:lnTo>
                  <a:lnTo>
                    <a:pt x="49" y="156"/>
                  </a:lnTo>
                  <a:lnTo>
                    <a:pt x="57" y="158"/>
                  </a:lnTo>
                  <a:lnTo>
                    <a:pt x="65" y="161"/>
                  </a:lnTo>
                  <a:lnTo>
                    <a:pt x="73" y="162"/>
                  </a:lnTo>
                  <a:lnTo>
                    <a:pt x="82" y="162"/>
                  </a:lnTo>
                  <a:lnTo>
                    <a:pt x="82" y="162"/>
                  </a:lnTo>
                  <a:lnTo>
                    <a:pt x="89" y="162"/>
                  </a:lnTo>
                  <a:lnTo>
                    <a:pt x="98" y="161"/>
                  </a:lnTo>
                  <a:lnTo>
                    <a:pt x="105" y="158"/>
                  </a:lnTo>
                  <a:lnTo>
                    <a:pt x="112" y="156"/>
                  </a:lnTo>
                  <a:lnTo>
                    <a:pt x="120" y="152"/>
                  </a:lnTo>
                  <a:lnTo>
                    <a:pt x="126" y="148"/>
                  </a:lnTo>
                  <a:lnTo>
                    <a:pt x="133" y="143"/>
                  </a:lnTo>
                  <a:lnTo>
                    <a:pt x="138" y="138"/>
                  </a:lnTo>
                  <a:lnTo>
                    <a:pt x="143" y="132"/>
                  </a:lnTo>
                  <a:lnTo>
                    <a:pt x="148" y="126"/>
                  </a:lnTo>
                  <a:lnTo>
                    <a:pt x="152" y="120"/>
                  </a:lnTo>
                  <a:lnTo>
                    <a:pt x="156" y="112"/>
                  </a:lnTo>
                  <a:lnTo>
                    <a:pt x="158" y="105"/>
                  </a:lnTo>
                  <a:lnTo>
                    <a:pt x="160" y="98"/>
                  </a:lnTo>
                  <a:lnTo>
                    <a:pt x="162" y="89"/>
                  </a:lnTo>
                  <a:lnTo>
                    <a:pt x="162" y="82"/>
                  </a:lnTo>
                  <a:lnTo>
                    <a:pt x="162" y="82"/>
                  </a:lnTo>
                  <a:lnTo>
                    <a:pt x="162" y="73"/>
                  </a:lnTo>
                  <a:lnTo>
                    <a:pt x="160" y="64"/>
                  </a:lnTo>
                  <a:lnTo>
                    <a:pt x="158" y="57"/>
                  </a:lnTo>
                  <a:lnTo>
                    <a:pt x="156" y="50"/>
                  </a:lnTo>
                  <a:lnTo>
                    <a:pt x="152" y="42"/>
                  </a:lnTo>
                  <a:lnTo>
                    <a:pt x="148" y="36"/>
                  </a:lnTo>
                  <a:lnTo>
                    <a:pt x="143" y="30"/>
                  </a:lnTo>
                  <a:lnTo>
                    <a:pt x="138" y="24"/>
                  </a:lnTo>
                  <a:lnTo>
                    <a:pt x="133" y="19"/>
                  </a:lnTo>
                  <a:lnTo>
                    <a:pt x="126" y="14"/>
                  </a:lnTo>
                  <a:lnTo>
                    <a:pt x="120" y="10"/>
                  </a:lnTo>
                  <a:lnTo>
                    <a:pt x="112" y="6"/>
                  </a:lnTo>
                  <a:lnTo>
                    <a:pt x="105" y="4"/>
                  </a:lnTo>
                  <a:lnTo>
                    <a:pt x="98" y="1"/>
                  </a:lnTo>
                  <a:lnTo>
                    <a:pt x="89" y="0"/>
                  </a:lnTo>
                  <a:lnTo>
                    <a:pt x="82" y="0"/>
                  </a:lnTo>
                  <a:lnTo>
                    <a:pt x="82" y="0"/>
                  </a:lnTo>
                  <a:close/>
                  <a:moveTo>
                    <a:pt x="82" y="147"/>
                  </a:moveTo>
                  <a:lnTo>
                    <a:pt x="82" y="147"/>
                  </a:lnTo>
                  <a:lnTo>
                    <a:pt x="68" y="146"/>
                  </a:lnTo>
                  <a:lnTo>
                    <a:pt x="56" y="142"/>
                  </a:lnTo>
                  <a:lnTo>
                    <a:pt x="45" y="136"/>
                  </a:lnTo>
                  <a:lnTo>
                    <a:pt x="35" y="128"/>
                  </a:lnTo>
                  <a:lnTo>
                    <a:pt x="26" y="119"/>
                  </a:lnTo>
                  <a:lnTo>
                    <a:pt x="20" y="106"/>
                  </a:lnTo>
                  <a:lnTo>
                    <a:pt x="16" y="94"/>
                  </a:lnTo>
                  <a:lnTo>
                    <a:pt x="15" y="80"/>
                  </a:lnTo>
                  <a:lnTo>
                    <a:pt x="15" y="80"/>
                  </a:lnTo>
                  <a:lnTo>
                    <a:pt x="16" y="68"/>
                  </a:lnTo>
                  <a:lnTo>
                    <a:pt x="20" y="56"/>
                  </a:lnTo>
                  <a:lnTo>
                    <a:pt x="26" y="43"/>
                  </a:lnTo>
                  <a:lnTo>
                    <a:pt x="35" y="33"/>
                  </a:lnTo>
                  <a:lnTo>
                    <a:pt x="45" y="26"/>
                  </a:lnTo>
                  <a:lnTo>
                    <a:pt x="56" y="20"/>
                  </a:lnTo>
                  <a:lnTo>
                    <a:pt x="68" y="16"/>
                  </a:lnTo>
                  <a:lnTo>
                    <a:pt x="82" y="15"/>
                  </a:lnTo>
                  <a:lnTo>
                    <a:pt x="82" y="15"/>
                  </a:lnTo>
                  <a:lnTo>
                    <a:pt x="95" y="16"/>
                  </a:lnTo>
                  <a:lnTo>
                    <a:pt x="107" y="20"/>
                  </a:lnTo>
                  <a:lnTo>
                    <a:pt x="119" y="26"/>
                  </a:lnTo>
                  <a:lnTo>
                    <a:pt x="128" y="33"/>
                  </a:lnTo>
                  <a:lnTo>
                    <a:pt x="136" y="43"/>
                  </a:lnTo>
                  <a:lnTo>
                    <a:pt x="142" y="56"/>
                  </a:lnTo>
                  <a:lnTo>
                    <a:pt x="147" y="68"/>
                  </a:lnTo>
                  <a:lnTo>
                    <a:pt x="148" y="80"/>
                  </a:lnTo>
                  <a:lnTo>
                    <a:pt x="148" y="80"/>
                  </a:lnTo>
                  <a:lnTo>
                    <a:pt x="147" y="94"/>
                  </a:lnTo>
                  <a:lnTo>
                    <a:pt x="142" y="106"/>
                  </a:lnTo>
                  <a:lnTo>
                    <a:pt x="136" y="119"/>
                  </a:lnTo>
                  <a:lnTo>
                    <a:pt x="128" y="128"/>
                  </a:lnTo>
                  <a:lnTo>
                    <a:pt x="119" y="136"/>
                  </a:lnTo>
                  <a:lnTo>
                    <a:pt x="107" y="142"/>
                  </a:lnTo>
                  <a:lnTo>
                    <a:pt x="95" y="146"/>
                  </a:lnTo>
                  <a:lnTo>
                    <a:pt x="82" y="147"/>
                  </a:lnTo>
                  <a:lnTo>
                    <a:pt x="82" y="147"/>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5" name="Freeform 273">
              <a:extLst>
                <a:ext uri="{FF2B5EF4-FFF2-40B4-BE49-F238E27FC236}">
                  <a16:creationId xmlns:a16="http://schemas.microsoft.com/office/drawing/2014/main" id="{BE8517B8-2A5B-0151-E4B1-F64B276D4AB2}"/>
                </a:ext>
              </a:extLst>
            </p:cNvPr>
            <p:cNvSpPr>
              <a:spLocks/>
            </p:cNvSpPr>
            <p:nvPr/>
          </p:nvSpPr>
          <p:spPr bwMode="auto">
            <a:xfrm>
              <a:off x="7711978" y="3402023"/>
              <a:ext cx="122550" cy="218494"/>
            </a:xfrm>
            <a:custGeom>
              <a:avLst/>
              <a:gdLst>
                <a:gd name="T0" fmla="*/ 3 w 83"/>
                <a:gd name="T1" fmla="*/ 0 h 162"/>
                <a:gd name="T2" fmla="*/ 0 w 83"/>
                <a:gd name="T3" fmla="*/ 15 h 162"/>
                <a:gd name="T4" fmla="*/ 3 w 83"/>
                <a:gd name="T5" fmla="*/ 15 h 162"/>
                <a:gd name="T6" fmla="*/ 16 w 83"/>
                <a:gd name="T7" fmla="*/ 16 h 162"/>
                <a:gd name="T8" fmla="*/ 40 w 83"/>
                <a:gd name="T9" fmla="*/ 26 h 162"/>
                <a:gd name="T10" fmla="*/ 57 w 83"/>
                <a:gd name="T11" fmla="*/ 43 h 162"/>
                <a:gd name="T12" fmla="*/ 68 w 83"/>
                <a:gd name="T13" fmla="*/ 68 h 162"/>
                <a:gd name="T14" fmla="*/ 69 w 83"/>
                <a:gd name="T15" fmla="*/ 80 h 162"/>
                <a:gd name="T16" fmla="*/ 63 w 83"/>
                <a:gd name="T17" fmla="*/ 106 h 162"/>
                <a:gd name="T18" fmla="*/ 49 w 83"/>
                <a:gd name="T19" fmla="*/ 128 h 162"/>
                <a:gd name="T20" fmla="*/ 28 w 83"/>
                <a:gd name="T21" fmla="*/ 142 h 162"/>
                <a:gd name="T22" fmla="*/ 3 w 83"/>
                <a:gd name="T23" fmla="*/ 147 h 162"/>
                <a:gd name="T24" fmla="*/ 0 w 83"/>
                <a:gd name="T25" fmla="*/ 147 h 162"/>
                <a:gd name="T26" fmla="*/ 0 w 83"/>
                <a:gd name="T27" fmla="*/ 162 h 162"/>
                <a:gd name="T28" fmla="*/ 3 w 83"/>
                <a:gd name="T29" fmla="*/ 162 h 162"/>
                <a:gd name="T30" fmla="*/ 19 w 83"/>
                <a:gd name="T31" fmla="*/ 161 h 162"/>
                <a:gd name="T32" fmla="*/ 33 w 83"/>
                <a:gd name="T33" fmla="*/ 156 h 162"/>
                <a:gd name="T34" fmla="*/ 47 w 83"/>
                <a:gd name="T35" fmla="*/ 148 h 162"/>
                <a:gd name="T36" fmla="*/ 59 w 83"/>
                <a:gd name="T37" fmla="*/ 138 h 162"/>
                <a:gd name="T38" fmla="*/ 69 w 83"/>
                <a:gd name="T39" fmla="*/ 126 h 162"/>
                <a:gd name="T40" fmla="*/ 77 w 83"/>
                <a:gd name="T41" fmla="*/ 112 h 162"/>
                <a:gd name="T42" fmla="*/ 81 w 83"/>
                <a:gd name="T43" fmla="*/ 98 h 162"/>
                <a:gd name="T44" fmla="*/ 83 w 83"/>
                <a:gd name="T45" fmla="*/ 82 h 162"/>
                <a:gd name="T46" fmla="*/ 83 w 83"/>
                <a:gd name="T47" fmla="*/ 73 h 162"/>
                <a:gd name="T48" fmla="*/ 79 w 83"/>
                <a:gd name="T49" fmla="*/ 57 h 162"/>
                <a:gd name="T50" fmla="*/ 73 w 83"/>
                <a:gd name="T51" fmla="*/ 42 h 162"/>
                <a:gd name="T52" fmla="*/ 64 w 83"/>
                <a:gd name="T53" fmla="*/ 30 h 162"/>
                <a:gd name="T54" fmla="*/ 54 w 83"/>
                <a:gd name="T55" fmla="*/ 19 h 162"/>
                <a:gd name="T56" fmla="*/ 41 w 83"/>
                <a:gd name="T57" fmla="*/ 10 h 162"/>
                <a:gd name="T58" fmla="*/ 26 w 83"/>
                <a:gd name="T59" fmla="*/ 4 h 162"/>
                <a:gd name="T60" fmla="*/ 10 w 83"/>
                <a:gd name="T61" fmla="*/ 0 h 162"/>
                <a:gd name="T62" fmla="*/ 3 w 83"/>
                <a:gd name="T63"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 h="162">
                  <a:moveTo>
                    <a:pt x="3" y="0"/>
                  </a:moveTo>
                  <a:lnTo>
                    <a:pt x="3" y="0"/>
                  </a:lnTo>
                  <a:lnTo>
                    <a:pt x="0" y="0"/>
                  </a:lnTo>
                  <a:lnTo>
                    <a:pt x="0" y="15"/>
                  </a:lnTo>
                  <a:lnTo>
                    <a:pt x="0" y="15"/>
                  </a:lnTo>
                  <a:lnTo>
                    <a:pt x="3" y="15"/>
                  </a:lnTo>
                  <a:lnTo>
                    <a:pt x="3" y="15"/>
                  </a:lnTo>
                  <a:lnTo>
                    <a:pt x="16" y="16"/>
                  </a:lnTo>
                  <a:lnTo>
                    <a:pt x="28" y="20"/>
                  </a:lnTo>
                  <a:lnTo>
                    <a:pt x="40" y="26"/>
                  </a:lnTo>
                  <a:lnTo>
                    <a:pt x="49" y="33"/>
                  </a:lnTo>
                  <a:lnTo>
                    <a:pt x="57" y="43"/>
                  </a:lnTo>
                  <a:lnTo>
                    <a:pt x="63" y="56"/>
                  </a:lnTo>
                  <a:lnTo>
                    <a:pt x="68" y="68"/>
                  </a:lnTo>
                  <a:lnTo>
                    <a:pt x="69" y="80"/>
                  </a:lnTo>
                  <a:lnTo>
                    <a:pt x="69" y="80"/>
                  </a:lnTo>
                  <a:lnTo>
                    <a:pt x="68" y="94"/>
                  </a:lnTo>
                  <a:lnTo>
                    <a:pt x="63" y="106"/>
                  </a:lnTo>
                  <a:lnTo>
                    <a:pt x="57" y="119"/>
                  </a:lnTo>
                  <a:lnTo>
                    <a:pt x="49" y="128"/>
                  </a:lnTo>
                  <a:lnTo>
                    <a:pt x="40" y="136"/>
                  </a:lnTo>
                  <a:lnTo>
                    <a:pt x="28" y="142"/>
                  </a:lnTo>
                  <a:lnTo>
                    <a:pt x="16" y="146"/>
                  </a:lnTo>
                  <a:lnTo>
                    <a:pt x="3" y="147"/>
                  </a:lnTo>
                  <a:lnTo>
                    <a:pt x="3" y="147"/>
                  </a:lnTo>
                  <a:lnTo>
                    <a:pt x="0" y="147"/>
                  </a:lnTo>
                  <a:lnTo>
                    <a:pt x="0" y="162"/>
                  </a:lnTo>
                  <a:lnTo>
                    <a:pt x="0" y="162"/>
                  </a:lnTo>
                  <a:lnTo>
                    <a:pt x="3" y="162"/>
                  </a:lnTo>
                  <a:lnTo>
                    <a:pt x="3" y="162"/>
                  </a:lnTo>
                  <a:lnTo>
                    <a:pt x="10" y="162"/>
                  </a:lnTo>
                  <a:lnTo>
                    <a:pt x="19" y="161"/>
                  </a:lnTo>
                  <a:lnTo>
                    <a:pt x="26" y="158"/>
                  </a:lnTo>
                  <a:lnTo>
                    <a:pt x="33" y="156"/>
                  </a:lnTo>
                  <a:lnTo>
                    <a:pt x="41" y="152"/>
                  </a:lnTo>
                  <a:lnTo>
                    <a:pt x="47" y="148"/>
                  </a:lnTo>
                  <a:lnTo>
                    <a:pt x="54" y="143"/>
                  </a:lnTo>
                  <a:lnTo>
                    <a:pt x="59" y="138"/>
                  </a:lnTo>
                  <a:lnTo>
                    <a:pt x="64" y="132"/>
                  </a:lnTo>
                  <a:lnTo>
                    <a:pt x="69" y="126"/>
                  </a:lnTo>
                  <a:lnTo>
                    <a:pt x="73" y="120"/>
                  </a:lnTo>
                  <a:lnTo>
                    <a:pt x="77" y="112"/>
                  </a:lnTo>
                  <a:lnTo>
                    <a:pt x="79" y="105"/>
                  </a:lnTo>
                  <a:lnTo>
                    <a:pt x="81" y="98"/>
                  </a:lnTo>
                  <a:lnTo>
                    <a:pt x="83" y="89"/>
                  </a:lnTo>
                  <a:lnTo>
                    <a:pt x="83" y="82"/>
                  </a:lnTo>
                  <a:lnTo>
                    <a:pt x="83" y="82"/>
                  </a:lnTo>
                  <a:lnTo>
                    <a:pt x="83" y="73"/>
                  </a:lnTo>
                  <a:lnTo>
                    <a:pt x="81" y="64"/>
                  </a:lnTo>
                  <a:lnTo>
                    <a:pt x="79" y="57"/>
                  </a:lnTo>
                  <a:lnTo>
                    <a:pt x="77" y="50"/>
                  </a:lnTo>
                  <a:lnTo>
                    <a:pt x="73" y="42"/>
                  </a:lnTo>
                  <a:lnTo>
                    <a:pt x="69" y="36"/>
                  </a:lnTo>
                  <a:lnTo>
                    <a:pt x="64" y="30"/>
                  </a:lnTo>
                  <a:lnTo>
                    <a:pt x="59" y="24"/>
                  </a:lnTo>
                  <a:lnTo>
                    <a:pt x="54" y="19"/>
                  </a:lnTo>
                  <a:lnTo>
                    <a:pt x="47" y="14"/>
                  </a:lnTo>
                  <a:lnTo>
                    <a:pt x="41" y="10"/>
                  </a:lnTo>
                  <a:lnTo>
                    <a:pt x="33" y="6"/>
                  </a:lnTo>
                  <a:lnTo>
                    <a:pt x="26" y="4"/>
                  </a:lnTo>
                  <a:lnTo>
                    <a:pt x="19" y="1"/>
                  </a:lnTo>
                  <a:lnTo>
                    <a:pt x="10" y="0"/>
                  </a:lnTo>
                  <a:lnTo>
                    <a:pt x="3" y="0"/>
                  </a:lnTo>
                  <a:lnTo>
                    <a:pt x="3" y="0"/>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6" name="Freeform 274">
              <a:extLst>
                <a:ext uri="{FF2B5EF4-FFF2-40B4-BE49-F238E27FC236}">
                  <a16:creationId xmlns:a16="http://schemas.microsoft.com/office/drawing/2014/main" id="{E9BE0CEE-FB80-F49F-1EB5-C7385CCFFB8D}"/>
                </a:ext>
              </a:extLst>
            </p:cNvPr>
            <p:cNvSpPr>
              <a:spLocks/>
            </p:cNvSpPr>
            <p:nvPr/>
          </p:nvSpPr>
          <p:spPr bwMode="auto">
            <a:xfrm>
              <a:off x="7711978" y="3420905"/>
              <a:ext cx="103355" cy="180730"/>
            </a:xfrm>
            <a:custGeom>
              <a:avLst/>
              <a:gdLst>
                <a:gd name="T0" fmla="*/ 3 w 70"/>
                <a:gd name="T1" fmla="*/ 0 h 134"/>
                <a:gd name="T2" fmla="*/ 3 w 70"/>
                <a:gd name="T3" fmla="*/ 0 h 134"/>
                <a:gd name="T4" fmla="*/ 0 w 70"/>
                <a:gd name="T5" fmla="*/ 0 h 134"/>
                <a:gd name="T6" fmla="*/ 0 w 70"/>
                <a:gd name="T7" fmla="*/ 11 h 134"/>
                <a:gd name="T8" fmla="*/ 0 w 70"/>
                <a:gd name="T9" fmla="*/ 11 h 134"/>
                <a:gd name="T10" fmla="*/ 3 w 70"/>
                <a:gd name="T11" fmla="*/ 11 h 134"/>
                <a:gd name="T12" fmla="*/ 3 w 70"/>
                <a:gd name="T13" fmla="*/ 11 h 134"/>
                <a:gd name="T14" fmla="*/ 14 w 70"/>
                <a:gd name="T15" fmla="*/ 12 h 134"/>
                <a:gd name="T16" fmla="*/ 23 w 70"/>
                <a:gd name="T17" fmla="*/ 16 h 134"/>
                <a:gd name="T18" fmla="*/ 33 w 70"/>
                <a:gd name="T19" fmla="*/ 21 h 134"/>
                <a:gd name="T20" fmla="*/ 42 w 70"/>
                <a:gd name="T21" fmla="*/ 28 h 134"/>
                <a:gd name="T22" fmla="*/ 48 w 70"/>
                <a:gd name="T23" fmla="*/ 36 h 134"/>
                <a:gd name="T24" fmla="*/ 53 w 70"/>
                <a:gd name="T25" fmla="*/ 45 h 134"/>
                <a:gd name="T26" fmla="*/ 57 w 70"/>
                <a:gd name="T27" fmla="*/ 55 h 134"/>
                <a:gd name="T28" fmla="*/ 58 w 70"/>
                <a:gd name="T29" fmla="*/ 66 h 134"/>
                <a:gd name="T30" fmla="*/ 58 w 70"/>
                <a:gd name="T31" fmla="*/ 66 h 134"/>
                <a:gd name="T32" fmla="*/ 57 w 70"/>
                <a:gd name="T33" fmla="*/ 79 h 134"/>
                <a:gd name="T34" fmla="*/ 53 w 70"/>
                <a:gd name="T35" fmla="*/ 89 h 134"/>
                <a:gd name="T36" fmla="*/ 48 w 70"/>
                <a:gd name="T37" fmla="*/ 98 h 134"/>
                <a:gd name="T38" fmla="*/ 42 w 70"/>
                <a:gd name="T39" fmla="*/ 106 h 134"/>
                <a:gd name="T40" fmla="*/ 33 w 70"/>
                <a:gd name="T41" fmla="*/ 113 h 134"/>
                <a:gd name="T42" fmla="*/ 23 w 70"/>
                <a:gd name="T43" fmla="*/ 118 h 134"/>
                <a:gd name="T44" fmla="*/ 14 w 70"/>
                <a:gd name="T45" fmla="*/ 122 h 134"/>
                <a:gd name="T46" fmla="*/ 3 w 70"/>
                <a:gd name="T47" fmla="*/ 123 h 134"/>
                <a:gd name="T48" fmla="*/ 3 w 70"/>
                <a:gd name="T49" fmla="*/ 123 h 134"/>
                <a:gd name="T50" fmla="*/ 0 w 70"/>
                <a:gd name="T51" fmla="*/ 123 h 134"/>
                <a:gd name="T52" fmla="*/ 0 w 70"/>
                <a:gd name="T53" fmla="*/ 134 h 134"/>
                <a:gd name="T54" fmla="*/ 0 w 70"/>
                <a:gd name="T55" fmla="*/ 134 h 134"/>
                <a:gd name="T56" fmla="*/ 3 w 70"/>
                <a:gd name="T57" fmla="*/ 134 h 134"/>
                <a:gd name="T58" fmla="*/ 3 w 70"/>
                <a:gd name="T59" fmla="*/ 134 h 134"/>
                <a:gd name="T60" fmla="*/ 16 w 70"/>
                <a:gd name="T61" fmla="*/ 133 h 134"/>
                <a:gd name="T62" fmla="*/ 28 w 70"/>
                <a:gd name="T63" fmla="*/ 129 h 134"/>
                <a:gd name="T64" fmla="*/ 41 w 70"/>
                <a:gd name="T65" fmla="*/ 123 h 134"/>
                <a:gd name="T66" fmla="*/ 51 w 70"/>
                <a:gd name="T67" fmla="*/ 114 h 134"/>
                <a:gd name="T68" fmla="*/ 58 w 70"/>
                <a:gd name="T69" fmla="*/ 105 h 134"/>
                <a:gd name="T70" fmla="*/ 64 w 70"/>
                <a:gd name="T71" fmla="*/ 93 h 134"/>
                <a:gd name="T72" fmla="*/ 69 w 70"/>
                <a:gd name="T73" fmla="*/ 81 h 134"/>
                <a:gd name="T74" fmla="*/ 70 w 70"/>
                <a:gd name="T75" fmla="*/ 68 h 134"/>
                <a:gd name="T76" fmla="*/ 70 w 70"/>
                <a:gd name="T77" fmla="*/ 68 h 134"/>
                <a:gd name="T78" fmla="*/ 69 w 70"/>
                <a:gd name="T79" fmla="*/ 53 h 134"/>
                <a:gd name="T80" fmla="*/ 64 w 70"/>
                <a:gd name="T81" fmla="*/ 40 h 134"/>
                <a:gd name="T82" fmla="*/ 58 w 70"/>
                <a:gd name="T83" fmla="*/ 29 h 134"/>
                <a:gd name="T84" fmla="*/ 51 w 70"/>
                <a:gd name="T85" fmla="*/ 19 h 134"/>
                <a:gd name="T86" fmla="*/ 41 w 70"/>
                <a:gd name="T87" fmla="*/ 11 h 134"/>
                <a:gd name="T88" fmla="*/ 28 w 70"/>
                <a:gd name="T89" fmla="*/ 5 h 134"/>
                <a:gd name="T90" fmla="*/ 16 w 70"/>
                <a:gd name="T91" fmla="*/ 1 h 134"/>
                <a:gd name="T92" fmla="*/ 3 w 70"/>
                <a:gd name="T93" fmla="*/ 0 h 134"/>
                <a:gd name="T94" fmla="*/ 3 w 70"/>
                <a:gd name="T95"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0" h="134">
                  <a:moveTo>
                    <a:pt x="3" y="0"/>
                  </a:moveTo>
                  <a:lnTo>
                    <a:pt x="3" y="0"/>
                  </a:lnTo>
                  <a:lnTo>
                    <a:pt x="0" y="0"/>
                  </a:lnTo>
                  <a:lnTo>
                    <a:pt x="0" y="11"/>
                  </a:lnTo>
                  <a:lnTo>
                    <a:pt x="0" y="11"/>
                  </a:lnTo>
                  <a:lnTo>
                    <a:pt x="3" y="11"/>
                  </a:lnTo>
                  <a:lnTo>
                    <a:pt x="3" y="11"/>
                  </a:lnTo>
                  <a:lnTo>
                    <a:pt x="14" y="12"/>
                  </a:lnTo>
                  <a:lnTo>
                    <a:pt x="23" y="16"/>
                  </a:lnTo>
                  <a:lnTo>
                    <a:pt x="33" y="21"/>
                  </a:lnTo>
                  <a:lnTo>
                    <a:pt x="42" y="28"/>
                  </a:lnTo>
                  <a:lnTo>
                    <a:pt x="48" y="36"/>
                  </a:lnTo>
                  <a:lnTo>
                    <a:pt x="53" y="45"/>
                  </a:lnTo>
                  <a:lnTo>
                    <a:pt x="57" y="55"/>
                  </a:lnTo>
                  <a:lnTo>
                    <a:pt x="58" y="66"/>
                  </a:lnTo>
                  <a:lnTo>
                    <a:pt x="58" y="66"/>
                  </a:lnTo>
                  <a:lnTo>
                    <a:pt x="57" y="79"/>
                  </a:lnTo>
                  <a:lnTo>
                    <a:pt x="53" y="89"/>
                  </a:lnTo>
                  <a:lnTo>
                    <a:pt x="48" y="98"/>
                  </a:lnTo>
                  <a:lnTo>
                    <a:pt x="42" y="106"/>
                  </a:lnTo>
                  <a:lnTo>
                    <a:pt x="33" y="113"/>
                  </a:lnTo>
                  <a:lnTo>
                    <a:pt x="23" y="118"/>
                  </a:lnTo>
                  <a:lnTo>
                    <a:pt x="14" y="122"/>
                  </a:lnTo>
                  <a:lnTo>
                    <a:pt x="3" y="123"/>
                  </a:lnTo>
                  <a:lnTo>
                    <a:pt x="3" y="123"/>
                  </a:lnTo>
                  <a:lnTo>
                    <a:pt x="0" y="123"/>
                  </a:lnTo>
                  <a:lnTo>
                    <a:pt x="0" y="134"/>
                  </a:lnTo>
                  <a:lnTo>
                    <a:pt x="0" y="134"/>
                  </a:lnTo>
                  <a:lnTo>
                    <a:pt x="3" y="134"/>
                  </a:lnTo>
                  <a:lnTo>
                    <a:pt x="3" y="134"/>
                  </a:lnTo>
                  <a:lnTo>
                    <a:pt x="16" y="133"/>
                  </a:lnTo>
                  <a:lnTo>
                    <a:pt x="28" y="129"/>
                  </a:lnTo>
                  <a:lnTo>
                    <a:pt x="41" y="123"/>
                  </a:lnTo>
                  <a:lnTo>
                    <a:pt x="51" y="114"/>
                  </a:lnTo>
                  <a:lnTo>
                    <a:pt x="58" y="105"/>
                  </a:lnTo>
                  <a:lnTo>
                    <a:pt x="64" y="93"/>
                  </a:lnTo>
                  <a:lnTo>
                    <a:pt x="69" y="81"/>
                  </a:lnTo>
                  <a:lnTo>
                    <a:pt x="70" y="68"/>
                  </a:lnTo>
                  <a:lnTo>
                    <a:pt x="70" y="68"/>
                  </a:lnTo>
                  <a:lnTo>
                    <a:pt x="69" y="53"/>
                  </a:lnTo>
                  <a:lnTo>
                    <a:pt x="64" y="40"/>
                  </a:lnTo>
                  <a:lnTo>
                    <a:pt x="58" y="29"/>
                  </a:lnTo>
                  <a:lnTo>
                    <a:pt x="51" y="19"/>
                  </a:lnTo>
                  <a:lnTo>
                    <a:pt x="41" y="11"/>
                  </a:lnTo>
                  <a:lnTo>
                    <a:pt x="28" y="5"/>
                  </a:lnTo>
                  <a:lnTo>
                    <a:pt x="16" y="1"/>
                  </a:lnTo>
                  <a:lnTo>
                    <a:pt x="3" y="0"/>
                  </a:lnTo>
                  <a:lnTo>
                    <a:pt x="3" y="0"/>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grpSp>
        <p:nvGrpSpPr>
          <p:cNvPr id="455" name="Group 454">
            <a:extLst>
              <a:ext uri="{FF2B5EF4-FFF2-40B4-BE49-F238E27FC236}">
                <a16:creationId xmlns:a16="http://schemas.microsoft.com/office/drawing/2014/main" id="{93549622-0A9F-8A24-238D-AE2CA8EA3BB2}"/>
              </a:ext>
            </a:extLst>
          </p:cNvPr>
          <p:cNvGrpSpPr/>
          <p:nvPr/>
        </p:nvGrpSpPr>
        <p:grpSpPr>
          <a:xfrm>
            <a:off x="9501686" y="2629395"/>
            <a:ext cx="1285115" cy="1139420"/>
            <a:chOff x="8933974" y="1324350"/>
            <a:chExt cx="1112838" cy="1114425"/>
          </a:xfrm>
        </p:grpSpPr>
        <p:sp>
          <p:nvSpPr>
            <p:cNvPr id="442" name="Freeform 5">
              <a:extLst>
                <a:ext uri="{FF2B5EF4-FFF2-40B4-BE49-F238E27FC236}">
                  <a16:creationId xmlns:a16="http://schemas.microsoft.com/office/drawing/2014/main" id="{E45B3AFF-8726-4CF6-A6FF-E0F07C7E1A5E}"/>
                </a:ext>
              </a:extLst>
            </p:cNvPr>
            <p:cNvSpPr>
              <a:spLocks/>
            </p:cNvSpPr>
            <p:nvPr/>
          </p:nvSpPr>
          <p:spPr bwMode="auto">
            <a:xfrm>
              <a:off x="8933974" y="1324350"/>
              <a:ext cx="1112838" cy="1114425"/>
            </a:xfrm>
            <a:custGeom>
              <a:avLst/>
              <a:gdLst>
                <a:gd name="T0" fmla="*/ 333 w 701"/>
                <a:gd name="T1" fmla="*/ 701 h 702"/>
                <a:gd name="T2" fmla="*/ 280 w 701"/>
                <a:gd name="T3" fmla="*/ 695 h 702"/>
                <a:gd name="T4" fmla="*/ 231 w 701"/>
                <a:gd name="T5" fmla="*/ 680 h 702"/>
                <a:gd name="T6" fmla="*/ 184 w 701"/>
                <a:gd name="T7" fmla="*/ 659 h 702"/>
                <a:gd name="T8" fmla="*/ 141 w 701"/>
                <a:gd name="T9" fmla="*/ 632 h 702"/>
                <a:gd name="T10" fmla="*/ 102 w 701"/>
                <a:gd name="T11" fmla="*/ 598 h 702"/>
                <a:gd name="T12" fmla="*/ 70 w 701"/>
                <a:gd name="T13" fmla="*/ 561 h 702"/>
                <a:gd name="T14" fmla="*/ 43 w 701"/>
                <a:gd name="T15" fmla="*/ 518 h 702"/>
                <a:gd name="T16" fmla="*/ 21 w 701"/>
                <a:gd name="T17" fmla="*/ 471 h 702"/>
                <a:gd name="T18" fmla="*/ 7 w 701"/>
                <a:gd name="T19" fmla="*/ 422 h 702"/>
                <a:gd name="T20" fmla="*/ 1 w 701"/>
                <a:gd name="T21" fmla="*/ 369 h 702"/>
                <a:gd name="T22" fmla="*/ 1 w 701"/>
                <a:gd name="T23" fmla="*/ 333 h 702"/>
                <a:gd name="T24" fmla="*/ 7 w 701"/>
                <a:gd name="T25" fmla="*/ 280 h 702"/>
                <a:gd name="T26" fmla="*/ 21 w 701"/>
                <a:gd name="T27" fmla="*/ 231 h 702"/>
                <a:gd name="T28" fmla="*/ 43 w 701"/>
                <a:gd name="T29" fmla="*/ 184 h 702"/>
                <a:gd name="T30" fmla="*/ 70 w 701"/>
                <a:gd name="T31" fmla="*/ 142 h 702"/>
                <a:gd name="T32" fmla="*/ 102 w 701"/>
                <a:gd name="T33" fmla="*/ 104 h 702"/>
                <a:gd name="T34" fmla="*/ 141 w 701"/>
                <a:gd name="T35" fmla="*/ 70 h 702"/>
                <a:gd name="T36" fmla="*/ 184 w 701"/>
                <a:gd name="T37" fmla="*/ 43 h 702"/>
                <a:gd name="T38" fmla="*/ 231 w 701"/>
                <a:gd name="T39" fmla="*/ 22 h 702"/>
                <a:gd name="T40" fmla="*/ 280 w 701"/>
                <a:gd name="T41" fmla="*/ 7 h 702"/>
                <a:gd name="T42" fmla="*/ 333 w 701"/>
                <a:gd name="T43" fmla="*/ 1 h 702"/>
                <a:gd name="T44" fmla="*/ 369 w 701"/>
                <a:gd name="T45" fmla="*/ 1 h 702"/>
                <a:gd name="T46" fmla="*/ 422 w 701"/>
                <a:gd name="T47" fmla="*/ 7 h 702"/>
                <a:gd name="T48" fmla="*/ 471 w 701"/>
                <a:gd name="T49" fmla="*/ 22 h 702"/>
                <a:gd name="T50" fmla="*/ 518 w 701"/>
                <a:gd name="T51" fmla="*/ 43 h 702"/>
                <a:gd name="T52" fmla="*/ 560 w 701"/>
                <a:gd name="T53" fmla="*/ 70 h 702"/>
                <a:gd name="T54" fmla="*/ 598 w 701"/>
                <a:gd name="T55" fmla="*/ 104 h 702"/>
                <a:gd name="T56" fmla="*/ 631 w 701"/>
                <a:gd name="T57" fmla="*/ 142 h 702"/>
                <a:gd name="T58" fmla="*/ 659 w 701"/>
                <a:gd name="T59" fmla="*/ 184 h 702"/>
                <a:gd name="T60" fmla="*/ 680 w 701"/>
                <a:gd name="T61" fmla="*/ 231 h 702"/>
                <a:gd name="T62" fmla="*/ 694 w 701"/>
                <a:gd name="T63" fmla="*/ 280 h 702"/>
                <a:gd name="T64" fmla="*/ 701 w 701"/>
                <a:gd name="T65" fmla="*/ 333 h 702"/>
                <a:gd name="T66" fmla="*/ 701 w 701"/>
                <a:gd name="T67" fmla="*/ 369 h 702"/>
                <a:gd name="T68" fmla="*/ 694 w 701"/>
                <a:gd name="T69" fmla="*/ 422 h 702"/>
                <a:gd name="T70" fmla="*/ 680 w 701"/>
                <a:gd name="T71" fmla="*/ 471 h 702"/>
                <a:gd name="T72" fmla="*/ 659 w 701"/>
                <a:gd name="T73" fmla="*/ 518 h 702"/>
                <a:gd name="T74" fmla="*/ 631 w 701"/>
                <a:gd name="T75" fmla="*/ 561 h 702"/>
                <a:gd name="T76" fmla="*/ 598 w 701"/>
                <a:gd name="T77" fmla="*/ 598 h 702"/>
                <a:gd name="T78" fmla="*/ 560 w 701"/>
                <a:gd name="T79" fmla="*/ 632 h 702"/>
                <a:gd name="T80" fmla="*/ 518 w 701"/>
                <a:gd name="T81" fmla="*/ 659 h 702"/>
                <a:gd name="T82" fmla="*/ 471 w 701"/>
                <a:gd name="T83" fmla="*/ 680 h 702"/>
                <a:gd name="T84" fmla="*/ 422 w 701"/>
                <a:gd name="T85" fmla="*/ 695 h 702"/>
                <a:gd name="T86" fmla="*/ 369 w 701"/>
                <a:gd name="T87" fmla="*/ 70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2">
                  <a:moveTo>
                    <a:pt x="350" y="702"/>
                  </a:moveTo>
                  <a:lnTo>
                    <a:pt x="350" y="702"/>
                  </a:lnTo>
                  <a:lnTo>
                    <a:pt x="333" y="701"/>
                  </a:lnTo>
                  <a:lnTo>
                    <a:pt x="315" y="699"/>
                  </a:lnTo>
                  <a:lnTo>
                    <a:pt x="297" y="697"/>
                  </a:lnTo>
                  <a:lnTo>
                    <a:pt x="280" y="695"/>
                  </a:lnTo>
                  <a:lnTo>
                    <a:pt x="263" y="691"/>
                  </a:lnTo>
                  <a:lnTo>
                    <a:pt x="247" y="686"/>
                  </a:lnTo>
                  <a:lnTo>
                    <a:pt x="231" y="680"/>
                  </a:lnTo>
                  <a:lnTo>
                    <a:pt x="215" y="674"/>
                  </a:lnTo>
                  <a:lnTo>
                    <a:pt x="199" y="667"/>
                  </a:lnTo>
                  <a:lnTo>
                    <a:pt x="184" y="659"/>
                  </a:lnTo>
                  <a:lnTo>
                    <a:pt x="169" y="651"/>
                  </a:lnTo>
                  <a:lnTo>
                    <a:pt x="155" y="641"/>
                  </a:lnTo>
                  <a:lnTo>
                    <a:pt x="141" y="632"/>
                  </a:lnTo>
                  <a:lnTo>
                    <a:pt x="128" y="622"/>
                  </a:lnTo>
                  <a:lnTo>
                    <a:pt x="115" y="611"/>
                  </a:lnTo>
                  <a:lnTo>
                    <a:pt x="102" y="598"/>
                  </a:lnTo>
                  <a:lnTo>
                    <a:pt x="91" y="587"/>
                  </a:lnTo>
                  <a:lnTo>
                    <a:pt x="80" y="574"/>
                  </a:lnTo>
                  <a:lnTo>
                    <a:pt x="70" y="561"/>
                  </a:lnTo>
                  <a:lnTo>
                    <a:pt x="60" y="546"/>
                  </a:lnTo>
                  <a:lnTo>
                    <a:pt x="51" y="533"/>
                  </a:lnTo>
                  <a:lnTo>
                    <a:pt x="43" y="518"/>
                  </a:lnTo>
                  <a:lnTo>
                    <a:pt x="35" y="503"/>
                  </a:lnTo>
                  <a:lnTo>
                    <a:pt x="28" y="487"/>
                  </a:lnTo>
                  <a:lnTo>
                    <a:pt x="21" y="471"/>
                  </a:lnTo>
                  <a:lnTo>
                    <a:pt x="16" y="455"/>
                  </a:lnTo>
                  <a:lnTo>
                    <a:pt x="11" y="439"/>
                  </a:lnTo>
                  <a:lnTo>
                    <a:pt x="7" y="422"/>
                  </a:lnTo>
                  <a:lnTo>
                    <a:pt x="5" y="405"/>
                  </a:lnTo>
                  <a:lnTo>
                    <a:pt x="2" y="387"/>
                  </a:lnTo>
                  <a:lnTo>
                    <a:pt x="1" y="369"/>
                  </a:lnTo>
                  <a:lnTo>
                    <a:pt x="0" y="352"/>
                  </a:lnTo>
                  <a:lnTo>
                    <a:pt x="0" y="352"/>
                  </a:lnTo>
                  <a:lnTo>
                    <a:pt x="1" y="333"/>
                  </a:lnTo>
                  <a:lnTo>
                    <a:pt x="2" y="316"/>
                  </a:lnTo>
                  <a:lnTo>
                    <a:pt x="5" y="297"/>
                  </a:lnTo>
                  <a:lnTo>
                    <a:pt x="7" y="280"/>
                  </a:lnTo>
                  <a:lnTo>
                    <a:pt x="11" y="264"/>
                  </a:lnTo>
                  <a:lnTo>
                    <a:pt x="16" y="247"/>
                  </a:lnTo>
                  <a:lnTo>
                    <a:pt x="21" y="231"/>
                  </a:lnTo>
                  <a:lnTo>
                    <a:pt x="28" y="215"/>
                  </a:lnTo>
                  <a:lnTo>
                    <a:pt x="35" y="199"/>
                  </a:lnTo>
                  <a:lnTo>
                    <a:pt x="43" y="184"/>
                  </a:lnTo>
                  <a:lnTo>
                    <a:pt x="51" y="169"/>
                  </a:lnTo>
                  <a:lnTo>
                    <a:pt x="60" y="155"/>
                  </a:lnTo>
                  <a:lnTo>
                    <a:pt x="70" y="142"/>
                  </a:lnTo>
                  <a:lnTo>
                    <a:pt x="80" y="128"/>
                  </a:lnTo>
                  <a:lnTo>
                    <a:pt x="91" y="116"/>
                  </a:lnTo>
                  <a:lnTo>
                    <a:pt x="102" y="104"/>
                  </a:lnTo>
                  <a:lnTo>
                    <a:pt x="115" y="91"/>
                  </a:lnTo>
                  <a:lnTo>
                    <a:pt x="128" y="80"/>
                  </a:lnTo>
                  <a:lnTo>
                    <a:pt x="141" y="70"/>
                  </a:lnTo>
                  <a:lnTo>
                    <a:pt x="155" y="60"/>
                  </a:lnTo>
                  <a:lnTo>
                    <a:pt x="169" y="52"/>
                  </a:lnTo>
                  <a:lnTo>
                    <a:pt x="184" y="43"/>
                  </a:lnTo>
                  <a:lnTo>
                    <a:pt x="199" y="35"/>
                  </a:lnTo>
                  <a:lnTo>
                    <a:pt x="215" y="28"/>
                  </a:lnTo>
                  <a:lnTo>
                    <a:pt x="231" y="22"/>
                  </a:lnTo>
                  <a:lnTo>
                    <a:pt x="247" y="16"/>
                  </a:lnTo>
                  <a:lnTo>
                    <a:pt x="263" y="11"/>
                  </a:lnTo>
                  <a:lnTo>
                    <a:pt x="280" y="7"/>
                  </a:lnTo>
                  <a:lnTo>
                    <a:pt x="297" y="5"/>
                  </a:lnTo>
                  <a:lnTo>
                    <a:pt x="315" y="2"/>
                  </a:lnTo>
                  <a:lnTo>
                    <a:pt x="333" y="1"/>
                  </a:lnTo>
                  <a:lnTo>
                    <a:pt x="350" y="0"/>
                  </a:lnTo>
                  <a:lnTo>
                    <a:pt x="350" y="0"/>
                  </a:lnTo>
                  <a:lnTo>
                    <a:pt x="369" y="1"/>
                  </a:lnTo>
                  <a:lnTo>
                    <a:pt x="386" y="2"/>
                  </a:lnTo>
                  <a:lnTo>
                    <a:pt x="405" y="5"/>
                  </a:lnTo>
                  <a:lnTo>
                    <a:pt x="422" y="7"/>
                  </a:lnTo>
                  <a:lnTo>
                    <a:pt x="438" y="11"/>
                  </a:lnTo>
                  <a:lnTo>
                    <a:pt x="455" y="16"/>
                  </a:lnTo>
                  <a:lnTo>
                    <a:pt x="471" y="22"/>
                  </a:lnTo>
                  <a:lnTo>
                    <a:pt x="487" y="28"/>
                  </a:lnTo>
                  <a:lnTo>
                    <a:pt x="503" y="35"/>
                  </a:lnTo>
                  <a:lnTo>
                    <a:pt x="518" y="43"/>
                  </a:lnTo>
                  <a:lnTo>
                    <a:pt x="533" y="52"/>
                  </a:lnTo>
                  <a:lnTo>
                    <a:pt x="546" y="60"/>
                  </a:lnTo>
                  <a:lnTo>
                    <a:pt x="560" y="70"/>
                  </a:lnTo>
                  <a:lnTo>
                    <a:pt x="574" y="80"/>
                  </a:lnTo>
                  <a:lnTo>
                    <a:pt x="586" y="91"/>
                  </a:lnTo>
                  <a:lnTo>
                    <a:pt x="598" y="104"/>
                  </a:lnTo>
                  <a:lnTo>
                    <a:pt x="611" y="116"/>
                  </a:lnTo>
                  <a:lnTo>
                    <a:pt x="622" y="128"/>
                  </a:lnTo>
                  <a:lnTo>
                    <a:pt x="631" y="142"/>
                  </a:lnTo>
                  <a:lnTo>
                    <a:pt x="641" y="155"/>
                  </a:lnTo>
                  <a:lnTo>
                    <a:pt x="650" y="169"/>
                  </a:lnTo>
                  <a:lnTo>
                    <a:pt x="659" y="184"/>
                  </a:lnTo>
                  <a:lnTo>
                    <a:pt x="666" y="199"/>
                  </a:lnTo>
                  <a:lnTo>
                    <a:pt x="673" y="215"/>
                  </a:lnTo>
                  <a:lnTo>
                    <a:pt x="680" y="231"/>
                  </a:lnTo>
                  <a:lnTo>
                    <a:pt x="686" y="247"/>
                  </a:lnTo>
                  <a:lnTo>
                    <a:pt x="691" y="264"/>
                  </a:lnTo>
                  <a:lnTo>
                    <a:pt x="694" y="280"/>
                  </a:lnTo>
                  <a:lnTo>
                    <a:pt x="697" y="297"/>
                  </a:lnTo>
                  <a:lnTo>
                    <a:pt x="699" y="316"/>
                  </a:lnTo>
                  <a:lnTo>
                    <a:pt x="701" y="333"/>
                  </a:lnTo>
                  <a:lnTo>
                    <a:pt x="701" y="352"/>
                  </a:lnTo>
                  <a:lnTo>
                    <a:pt x="701" y="352"/>
                  </a:lnTo>
                  <a:lnTo>
                    <a:pt x="701" y="369"/>
                  </a:lnTo>
                  <a:lnTo>
                    <a:pt x="699" y="387"/>
                  </a:lnTo>
                  <a:lnTo>
                    <a:pt x="697" y="405"/>
                  </a:lnTo>
                  <a:lnTo>
                    <a:pt x="694" y="422"/>
                  </a:lnTo>
                  <a:lnTo>
                    <a:pt x="691" y="439"/>
                  </a:lnTo>
                  <a:lnTo>
                    <a:pt x="686" y="455"/>
                  </a:lnTo>
                  <a:lnTo>
                    <a:pt x="680" y="471"/>
                  </a:lnTo>
                  <a:lnTo>
                    <a:pt x="673" y="487"/>
                  </a:lnTo>
                  <a:lnTo>
                    <a:pt x="666" y="503"/>
                  </a:lnTo>
                  <a:lnTo>
                    <a:pt x="659" y="518"/>
                  </a:lnTo>
                  <a:lnTo>
                    <a:pt x="650" y="533"/>
                  </a:lnTo>
                  <a:lnTo>
                    <a:pt x="641" y="546"/>
                  </a:lnTo>
                  <a:lnTo>
                    <a:pt x="631" y="561"/>
                  </a:lnTo>
                  <a:lnTo>
                    <a:pt x="622" y="574"/>
                  </a:lnTo>
                  <a:lnTo>
                    <a:pt x="611" y="587"/>
                  </a:lnTo>
                  <a:lnTo>
                    <a:pt x="598" y="598"/>
                  </a:lnTo>
                  <a:lnTo>
                    <a:pt x="586" y="611"/>
                  </a:lnTo>
                  <a:lnTo>
                    <a:pt x="574" y="622"/>
                  </a:lnTo>
                  <a:lnTo>
                    <a:pt x="560" y="632"/>
                  </a:lnTo>
                  <a:lnTo>
                    <a:pt x="546" y="641"/>
                  </a:lnTo>
                  <a:lnTo>
                    <a:pt x="533" y="651"/>
                  </a:lnTo>
                  <a:lnTo>
                    <a:pt x="518" y="659"/>
                  </a:lnTo>
                  <a:lnTo>
                    <a:pt x="503" y="667"/>
                  </a:lnTo>
                  <a:lnTo>
                    <a:pt x="487" y="674"/>
                  </a:lnTo>
                  <a:lnTo>
                    <a:pt x="471" y="680"/>
                  </a:lnTo>
                  <a:lnTo>
                    <a:pt x="455" y="686"/>
                  </a:lnTo>
                  <a:lnTo>
                    <a:pt x="438" y="691"/>
                  </a:lnTo>
                  <a:lnTo>
                    <a:pt x="422" y="695"/>
                  </a:lnTo>
                  <a:lnTo>
                    <a:pt x="405" y="697"/>
                  </a:lnTo>
                  <a:lnTo>
                    <a:pt x="386" y="699"/>
                  </a:lnTo>
                  <a:lnTo>
                    <a:pt x="369" y="701"/>
                  </a:lnTo>
                  <a:lnTo>
                    <a:pt x="350" y="702"/>
                  </a:lnTo>
                  <a:lnTo>
                    <a:pt x="350" y="702"/>
                  </a:lnTo>
                  <a:close/>
                </a:path>
              </a:pathLst>
            </a:custGeom>
            <a:solidFill>
              <a:srgbClr val="470A6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4" name="Rectangle 127">
              <a:extLst>
                <a:ext uri="{FF2B5EF4-FFF2-40B4-BE49-F238E27FC236}">
                  <a16:creationId xmlns:a16="http://schemas.microsoft.com/office/drawing/2014/main" id="{6432ABE3-2AC8-1B00-F3C7-41B91B33969C}"/>
                </a:ext>
              </a:extLst>
            </p:cNvPr>
            <p:cNvSpPr>
              <a:spLocks noChangeArrowheads="1"/>
            </p:cNvSpPr>
            <p:nvPr/>
          </p:nvSpPr>
          <p:spPr bwMode="auto">
            <a:xfrm>
              <a:off x="9438799" y="1997450"/>
              <a:ext cx="131763" cy="42863"/>
            </a:xfrm>
            <a:prstGeom prst="rect">
              <a:avLst/>
            </a:prstGeom>
            <a:solidFill>
              <a:srgbClr val="F99B1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5" name="Freeform 128">
              <a:extLst>
                <a:ext uri="{FF2B5EF4-FFF2-40B4-BE49-F238E27FC236}">
                  <a16:creationId xmlns:a16="http://schemas.microsoft.com/office/drawing/2014/main" id="{4454BEB6-7DFB-98F4-B2AE-C0D75774CD01}"/>
                </a:ext>
              </a:extLst>
            </p:cNvPr>
            <p:cNvSpPr>
              <a:spLocks/>
            </p:cNvSpPr>
            <p:nvPr/>
          </p:nvSpPr>
          <p:spPr bwMode="auto">
            <a:xfrm>
              <a:off x="9356249" y="1595813"/>
              <a:ext cx="296863" cy="309563"/>
            </a:xfrm>
            <a:custGeom>
              <a:avLst/>
              <a:gdLst>
                <a:gd name="T0" fmla="*/ 8 w 187"/>
                <a:gd name="T1" fmla="*/ 0 h 195"/>
                <a:gd name="T2" fmla="*/ 8 w 187"/>
                <a:gd name="T3" fmla="*/ 0 h 195"/>
                <a:gd name="T4" fmla="*/ 4 w 187"/>
                <a:gd name="T5" fmla="*/ 12 h 195"/>
                <a:gd name="T6" fmla="*/ 2 w 187"/>
                <a:gd name="T7" fmla="*/ 24 h 195"/>
                <a:gd name="T8" fmla="*/ 0 w 187"/>
                <a:gd name="T9" fmla="*/ 36 h 195"/>
                <a:gd name="T10" fmla="*/ 0 w 187"/>
                <a:gd name="T11" fmla="*/ 49 h 195"/>
                <a:gd name="T12" fmla="*/ 0 w 187"/>
                <a:gd name="T13" fmla="*/ 49 h 195"/>
                <a:gd name="T14" fmla="*/ 0 w 187"/>
                <a:gd name="T15" fmla="*/ 61 h 195"/>
                <a:gd name="T16" fmla="*/ 2 w 187"/>
                <a:gd name="T17" fmla="*/ 72 h 195"/>
                <a:gd name="T18" fmla="*/ 4 w 187"/>
                <a:gd name="T19" fmla="*/ 84 h 195"/>
                <a:gd name="T20" fmla="*/ 7 w 187"/>
                <a:gd name="T21" fmla="*/ 95 h 195"/>
                <a:gd name="T22" fmla="*/ 10 w 187"/>
                <a:gd name="T23" fmla="*/ 107 h 195"/>
                <a:gd name="T24" fmla="*/ 15 w 187"/>
                <a:gd name="T25" fmla="*/ 116 h 195"/>
                <a:gd name="T26" fmla="*/ 20 w 187"/>
                <a:gd name="T27" fmla="*/ 128 h 195"/>
                <a:gd name="T28" fmla="*/ 26 w 187"/>
                <a:gd name="T29" fmla="*/ 137 h 195"/>
                <a:gd name="T30" fmla="*/ 32 w 187"/>
                <a:gd name="T31" fmla="*/ 146 h 195"/>
                <a:gd name="T32" fmla="*/ 40 w 187"/>
                <a:gd name="T33" fmla="*/ 155 h 195"/>
                <a:gd name="T34" fmla="*/ 47 w 187"/>
                <a:gd name="T35" fmla="*/ 163 h 195"/>
                <a:gd name="T36" fmla="*/ 56 w 187"/>
                <a:gd name="T37" fmla="*/ 171 h 195"/>
                <a:gd name="T38" fmla="*/ 65 w 187"/>
                <a:gd name="T39" fmla="*/ 178 h 195"/>
                <a:gd name="T40" fmla="*/ 73 w 187"/>
                <a:gd name="T41" fmla="*/ 184 h 195"/>
                <a:gd name="T42" fmla="*/ 83 w 187"/>
                <a:gd name="T43" fmla="*/ 190 h 195"/>
                <a:gd name="T44" fmla="*/ 93 w 187"/>
                <a:gd name="T45" fmla="*/ 195 h 195"/>
                <a:gd name="T46" fmla="*/ 93 w 187"/>
                <a:gd name="T47" fmla="*/ 195 h 195"/>
                <a:gd name="T48" fmla="*/ 103 w 187"/>
                <a:gd name="T49" fmla="*/ 190 h 195"/>
                <a:gd name="T50" fmla="*/ 113 w 187"/>
                <a:gd name="T51" fmla="*/ 184 h 195"/>
                <a:gd name="T52" fmla="*/ 123 w 187"/>
                <a:gd name="T53" fmla="*/ 178 h 195"/>
                <a:gd name="T54" fmla="*/ 131 w 187"/>
                <a:gd name="T55" fmla="*/ 171 h 195"/>
                <a:gd name="T56" fmla="*/ 139 w 187"/>
                <a:gd name="T57" fmla="*/ 163 h 195"/>
                <a:gd name="T58" fmla="*/ 147 w 187"/>
                <a:gd name="T59" fmla="*/ 155 h 195"/>
                <a:gd name="T60" fmla="*/ 153 w 187"/>
                <a:gd name="T61" fmla="*/ 146 h 195"/>
                <a:gd name="T62" fmla="*/ 161 w 187"/>
                <a:gd name="T63" fmla="*/ 137 h 195"/>
                <a:gd name="T64" fmla="*/ 166 w 187"/>
                <a:gd name="T65" fmla="*/ 128 h 195"/>
                <a:gd name="T66" fmla="*/ 172 w 187"/>
                <a:gd name="T67" fmla="*/ 116 h 195"/>
                <a:gd name="T68" fmla="*/ 176 w 187"/>
                <a:gd name="T69" fmla="*/ 107 h 195"/>
                <a:gd name="T70" fmla="*/ 179 w 187"/>
                <a:gd name="T71" fmla="*/ 95 h 195"/>
                <a:gd name="T72" fmla="*/ 183 w 187"/>
                <a:gd name="T73" fmla="*/ 84 h 195"/>
                <a:gd name="T74" fmla="*/ 184 w 187"/>
                <a:gd name="T75" fmla="*/ 72 h 195"/>
                <a:gd name="T76" fmla="*/ 185 w 187"/>
                <a:gd name="T77" fmla="*/ 61 h 195"/>
                <a:gd name="T78" fmla="*/ 187 w 187"/>
                <a:gd name="T79" fmla="*/ 49 h 195"/>
                <a:gd name="T80" fmla="*/ 187 w 187"/>
                <a:gd name="T81" fmla="*/ 49 h 195"/>
                <a:gd name="T82" fmla="*/ 185 w 187"/>
                <a:gd name="T83" fmla="*/ 36 h 195"/>
                <a:gd name="T84" fmla="*/ 184 w 187"/>
                <a:gd name="T85" fmla="*/ 24 h 195"/>
                <a:gd name="T86" fmla="*/ 182 w 187"/>
                <a:gd name="T87" fmla="*/ 12 h 195"/>
                <a:gd name="T88" fmla="*/ 179 w 187"/>
                <a:gd name="T89" fmla="*/ 0 h 195"/>
                <a:gd name="T90" fmla="*/ 8 w 187"/>
                <a:gd name="T91"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7" h="195">
                  <a:moveTo>
                    <a:pt x="8" y="0"/>
                  </a:moveTo>
                  <a:lnTo>
                    <a:pt x="8" y="0"/>
                  </a:lnTo>
                  <a:lnTo>
                    <a:pt x="4" y="12"/>
                  </a:lnTo>
                  <a:lnTo>
                    <a:pt x="2" y="24"/>
                  </a:lnTo>
                  <a:lnTo>
                    <a:pt x="0" y="36"/>
                  </a:lnTo>
                  <a:lnTo>
                    <a:pt x="0" y="49"/>
                  </a:lnTo>
                  <a:lnTo>
                    <a:pt x="0" y="49"/>
                  </a:lnTo>
                  <a:lnTo>
                    <a:pt x="0" y="61"/>
                  </a:lnTo>
                  <a:lnTo>
                    <a:pt x="2" y="72"/>
                  </a:lnTo>
                  <a:lnTo>
                    <a:pt x="4" y="84"/>
                  </a:lnTo>
                  <a:lnTo>
                    <a:pt x="7" y="95"/>
                  </a:lnTo>
                  <a:lnTo>
                    <a:pt x="10" y="107"/>
                  </a:lnTo>
                  <a:lnTo>
                    <a:pt x="15" y="116"/>
                  </a:lnTo>
                  <a:lnTo>
                    <a:pt x="20" y="128"/>
                  </a:lnTo>
                  <a:lnTo>
                    <a:pt x="26" y="137"/>
                  </a:lnTo>
                  <a:lnTo>
                    <a:pt x="32" y="146"/>
                  </a:lnTo>
                  <a:lnTo>
                    <a:pt x="40" y="155"/>
                  </a:lnTo>
                  <a:lnTo>
                    <a:pt x="47" y="163"/>
                  </a:lnTo>
                  <a:lnTo>
                    <a:pt x="56" y="171"/>
                  </a:lnTo>
                  <a:lnTo>
                    <a:pt x="65" y="178"/>
                  </a:lnTo>
                  <a:lnTo>
                    <a:pt x="73" y="184"/>
                  </a:lnTo>
                  <a:lnTo>
                    <a:pt x="83" y="190"/>
                  </a:lnTo>
                  <a:lnTo>
                    <a:pt x="93" y="195"/>
                  </a:lnTo>
                  <a:lnTo>
                    <a:pt x="93" y="195"/>
                  </a:lnTo>
                  <a:lnTo>
                    <a:pt x="103" y="190"/>
                  </a:lnTo>
                  <a:lnTo>
                    <a:pt x="113" y="184"/>
                  </a:lnTo>
                  <a:lnTo>
                    <a:pt x="123" y="178"/>
                  </a:lnTo>
                  <a:lnTo>
                    <a:pt x="131" y="171"/>
                  </a:lnTo>
                  <a:lnTo>
                    <a:pt x="139" y="163"/>
                  </a:lnTo>
                  <a:lnTo>
                    <a:pt x="147" y="155"/>
                  </a:lnTo>
                  <a:lnTo>
                    <a:pt x="153" y="146"/>
                  </a:lnTo>
                  <a:lnTo>
                    <a:pt x="161" y="137"/>
                  </a:lnTo>
                  <a:lnTo>
                    <a:pt x="166" y="128"/>
                  </a:lnTo>
                  <a:lnTo>
                    <a:pt x="172" y="116"/>
                  </a:lnTo>
                  <a:lnTo>
                    <a:pt x="176" y="107"/>
                  </a:lnTo>
                  <a:lnTo>
                    <a:pt x="179" y="95"/>
                  </a:lnTo>
                  <a:lnTo>
                    <a:pt x="183" y="84"/>
                  </a:lnTo>
                  <a:lnTo>
                    <a:pt x="184" y="72"/>
                  </a:lnTo>
                  <a:lnTo>
                    <a:pt x="185" y="61"/>
                  </a:lnTo>
                  <a:lnTo>
                    <a:pt x="187" y="49"/>
                  </a:lnTo>
                  <a:lnTo>
                    <a:pt x="187" y="49"/>
                  </a:lnTo>
                  <a:lnTo>
                    <a:pt x="185" y="36"/>
                  </a:lnTo>
                  <a:lnTo>
                    <a:pt x="184" y="24"/>
                  </a:lnTo>
                  <a:lnTo>
                    <a:pt x="182" y="12"/>
                  </a:lnTo>
                  <a:lnTo>
                    <a:pt x="179" y="0"/>
                  </a:lnTo>
                  <a:lnTo>
                    <a:pt x="8" y="0"/>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6" name="Freeform 129">
              <a:extLst>
                <a:ext uri="{FF2B5EF4-FFF2-40B4-BE49-F238E27FC236}">
                  <a16:creationId xmlns:a16="http://schemas.microsoft.com/office/drawing/2014/main" id="{C8BEF39D-C145-5334-F0D0-36CC4F788F55}"/>
                </a:ext>
              </a:extLst>
            </p:cNvPr>
            <p:cNvSpPr>
              <a:spLocks noEditPoints="1"/>
            </p:cNvSpPr>
            <p:nvPr/>
          </p:nvSpPr>
          <p:spPr bwMode="auto">
            <a:xfrm>
              <a:off x="9272112" y="1610100"/>
              <a:ext cx="204788" cy="252413"/>
            </a:xfrm>
            <a:custGeom>
              <a:avLst/>
              <a:gdLst>
                <a:gd name="T0" fmla="*/ 129 w 129"/>
                <a:gd name="T1" fmla="*/ 159 h 159"/>
                <a:gd name="T2" fmla="*/ 119 w 129"/>
                <a:gd name="T3" fmla="*/ 158 h 159"/>
                <a:gd name="T4" fmla="*/ 119 w 129"/>
                <a:gd name="T5" fmla="*/ 158 h 159"/>
                <a:gd name="T6" fmla="*/ 106 w 129"/>
                <a:gd name="T7" fmla="*/ 157 h 159"/>
                <a:gd name="T8" fmla="*/ 94 w 129"/>
                <a:gd name="T9" fmla="*/ 153 h 159"/>
                <a:gd name="T10" fmla="*/ 83 w 129"/>
                <a:gd name="T11" fmla="*/ 149 h 159"/>
                <a:gd name="T12" fmla="*/ 72 w 129"/>
                <a:gd name="T13" fmla="*/ 143 h 159"/>
                <a:gd name="T14" fmla="*/ 62 w 129"/>
                <a:gd name="T15" fmla="*/ 137 h 159"/>
                <a:gd name="T16" fmla="*/ 52 w 129"/>
                <a:gd name="T17" fmla="*/ 130 h 159"/>
                <a:gd name="T18" fmla="*/ 42 w 129"/>
                <a:gd name="T19" fmla="*/ 121 h 159"/>
                <a:gd name="T20" fmla="*/ 35 w 129"/>
                <a:gd name="T21" fmla="*/ 112 h 159"/>
                <a:gd name="T22" fmla="*/ 26 w 129"/>
                <a:gd name="T23" fmla="*/ 102 h 159"/>
                <a:gd name="T24" fmla="*/ 20 w 129"/>
                <a:gd name="T25" fmla="*/ 91 h 159"/>
                <a:gd name="T26" fmla="*/ 14 w 129"/>
                <a:gd name="T27" fmla="*/ 80 h 159"/>
                <a:gd name="T28" fmla="*/ 9 w 129"/>
                <a:gd name="T29" fmla="*/ 69 h 159"/>
                <a:gd name="T30" fmla="*/ 5 w 129"/>
                <a:gd name="T31" fmla="*/ 57 h 159"/>
                <a:gd name="T32" fmla="*/ 3 w 129"/>
                <a:gd name="T33" fmla="*/ 43 h 159"/>
                <a:gd name="T34" fmla="*/ 2 w 129"/>
                <a:gd name="T35" fmla="*/ 30 h 159"/>
                <a:gd name="T36" fmla="*/ 0 w 129"/>
                <a:gd name="T37" fmla="*/ 16 h 159"/>
                <a:gd name="T38" fmla="*/ 0 w 129"/>
                <a:gd name="T39" fmla="*/ 16 h 159"/>
                <a:gd name="T40" fmla="*/ 0 w 129"/>
                <a:gd name="T41" fmla="*/ 9 h 159"/>
                <a:gd name="T42" fmla="*/ 2 w 129"/>
                <a:gd name="T43" fmla="*/ 0 h 159"/>
                <a:gd name="T44" fmla="*/ 129 w 129"/>
                <a:gd name="T45" fmla="*/ 0 h 159"/>
                <a:gd name="T46" fmla="*/ 129 w 129"/>
                <a:gd name="T47" fmla="*/ 159 h 159"/>
                <a:gd name="T48" fmla="*/ 129 w 129"/>
                <a:gd name="T49" fmla="*/ 159 h 159"/>
                <a:gd name="T50" fmla="*/ 18 w 129"/>
                <a:gd name="T51" fmla="*/ 17 h 159"/>
                <a:gd name="T52" fmla="*/ 18 w 129"/>
                <a:gd name="T53" fmla="*/ 17 h 159"/>
                <a:gd name="T54" fmla="*/ 19 w 129"/>
                <a:gd name="T55" fmla="*/ 28 h 159"/>
                <a:gd name="T56" fmla="*/ 20 w 129"/>
                <a:gd name="T57" fmla="*/ 40 h 159"/>
                <a:gd name="T58" fmla="*/ 23 w 129"/>
                <a:gd name="T59" fmla="*/ 51 h 159"/>
                <a:gd name="T60" fmla="*/ 25 w 129"/>
                <a:gd name="T61" fmla="*/ 61 h 159"/>
                <a:gd name="T62" fmla="*/ 29 w 129"/>
                <a:gd name="T63" fmla="*/ 70 h 159"/>
                <a:gd name="T64" fmla="*/ 34 w 129"/>
                <a:gd name="T65" fmla="*/ 80 h 159"/>
                <a:gd name="T66" fmla="*/ 39 w 129"/>
                <a:gd name="T67" fmla="*/ 89 h 159"/>
                <a:gd name="T68" fmla="*/ 45 w 129"/>
                <a:gd name="T69" fmla="*/ 98 h 159"/>
                <a:gd name="T70" fmla="*/ 51 w 129"/>
                <a:gd name="T71" fmla="*/ 105 h 159"/>
                <a:gd name="T72" fmla="*/ 58 w 129"/>
                <a:gd name="T73" fmla="*/ 112 h 159"/>
                <a:gd name="T74" fmla="*/ 66 w 129"/>
                <a:gd name="T75" fmla="*/ 119 h 159"/>
                <a:gd name="T76" fmla="*/ 74 w 129"/>
                <a:gd name="T77" fmla="*/ 125 h 159"/>
                <a:gd name="T78" fmla="*/ 83 w 129"/>
                <a:gd name="T79" fmla="*/ 130 h 159"/>
                <a:gd name="T80" fmla="*/ 92 w 129"/>
                <a:gd name="T81" fmla="*/ 133 h 159"/>
                <a:gd name="T82" fmla="*/ 102 w 129"/>
                <a:gd name="T83" fmla="*/ 137 h 159"/>
                <a:gd name="T84" fmla="*/ 111 w 129"/>
                <a:gd name="T85" fmla="*/ 139 h 159"/>
                <a:gd name="T86" fmla="*/ 111 w 129"/>
                <a:gd name="T87" fmla="*/ 17 h 159"/>
                <a:gd name="T88" fmla="*/ 18 w 129"/>
                <a:gd name="T89" fmla="*/ 17 h 159"/>
                <a:gd name="T90" fmla="*/ 18 w 129"/>
                <a:gd name="T91" fmla="*/ 1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9" h="159">
                  <a:moveTo>
                    <a:pt x="129" y="159"/>
                  </a:moveTo>
                  <a:lnTo>
                    <a:pt x="119" y="158"/>
                  </a:lnTo>
                  <a:lnTo>
                    <a:pt x="119" y="158"/>
                  </a:lnTo>
                  <a:lnTo>
                    <a:pt x="106" y="157"/>
                  </a:lnTo>
                  <a:lnTo>
                    <a:pt x="94" y="153"/>
                  </a:lnTo>
                  <a:lnTo>
                    <a:pt x="83" y="149"/>
                  </a:lnTo>
                  <a:lnTo>
                    <a:pt x="72" y="143"/>
                  </a:lnTo>
                  <a:lnTo>
                    <a:pt x="62" y="137"/>
                  </a:lnTo>
                  <a:lnTo>
                    <a:pt x="52" y="130"/>
                  </a:lnTo>
                  <a:lnTo>
                    <a:pt x="42" y="121"/>
                  </a:lnTo>
                  <a:lnTo>
                    <a:pt x="35" y="112"/>
                  </a:lnTo>
                  <a:lnTo>
                    <a:pt x="26" y="102"/>
                  </a:lnTo>
                  <a:lnTo>
                    <a:pt x="20" y="91"/>
                  </a:lnTo>
                  <a:lnTo>
                    <a:pt x="14" y="80"/>
                  </a:lnTo>
                  <a:lnTo>
                    <a:pt x="9" y="69"/>
                  </a:lnTo>
                  <a:lnTo>
                    <a:pt x="5" y="57"/>
                  </a:lnTo>
                  <a:lnTo>
                    <a:pt x="3" y="43"/>
                  </a:lnTo>
                  <a:lnTo>
                    <a:pt x="2" y="30"/>
                  </a:lnTo>
                  <a:lnTo>
                    <a:pt x="0" y="16"/>
                  </a:lnTo>
                  <a:lnTo>
                    <a:pt x="0" y="16"/>
                  </a:lnTo>
                  <a:lnTo>
                    <a:pt x="0" y="9"/>
                  </a:lnTo>
                  <a:lnTo>
                    <a:pt x="2" y="0"/>
                  </a:lnTo>
                  <a:lnTo>
                    <a:pt x="129" y="0"/>
                  </a:lnTo>
                  <a:lnTo>
                    <a:pt x="129" y="159"/>
                  </a:lnTo>
                  <a:lnTo>
                    <a:pt x="129" y="159"/>
                  </a:lnTo>
                  <a:close/>
                  <a:moveTo>
                    <a:pt x="18" y="17"/>
                  </a:moveTo>
                  <a:lnTo>
                    <a:pt x="18" y="17"/>
                  </a:lnTo>
                  <a:lnTo>
                    <a:pt x="19" y="28"/>
                  </a:lnTo>
                  <a:lnTo>
                    <a:pt x="20" y="40"/>
                  </a:lnTo>
                  <a:lnTo>
                    <a:pt x="23" y="51"/>
                  </a:lnTo>
                  <a:lnTo>
                    <a:pt x="25" y="61"/>
                  </a:lnTo>
                  <a:lnTo>
                    <a:pt x="29" y="70"/>
                  </a:lnTo>
                  <a:lnTo>
                    <a:pt x="34" y="80"/>
                  </a:lnTo>
                  <a:lnTo>
                    <a:pt x="39" y="89"/>
                  </a:lnTo>
                  <a:lnTo>
                    <a:pt x="45" y="98"/>
                  </a:lnTo>
                  <a:lnTo>
                    <a:pt x="51" y="105"/>
                  </a:lnTo>
                  <a:lnTo>
                    <a:pt x="58" y="112"/>
                  </a:lnTo>
                  <a:lnTo>
                    <a:pt x="66" y="119"/>
                  </a:lnTo>
                  <a:lnTo>
                    <a:pt x="74" y="125"/>
                  </a:lnTo>
                  <a:lnTo>
                    <a:pt x="83" y="130"/>
                  </a:lnTo>
                  <a:lnTo>
                    <a:pt x="92" y="133"/>
                  </a:lnTo>
                  <a:lnTo>
                    <a:pt x="102" y="137"/>
                  </a:lnTo>
                  <a:lnTo>
                    <a:pt x="111" y="139"/>
                  </a:lnTo>
                  <a:lnTo>
                    <a:pt x="111" y="17"/>
                  </a:lnTo>
                  <a:lnTo>
                    <a:pt x="18" y="17"/>
                  </a:lnTo>
                  <a:lnTo>
                    <a:pt x="18" y="17"/>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7" name="Freeform 130">
              <a:extLst>
                <a:ext uri="{FF2B5EF4-FFF2-40B4-BE49-F238E27FC236}">
                  <a16:creationId xmlns:a16="http://schemas.microsoft.com/office/drawing/2014/main" id="{4EA0AFC3-0A46-389A-E249-3DDCF709C73A}"/>
                </a:ext>
              </a:extLst>
            </p:cNvPr>
            <p:cNvSpPr>
              <a:spLocks noEditPoints="1"/>
            </p:cNvSpPr>
            <p:nvPr/>
          </p:nvSpPr>
          <p:spPr bwMode="auto">
            <a:xfrm>
              <a:off x="9530874" y="1610100"/>
              <a:ext cx="206375" cy="252413"/>
            </a:xfrm>
            <a:custGeom>
              <a:avLst/>
              <a:gdLst>
                <a:gd name="T0" fmla="*/ 0 w 130"/>
                <a:gd name="T1" fmla="*/ 159 h 159"/>
                <a:gd name="T2" fmla="*/ 0 w 130"/>
                <a:gd name="T3" fmla="*/ 0 h 159"/>
                <a:gd name="T4" fmla="*/ 128 w 130"/>
                <a:gd name="T5" fmla="*/ 0 h 159"/>
                <a:gd name="T6" fmla="*/ 128 w 130"/>
                <a:gd name="T7" fmla="*/ 9 h 159"/>
                <a:gd name="T8" fmla="*/ 128 w 130"/>
                <a:gd name="T9" fmla="*/ 9 h 159"/>
                <a:gd name="T10" fmla="*/ 130 w 130"/>
                <a:gd name="T11" fmla="*/ 16 h 159"/>
                <a:gd name="T12" fmla="*/ 130 w 130"/>
                <a:gd name="T13" fmla="*/ 16 h 159"/>
                <a:gd name="T14" fmla="*/ 128 w 130"/>
                <a:gd name="T15" fmla="*/ 30 h 159"/>
                <a:gd name="T16" fmla="*/ 127 w 130"/>
                <a:gd name="T17" fmla="*/ 43 h 159"/>
                <a:gd name="T18" fmla="*/ 124 w 130"/>
                <a:gd name="T19" fmla="*/ 57 h 159"/>
                <a:gd name="T20" fmla="*/ 120 w 130"/>
                <a:gd name="T21" fmla="*/ 69 h 159"/>
                <a:gd name="T22" fmla="*/ 115 w 130"/>
                <a:gd name="T23" fmla="*/ 80 h 159"/>
                <a:gd name="T24" fmla="*/ 110 w 130"/>
                <a:gd name="T25" fmla="*/ 91 h 159"/>
                <a:gd name="T26" fmla="*/ 103 w 130"/>
                <a:gd name="T27" fmla="*/ 102 h 159"/>
                <a:gd name="T28" fmla="*/ 95 w 130"/>
                <a:gd name="T29" fmla="*/ 112 h 159"/>
                <a:gd name="T30" fmla="*/ 87 w 130"/>
                <a:gd name="T31" fmla="*/ 121 h 159"/>
                <a:gd name="T32" fmla="*/ 78 w 130"/>
                <a:gd name="T33" fmla="*/ 130 h 159"/>
                <a:gd name="T34" fmla="*/ 68 w 130"/>
                <a:gd name="T35" fmla="*/ 137 h 159"/>
                <a:gd name="T36" fmla="*/ 57 w 130"/>
                <a:gd name="T37" fmla="*/ 143 h 159"/>
                <a:gd name="T38" fmla="*/ 47 w 130"/>
                <a:gd name="T39" fmla="*/ 149 h 159"/>
                <a:gd name="T40" fmla="*/ 35 w 130"/>
                <a:gd name="T41" fmla="*/ 153 h 159"/>
                <a:gd name="T42" fmla="*/ 22 w 130"/>
                <a:gd name="T43" fmla="*/ 157 h 159"/>
                <a:gd name="T44" fmla="*/ 10 w 130"/>
                <a:gd name="T45" fmla="*/ 158 h 159"/>
                <a:gd name="T46" fmla="*/ 0 w 130"/>
                <a:gd name="T47" fmla="*/ 159 h 159"/>
                <a:gd name="T48" fmla="*/ 0 w 130"/>
                <a:gd name="T49" fmla="*/ 159 h 159"/>
                <a:gd name="T50" fmla="*/ 19 w 130"/>
                <a:gd name="T51" fmla="*/ 17 h 159"/>
                <a:gd name="T52" fmla="*/ 19 w 130"/>
                <a:gd name="T53" fmla="*/ 139 h 159"/>
                <a:gd name="T54" fmla="*/ 19 w 130"/>
                <a:gd name="T55" fmla="*/ 139 h 159"/>
                <a:gd name="T56" fmla="*/ 29 w 130"/>
                <a:gd name="T57" fmla="*/ 137 h 159"/>
                <a:gd name="T58" fmla="*/ 37 w 130"/>
                <a:gd name="T59" fmla="*/ 133 h 159"/>
                <a:gd name="T60" fmla="*/ 47 w 130"/>
                <a:gd name="T61" fmla="*/ 130 h 159"/>
                <a:gd name="T62" fmla="*/ 56 w 130"/>
                <a:gd name="T63" fmla="*/ 125 h 159"/>
                <a:gd name="T64" fmla="*/ 63 w 130"/>
                <a:gd name="T65" fmla="*/ 119 h 159"/>
                <a:gd name="T66" fmla="*/ 70 w 130"/>
                <a:gd name="T67" fmla="*/ 112 h 159"/>
                <a:gd name="T68" fmla="*/ 78 w 130"/>
                <a:gd name="T69" fmla="*/ 105 h 159"/>
                <a:gd name="T70" fmla="*/ 85 w 130"/>
                <a:gd name="T71" fmla="*/ 98 h 159"/>
                <a:gd name="T72" fmla="*/ 90 w 130"/>
                <a:gd name="T73" fmla="*/ 89 h 159"/>
                <a:gd name="T74" fmla="*/ 96 w 130"/>
                <a:gd name="T75" fmla="*/ 80 h 159"/>
                <a:gd name="T76" fmla="*/ 100 w 130"/>
                <a:gd name="T77" fmla="*/ 70 h 159"/>
                <a:gd name="T78" fmla="*/ 104 w 130"/>
                <a:gd name="T79" fmla="*/ 61 h 159"/>
                <a:gd name="T80" fmla="*/ 107 w 130"/>
                <a:gd name="T81" fmla="*/ 51 h 159"/>
                <a:gd name="T82" fmla="*/ 110 w 130"/>
                <a:gd name="T83" fmla="*/ 40 h 159"/>
                <a:gd name="T84" fmla="*/ 111 w 130"/>
                <a:gd name="T85" fmla="*/ 28 h 159"/>
                <a:gd name="T86" fmla="*/ 111 w 130"/>
                <a:gd name="T87" fmla="*/ 17 h 159"/>
                <a:gd name="T88" fmla="*/ 19 w 130"/>
                <a:gd name="T89" fmla="*/ 17 h 159"/>
                <a:gd name="T90" fmla="*/ 19 w 130"/>
                <a:gd name="T91" fmla="*/ 1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 h="159">
                  <a:moveTo>
                    <a:pt x="0" y="159"/>
                  </a:moveTo>
                  <a:lnTo>
                    <a:pt x="0" y="0"/>
                  </a:lnTo>
                  <a:lnTo>
                    <a:pt x="128" y="0"/>
                  </a:lnTo>
                  <a:lnTo>
                    <a:pt x="128" y="9"/>
                  </a:lnTo>
                  <a:lnTo>
                    <a:pt x="128" y="9"/>
                  </a:lnTo>
                  <a:lnTo>
                    <a:pt x="130" y="16"/>
                  </a:lnTo>
                  <a:lnTo>
                    <a:pt x="130" y="16"/>
                  </a:lnTo>
                  <a:lnTo>
                    <a:pt x="128" y="30"/>
                  </a:lnTo>
                  <a:lnTo>
                    <a:pt x="127" y="43"/>
                  </a:lnTo>
                  <a:lnTo>
                    <a:pt x="124" y="57"/>
                  </a:lnTo>
                  <a:lnTo>
                    <a:pt x="120" y="69"/>
                  </a:lnTo>
                  <a:lnTo>
                    <a:pt x="115" y="80"/>
                  </a:lnTo>
                  <a:lnTo>
                    <a:pt x="110" y="91"/>
                  </a:lnTo>
                  <a:lnTo>
                    <a:pt x="103" y="102"/>
                  </a:lnTo>
                  <a:lnTo>
                    <a:pt x="95" y="112"/>
                  </a:lnTo>
                  <a:lnTo>
                    <a:pt x="87" y="121"/>
                  </a:lnTo>
                  <a:lnTo>
                    <a:pt x="78" y="130"/>
                  </a:lnTo>
                  <a:lnTo>
                    <a:pt x="68" y="137"/>
                  </a:lnTo>
                  <a:lnTo>
                    <a:pt x="57" y="143"/>
                  </a:lnTo>
                  <a:lnTo>
                    <a:pt x="47" y="149"/>
                  </a:lnTo>
                  <a:lnTo>
                    <a:pt x="35" y="153"/>
                  </a:lnTo>
                  <a:lnTo>
                    <a:pt x="22" y="157"/>
                  </a:lnTo>
                  <a:lnTo>
                    <a:pt x="10" y="158"/>
                  </a:lnTo>
                  <a:lnTo>
                    <a:pt x="0" y="159"/>
                  </a:lnTo>
                  <a:lnTo>
                    <a:pt x="0" y="159"/>
                  </a:lnTo>
                  <a:close/>
                  <a:moveTo>
                    <a:pt x="19" y="17"/>
                  </a:moveTo>
                  <a:lnTo>
                    <a:pt x="19" y="139"/>
                  </a:lnTo>
                  <a:lnTo>
                    <a:pt x="19" y="139"/>
                  </a:lnTo>
                  <a:lnTo>
                    <a:pt x="29" y="137"/>
                  </a:lnTo>
                  <a:lnTo>
                    <a:pt x="37" y="133"/>
                  </a:lnTo>
                  <a:lnTo>
                    <a:pt x="47" y="130"/>
                  </a:lnTo>
                  <a:lnTo>
                    <a:pt x="56" y="125"/>
                  </a:lnTo>
                  <a:lnTo>
                    <a:pt x="63" y="119"/>
                  </a:lnTo>
                  <a:lnTo>
                    <a:pt x="70" y="112"/>
                  </a:lnTo>
                  <a:lnTo>
                    <a:pt x="78" y="105"/>
                  </a:lnTo>
                  <a:lnTo>
                    <a:pt x="85" y="98"/>
                  </a:lnTo>
                  <a:lnTo>
                    <a:pt x="90" y="89"/>
                  </a:lnTo>
                  <a:lnTo>
                    <a:pt x="96" y="80"/>
                  </a:lnTo>
                  <a:lnTo>
                    <a:pt x="100" y="70"/>
                  </a:lnTo>
                  <a:lnTo>
                    <a:pt x="104" y="61"/>
                  </a:lnTo>
                  <a:lnTo>
                    <a:pt x="107" y="51"/>
                  </a:lnTo>
                  <a:lnTo>
                    <a:pt x="110" y="40"/>
                  </a:lnTo>
                  <a:lnTo>
                    <a:pt x="111" y="28"/>
                  </a:lnTo>
                  <a:lnTo>
                    <a:pt x="111" y="17"/>
                  </a:lnTo>
                  <a:lnTo>
                    <a:pt x="19" y="17"/>
                  </a:lnTo>
                  <a:lnTo>
                    <a:pt x="19" y="17"/>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8" name="Rectangle 131">
              <a:extLst>
                <a:ext uri="{FF2B5EF4-FFF2-40B4-BE49-F238E27FC236}">
                  <a16:creationId xmlns:a16="http://schemas.microsoft.com/office/drawing/2014/main" id="{96E832FC-02F0-E7F2-6644-5D603889B61A}"/>
                </a:ext>
              </a:extLst>
            </p:cNvPr>
            <p:cNvSpPr>
              <a:spLocks noChangeArrowheads="1"/>
            </p:cNvSpPr>
            <p:nvPr/>
          </p:nvSpPr>
          <p:spPr bwMode="auto">
            <a:xfrm>
              <a:off x="9484837" y="1852988"/>
              <a:ext cx="39688" cy="174625"/>
            </a:xfrm>
            <a:prstGeom prst="rect">
              <a:avLst/>
            </a:prstGeom>
            <a:solidFill>
              <a:srgbClr val="F99B1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9" name="Freeform 132">
              <a:extLst>
                <a:ext uri="{FF2B5EF4-FFF2-40B4-BE49-F238E27FC236}">
                  <a16:creationId xmlns:a16="http://schemas.microsoft.com/office/drawing/2014/main" id="{CD66BB9F-C88A-6BA1-D90A-527353B15322}"/>
                </a:ext>
              </a:extLst>
            </p:cNvPr>
            <p:cNvSpPr>
              <a:spLocks/>
            </p:cNvSpPr>
            <p:nvPr/>
          </p:nvSpPr>
          <p:spPr bwMode="auto">
            <a:xfrm>
              <a:off x="9389587" y="2011738"/>
              <a:ext cx="230188" cy="31750"/>
            </a:xfrm>
            <a:custGeom>
              <a:avLst/>
              <a:gdLst>
                <a:gd name="T0" fmla="*/ 145 w 145"/>
                <a:gd name="T1" fmla="*/ 20 h 20"/>
                <a:gd name="T2" fmla="*/ 145 w 145"/>
                <a:gd name="T3" fmla="*/ 11 h 20"/>
                <a:gd name="T4" fmla="*/ 145 w 145"/>
                <a:gd name="T5" fmla="*/ 11 h 20"/>
                <a:gd name="T6" fmla="*/ 143 w 145"/>
                <a:gd name="T7" fmla="*/ 6 h 20"/>
                <a:gd name="T8" fmla="*/ 142 w 145"/>
                <a:gd name="T9" fmla="*/ 4 h 20"/>
                <a:gd name="T10" fmla="*/ 139 w 145"/>
                <a:gd name="T11" fmla="*/ 1 h 20"/>
                <a:gd name="T12" fmla="*/ 136 w 145"/>
                <a:gd name="T13" fmla="*/ 0 h 20"/>
                <a:gd name="T14" fmla="*/ 9 w 145"/>
                <a:gd name="T15" fmla="*/ 0 h 20"/>
                <a:gd name="T16" fmla="*/ 9 w 145"/>
                <a:gd name="T17" fmla="*/ 0 h 20"/>
                <a:gd name="T18" fmla="*/ 5 w 145"/>
                <a:gd name="T19" fmla="*/ 1 h 20"/>
                <a:gd name="T20" fmla="*/ 3 w 145"/>
                <a:gd name="T21" fmla="*/ 4 h 20"/>
                <a:gd name="T22" fmla="*/ 0 w 145"/>
                <a:gd name="T23" fmla="*/ 6 h 20"/>
                <a:gd name="T24" fmla="*/ 0 w 145"/>
                <a:gd name="T25" fmla="*/ 11 h 20"/>
                <a:gd name="T26" fmla="*/ 0 w 145"/>
                <a:gd name="T27" fmla="*/ 20 h 20"/>
                <a:gd name="T28" fmla="*/ 145 w 145"/>
                <a:gd name="T2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5" h="20">
                  <a:moveTo>
                    <a:pt x="145" y="20"/>
                  </a:moveTo>
                  <a:lnTo>
                    <a:pt x="145" y="11"/>
                  </a:lnTo>
                  <a:lnTo>
                    <a:pt x="145" y="11"/>
                  </a:lnTo>
                  <a:lnTo>
                    <a:pt x="143" y="6"/>
                  </a:lnTo>
                  <a:lnTo>
                    <a:pt x="142" y="4"/>
                  </a:lnTo>
                  <a:lnTo>
                    <a:pt x="139" y="1"/>
                  </a:lnTo>
                  <a:lnTo>
                    <a:pt x="136" y="0"/>
                  </a:lnTo>
                  <a:lnTo>
                    <a:pt x="9" y="0"/>
                  </a:lnTo>
                  <a:lnTo>
                    <a:pt x="9" y="0"/>
                  </a:lnTo>
                  <a:lnTo>
                    <a:pt x="5" y="1"/>
                  </a:lnTo>
                  <a:lnTo>
                    <a:pt x="3" y="4"/>
                  </a:lnTo>
                  <a:lnTo>
                    <a:pt x="0" y="6"/>
                  </a:lnTo>
                  <a:lnTo>
                    <a:pt x="0" y="11"/>
                  </a:lnTo>
                  <a:lnTo>
                    <a:pt x="0" y="20"/>
                  </a:lnTo>
                  <a:lnTo>
                    <a:pt x="145" y="20"/>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50" name="Freeform 133">
              <a:extLst>
                <a:ext uri="{FF2B5EF4-FFF2-40B4-BE49-F238E27FC236}">
                  <a16:creationId xmlns:a16="http://schemas.microsoft.com/office/drawing/2014/main" id="{97E8BBAD-70C3-20A3-EC48-76878A1AB9FB}"/>
                </a:ext>
              </a:extLst>
            </p:cNvPr>
            <p:cNvSpPr>
              <a:spLocks/>
            </p:cNvSpPr>
            <p:nvPr/>
          </p:nvSpPr>
          <p:spPr bwMode="auto">
            <a:xfrm>
              <a:off x="9356249" y="1595813"/>
              <a:ext cx="146050" cy="401638"/>
            </a:xfrm>
            <a:custGeom>
              <a:avLst/>
              <a:gdLst>
                <a:gd name="T0" fmla="*/ 8 w 92"/>
                <a:gd name="T1" fmla="*/ 0 h 253"/>
                <a:gd name="T2" fmla="*/ 8 w 92"/>
                <a:gd name="T3" fmla="*/ 0 h 253"/>
                <a:gd name="T4" fmla="*/ 4 w 92"/>
                <a:gd name="T5" fmla="*/ 12 h 253"/>
                <a:gd name="T6" fmla="*/ 2 w 92"/>
                <a:gd name="T7" fmla="*/ 24 h 253"/>
                <a:gd name="T8" fmla="*/ 0 w 92"/>
                <a:gd name="T9" fmla="*/ 36 h 253"/>
                <a:gd name="T10" fmla="*/ 0 w 92"/>
                <a:gd name="T11" fmla="*/ 49 h 253"/>
                <a:gd name="T12" fmla="*/ 0 w 92"/>
                <a:gd name="T13" fmla="*/ 49 h 253"/>
                <a:gd name="T14" fmla="*/ 0 w 92"/>
                <a:gd name="T15" fmla="*/ 60 h 253"/>
                <a:gd name="T16" fmla="*/ 2 w 92"/>
                <a:gd name="T17" fmla="*/ 71 h 253"/>
                <a:gd name="T18" fmla="*/ 7 w 92"/>
                <a:gd name="T19" fmla="*/ 92 h 253"/>
                <a:gd name="T20" fmla="*/ 13 w 92"/>
                <a:gd name="T21" fmla="*/ 111 h 253"/>
                <a:gd name="T22" fmla="*/ 23 w 92"/>
                <a:gd name="T23" fmla="*/ 130 h 253"/>
                <a:gd name="T24" fmla="*/ 34 w 92"/>
                <a:gd name="T25" fmla="*/ 147 h 253"/>
                <a:gd name="T26" fmla="*/ 47 w 92"/>
                <a:gd name="T27" fmla="*/ 163 h 253"/>
                <a:gd name="T28" fmla="*/ 63 w 92"/>
                <a:gd name="T29" fmla="*/ 177 h 253"/>
                <a:gd name="T30" fmla="*/ 81 w 92"/>
                <a:gd name="T31" fmla="*/ 189 h 253"/>
                <a:gd name="T32" fmla="*/ 81 w 92"/>
                <a:gd name="T33" fmla="*/ 253 h 253"/>
                <a:gd name="T34" fmla="*/ 92 w 92"/>
                <a:gd name="T35" fmla="*/ 253 h 253"/>
                <a:gd name="T36" fmla="*/ 92 w 92"/>
                <a:gd name="T37" fmla="*/ 162 h 253"/>
                <a:gd name="T38" fmla="*/ 92 w 92"/>
                <a:gd name="T39" fmla="*/ 0 h 253"/>
                <a:gd name="T40" fmla="*/ 8 w 92"/>
                <a:gd name="T4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253">
                  <a:moveTo>
                    <a:pt x="8" y="0"/>
                  </a:moveTo>
                  <a:lnTo>
                    <a:pt x="8" y="0"/>
                  </a:lnTo>
                  <a:lnTo>
                    <a:pt x="4" y="12"/>
                  </a:lnTo>
                  <a:lnTo>
                    <a:pt x="2" y="24"/>
                  </a:lnTo>
                  <a:lnTo>
                    <a:pt x="0" y="36"/>
                  </a:lnTo>
                  <a:lnTo>
                    <a:pt x="0" y="49"/>
                  </a:lnTo>
                  <a:lnTo>
                    <a:pt x="0" y="49"/>
                  </a:lnTo>
                  <a:lnTo>
                    <a:pt x="0" y="60"/>
                  </a:lnTo>
                  <a:lnTo>
                    <a:pt x="2" y="71"/>
                  </a:lnTo>
                  <a:lnTo>
                    <a:pt x="7" y="92"/>
                  </a:lnTo>
                  <a:lnTo>
                    <a:pt x="13" y="111"/>
                  </a:lnTo>
                  <a:lnTo>
                    <a:pt x="23" y="130"/>
                  </a:lnTo>
                  <a:lnTo>
                    <a:pt x="34" y="147"/>
                  </a:lnTo>
                  <a:lnTo>
                    <a:pt x="47" y="163"/>
                  </a:lnTo>
                  <a:lnTo>
                    <a:pt x="63" y="177"/>
                  </a:lnTo>
                  <a:lnTo>
                    <a:pt x="81" y="189"/>
                  </a:lnTo>
                  <a:lnTo>
                    <a:pt x="81" y="253"/>
                  </a:lnTo>
                  <a:lnTo>
                    <a:pt x="92" y="253"/>
                  </a:lnTo>
                  <a:lnTo>
                    <a:pt x="92" y="162"/>
                  </a:lnTo>
                  <a:lnTo>
                    <a:pt x="92" y="0"/>
                  </a:lnTo>
                  <a:lnTo>
                    <a:pt x="8" y="0"/>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51" name="Freeform 134">
              <a:extLst>
                <a:ext uri="{FF2B5EF4-FFF2-40B4-BE49-F238E27FC236}">
                  <a16:creationId xmlns:a16="http://schemas.microsoft.com/office/drawing/2014/main" id="{73BFBA3B-AD09-8087-64C4-5C5CA17FA7F7}"/>
                </a:ext>
              </a:extLst>
            </p:cNvPr>
            <p:cNvSpPr>
              <a:spLocks/>
            </p:cNvSpPr>
            <p:nvPr/>
          </p:nvSpPr>
          <p:spPr bwMode="auto">
            <a:xfrm>
              <a:off x="9389587" y="2011738"/>
              <a:ext cx="112713" cy="31750"/>
            </a:xfrm>
            <a:custGeom>
              <a:avLst/>
              <a:gdLst>
                <a:gd name="T0" fmla="*/ 31 w 71"/>
                <a:gd name="T1" fmla="*/ 0 h 20"/>
                <a:gd name="T2" fmla="*/ 9 w 71"/>
                <a:gd name="T3" fmla="*/ 0 h 20"/>
                <a:gd name="T4" fmla="*/ 9 w 71"/>
                <a:gd name="T5" fmla="*/ 0 h 20"/>
                <a:gd name="T6" fmla="*/ 5 w 71"/>
                <a:gd name="T7" fmla="*/ 1 h 20"/>
                <a:gd name="T8" fmla="*/ 3 w 71"/>
                <a:gd name="T9" fmla="*/ 4 h 20"/>
                <a:gd name="T10" fmla="*/ 0 w 71"/>
                <a:gd name="T11" fmla="*/ 6 h 20"/>
                <a:gd name="T12" fmla="*/ 0 w 71"/>
                <a:gd name="T13" fmla="*/ 11 h 20"/>
                <a:gd name="T14" fmla="*/ 0 w 71"/>
                <a:gd name="T15" fmla="*/ 20 h 20"/>
                <a:gd name="T16" fmla="*/ 71 w 71"/>
                <a:gd name="T17" fmla="*/ 20 h 20"/>
                <a:gd name="T18" fmla="*/ 71 w 71"/>
                <a:gd name="T19" fmla="*/ 0 h 20"/>
                <a:gd name="T20" fmla="*/ 60 w 71"/>
                <a:gd name="T21" fmla="*/ 0 h 20"/>
                <a:gd name="T22" fmla="*/ 31 w 71"/>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20">
                  <a:moveTo>
                    <a:pt x="31" y="0"/>
                  </a:moveTo>
                  <a:lnTo>
                    <a:pt x="9" y="0"/>
                  </a:lnTo>
                  <a:lnTo>
                    <a:pt x="9" y="0"/>
                  </a:lnTo>
                  <a:lnTo>
                    <a:pt x="5" y="1"/>
                  </a:lnTo>
                  <a:lnTo>
                    <a:pt x="3" y="4"/>
                  </a:lnTo>
                  <a:lnTo>
                    <a:pt x="0" y="6"/>
                  </a:lnTo>
                  <a:lnTo>
                    <a:pt x="0" y="11"/>
                  </a:lnTo>
                  <a:lnTo>
                    <a:pt x="0" y="20"/>
                  </a:lnTo>
                  <a:lnTo>
                    <a:pt x="71" y="20"/>
                  </a:lnTo>
                  <a:lnTo>
                    <a:pt x="71" y="0"/>
                  </a:lnTo>
                  <a:lnTo>
                    <a:pt x="60" y="0"/>
                  </a:lnTo>
                  <a:lnTo>
                    <a:pt x="31" y="0"/>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52" name="Rectangle 135">
              <a:extLst>
                <a:ext uri="{FF2B5EF4-FFF2-40B4-BE49-F238E27FC236}">
                  <a16:creationId xmlns:a16="http://schemas.microsoft.com/office/drawing/2014/main" id="{F4F5DBE2-CF1F-2E9E-1C8C-F115282C7E93}"/>
                </a:ext>
              </a:extLst>
            </p:cNvPr>
            <p:cNvSpPr>
              <a:spLocks noChangeArrowheads="1"/>
            </p:cNvSpPr>
            <p:nvPr/>
          </p:nvSpPr>
          <p:spPr bwMode="auto">
            <a:xfrm>
              <a:off x="9361012" y="2040313"/>
              <a:ext cx="287338" cy="141288"/>
            </a:xfrm>
            <a:prstGeom prst="rect">
              <a:avLst/>
            </a:prstGeom>
            <a:solidFill>
              <a:srgbClr val="15B0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53" name="Rectangle 136">
              <a:extLst>
                <a:ext uri="{FF2B5EF4-FFF2-40B4-BE49-F238E27FC236}">
                  <a16:creationId xmlns:a16="http://schemas.microsoft.com/office/drawing/2014/main" id="{AB71E4A7-7442-5353-16FB-C709CD1B59A8}"/>
                </a:ext>
              </a:extLst>
            </p:cNvPr>
            <p:cNvSpPr>
              <a:spLocks noChangeArrowheads="1"/>
            </p:cNvSpPr>
            <p:nvPr/>
          </p:nvSpPr>
          <p:spPr bwMode="auto">
            <a:xfrm>
              <a:off x="9394349" y="2073650"/>
              <a:ext cx="219075" cy="74613"/>
            </a:xfrm>
            <a:prstGeom prst="rect">
              <a:avLst/>
            </a:prstGeom>
            <a:solidFill>
              <a:srgbClr val="1695A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54" name="Rectangle 137">
              <a:extLst>
                <a:ext uri="{FF2B5EF4-FFF2-40B4-BE49-F238E27FC236}">
                  <a16:creationId xmlns:a16="http://schemas.microsoft.com/office/drawing/2014/main" id="{62DE5E67-6589-F322-A861-D5D3D20BD860}"/>
                </a:ext>
              </a:extLst>
            </p:cNvPr>
            <p:cNvSpPr>
              <a:spLocks noChangeArrowheads="1"/>
            </p:cNvSpPr>
            <p:nvPr/>
          </p:nvSpPr>
          <p:spPr bwMode="auto">
            <a:xfrm>
              <a:off x="9348312" y="2176838"/>
              <a:ext cx="309563" cy="34925"/>
            </a:xfrm>
            <a:prstGeom prst="rect">
              <a:avLst/>
            </a:prstGeom>
            <a:solidFill>
              <a:srgbClr val="1695A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sp>
        <p:nvSpPr>
          <p:cNvPr id="2" name="Rectangle 1">
            <a:extLst>
              <a:ext uri="{FF2B5EF4-FFF2-40B4-BE49-F238E27FC236}">
                <a16:creationId xmlns:a16="http://schemas.microsoft.com/office/drawing/2014/main" id="{ED8920A1-2DE9-F200-35EB-C0D4EEFBBC62}"/>
              </a:ext>
            </a:extLst>
          </p:cNvPr>
          <p:cNvSpPr/>
          <p:nvPr/>
        </p:nvSpPr>
        <p:spPr>
          <a:xfrm>
            <a:off x="1170813" y="1985496"/>
            <a:ext cx="4001225" cy="3825534"/>
          </a:xfrm>
          <a:prstGeom prst="rect">
            <a:avLst/>
          </a:prstGeom>
          <a:solidFill>
            <a:schemeClr val="bg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Arial" panose="020B0604020202020204" pitchFamily="34" charset="0"/>
            </a:endParaRPr>
          </a:p>
        </p:txBody>
      </p:sp>
      <p:sp>
        <p:nvSpPr>
          <p:cNvPr id="3" name="Rectangle 2">
            <a:extLst>
              <a:ext uri="{FF2B5EF4-FFF2-40B4-BE49-F238E27FC236}">
                <a16:creationId xmlns:a16="http://schemas.microsoft.com/office/drawing/2014/main" id="{FBCA856F-72FD-ACB3-ED00-2F892AFDB025}"/>
              </a:ext>
            </a:extLst>
          </p:cNvPr>
          <p:cNvSpPr/>
          <p:nvPr/>
        </p:nvSpPr>
        <p:spPr>
          <a:xfrm>
            <a:off x="7132259" y="1995818"/>
            <a:ext cx="4001225" cy="3815212"/>
          </a:xfrm>
          <a:prstGeom prst="rect">
            <a:avLst/>
          </a:prstGeom>
          <a:solidFill>
            <a:schemeClr val="bg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Arial" panose="020B0604020202020204" pitchFamily="34" charset="0"/>
            </a:endParaRPr>
          </a:p>
        </p:txBody>
      </p:sp>
    </p:spTree>
    <p:custDataLst>
      <p:tags r:id="rId1"/>
    </p:custDataLst>
    <p:extLst>
      <p:ext uri="{BB962C8B-B14F-4D97-AF65-F5344CB8AC3E}">
        <p14:creationId xmlns:p14="http://schemas.microsoft.com/office/powerpoint/2010/main" val="29756952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E312AD7-EDB5-1725-2C73-4B6C3A09E04D}"/>
              </a:ext>
            </a:extLst>
          </p:cNvPr>
          <p:cNvSpPr>
            <a:spLocks noGrp="1"/>
          </p:cNvSpPr>
          <p:nvPr>
            <p:ph type="body" sz="quarter" idx="10"/>
          </p:nvPr>
        </p:nvSpPr>
        <p:spPr>
          <a:xfrm>
            <a:off x="190530" y="1489925"/>
            <a:ext cx="6876093" cy="5052918"/>
          </a:xfrm>
        </p:spPr>
        <p:txBody>
          <a:bodyPr>
            <a:normAutofit/>
          </a:bodyPr>
          <a:lstStyle/>
          <a:p>
            <a:pPr marL="0" indent="0">
              <a:buNone/>
            </a:pPr>
            <a:r>
              <a:rPr lang="en-US" b="1">
                <a:latin typeface="+mn-lt"/>
              </a:rPr>
              <a:t>F-ROC is built on the idea of “prepare to recover.” Let’s discuss:</a:t>
            </a:r>
          </a:p>
          <a:p>
            <a:pPr marL="514350" indent="-514350">
              <a:buFont typeface="+mj-lt"/>
              <a:buAutoNum type="arabicPeriod"/>
            </a:pPr>
            <a:r>
              <a:rPr lang="en-US">
                <a:latin typeface="+mn-lt"/>
              </a:rPr>
              <a:t>What has your organization done in the past to prepare to recover?</a:t>
            </a:r>
          </a:p>
          <a:p>
            <a:pPr marL="514350" indent="-514350">
              <a:buFont typeface="+mj-lt"/>
              <a:buAutoNum type="arabicPeriod"/>
            </a:pPr>
            <a:r>
              <a:rPr lang="en-US">
                <a:latin typeface="+mn-lt"/>
              </a:rPr>
              <a:t>What proactive measures can your organization take to prepare for an event that will ensure a swift recovery? </a:t>
            </a:r>
          </a:p>
          <a:p>
            <a:pPr marL="514350" indent="-514350">
              <a:buFont typeface="+mj-lt"/>
              <a:buAutoNum type="arabicPeriod"/>
            </a:pPr>
            <a:r>
              <a:rPr lang="en-US">
                <a:latin typeface="+mn-lt"/>
              </a:rPr>
              <a:t>How can your organization effectively assess and mitigate potential </a:t>
            </a:r>
            <a:r>
              <a:rPr lang="en-US" b="1">
                <a:latin typeface="+mn-lt"/>
              </a:rPr>
              <a:t>risks</a:t>
            </a:r>
            <a:r>
              <a:rPr lang="en-US">
                <a:latin typeface="+mn-lt"/>
              </a:rPr>
              <a:t> associated with an event to minimize their impact on the people of Florida?</a:t>
            </a:r>
          </a:p>
        </p:txBody>
      </p:sp>
      <p:sp>
        <p:nvSpPr>
          <p:cNvPr id="2" name="Title 1">
            <a:extLst>
              <a:ext uri="{FF2B5EF4-FFF2-40B4-BE49-F238E27FC236}">
                <a16:creationId xmlns:a16="http://schemas.microsoft.com/office/drawing/2014/main" id="{DDBD46A0-4675-5C90-F4A9-AEE196F53C12}"/>
              </a:ext>
            </a:extLst>
          </p:cNvPr>
          <p:cNvSpPr>
            <a:spLocks noGrp="1"/>
          </p:cNvSpPr>
          <p:nvPr>
            <p:ph type="title"/>
          </p:nvPr>
        </p:nvSpPr>
        <p:spPr/>
        <p:txBody>
          <a:bodyPr/>
          <a:lstStyle/>
          <a:p>
            <a:r>
              <a:rPr lang="en-US">
                <a:latin typeface="+mn-lt"/>
              </a:rPr>
              <a:t>Questions for Discussion</a:t>
            </a:r>
          </a:p>
        </p:txBody>
      </p:sp>
      <p:pic>
        <p:nvPicPr>
          <p:cNvPr id="3" name="Picture 2">
            <a:extLst>
              <a:ext uri="{FF2B5EF4-FFF2-40B4-BE49-F238E27FC236}">
                <a16:creationId xmlns:a16="http://schemas.microsoft.com/office/drawing/2014/main" id="{D184CD83-511A-F02B-15FC-26D92507D469}"/>
              </a:ext>
            </a:extLst>
          </p:cNvPr>
          <p:cNvPicPr>
            <a:picLocks noChangeAspect="1"/>
          </p:cNvPicPr>
          <p:nvPr/>
        </p:nvPicPr>
        <p:blipFill>
          <a:blip r:embed="rId3"/>
          <a:stretch>
            <a:fillRect/>
          </a:stretch>
        </p:blipFill>
        <p:spPr>
          <a:xfrm>
            <a:off x="7244180" y="1790267"/>
            <a:ext cx="4757290" cy="3562970"/>
          </a:xfrm>
          <a:prstGeom prst="rect">
            <a:avLst/>
          </a:prstGeom>
          <a:effectLst>
            <a:outerShdw blurRad="50800" dist="38100" dir="2700000" algn="tl" rotWithShape="0">
              <a:prstClr val="black">
                <a:alpha val="40000"/>
              </a:prstClr>
            </a:outerShdw>
          </a:effectLst>
        </p:spPr>
      </p:pic>
    </p:spTree>
    <p:custDataLst>
      <p:tags r:id="rId1"/>
    </p:custDataLst>
    <p:extLst>
      <p:ext uri="{BB962C8B-B14F-4D97-AF65-F5344CB8AC3E}">
        <p14:creationId xmlns:p14="http://schemas.microsoft.com/office/powerpoint/2010/main" val="41196547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7EEDF7-90A6-1711-26E2-DCE5DD6A43FB}"/>
              </a:ext>
            </a:extLst>
          </p:cNvPr>
          <p:cNvSpPr>
            <a:spLocks noGrp="1"/>
          </p:cNvSpPr>
          <p:nvPr>
            <p:ph type="title"/>
          </p:nvPr>
        </p:nvSpPr>
        <p:spPr/>
        <p:txBody>
          <a:bodyPr/>
          <a:lstStyle/>
          <a:p>
            <a:r>
              <a:rPr lang="en-US">
                <a:latin typeface="+mn-lt"/>
              </a:rPr>
              <a:t>DRA Process</a:t>
            </a:r>
          </a:p>
        </p:txBody>
      </p:sp>
      <p:cxnSp>
        <p:nvCxnSpPr>
          <p:cNvPr id="151" name="Straight Connector 150">
            <a:extLst>
              <a:ext uri="{FF2B5EF4-FFF2-40B4-BE49-F238E27FC236}">
                <a16:creationId xmlns:a16="http://schemas.microsoft.com/office/drawing/2014/main" id="{230A1CC0-939A-923E-1485-8ED42E4BBA7A}"/>
              </a:ext>
            </a:extLst>
          </p:cNvPr>
          <p:cNvCxnSpPr>
            <a:cxnSpLocks/>
          </p:cNvCxnSpPr>
          <p:nvPr/>
        </p:nvCxnSpPr>
        <p:spPr>
          <a:xfrm flipV="1">
            <a:off x="364495" y="5987735"/>
            <a:ext cx="11449050" cy="60208"/>
          </a:xfrm>
          <a:prstGeom prst="line">
            <a:avLst/>
          </a:prstGeom>
          <a:noFill/>
          <a:ln w="19050" cap="flat" cmpd="sng" algn="ctr">
            <a:solidFill>
              <a:srgbClr val="000000">
                <a:lumMod val="50000"/>
                <a:lumOff val="50000"/>
              </a:srgbClr>
            </a:solidFill>
            <a:prstDash val="sysDot"/>
            <a:miter lim="800000"/>
            <a:headEnd type="oval"/>
            <a:tailEnd type="oval"/>
          </a:ln>
          <a:effectLst/>
        </p:spPr>
      </p:cxnSp>
      <p:grpSp>
        <p:nvGrpSpPr>
          <p:cNvPr id="5" name="Group 4">
            <a:extLst>
              <a:ext uri="{FF2B5EF4-FFF2-40B4-BE49-F238E27FC236}">
                <a16:creationId xmlns:a16="http://schemas.microsoft.com/office/drawing/2014/main" id="{5F631082-CD32-6CA0-2DC4-77CEDC16D1A9}"/>
              </a:ext>
            </a:extLst>
          </p:cNvPr>
          <p:cNvGrpSpPr/>
          <p:nvPr/>
        </p:nvGrpSpPr>
        <p:grpSpPr>
          <a:xfrm>
            <a:off x="378455" y="3395040"/>
            <a:ext cx="2329798" cy="2953176"/>
            <a:chOff x="531765" y="2479966"/>
            <a:chExt cx="2329798" cy="2953176"/>
          </a:xfrm>
        </p:grpSpPr>
        <p:grpSp>
          <p:nvGrpSpPr>
            <p:cNvPr id="174" name="Group 173">
              <a:extLst>
                <a:ext uri="{FF2B5EF4-FFF2-40B4-BE49-F238E27FC236}">
                  <a16:creationId xmlns:a16="http://schemas.microsoft.com/office/drawing/2014/main" id="{A5DC7C90-1EFA-AF8D-208E-88B58D3044BC}"/>
                </a:ext>
              </a:extLst>
            </p:cNvPr>
            <p:cNvGrpSpPr/>
            <p:nvPr/>
          </p:nvGrpSpPr>
          <p:grpSpPr>
            <a:xfrm>
              <a:off x="1371426" y="4068771"/>
              <a:ext cx="650476" cy="1364371"/>
              <a:chOff x="3066028" y="3998204"/>
              <a:chExt cx="650476" cy="1364371"/>
            </a:xfrm>
          </p:grpSpPr>
          <p:sp>
            <p:nvSpPr>
              <p:cNvPr id="152" name="Oval 151">
                <a:extLst>
                  <a:ext uri="{FF2B5EF4-FFF2-40B4-BE49-F238E27FC236}">
                    <a16:creationId xmlns:a16="http://schemas.microsoft.com/office/drawing/2014/main" id="{0DC0D2A9-6DB2-0A87-A5D9-0E087DECFF21}"/>
                  </a:ext>
                </a:extLst>
              </p:cNvPr>
              <p:cNvSpPr/>
              <p:nvPr/>
            </p:nvSpPr>
            <p:spPr>
              <a:xfrm>
                <a:off x="3066028" y="4712105"/>
                <a:ext cx="650476" cy="650470"/>
              </a:xfrm>
              <a:prstGeom prst="ellipse">
                <a:avLst/>
              </a:prstGeom>
              <a:solidFill>
                <a:srgbClr val="0091DA"/>
              </a:solidFill>
              <a:ln w="762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0091DA"/>
                  </a:solidFill>
                  <a:effectLst/>
                  <a:uLnTx/>
                  <a:uFillTx/>
                  <a:cs typeface="Arial" panose="020B0604020202020204" pitchFamily="34" charset="0"/>
                </a:endParaRPr>
              </a:p>
            </p:txBody>
          </p:sp>
          <p:sp>
            <p:nvSpPr>
              <p:cNvPr id="153" name="Freeform 38">
                <a:extLst>
                  <a:ext uri="{FF2B5EF4-FFF2-40B4-BE49-F238E27FC236}">
                    <a16:creationId xmlns:a16="http://schemas.microsoft.com/office/drawing/2014/main" id="{B5775E18-D63F-86CA-02EA-11E1F548317B}"/>
                  </a:ext>
                </a:extLst>
              </p:cNvPr>
              <p:cNvSpPr>
                <a:spLocks noEditPoints="1"/>
              </p:cNvSpPr>
              <p:nvPr/>
            </p:nvSpPr>
            <p:spPr bwMode="auto">
              <a:xfrm rot="16200000">
                <a:off x="3183224" y="4829298"/>
                <a:ext cx="416084" cy="416084"/>
              </a:xfrm>
              <a:custGeom>
                <a:avLst/>
                <a:gdLst/>
                <a:ahLst/>
                <a:cxnLst>
                  <a:cxn ang="0">
                    <a:pos x="31" y="62"/>
                  </a:cxn>
                  <a:cxn ang="0">
                    <a:pos x="0" y="31"/>
                  </a:cxn>
                  <a:cxn ang="0">
                    <a:pos x="31" y="0"/>
                  </a:cxn>
                  <a:cxn ang="0">
                    <a:pos x="62" y="31"/>
                  </a:cxn>
                  <a:cxn ang="0">
                    <a:pos x="31" y="62"/>
                  </a:cxn>
                  <a:cxn ang="0">
                    <a:pos x="51" y="30"/>
                  </a:cxn>
                  <a:cxn ang="0">
                    <a:pos x="48" y="26"/>
                  </a:cxn>
                  <a:cxn ang="0">
                    <a:pos x="46" y="25"/>
                  </a:cxn>
                  <a:cxn ang="0">
                    <a:pos x="44" y="26"/>
                  </a:cxn>
                  <a:cxn ang="0">
                    <a:pos x="36" y="33"/>
                  </a:cxn>
                  <a:cxn ang="0">
                    <a:pos x="36" y="13"/>
                  </a:cxn>
                  <a:cxn ang="0">
                    <a:pos x="34" y="11"/>
                  </a:cxn>
                  <a:cxn ang="0">
                    <a:pos x="29" y="11"/>
                  </a:cxn>
                  <a:cxn ang="0">
                    <a:pos x="26" y="13"/>
                  </a:cxn>
                  <a:cxn ang="0">
                    <a:pos x="26" y="33"/>
                  </a:cxn>
                  <a:cxn ang="0">
                    <a:pos x="19" y="26"/>
                  </a:cxn>
                  <a:cxn ang="0">
                    <a:pos x="17" y="25"/>
                  </a:cxn>
                  <a:cxn ang="0">
                    <a:pos x="15" y="26"/>
                  </a:cxn>
                  <a:cxn ang="0">
                    <a:pos x="11" y="30"/>
                  </a:cxn>
                  <a:cxn ang="0">
                    <a:pos x="11" y="31"/>
                  </a:cxn>
                  <a:cxn ang="0">
                    <a:pos x="11" y="33"/>
                  </a:cxn>
                  <a:cxn ang="0">
                    <a:pos x="26" y="48"/>
                  </a:cxn>
                  <a:cxn ang="0">
                    <a:pos x="30" y="51"/>
                  </a:cxn>
                  <a:cxn ang="0">
                    <a:pos x="31" y="52"/>
                  </a:cxn>
                  <a:cxn ang="0">
                    <a:pos x="33" y="51"/>
                  </a:cxn>
                  <a:cxn ang="0">
                    <a:pos x="37" y="48"/>
                  </a:cxn>
                  <a:cxn ang="0">
                    <a:pos x="51" y="33"/>
                  </a:cxn>
                  <a:cxn ang="0">
                    <a:pos x="52" y="31"/>
                  </a:cxn>
                  <a:cxn ang="0">
                    <a:pos x="51" y="30"/>
                  </a:cxn>
                </a:cxnLst>
                <a:rect l="0" t="0" r="r" b="b"/>
                <a:pathLst>
                  <a:path w="62" h="62">
                    <a:moveTo>
                      <a:pt x="31" y="62"/>
                    </a:moveTo>
                    <a:cubicBezTo>
                      <a:pt x="14" y="62"/>
                      <a:pt x="0" y="48"/>
                      <a:pt x="0" y="31"/>
                    </a:cubicBezTo>
                    <a:cubicBezTo>
                      <a:pt x="0" y="14"/>
                      <a:pt x="14" y="0"/>
                      <a:pt x="31" y="0"/>
                    </a:cubicBezTo>
                    <a:cubicBezTo>
                      <a:pt x="48" y="0"/>
                      <a:pt x="62" y="14"/>
                      <a:pt x="62" y="31"/>
                    </a:cubicBezTo>
                    <a:cubicBezTo>
                      <a:pt x="62" y="48"/>
                      <a:pt x="48" y="62"/>
                      <a:pt x="31" y="62"/>
                    </a:cubicBezTo>
                    <a:close/>
                    <a:moveTo>
                      <a:pt x="51" y="30"/>
                    </a:moveTo>
                    <a:cubicBezTo>
                      <a:pt x="48" y="26"/>
                      <a:pt x="48" y="26"/>
                      <a:pt x="48" y="26"/>
                    </a:cubicBezTo>
                    <a:cubicBezTo>
                      <a:pt x="47" y="25"/>
                      <a:pt x="47" y="25"/>
                      <a:pt x="46" y="25"/>
                    </a:cubicBezTo>
                    <a:cubicBezTo>
                      <a:pt x="45" y="25"/>
                      <a:pt x="45" y="25"/>
                      <a:pt x="44" y="26"/>
                    </a:cubicBezTo>
                    <a:cubicBezTo>
                      <a:pt x="36" y="33"/>
                      <a:pt x="36" y="33"/>
                      <a:pt x="36" y="33"/>
                    </a:cubicBezTo>
                    <a:cubicBezTo>
                      <a:pt x="36" y="13"/>
                      <a:pt x="36" y="13"/>
                      <a:pt x="36" y="13"/>
                    </a:cubicBezTo>
                    <a:cubicBezTo>
                      <a:pt x="36" y="12"/>
                      <a:pt x="35" y="11"/>
                      <a:pt x="34" y="11"/>
                    </a:cubicBezTo>
                    <a:cubicBezTo>
                      <a:pt x="29" y="11"/>
                      <a:pt x="29" y="11"/>
                      <a:pt x="29" y="11"/>
                    </a:cubicBezTo>
                    <a:cubicBezTo>
                      <a:pt x="27" y="11"/>
                      <a:pt x="26" y="12"/>
                      <a:pt x="26" y="13"/>
                    </a:cubicBezTo>
                    <a:cubicBezTo>
                      <a:pt x="26" y="33"/>
                      <a:pt x="26" y="33"/>
                      <a:pt x="26" y="33"/>
                    </a:cubicBezTo>
                    <a:cubicBezTo>
                      <a:pt x="19" y="26"/>
                      <a:pt x="19" y="26"/>
                      <a:pt x="19" y="26"/>
                    </a:cubicBezTo>
                    <a:cubicBezTo>
                      <a:pt x="18" y="25"/>
                      <a:pt x="17" y="25"/>
                      <a:pt x="17" y="25"/>
                    </a:cubicBezTo>
                    <a:cubicBezTo>
                      <a:pt x="16" y="25"/>
                      <a:pt x="15" y="25"/>
                      <a:pt x="15" y="26"/>
                    </a:cubicBezTo>
                    <a:cubicBezTo>
                      <a:pt x="11" y="30"/>
                      <a:pt x="11" y="30"/>
                      <a:pt x="11" y="30"/>
                    </a:cubicBezTo>
                    <a:cubicBezTo>
                      <a:pt x="11" y="30"/>
                      <a:pt x="11" y="31"/>
                      <a:pt x="11" y="31"/>
                    </a:cubicBezTo>
                    <a:cubicBezTo>
                      <a:pt x="11" y="32"/>
                      <a:pt x="11" y="33"/>
                      <a:pt x="11" y="33"/>
                    </a:cubicBezTo>
                    <a:cubicBezTo>
                      <a:pt x="26" y="48"/>
                      <a:pt x="26" y="48"/>
                      <a:pt x="26" y="48"/>
                    </a:cubicBezTo>
                    <a:cubicBezTo>
                      <a:pt x="30" y="51"/>
                      <a:pt x="30" y="51"/>
                      <a:pt x="30" y="51"/>
                    </a:cubicBezTo>
                    <a:cubicBezTo>
                      <a:pt x="30" y="52"/>
                      <a:pt x="31" y="52"/>
                      <a:pt x="31" y="52"/>
                    </a:cubicBezTo>
                    <a:cubicBezTo>
                      <a:pt x="32" y="52"/>
                      <a:pt x="33" y="52"/>
                      <a:pt x="33" y="51"/>
                    </a:cubicBezTo>
                    <a:cubicBezTo>
                      <a:pt x="37" y="48"/>
                      <a:pt x="37" y="48"/>
                      <a:pt x="37" y="48"/>
                    </a:cubicBezTo>
                    <a:cubicBezTo>
                      <a:pt x="51" y="33"/>
                      <a:pt x="51" y="33"/>
                      <a:pt x="51" y="33"/>
                    </a:cubicBezTo>
                    <a:cubicBezTo>
                      <a:pt x="52" y="33"/>
                      <a:pt x="52" y="32"/>
                      <a:pt x="52" y="31"/>
                    </a:cubicBezTo>
                    <a:cubicBezTo>
                      <a:pt x="52" y="31"/>
                      <a:pt x="52" y="30"/>
                      <a:pt x="51" y="30"/>
                    </a:cubicBezTo>
                    <a:close/>
                  </a:path>
                </a:pathLst>
              </a:custGeom>
              <a:solidFill>
                <a:sysClr val="window" lastClr="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cs typeface="Arial" panose="020B0604020202020204" pitchFamily="34" charset="0"/>
                </a:endParaRPr>
              </a:p>
            </p:txBody>
          </p:sp>
          <p:sp>
            <p:nvSpPr>
              <p:cNvPr id="154" name="Rectangle 153">
                <a:extLst>
                  <a:ext uri="{FF2B5EF4-FFF2-40B4-BE49-F238E27FC236}">
                    <a16:creationId xmlns:a16="http://schemas.microsoft.com/office/drawing/2014/main" id="{9BFBA943-65CB-6275-8AA6-4D9B11CA38F5}"/>
                  </a:ext>
                </a:extLst>
              </p:cNvPr>
              <p:cNvSpPr/>
              <p:nvPr/>
            </p:nvSpPr>
            <p:spPr bwMode="auto">
              <a:xfrm>
                <a:off x="3357629" y="3998204"/>
                <a:ext cx="76200" cy="721525"/>
              </a:xfrm>
              <a:prstGeom prst="rect">
                <a:avLst/>
              </a:prstGeom>
              <a:solidFill>
                <a:srgbClr val="0091DA"/>
              </a:solidFill>
              <a:ln w="9525">
                <a:noFill/>
                <a:round/>
                <a:headEnd/>
                <a:tailEnd/>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cs typeface="Arial" panose="020B0604020202020204" pitchFamily="34" charset="0"/>
                </a:endParaRPr>
              </a:p>
            </p:txBody>
          </p:sp>
        </p:grpSp>
        <p:grpSp>
          <p:nvGrpSpPr>
            <p:cNvPr id="175" name="Group 174">
              <a:extLst>
                <a:ext uri="{FF2B5EF4-FFF2-40B4-BE49-F238E27FC236}">
                  <a16:creationId xmlns:a16="http://schemas.microsoft.com/office/drawing/2014/main" id="{1C355EC1-552F-410D-9377-D4F4AA1B2D53}"/>
                </a:ext>
              </a:extLst>
            </p:cNvPr>
            <p:cNvGrpSpPr/>
            <p:nvPr/>
          </p:nvGrpSpPr>
          <p:grpSpPr>
            <a:xfrm>
              <a:off x="531765" y="2479966"/>
              <a:ext cx="2329798" cy="1599857"/>
              <a:chOff x="1607719" y="2380414"/>
              <a:chExt cx="2329798" cy="1599857"/>
            </a:xfrm>
          </p:grpSpPr>
          <p:grpSp>
            <p:nvGrpSpPr>
              <p:cNvPr id="123" name="Group 128">
                <a:extLst>
                  <a:ext uri="{FF2B5EF4-FFF2-40B4-BE49-F238E27FC236}">
                    <a16:creationId xmlns:a16="http://schemas.microsoft.com/office/drawing/2014/main" id="{3636C199-F4CE-08D0-0FA0-2C0B5FF4A8CA}"/>
                  </a:ext>
                </a:extLst>
              </p:cNvPr>
              <p:cNvGrpSpPr/>
              <p:nvPr/>
            </p:nvGrpSpPr>
            <p:grpSpPr>
              <a:xfrm>
                <a:off x="1607719" y="2380414"/>
                <a:ext cx="2329798" cy="1599857"/>
                <a:chOff x="1071629" y="1845945"/>
                <a:chExt cx="1561966" cy="1365576"/>
              </a:xfrm>
            </p:grpSpPr>
            <p:sp>
              <p:nvSpPr>
                <p:cNvPr id="124" name="Rounded Rectangle 120">
                  <a:extLst>
                    <a:ext uri="{FF2B5EF4-FFF2-40B4-BE49-F238E27FC236}">
                      <a16:creationId xmlns:a16="http://schemas.microsoft.com/office/drawing/2014/main" id="{9FE9F829-4730-A058-8C9B-F8423EC09950}"/>
                    </a:ext>
                  </a:extLst>
                </p:cNvPr>
                <p:cNvSpPr/>
                <p:nvPr/>
              </p:nvSpPr>
              <p:spPr bwMode="auto">
                <a:xfrm>
                  <a:off x="1071629" y="1916516"/>
                  <a:ext cx="1561966" cy="1295005"/>
                </a:xfrm>
                <a:prstGeom prst="roundRect">
                  <a:avLst>
                    <a:gd name="adj" fmla="val 8404"/>
                  </a:avLst>
                </a:prstGeom>
                <a:solidFill>
                  <a:srgbClr val="0091DA">
                    <a:lumMod val="75000"/>
                  </a:srgbClr>
                </a:solidFill>
                <a:ln w="9525">
                  <a:noFill/>
                  <a:round/>
                  <a:headEnd/>
                  <a:tailEnd/>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cs typeface="Arial" panose="020B0604020202020204" pitchFamily="34" charset="0"/>
                  </a:endParaRPr>
                </a:p>
              </p:txBody>
            </p:sp>
            <p:grpSp>
              <p:nvGrpSpPr>
                <p:cNvPr id="125" name="Group 124">
                  <a:extLst>
                    <a:ext uri="{FF2B5EF4-FFF2-40B4-BE49-F238E27FC236}">
                      <a16:creationId xmlns:a16="http://schemas.microsoft.com/office/drawing/2014/main" id="{7C172E86-50CC-F85C-DCFC-A7C494A37A98}"/>
                    </a:ext>
                  </a:extLst>
                </p:cNvPr>
                <p:cNvGrpSpPr/>
                <p:nvPr/>
              </p:nvGrpSpPr>
              <p:grpSpPr>
                <a:xfrm>
                  <a:off x="1071629" y="1845945"/>
                  <a:ext cx="1561966" cy="1295005"/>
                  <a:chOff x="1071629" y="1845945"/>
                  <a:chExt cx="1561966" cy="1295005"/>
                </a:xfrm>
              </p:grpSpPr>
              <p:sp>
                <p:nvSpPr>
                  <p:cNvPr id="126" name="Rounded Rectangle 62">
                    <a:extLst>
                      <a:ext uri="{FF2B5EF4-FFF2-40B4-BE49-F238E27FC236}">
                        <a16:creationId xmlns:a16="http://schemas.microsoft.com/office/drawing/2014/main" id="{085BAAE4-A4D6-4978-752E-B8EA6599AACC}"/>
                      </a:ext>
                    </a:extLst>
                  </p:cNvPr>
                  <p:cNvSpPr/>
                  <p:nvPr/>
                </p:nvSpPr>
                <p:spPr bwMode="auto">
                  <a:xfrm>
                    <a:off x="1071629" y="1845945"/>
                    <a:ext cx="1561966" cy="1295005"/>
                  </a:xfrm>
                  <a:prstGeom prst="roundRect">
                    <a:avLst>
                      <a:gd name="adj" fmla="val 8404"/>
                    </a:avLst>
                  </a:prstGeom>
                  <a:solidFill>
                    <a:srgbClr val="0091DA"/>
                  </a:solidFill>
                  <a:ln w="9525">
                    <a:noFill/>
                    <a:round/>
                    <a:headEnd/>
                    <a:tailEnd/>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cs typeface="Arial" panose="020B0604020202020204" pitchFamily="34" charset="0"/>
                    </a:endParaRPr>
                  </a:p>
                </p:txBody>
              </p:sp>
              <p:sp>
                <p:nvSpPr>
                  <p:cNvPr id="129" name="TextBox 128">
                    <a:extLst>
                      <a:ext uri="{FF2B5EF4-FFF2-40B4-BE49-F238E27FC236}">
                        <a16:creationId xmlns:a16="http://schemas.microsoft.com/office/drawing/2014/main" id="{DA814643-C88B-7E19-946B-60A5914B0384}"/>
                      </a:ext>
                    </a:extLst>
                  </p:cNvPr>
                  <p:cNvSpPr txBox="1"/>
                  <p:nvPr/>
                </p:nvSpPr>
                <p:spPr>
                  <a:xfrm>
                    <a:off x="1163069" y="2374965"/>
                    <a:ext cx="254878" cy="236436"/>
                  </a:xfrm>
                  <a:prstGeom prst="rect">
                    <a:avLst/>
                  </a:prstGeom>
                  <a:noFill/>
                </p:spPr>
                <p:txBody>
                  <a:bodyPr wrap="square" lIns="0" tIns="0" rIns="0" bIns="0" rtlCol="0" anchor="ctr">
                    <a:spAutoFit/>
                  </a:bodyP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US" sz="1800" b="1" i="0" u="none" strike="noStrike" kern="0" cap="none" spc="0" normalizeH="0" baseline="0" noProof="0">
                        <a:ln>
                          <a:noFill/>
                        </a:ln>
                        <a:solidFill>
                          <a:srgbClr val="0091DA"/>
                        </a:solidFill>
                        <a:effectLst/>
                        <a:uLnTx/>
                        <a:uFillTx/>
                        <a:cs typeface="Arial" panose="020B0604020202020204" pitchFamily="34" charset="0"/>
                      </a:rPr>
                      <a:t>01</a:t>
                    </a:r>
                    <a:endParaRPr kumimoji="0" lang="en-US" sz="1800" b="0" i="0" u="none" strike="noStrike" kern="0" cap="none" spc="0" normalizeH="0" baseline="0" noProof="0">
                      <a:ln>
                        <a:noFill/>
                      </a:ln>
                      <a:solidFill>
                        <a:srgbClr val="0091DA"/>
                      </a:solidFill>
                      <a:effectLst/>
                      <a:uLnTx/>
                      <a:uFillTx/>
                      <a:cs typeface="Arial" panose="020B0604020202020204" pitchFamily="34" charset="0"/>
                    </a:endParaRPr>
                  </a:p>
                </p:txBody>
              </p:sp>
            </p:grpSp>
          </p:grpSp>
          <p:sp>
            <p:nvSpPr>
              <p:cNvPr id="158" name="TextBox 157">
                <a:extLst>
                  <a:ext uri="{FF2B5EF4-FFF2-40B4-BE49-F238E27FC236}">
                    <a16:creationId xmlns:a16="http://schemas.microsoft.com/office/drawing/2014/main" id="{26CCFCFF-E80F-6B13-E6F3-FFF2CCA494F0}"/>
                  </a:ext>
                </a:extLst>
              </p:cNvPr>
              <p:cNvSpPr txBox="1"/>
              <p:nvPr/>
            </p:nvSpPr>
            <p:spPr>
              <a:xfrm>
                <a:off x="1791447" y="2472945"/>
                <a:ext cx="1955252" cy="1077218"/>
              </a:xfrm>
              <a:prstGeom prst="rect">
                <a:avLst/>
              </a:prstGeom>
              <a:noFill/>
            </p:spPr>
            <p:txBody>
              <a:bodyPr wrap="square" rtlCol="0">
                <a:spAutoFit/>
              </a:bodyPr>
              <a:lstStyle/>
              <a:p>
                <a:pPr algn="ctr"/>
                <a:r>
                  <a:rPr lang="en-US" b="1">
                    <a:solidFill>
                      <a:prstClr val="white"/>
                    </a:solidFill>
                    <a:cs typeface="Arial" panose="020B0604020202020204" pitchFamily="34" charset="0"/>
                  </a:rPr>
                  <a:t>Applicant has access to the DRA</a:t>
                </a:r>
                <a:br>
                  <a:rPr lang="en-US" sz="2000" b="1">
                    <a:solidFill>
                      <a:prstClr val="white"/>
                    </a:solidFill>
                    <a:cs typeface="Arial" panose="020B0604020202020204" pitchFamily="34" charset="0"/>
                  </a:rPr>
                </a:br>
                <a:r>
                  <a:rPr lang="en-US" sz="1400">
                    <a:solidFill>
                      <a:prstClr val="white"/>
                    </a:solidFill>
                    <a:cs typeface="Arial" panose="020B0604020202020204" pitchFamily="34" charset="0"/>
                  </a:rPr>
                  <a:t> KPMG Smart Grant Platform access granted</a:t>
                </a:r>
              </a:p>
            </p:txBody>
          </p:sp>
        </p:grpSp>
      </p:grpSp>
      <p:grpSp>
        <p:nvGrpSpPr>
          <p:cNvPr id="4" name="Group 3">
            <a:extLst>
              <a:ext uri="{FF2B5EF4-FFF2-40B4-BE49-F238E27FC236}">
                <a16:creationId xmlns:a16="http://schemas.microsoft.com/office/drawing/2014/main" id="{F4F678E5-26D8-C52B-D054-6BBD42A1A99B}"/>
              </a:ext>
            </a:extLst>
          </p:cNvPr>
          <p:cNvGrpSpPr/>
          <p:nvPr/>
        </p:nvGrpSpPr>
        <p:grpSpPr>
          <a:xfrm>
            <a:off x="3300576" y="2922461"/>
            <a:ext cx="2331720" cy="3417723"/>
            <a:chOff x="3380469" y="2004544"/>
            <a:chExt cx="2331720" cy="3417723"/>
          </a:xfrm>
        </p:grpSpPr>
        <p:grpSp>
          <p:nvGrpSpPr>
            <p:cNvPr id="130" name="Group 129">
              <a:extLst>
                <a:ext uri="{FF2B5EF4-FFF2-40B4-BE49-F238E27FC236}">
                  <a16:creationId xmlns:a16="http://schemas.microsoft.com/office/drawing/2014/main" id="{BDEE748C-4A09-6871-73E6-FB8BAB34DB97}"/>
                </a:ext>
              </a:extLst>
            </p:cNvPr>
            <p:cNvGrpSpPr/>
            <p:nvPr/>
          </p:nvGrpSpPr>
          <p:grpSpPr>
            <a:xfrm>
              <a:off x="3380469" y="2004544"/>
              <a:ext cx="2331720" cy="1587453"/>
              <a:chOff x="2852804" y="1390650"/>
              <a:chExt cx="1702522" cy="1365576"/>
            </a:xfrm>
          </p:grpSpPr>
          <p:sp>
            <p:nvSpPr>
              <p:cNvPr id="131" name="Rounded Rectangle 121">
                <a:extLst>
                  <a:ext uri="{FF2B5EF4-FFF2-40B4-BE49-F238E27FC236}">
                    <a16:creationId xmlns:a16="http://schemas.microsoft.com/office/drawing/2014/main" id="{26CF5EC1-0C44-E80E-8990-81A87C1F3B76}"/>
                  </a:ext>
                </a:extLst>
              </p:cNvPr>
              <p:cNvSpPr/>
              <p:nvPr/>
            </p:nvSpPr>
            <p:spPr bwMode="auto">
              <a:xfrm>
                <a:off x="2852805" y="1461221"/>
                <a:ext cx="1701119" cy="1295005"/>
              </a:xfrm>
              <a:prstGeom prst="roundRect">
                <a:avLst>
                  <a:gd name="adj" fmla="val 8404"/>
                </a:avLst>
              </a:prstGeom>
              <a:solidFill>
                <a:srgbClr val="6D2077">
                  <a:lumMod val="75000"/>
                </a:srgbClr>
              </a:solidFill>
              <a:ln w="9525">
                <a:noFill/>
                <a:round/>
                <a:headEnd/>
                <a:tailEnd/>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cs typeface="Arial" panose="020B0604020202020204" pitchFamily="34" charset="0"/>
                </a:endParaRPr>
              </a:p>
            </p:txBody>
          </p:sp>
          <p:grpSp>
            <p:nvGrpSpPr>
              <p:cNvPr id="132" name="Group 125">
                <a:extLst>
                  <a:ext uri="{FF2B5EF4-FFF2-40B4-BE49-F238E27FC236}">
                    <a16:creationId xmlns:a16="http://schemas.microsoft.com/office/drawing/2014/main" id="{2FA18B4D-4EDF-A5FA-FA60-5A2BD227E38F}"/>
                  </a:ext>
                </a:extLst>
              </p:cNvPr>
              <p:cNvGrpSpPr/>
              <p:nvPr/>
            </p:nvGrpSpPr>
            <p:grpSpPr>
              <a:xfrm>
                <a:off x="2852804" y="1390650"/>
                <a:ext cx="1702522" cy="1295005"/>
                <a:chOff x="2852804" y="1390650"/>
                <a:chExt cx="1702522" cy="1295005"/>
              </a:xfrm>
            </p:grpSpPr>
            <p:sp>
              <p:nvSpPr>
                <p:cNvPr id="133" name="Rounded Rectangle 90">
                  <a:extLst>
                    <a:ext uri="{FF2B5EF4-FFF2-40B4-BE49-F238E27FC236}">
                      <a16:creationId xmlns:a16="http://schemas.microsoft.com/office/drawing/2014/main" id="{2E8AF383-4538-166F-04D6-5A4CF7FD3171}"/>
                    </a:ext>
                  </a:extLst>
                </p:cNvPr>
                <p:cNvSpPr/>
                <p:nvPr/>
              </p:nvSpPr>
              <p:spPr bwMode="auto">
                <a:xfrm>
                  <a:off x="2852804" y="1390650"/>
                  <a:ext cx="1702522" cy="1295005"/>
                </a:xfrm>
                <a:prstGeom prst="roundRect">
                  <a:avLst>
                    <a:gd name="adj" fmla="val 8404"/>
                  </a:avLst>
                </a:prstGeom>
                <a:solidFill>
                  <a:srgbClr val="6D2077"/>
                </a:solidFill>
                <a:ln w="9525">
                  <a:noFill/>
                  <a:round/>
                  <a:headEnd/>
                  <a:tailEnd/>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cs typeface="Arial" panose="020B0604020202020204" pitchFamily="34" charset="0"/>
                  </a:endParaRPr>
                </a:p>
              </p:txBody>
            </p:sp>
            <p:sp>
              <p:nvSpPr>
                <p:cNvPr id="136" name="TextBox 135">
                  <a:extLst>
                    <a:ext uri="{FF2B5EF4-FFF2-40B4-BE49-F238E27FC236}">
                      <a16:creationId xmlns:a16="http://schemas.microsoft.com/office/drawing/2014/main" id="{93AD67D5-3C41-A343-6AF3-CC87247284D6}"/>
                    </a:ext>
                  </a:extLst>
                </p:cNvPr>
                <p:cNvSpPr txBox="1"/>
                <p:nvPr/>
              </p:nvSpPr>
              <p:spPr>
                <a:xfrm>
                  <a:off x="2986242" y="1919011"/>
                  <a:ext cx="170885" cy="238283"/>
                </a:xfrm>
                <a:prstGeom prst="rect">
                  <a:avLst/>
                </a:prstGeom>
                <a:noFill/>
              </p:spPr>
              <p:txBody>
                <a:bodyPr wrap="none" lIns="0" tIns="0" rIns="0" bIns="0" rtlCol="0" anchor="ctr">
                  <a:spAutoFit/>
                </a:bodyP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US" sz="1800" b="1" i="0" u="none" strike="noStrike" kern="0" cap="none" spc="0" normalizeH="0" baseline="0" noProof="0">
                      <a:ln>
                        <a:noFill/>
                      </a:ln>
                      <a:solidFill>
                        <a:srgbClr val="6D2077"/>
                      </a:solidFill>
                      <a:effectLst/>
                      <a:uLnTx/>
                      <a:uFillTx/>
                      <a:cs typeface="Arial" panose="020B0604020202020204" pitchFamily="34" charset="0"/>
                    </a:rPr>
                    <a:t>02</a:t>
                  </a:r>
                  <a:endParaRPr kumimoji="0" lang="en-US" sz="1800" b="0" i="0" u="none" strike="noStrike" kern="0" cap="none" spc="0" normalizeH="0" baseline="0" noProof="0">
                    <a:ln>
                      <a:noFill/>
                    </a:ln>
                    <a:solidFill>
                      <a:srgbClr val="6D2077"/>
                    </a:solidFill>
                    <a:effectLst/>
                    <a:uLnTx/>
                    <a:uFillTx/>
                    <a:cs typeface="Arial" panose="020B0604020202020204" pitchFamily="34" charset="0"/>
                  </a:endParaRPr>
                </a:p>
              </p:txBody>
            </p:sp>
          </p:grpSp>
        </p:grpSp>
        <p:grpSp>
          <p:nvGrpSpPr>
            <p:cNvPr id="179" name="Group 178">
              <a:extLst>
                <a:ext uri="{FF2B5EF4-FFF2-40B4-BE49-F238E27FC236}">
                  <a16:creationId xmlns:a16="http://schemas.microsoft.com/office/drawing/2014/main" id="{F8F97420-6880-0D2D-B3CE-7E4BFEE86E4F}"/>
                </a:ext>
              </a:extLst>
            </p:cNvPr>
            <p:cNvGrpSpPr/>
            <p:nvPr/>
          </p:nvGrpSpPr>
          <p:grpSpPr>
            <a:xfrm>
              <a:off x="4142206" y="3593076"/>
              <a:ext cx="650476" cy="1829191"/>
              <a:chOff x="4828021" y="3533384"/>
              <a:chExt cx="650476" cy="1829191"/>
            </a:xfrm>
          </p:grpSpPr>
          <p:sp>
            <p:nvSpPr>
              <p:cNvPr id="155" name="Oval 154">
                <a:extLst>
                  <a:ext uri="{FF2B5EF4-FFF2-40B4-BE49-F238E27FC236}">
                    <a16:creationId xmlns:a16="http://schemas.microsoft.com/office/drawing/2014/main" id="{F808331A-4549-F38A-90E7-C39E7C7AE088}"/>
                  </a:ext>
                </a:extLst>
              </p:cNvPr>
              <p:cNvSpPr/>
              <p:nvPr/>
            </p:nvSpPr>
            <p:spPr>
              <a:xfrm>
                <a:off x="4828021" y="4712105"/>
                <a:ext cx="650476" cy="650470"/>
              </a:xfrm>
              <a:prstGeom prst="ellipse">
                <a:avLst/>
              </a:prstGeom>
              <a:solidFill>
                <a:srgbClr val="6D2077"/>
              </a:solidFill>
              <a:ln w="762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0091DA"/>
                  </a:solidFill>
                  <a:effectLst/>
                  <a:uLnTx/>
                  <a:uFillTx/>
                  <a:cs typeface="Arial" panose="020B0604020202020204" pitchFamily="34" charset="0"/>
                </a:endParaRPr>
              </a:p>
            </p:txBody>
          </p:sp>
          <p:sp>
            <p:nvSpPr>
              <p:cNvPr id="156" name="Freeform 38">
                <a:extLst>
                  <a:ext uri="{FF2B5EF4-FFF2-40B4-BE49-F238E27FC236}">
                    <a16:creationId xmlns:a16="http://schemas.microsoft.com/office/drawing/2014/main" id="{608EBC4A-1681-264F-0EAE-F21DBB217B7A}"/>
                  </a:ext>
                </a:extLst>
              </p:cNvPr>
              <p:cNvSpPr>
                <a:spLocks noEditPoints="1"/>
              </p:cNvSpPr>
              <p:nvPr/>
            </p:nvSpPr>
            <p:spPr bwMode="auto">
              <a:xfrm rot="16200000">
                <a:off x="4945217" y="4829298"/>
                <a:ext cx="416084" cy="416084"/>
              </a:xfrm>
              <a:custGeom>
                <a:avLst/>
                <a:gdLst/>
                <a:ahLst/>
                <a:cxnLst>
                  <a:cxn ang="0">
                    <a:pos x="31" y="62"/>
                  </a:cxn>
                  <a:cxn ang="0">
                    <a:pos x="0" y="31"/>
                  </a:cxn>
                  <a:cxn ang="0">
                    <a:pos x="31" y="0"/>
                  </a:cxn>
                  <a:cxn ang="0">
                    <a:pos x="62" y="31"/>
                  </a:cxn>
                  <a:cxn ang="0">
                    <a:pos x="31" y="62"/>
                  </a:cxn>
                  <a:cxn ang="0">
                    <a:pos x="51" y="30"/>
                  </a:cxn>
                  <a:cxn ang="0">
                    <a:pos x="48" y="26"/>
                  </a:cxn>
                  <a:cxn ang="0">
                    <a:pos x="46" y="25"/>
                  </a:cxn>
                  <a:cxn ang="0">
                    <a:pos x="44" y="26"/>
                  </a:cxn>
                  <a:cxn ang="0">
                    <a:pos x="36" y="33"/>
                  </a:cxn>
                  <a:cxn ang="0">
                    <a:pos x="36" y="13"/>
                  </a:cxn>
                  <a:cxn ang="0">
                    <a:pos x="34" y="11"/>
                  </a:cxn>
                  <a:cxn ang="0">
                    <a:pos x="29" y="11"/>
                  </a:cxn>
                  <a:cxn ang="0">
                    <a:pos x="26" y="13"/>
                  </a:cxn>
                  <a:cxn ang="0">
                    <a:pos x="26" y="33"/>
                  </a:cxn>
                  <a:cxn ang="0">
                    <a:pos x="19" y="26"/>
                  </a:cxn>
                  <a:cxn ang="0">
                    <a:pos x="17" y="25"/>
                  </a:cxn>
                  <a:cxn ang="0">
                    <a:pos x="15" y="26"/>
                  </a:cxn>
                  <a:cxn ang="0">
                    <a:pos x="11" y="30"/>
                  </a:cxn>
                  <a:cxn ang="0">
                    <a:pos x="11" y="31"/>
                  </a:cxn>
                  <a:cxn ang="0">
                    <a:pos x="11" y="33"/>
                  </a:cxn>
                  <a:cxn ang="0">
                    <a:pos x="26" y="48"/>
                  </a:cxn>
                  <a:cxn ang="0">
                    <a:pos x="30" y="51"/>
                  </a:cxn>
                  <a:cxn ang="0">
                    <a:pos x="31" y="52"/>
                  </a:cxn>
                  <a:cxn ang="0">
                    <a:pos x="33" y="51"/>
                  </a:cxn>
                  <a:cxn ang="0">
                    <a:pos x="37" y="48"/>
                  </a:cxn>
                  <a:cxn ang="0">
                    <a:pos x="51" y="33"/>
                  </a:cxn>
                  <a:cxn ang="0">
                    <a:pos x="52" y="31"/>
                  </a:cxn>
                  <a:cxn ang="0">
                    <a:pos x="51" y="30"/>
                  </a:cxn>
                </a:cxnLst>
                <a:rect l="0" t="0" r="r" b="b"/>
                <a:pathLst>
                  <a:path w="62" h="62">
                    <a:moveTo>
                      <a:pt x="31" y="62"/>
                    </a:moveTo>
                    <a:cubicBezTo>
                      <a:pt x="14" y="62"/>
                      <a:pt x="0" y="48"/>
                      <a:pt x="0" y="31"/>
                    </a:cubicBezTo>
                    <a:cubicBezTo>
                      <a:pt x="0" y="14"/>
                      <a:pt x="14" y="0"/>
                      <a:pt x="31" y="0"/>
                    </a:cubicBezTo>
                    <a:cubicBezTo>
                      <a:pt x="48" y="0"/>
                      <a:pt x="62" y="14"/>
                      <a:pt x="62" y="31"/>
                    </a:cubicBezTo>
                    <a:cubicBezTo>
                      <a:pt x="62" y="48"/>
                      <a:pt x="48" y="62"/>
                      <a:pt x="31" y="62"/>
                    </a:cubicBezTo>
                    <a:close/>
                    <a:moveTo>
                      <a:pt x="51" y="30"/>
                    </a:moveTo>
                    <a:cubicBezTo>
                      <a:pt x="48" y="26"/>
                      <a:pt x="48" y="26"/>
                      <a:pt x="48" y="26"/>
                    </a:cubicBezTo>
                    <a:cubicBezTo>
                      <a:pt x="47" y="25"/>
                      <a:pt x="47" y="25"/>
                      <a:pt x="46" y="25"/>
                    </a:cubicBezTo>
                    <a:cubicBezTo>
                      <a:pt x="45" y="25"/>
                      <a:pt x="45" y="25"/>
                      <a:pt x="44" y="26"/>
                    </a:cubicBezTo>
                    <a:cubicBezTo>
                      <a:pt x="36" y="33"/>
                      <a:pt x="36" y="33"/>
                      <a:pt x="36" y="33"/>
                    </a:cubicBezTo>
                    <a:cubicBezTo>
                      <a:pt x="36" y="13"/>
                      <a:pt x="36" y="13"/>
                      <a:pt x="36" y="13"/>
                    </a:cubicBezTo>
                    <a:cubicBezTo>
                      <a:pt x="36" y="12"/>
                      <a:pt x="35" y="11"/>
                      <a:pt x="34" y="11"/>
                    </a:cubicBezTo>
                    <a:cubicBezTo>
                      <a:pt x="29" y="11"/>
                      <a:pt x="29" y="11"/>
                      <a:pt x="29" y="11"/>
                    </a:cubicBezTo>
                    <a:cubicBezTo>
                      <a:pt x="27" y="11"/>
                      <a:pt x="26" y="12"/>
                      <a:pt x="26" y="13"/>
                    </a:cubicBezTo>
                    <a:cubicBezTo>
                      <a:pt x="26" y="33"/>
                      <a:pt x="26" y="33"/>
                      <a:pt x="26" y="33"/>
                    </a:cubicBezTo>
                    <a:cubicBezTo>
                      <a:pt x="19" y="26"/>
                      <a:pt x="19" y="26"/>
                      <a:pt x="19" y="26"/>
                    </a:cubicBezTo>
                    <a:cubicBezTo>
                      <a:pt x="18" y="25"/>
                      <a:pt x="17" y="25"/>
                      <a:pt x="17" y="25"/>
                    </a:cubicBezTo>
                    <a:cubicBezTo>
                      <a:pt x="16" y="25"/>
                      <a:pt x="15" y="25"/>
                      <a:pt x="15" y="26"/>
                    </a:cubicBezTo>
                    <a:cubicBezTo>
                      <a:pt x="11" y="30"/>
                      <a:pt x="11" y="30"/>
                      <a:pt x="11" y="30"/>
                    </a:cubicBezTo>
                    <a:cubicBezTo>
                      <a:pt x="11" y="30"/>
                      <a:pt x="11" y="31"/>
                      <a:pt x="11" y="31"/>
                    </a:cubicBezTo>
                    <a:cubicBezTo>
                      <a:pt x="11" y="32"/>
                      <a:pt x="11" y="33"/>
                      <a:pt x="11" y="33"/>
                    </a:cubicBezTo>
                    <a:cubicBezTo>
                      <a:pt x="26" y="48"/>
                      <a:pt x="26" y="48"/>
                      <a:pt x="26" y="48"/>
                    </a:cubicBezTo>
                    <a:cubicBezTo>
                      <a:pt x="30" y="51"/>
                      <a:pt x="30" y="51"/>
                      <a:pt x="30" y="51"/>
                    </a:cubicBezTo>
                    <a:cubicBezTo>
                      <a:pt x="30" y="52"/>
                      <a:pt x="31" y="52"/>
                      <a:pt x="31" y="52"/>
                    </a:cubicBezTo>
                    <a:cubicBezTo>
                      <a:pt x="32" y="52"/>
                      <a:pt x="33" y="52"/>
                      <a:pt x="33" y="51"/>
                    </a:cubicBezTo>
                    <a:cubicBezTo>
                      <a:pt x="37" y="48"/>
                      <a:pt x="37" y="48"/>
                      <a:pt x="37" y="48"/>
                    </a:cubicBezTo>
                    <a:cubicBezTo>
                      <a:pt x="51" y="33"/>
                      <a:pt x="51" y="33"/>
                      <a:pt x="51" y="33"/>
                    </a:cubicBezTo>
                    <a:cubicBezTo>
                      <a:pt x="52" y="33"/>
                      <a:pt x="52" y="32"/>
                      <a:pt x="52" y="31"/>
                    </a:cubicBezTo>
                    <a:cubicBezTo>
                      <a:pt x="52" y="31"/>
                      <a:pt x="52" y="30"/>
                      <a:pt x="51" y="30"/>
                    </a:cubicBezTo>
                    <a:close/>
                  </a:path>
                </a:pathLst>
              </a:custGeom>
              <a:solidFill>
                <a:sysClr val="window" lastClr="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cs typeface="Arial" panose="020B0604020202020204" pitchFamily="34" charset="0"/>
                </a:endParaRPr>
              </a:p>
            </p:txBody>
          </p:sp>
          <p:sp>
            <p:nvSpPr>
              <p:cNvPr id="157" name="Rectangle 156">
                <a:extLst>
                  <a:ext uri="{FF2B5EF4-FFF2-40B4-BE49-F238E27FC236}">
                    <a16:creationId xmlns:a16="http://schemas.microsoft.com/office/drawing/2014/main" id="{49049BC7-0ADF-5AF5-F597-A6C7DDF79DC3}"/>
                  </a:ext>
                </a:extLst>
              </p:cNvPr>
              <p:cNvSpPr/>
              <p:nvPr/>
            </p:nvSpPr>
            <p:spPr bwMode="auto">
              <a:xfrm>
                <a:off x="5119622" y="3533384"/>
                <a:ext cx="76200" cy="1186345"/>
              </a:xfrm>
              <a:prstGeom prst="rect">
                <a:avLst/>
              </a:prstGeom>
              <a:solidFill>
                <a:srgbClr val="6D2077"/>
              </a:solidFill>
              <a:ln w="9525">
                <a:noFill/>
                <a:round/>
                <a:headEnd/>
                <a:tailEnd/>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cs typeface="Arial" panose="020B0604020202020204" pitchFamily="34" charset="0"/>
                </a:endParaRPr>
              </a:p>
            </p:txBody>
          </p:sp>
        </p:grpSp>
        <p:sp>
          <p:nvSpPr>
            <p:cNvPr id="159" name="TextBox 158">
              <a:extLst>
                <a:ext uri="{FF2B5EF4-FFF2-40B4-BE49-F238E27FC236}">
                  <a16:creationId xmlns:a16="http://schemas.microsoft.com/office/drawing/2014/main" id="{567A2D11-78C2-C64B-89DE-48451913985A}"/>
                </a:ext>
              </a:extLst>
            </p:cNvPr>
            <p:cNvSpPr txBox="1"/>
            <p:nvPr/>
          </p:nvSpPr>
          <p:spPr>
            <a:xfrm>
              <a:off x="3600498" y="2085502"/>
              <a:ext cx="1819017" cy="1077218"/>
            </a:xfrm>
            <a:prstGeom prst="rect">
              <a:avLst/>
            </a:prstGeom>
            <a:noFill/>
          </p:spPr>
          <p:txBody>
            <a:bodyPr wrap="square" rtlCol="0">
              <a:spAutoFit/>
            </a:bodyPr>
            <a:lstStyle/>
            <a:p>
              <a:pPr algn="ctr"/>
              <a:r>
                <a:rPr lang="en-US" b="1">
                  <a:solidFill>
                    <a:prstClr val="white"/>
                  </a:solidFill>
                  <a:cs typeface="Arial" panose="020B0604020202020204" pitchFamily="34" charset="0"/>
                </a:rPr>
                <a:t>Applicant completes DRA</a:t>
              </a:r>
              <a:br>
                <a:rPr lang="en-US" sz="1400" b="1">
                  <a:solidFill>
                    <a:prstClr val="white"/>
                  </a:solidFill>
                  <a:cs typeface="Arial" panose="020B0604020202020204" pitchFamily="34" charset="0"/>
                </a:rPr>
              </a:br>
              <a:r>
                <a:rPr lang="en-US" sz="1400">
                  <a:solidFill>
                    <a:prstClr val="white"/>
                  </a:solidFill>
                  <a:cs typeface="Arial" panose="020B0604020202020204" pitchFamily="34" charset="0"/>
                </a:rPr>
                <a:t>Review with internal stakeholders</a:t>
              </a:r>
              <a:endParaRPr lang="en-US" sz="1050">
                <a:solidFill>
                  <a:prstClr val="white"/>
                </a:solidFill>
                <a:cs typeface="Arial" panose="020B0604020202020204" pitchFamily="34" charset="0"/>
              </a:endParaRPr>
            </a:p>
          </p:txBody>
        </p:sp>
      </p:grpSp>
      <p:grpSp>
        <p:nvGrpSpPr>
          <p:cNvPr id="2" name="Group 1">
            <a:extLst>
              <a:ext uri="{FF2B5EF4-FFF2-40B4-BE49-F238E27FC236}">
                <a16:creationId xmlns:a16="http://schemas.microsoft.com/office/drawing/2014/main" id="{AA3EED5D-380D-96C4-109F-5D8544B71727}"/>
              </a:ext>
            </a:extLst>
          </p:cNvPr>
          <p:cNvGrpSpPr/>
          <p:nvPr/>
        </p:nvGrpSpPr>
        <p:grpSpPr>
          <a:xfrm>
            <a:off x="6227610" y="3364637"/>
            <a:ext cx="2331721" cy="2962775"/>
            <a:chOff x="6621310" y="2353174"/>
            <a:chExt cx="2331721" cy="2962775"/>
          </a:xfrm>
        </p:grpSpPr>
        <p:grpSp>
          <p:nvGrpSpPr>
            <p:cNvPr id="137" name="Group 130">
              <a:extLst>
                <a:ext uri="{FF2B5EF4-FFF2-40B4-BE49-F238E27FC236}">
                  <a16:creationId xmlns:a16="http://schemas.microsoft.com/office/drawing/2014/main" id="{3BE555E1-065E-0C2E-4EB8-6F342D699226}"/>
                </a:ext>
              </a:extLst>
            </p:cNvPr>
            <p:cNvGrpSpPr/>
            <p:nvPr/>
          </p:nvGrpSpPr>
          <p:grpSpPr>
            <a:xfrm>
              <a:off x="6621310" y="2353174"/>
              <a:ext cx="2331721" cy="1595834"/>
              <a:chOff x="4649281" y="1845945"/>
              <a:chExt cx="1702522" cy="1365576"/>
            </a:xfrm>
          </p:grpSpPr>
          <p:sp>
            <p:nvSpPr>
              <p:cNvPr id="138" name="Rounded Rectangle 122">
                <a:extLst>
                  <a:ext uri="{FF2B5EF4-FFF2-40B4-BE49-F238E27FC236}">
                    <a16:creationId xmlns:a16="http://schemas.microsoft.com/office/drawing/2014/main" id="{3338A5FC-0BDE-B9BC-E8A3-107E57A82342}"/>
                  </a:ext>
                </a:extLst>
              </p:cNvPr>
              <p:cNvSpPr/>
              <p:nvPr/>
            </p:nvSpPr>
            <p:spPr bwMode="auto">
              <a:xfrm>
                <a:off x="4649281" y="1916516"/>
                <a:ext cx="1702516" cy="1295005"/>
              </a:xfrm>
              <a:prstGeom prst="roundRect">
                <a:avLst>
                  <a:gd name="adj" fmla="val 8404"/>
                </a:avLst>
              </a:prstGeom>
              <a:solidFill>
                <a:srgbClr val="005EB8">
                  <a:lumMod val="50000"/>
                </a:srgbClr>
              </a:solidFill>
              <a:ln w="9525">
                <a:noFill/>
                <a:round/>
                <a:headEnd/>
                <a:tailEnd/>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cs typeface="Arial" panose="020B0604020202020204" pitchFamily="34" charset="0"/>
                </a:endParaRPr>
              </a:p>
            </p:txBody>
          </p:sp>
          <p:grpSp>
            <p:nvGrpSpPr>
              <p:cNvPr id="139" name="Group 126">
                <a:extLst>
                  <a:ext uri="{FF2B5EF4-FFF2-40B4-BE49-F238E27FC236}">
                    <a16:creationId xmlns:a16="http://schemas.microsoft.com/office/drawing/2014/main" id="{CDCDED5C-74BD-D4A9-28D8-7D33B9F5E7E6}"/>
                  </a:ext>
                </a:extLst>
              </p:cNvPr>
              <p:cNvGrpSpPr/>
              <p:nvPr/>
            </p:nvGrpSpPr>
            <p:grpSpPr>
              <a:xfrm>
                <a:off x="4649282" y="1845945"/>
                <a:ext cx="1702521" cy="1295005"/>
                <a:chOff x="4649282" y="1845945"/>
                <a:chExt cx="1702521" cy="1295005"/>
              </a:xfrm>
            </p:grpSpPr>
            <p:sp>
              <p:nvSpPr>
                <p:cNvPr id="140" name="Rounded Rectangle 95">
                  <a:extLst>
                    <a:ext uri="{FF2B5EF4-FFF2-40B4-BE49-F238E27FC236}">
                      <a16:creationId xmlns:a16="http://schemas.microsoft.com/office/drawing/2014/main" id="{88D10463-A68D-8042-457E-013A2EC2D4AF}"/>
                    </a:ext>
                  </a:extLst>
                </p:cNvPr>
                <p:cNvSpPr/>
                <p:nvPr/>
              </p:nvSpPr>
              <p:spPr bwMode="auto">
                <a:xfrm>
                  <a:off x="4649282" y="1845945"/>
                  <a:ext cx="1702521" cy="1295005"/>
                </a:xfrm>
                <a:prstGeom prst="roundRect">
                  <a:avLst>
                    <a:gd name="adj" fmla="val 8404"/>
                  </a:avLst>
                </a:prstGeom>
                <a:solidFill>
                  <a:srgbClr val="005EB8"/>
                </a:solidFill>
                <a:ln w="9525">
                  <a:noFill/>
                  <a:round/>
                  <a:headEnd/>
                  <a:tailEnd/>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cs typeface="Arial" panose="020B0604020202020204" pitchFamily="34" charset="0"/>
                  </a:endParaRPr>
                </a:p>
              </p:txBody>
            </p:sp>
            <p:sp>
              <p:nvSpPr>
                <p:cNvPr id="143" name="TextBox 142">
                  <a:extLst>
                    <a:ext uri="{FF2B5EF4-FFF2-40B4-BE49-F238E27FC236}">
                      <a16:creationId xmlns:a16="http://schemas.microsoft.com/office/drawing/2014/main" id="{BD98103D-8DBA-B605-669F-D6F993139B5A}"/>
                    </a:ext>
                  </a:extLst>
                </p:cNvPr>
                <p:cNvSpPr txBox="1"/>
                <p:nvPr/>
              </p:nvSpPr>
              <p:spPr>
                <a:xfrm>
                  <a:off x="4782718" y="2374932"/>
                  <a:ext cx="170884" cy="237032"/>
                </a:xfrm>
                <a:prstGeom prst="rect">
                  <a:avLst/>
                </a:prstGeom>
                <a:noFill/>
              </p:spPr>
              <p:txBody>
                <a:bodyPr wrap="none" lIns="0" tIns="0" rIns="0" bIns="0" rtlCol="0" anchor="ctr">
                  <a:spAutoFit/>
                </a:bodyP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US" sz="1800" b="1" i="0" u="none" strike="noStrike" kern="0" cap="none" spc="0" normalizeH="0" baseline="0" noProof="0">
                      <a:ln>
                        <a:noFill/>
                      </a:ln>
                      <a:solidFill>
                        <a:srgbClr val="005EB8"/>
                      </a:solidFill>
                      <a:effectLst/>
                      <a:uLnTx/>
                      <a:uFillTx/>
                      <a:cs typeface="Arial" panose="020B0604020202020204" pitchFamily="34" charset="0"/>
                    </a:rPr>
                    <a:t>03</a:t>
                  </a:r>
                  <a:endParaRPr kumimoji="0" lang="en-US" sz="1800" b="0" i="0" u="none" strike="noStrike" kern="0" cap="none" spc="0" normalizeH="0" baseline="0" noProof="0">
                    <a:ln>
                      <a:noFill/>
                    </a:ln>
                    <a:solidFill>
                      <a:srgbClr val="005EB8"/>
                    </a:solidFill>
                    <a:effectLst/>
                    <a:uLnTx/>
                    <a:uFillTx/>
                    <a:cs typeface="Arial" panose="020B0604020202020204" pitchFamily="34" charset="0"/>
                  </a:endParaRPr>
                </a:p>
              </p:txBody>
            </p:sp>
          </p:grpSp>
        </p:grpSp>
        <p:grpSp>
          <p:nvGrpSpPr>
            <p:cNvPr id="180" name="Group 179">
              <a:extLst>
                <a:ext uri="{FF2B5EF4-FFF2-40B4-BE49-F238E27FC236}">
                  <a16:creationId xmlns:a16="http://schemas.microsoft.com/office/drawing/2014/main" id="{A47AEBED-D9FA-BF33-A565-E3C861F7AA67}"/>
                </a:ext>
              </a:extLst>
            </p:cNvPr>
            <p:cNvGrpSpPr/>
            <p:nvPr/>
          </p:nvGrpSpPr>
          <p:grpSpPr>
            <a:xfrm>
              <a:off x="7399320" y="3951578"/>
              <a:ext cx="650476" cy="1364371"/>
              <a:chOff x="6643681" y="3998204"/>
              <a:chExt cx="650476" cy="1364371"/>
            </a:xfrm>
          </p:grpSpPr>
          <p:sp>
            <p:nvSpPr>
              <p:cNvPr id="160" name="Oval 159">
                <a:extLst>
                  <a:ext uri="{FF2B5EF4-FFF2-40B4-BE49-F238E27FC236}">
                    <a16:creationId xmlns:a16="http://schemas.microsoft.com/office/drawing/2014/main" id="{7FBA7E7C-F5B8-D6B7-19C0-23118250DD2A}"/>
                  </a:ext>
                </a:extLst>
              </p:cNvPr>
              <p:cNvSpPr/>
              <p:nvPr/>
            </p:nvSpPr>
            <p:spPr>
              <a:xfrm>
                <a:off x="6643681" y="4712105"/>
                <a:ext cx="650476" cy="650470"/>
              </a:xfrm>
              <a:prstGeom prst="ellipse">
                <a:avLst/>
              </a:prstGeom>
              <a:solidFill>
                <a:srgbClr val="005EB8"/>
              </a:solidFill>
              <a:ln w="762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0091DA"/>
                  </a:solidFill>
                  <a:effectLst/>
                  <a:uLnTx/>
                  <a:uFillTx/>
                  <a:cs typeface="Arial" panose="020B0604020202020204" pitchFamily="34" charset="0"/>
                </a:endParaRPr>
              </a:p>
            </p:txBody>
          </p:sp>
          <p:sp>
            <p:nvSpPr>
              <p:cNvPr id="161" name="Freeform 38">
                <a:extLst>
                  <a:ext uri="{FF2B5EF4-FFF2-40B4-BE49-F238E27FC236}">
                    <a16:creationId xmlns:a16="http://schemas.microsoft.com/office/drawing/2014/main" id="{0B3A020C-CE60-6C90-71C0-4AF8229B1482}"/>
                  </a:ext>
                </a:extLst>
              </p:cNvPr>
              <p:cNvSpPr>
                <a:spLocks noEditPoints="1"/>
              </p:cNvSpPr>
              <p:nvPr/>
            </p:nvSpPr>
            <p:spPr bwMode="auto">
              <a:xfrm rot="16200000">
                <a:off x="6760877" y="4829298"/>
                <a:ext cx="416084" cy="416084"/>
              </a:xfrm>
              <a:custGeom>
                <a:avLst/>
                <a:gdLst/>
                <a:ahLst/>
                <a:cxnLst>
                  <a:cxn ang="0">
                    <a:pos x="31" y="62"/>
                  </a:cxn>
                  <a:cxn ang="0">
                    <a:pos x="0" y="31"/>
                  </a:cxn>
                  <a:cxn ang="0">
                    <a:pos x="31" y="0"/>
                  </a:cxn>
                  <a:cxn ang="0">
                    <a:pos x="62" y="31"/>
                  </a:cxn>
                  <a:cxn ang="0">
                    <a:pos x="31" y="62"/>
                  </a:cxn>
                  <a:cxn ang="0">
                    <a:pos x="51" y="30"/>
                  </a:cxn>
                  <a:cxn ang="0">
                    <a:pos x="48" y="26"/>
                  </a:cxn>
                  <a:cxn ang="0">
                    <a:pos x="46" y="25"/>
                  </a:cxn>
                  <a:cxn ang="0">
                    <a:pos x="44" y="26"/>
                  </a:cxn>
                  <a:cxn ang="0">
                    <a:pos x="36" y="33"/>
                  </a:cxn>
                  <a:cxn ang="0">
                    <a:pos x="36" y="13"/>
                  </a:cxn>
                  <a:cxn ang="0">
                    <a:pos x="34" y="11"/>
                  </a:cxn>
                  <a:cxn ang="0">
                    <a:pos x="29" y="11"/>
                  </a:cxn>
                  <a:cxn ang="0">
                    <a:pos x="26" y="13"/>
                  </a:cxn>
                  <a:cxn ang="0">
                    <a:pos x="26" y="33"/>
                  </a:cxn>
                  <a:cxn ang="0">
                    <a:pos x="19" y="26"/>
                  </a:cxn>
                  <a:cxn ang="0">
                    <a:pos x="17" y="25"/>
                  </a:cxn>
                  <a:cxn ang="0">
                    <a:pos x="15" y="26"/>
                  </a:cxn>
                  <a:cxn ang="0">
                    <a:pos x="11" y="30"/>
                  </a:cxn>
                  <a:cxn ang="0">
                    <a:pos x="11" y="31"/>
                  </a:cxn>
                  <a:cxn ang="0">
                    <a:pos x="11" y="33"/>
                  </a:cxn>
                  <a:cxn ang="0">
                    <a:pos x="26" y="48"/>
                  </a:cxn>
                  <a:cxn ang="0">
                    <a:pos x="30" y="51"/>
                  </a:cxn>
                  <a:cxn ang="0">
                    <a:pos x="31" y="52"/>
                  </a:cxn>
                  <a:cxn ang="0">
                    <a:pos x="33" y="51"/>
                  </a:cxn>
                  <a:cxn ang="0">
                    <a:pos x="37" y="48"/>
                  </a:cxn>
                  <a:cxn ang="0">
                    <a:pos x="51" y="33"/>
                  </a:cxn>
                  <a:cxn ang="0">
                    <a:pos x="52" y="31"/>
                  </a:cxn>
                  <a:cxn ang="0">
                    <a:pos x="51" y="30"/>
                  </a:cxn>
                </a:cxnLst>
                <a:rect l="0" t="0" r="r" b="b"/>
                <a:pathLst>
                  <a:path w="62" h="62">
                    <a:moveTo>
                      <a:pt x="31" y="62"/>
                    </a:moveTo>
                    <a:cubicBezTo>
                      <a:pt x="14" y="62"/>
                      <a:pt x="0" y="48"/>
                      <a:pt x="0" y="31"/>
                    </a:cubicBezTo>
                    <a:cubicBezTo>
                      <a:pt x="0" y="14"/>
                      <a:pt x="14" y="0"/>
                      <a:pt x="31" y="0"/>
                    </a:cubicBezTo>
                    <a:cubicBezTo>
                      <a:pt x="48" y="0"/>
                      <a:pt x="62" y="14"/>
                      <a:pt x="62" y="31"/>
                    </a:cubicBezTo>
                    <a:cubicBezTo>
                      <a:pt x="62" y="48"/>
                      <a:pt x="48" y="62"/>
                      <a:pt x="31" y="62"/>
                    </a:cubicBezTo>
                    <a:close/>
                    <a:moveTo>
                      <a:pt x="51" y="30"/>
                    </a:moveTo>
                    <a:cubicBezTo>
                      <a:pt x="48" y="26"/>
                      <a:pt x="48" y="26"/>
                      <a:pt x="48" y="26"/>
                    </a:cubicBezTo>
                    <a:cubicBezTo>
                      <a:pt x="47" y="25"/>
                      <a:pt x="47" y="25"/>
                      <a:pt x="46" y="25"/>
                    </a:cubicBezTo>
                    <a:cubicBezTo>
                      <a:pt x="45" y="25"/>
                      <a:pt x="45" y="25"/>
                      <a:pt x="44" y="26"/>
                    </a:cubicBezTo>
                    <a:cubicBezTo>
                      <a:pt x="36" y="33"/>
                      <a:pt x="36" y="33"/>
                      <a:pt x="36" y="33"/>
                    </a:cubicBezTo>
                    <a:cubicBezTo>
                      <a:pt x="36" y="13"/>
                      <a:pt x="36" y="13"/>
                      <a:pt x="36" y="13"/>
                    </a:cubicBezTo>
                    <a:cubicBezTo>
                      <a:pt x="36" y="12"/>
                      <a:pt x="35" y="11"/>
                      <a:pt x="34" y="11"/>
                    </a:cubicBezTo>
                    <a:cubicBezTo>
                      <a:pt x="29" y="11"/>
                      <a:pt x="29" y="11"/>
                      <a:pt x="29" y="11"/>
                    </a:cubicBezTo>
                    <a:cubicBezTo>
                      <a:pt x="27" y="11"/>
                      <a:pt x="26" y="12"/>
                      <a:pt x="26" y="13"/>
                    </a:cubicBezTo>
                    <a:cubicBezTo>
                      <a:pt x="26" y="33"/>
                      <a:pt x="26" y="33"/>
                      <a:pt x="26" y="33"/>
                    </a:cubicBezTo>
                    <a:cubicBezTo>
                      <a:pt x="19" y="26"/>
                      <a:pt x="19" y="26"/>
                      <a:pt x="19" y="26"/>
                    </a:cubicBezTo>
                    <a:cubicBezTo>
                      <a:pt x="18" y="25"/>
                      <a:pt x="17" y="25"/>
                      <a:pt x="17" y="25"/>
                    </a:cubicBezTo>
                    <a:cubicBezTo>
                      <a:pt x="16" y="25"/>
                      <a:pt x="15" y="25"/>
                      <a:pt x="15" y="26"/>
                    </a:cubicBezTo>
                    <a:cubicBezTo>
                      <a:pt x="11" y="30"/>
                      <a:pt x="11" y="30"/>
                      <a:pt x="11" y="30"/>
                    </a:cubicBezTo>
                    <a:cubicBezTo>
                      <a:pt x="11" y="30"/>
                      <a:pt x="11" y="31"/>
                      <a:pt x="11" y="31"/>
                    </a:cubicBezTo>
                    <a:cubicBezTo>
                      <a:pt x="11" y="32"/>
                      <a:pt x="11" y="33"/>
                      <a:pt x="11" y="33"/>
                    </a:cubicBezTo>
                    <a:cubicBezTo>
                      <a:pt x="26" y="48"/>
                      <a:pt x="26" y="48"/>
                      <a:pt x="26" y="48"/>
                    </a:cubicBezTo>
                    <a:cubicBezTo>
                      <a:pt x="30" y="51"/>
                      <a:pt x="30" y="51"/>
                      <a:pt x="30" y="51"/>
                    </a:cubicBezTo>
                    <a:cubicBezTo>
                      <a:pt x="30" y="52"/>
                      <a:pt x="31" y="52"/>
                      <a:pt x="31" y="52"/>
                    </a:cubicBezTo>
                    <a:cubicBezTo>
                      <a:pt x="32" y="52"/>
                      <a:pt x="33" y="52"/>
                      <a:pt x="33" y="51"/>
                    </a:cubicBezTo>
                    <a:cubicBezTo>
                      <a:pt x="37" y="48"/>
                      <a:pt x="37" y="48"/>
                      <a:pt x="37" y="48"/>
                    </a:cubicBezTo>
                    <a:cubicBezTo>
                      <a:pt x="51" y="33"/>
                      <a:pt x="51" y="33"/>
                      <a:pt x="51" y="33"/>
                    </a:cubicBezTo>
                    <a:cubicBezTo>
                      <a:pt x="52" y="33"/>
                      <a:pt x="52" y="32"/>
                      <a:pt x="52" y="31"/>
                    </a:cubicBezTo>
                    <a:cubicBezTo>
                      <a:pt x="52" y="31"/>
                      <a:pt x="52" y="30"/>
                      <a:pt x="51" y="30"/>
                    </a:cubicBezTo>
                    <a:close/>
                  </a:path>
                </a:pathLst>
              </a:custGeom>
              <a:solidFill>
                <a:sysClr val="window" lastClr="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cs typeface="Arial" panose="020B0604020202020204" pitchFamily="34" charset="0"/>
                </a:endParaRPr>
              </a:p>
            </p:txBody>
          </p:sp>
          <p:sp>
            <p:nvSpPr>
              <p:cNvPr id="162" name="Rectangle 161">
                <a:extLst>
                  <a:ext uri="{FF2B5EF4-FFF2-40B4-BE49-F238E27FC236}">
                    <a16:creationId xmlns:a16="http://schemas.microsoft.com/office/drawing/2014/main" id="{8397D36E-5A7A-CB98-3021-FC6F6A3650DE}"/>
                  </a:ext>
                </a:extLst>
              </p:cNvPr>
              <p:cNvSpPr/>
              <p:nvPr/>
            </p:nvSpPr>
            <p:spPr bwMode="auto">
              <a:xfrm>
                <a:off x="6935282" y="3998204"/>
                <a:ext cx="76200" cy="721525"/>
              </a:xfrm>
              <a:prstGeom prst="rect">
                <a:avLst/>
              </a:prstGeom>
              <a:solidFill>
                <a:srgbClr val="005EB8"/>
              </a:solidFill>
              <a:ln w="9525">
                <a:noFill/>
                <a:round/>
                <a:headEnd/>
                <a:tailEnd/>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cs typeface="Arial" panose="020B0604020202020204" pitchFamily="34" charset="0"/>
                </a:endParaRPr>
              </a:p>
            </p:txBody>
          </p:sp>
        </p:grpSp>
        <p:sp>
          <p:nvSpPr>
            <p:cNvPr id="163" name="TextBox 162">
              <a:extLst>
                <a:ext uri="{FF2B5EF4-FFF2-40B4-BE49-F238E27FC236}">
                  <a16:creationId xmlns:a16="http://schemas.microsoft.com/office/drawing/2014/main" id="{D9CA6B79-008F-D5FE-8DAF-A42CB5D1AA0E}"/>
                </a:ext>
              </a:extLst>
            </p:cNvPr>
            <p:cNvSpPr txBox="1"/>
            <p:nvPr/>
          </p:nvSpPr>
          <p:spPr>
            <a:xfrm>
              <a:off x="6866763" y="2495525"/>
              <a:ext cx="1846293" cy="1015663"/>
            </a:xfrm>
            <a:prstGeom prst="rect">
              <a:avLst/>
            </a:prstGeom>
            <a:noFill/>
          </p:spPr>
          <p:txBody>
            <a:bodyPr wrap="square" rtlCol="0">
              <a:spAutoFit/>
            </a:bodyPr>
            <a:lstStyle/>
            <a:p>
              <a:pPr algn="ctr"/>
              <a:r>
                <a:rPr lang="en-US" b="1">
                  <a:solidFill>
                    <a:prstClr val="white"/>
                  </a:solidFill>
                  <a:cs typeface="Arial" panose="020B0604020202020204" pitchFamily="34" charset="0"/>
                </a:rPr>
                <a:t>Submit DRA</a:t>
              </a:r>
              <a:br>
                <a:rPr lang="en-US" sz="1200" b="1">
                  <a:solidFill>
                    <a:prstClr val="white"/>
                  </a:solidFill>
                  <a:cs typeface="Arial" panose="020B0604020202020204" pitchFamily="34" charset="0"/>
                </a:rPr>
              </a:br>
              <a:r>
                <a:rPr lang="en-US" sz="1400">
                  <a:solidFill>
                    <a:prstClr val="white"/>
                  </a:solidFill>
                  <a:cs typeface="Arial" panose="020B0604020202020204" pitchFamily="34" charset="0"/>
                </a:rPr>
                <a:t>Once you have reviewed and completed questions</a:t>
              </a:r>
              <a:endParaRPr lang="en-US" sz="1000">
                <a:solidFill>
                  <a:prstClr val="white"/>
                </a:solidFill>
                <a:cs typeface="Arial" panose="020B0604020202020204" pitchFamily="34" charset="0"/>
              </a:endParaRPr>
            </a:p>
          </p:txBody>
        </p:sp>
      </p:grpSp>
      <p:grpSp>
        <p:nvGrpSpPr>
          <p:cNvPr id="10" name="Group 9">
            <a:extLst>
              <a:ext uri="{FF2B5EF4-FFF2-40B4-BE49-F238E27FC236}">
                <a16:creationId xmlns:a16="http://schemas.microsoft.com/office/drawing/2014/main" id="{609315C5-0577-DA38-1B59-85C320B5CE64}"/>
              </a:ext>
            </a:extLst>
          </p:cNvPr>
          <p:cNvGrpSpPr/>
          <p:nvPr/>
        </p:nvGrpSpPr>
        <p:grpSpPr>
          <a:xfrm>
            <a:off x="9265611" y="3032047"/>
            <a:ext cx="2331720" cy="3328971"/>
            <a:chOff x="9345504" y="2124628"/>
            <a:chExt cx="2331720" cy="3328971"/>
          </a:xfrm>
        </p:grpSpPr>
        <p:grpSp>
          <p:nvGrpSpPr>
            <p:cNvPr id="176" name="Group 175">
              <a:extLst>
                <a:ext uri="{FF2B5EF4-FFF2-40B4-BE49-F238E27FC236}">
                  <a16:creationId xmlns:a16="http://schemas.microsoft.com/office/drawing/2014/main" id="{FA78D7AB-E712-3DFF-3732-CC2935111987}"/>
                </a:ext>
              </a:extLst>
            </p:cNvPr>
            <p:cNvGrpSpPr/>
            <p:nvPr/>
          </p:nvGrpSpPr>
          <p:grpSpPr>
            <a:xfrm>
              <a:off x="10213974" y="3624408"/>
              <a:ext cx="650476" cy="1829191"/>
              <a:chOff x="8485621" y="3533384"/>
              <a:chExt cx="650476" cy="1829191"/>
            </a:xfrm>
          </p:grpSpPr>
          <p:sp>
            <p:nvSpPr>
              <p:cNvPr id="164" name="Oval 163">
                <a:extLst>
                  <a:ext uri="{FF2B5EF4-FFF2-40B4-BE49-F238E27FC236}">
                    <a16:creationId xmlns:a16="http://schemas.microsoft.com/office/drawing/2014/main" id="{1DB9C4A8-1064-CF53-0939-914CB5139A9F}"/>
                  </a:ext>
                </a:extLst>
              </p:cNvPr>
              <p:cNvSpPr/>
              <p:nvPr/>
            </p:nvSpPr>
            <p:spPr>
              <a:xfrm>
                <a:off x="8485621" y="4712105"/>
                <a:ext cx="650476" cy="650470"/>
              </a:xfrm>
              <a:prstGeom prst="ellipse">
                <a:avLst/>
              </a:prstGeom>
              <a:solidFill>
                <a:srgbClr val="00A3A1"/>
              </a:solidFill>
              <a:ln w="762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0091DA"/>
                  </a:solidFill>
                  <a:effectLst/>
                  <a:uLnTx/>
                  <a:uFillTx/>
                  <a:cs typeface="Arial" panose="020B0604020202020204" pitchFamily="34" charset="0"/>
                </a:endParaRPr>
              </a:p>
            </p:txBody>
          </p:sp>
          <p:sp>
            <p:nvSpPr>
              <p:cNvPr id="165" name="Freeform 38">
                <a:extLst>
                  <a:ext uri="{FF2B5EF4-FFF2-40B4-BE49-F238E27FC236}">
                    <a16:creationId xmlns:a16="http://schemas.microsoft.com/office/drawing/2014/main" id="{CBB8EC6C-7A8F-76B3-D7AB-8A03378DD311}"/>
                  </a:ext>
                </a:extLst>
              </p:cNvPr>
              <p:cNvSpPr>
                <a:spLocks noEditPoints="1"/>
              </p:cNvSpPr>
              <p:nvPr/>
            </p:nvSpPr>
            <p:spPr bwMode="auto">
              <a:xfrm rot="16200000">
                <a:off x="8602817" y="4829298"/>
                <a:ext cx="416084" cy="416084"/>
              </a:xfrm>
              <a:custGeom>
                <a:avLst/>
                <a:gdLst/>
                <a:ahLst/>
                <a:cxnLst>
                  <a:cxn ang="0">
                    <a:pos x="31" y="62"/>
                  </a:cxn>
                  <a:cxn ang="0">
                    <a:pos x="0" y="31"/>
                  </a:cxn>
                  <a:cxn ang="0">
                    <a:pos x="31" y="0"/>
                  </a:cxn>
                  <a:cxn ang="0">
                    <a:pos x="62" y="31"/>
                  </a:cxn>
                  <a:cxn ang="0">
                    <a:pos x="31" y="62"/>
                  </a:cxn>
                  <a:cxn ang="0">
                    <a:pos x="51" y="30"/>
                  </a:cxn>
                  <a:cxn ang="0">
                    <a:pos x="48" y="26"/>
                  </a:cxn>
                  <a:cxn ang="0">
                    <a:pos x="46" y="25"/>
                  </a:cxn>
                  <a:cxn ang="0">
                    <a:pos x="44" y="26"/>
                  </a:cxn>
                  <a:cxn ang="0">
                    <a:pos x="36" y="33"/>
                  </a:cxn>
                  <a:cxn ang="0">
                    <a:pos x="36" y="13"/>
                  </a:cxn>
                  <a:cxn ang="0">
                    <a:pos x="34" y="11"/>
                  </a:cxn>
                  <a:cxn ang="0">
                    <a:pos x="29" y="11"/>
                  </a:cxn>
                  <a:cxn ang="0">
                    <a:pos x="26" y="13"/>
                  </a:cxn>
                  <a:cxn ang="0">
                    <a:pos x="26" y="33"/>
                  </a:cxn>
                  <a:cxn ang="0">
                    <a:pos x="19" y="26"/>
                  </a:cxn>
                  <a:cxn ang="0">
                    <a:pos x="17" y="25"/>
                  </a:cxn>
                  <a:cxn ang="0">
                    <a:pos x="15" y="26"/>
                  </a:cxn>
                  <a:cxn ang="0">
                    <a:pos x="11" y="30"/>
                  </a:cxn>
                  <a:cxn ang="0">
                    <a:pos x="11" y="31"/>
                  </a:cxn>
                  <a:cxn ang="0">
                    <a:pos x="11" y="33"/>
                  </a:cxn>
                  <a:cxn ang="0">
                    <a:pos x="26" y="48"/>
                  </a:cxn>
                  <a:cxn ang="0">
                    <a:pos x="30" y="51"/>
                  </a:cxn>
                  <a:cxn ang="0">
                    <a:pos x="31" y="52"/>
                  </a:cxn>
                  <a:cxn ang="0">
                    <a:pos x="33" y="51"/>
                  </a:cxn>
                  <a:cxn ang="0">
                    <a:pos x="37" y="48"/>
                  </a:cxn>
                  <a:cxn ang="0">
                    <a:pos x="51" y="33"/>
                  </a:cxn>
                  <a:cxn ang="0">
                    <a:pos x="52" y="31"/>
                  </a:cxn>
                  <a:cxn ang="0">
                    <a:pos x="51" y="30"/>
                  </a:cxn>
                </a:cxnLst>
                <a:rect l="0" t="0" r="r" b="b"/>
                <a:pathLst>
                  <a:path w="62" h="62">
                    <a:moveTo>
                      <a:pt x="31" y="62"/>
                    </a:moveTo>
                    <a:cubicBezTo>
                      <a:pt x="14" y="62"/>
                      <a:pt x="0" y="48"/>
                      <a:pt x="0" y="31"/>
                    </a:cubicBezTo>
                    <a:cubicBezTo>
                      <a:pt x="0" y="14"/>
                      <a:pt x="14" y="0"/>
                      <a:pt x="31" y="0"/>
                    </a:cubicBezTo>
                    <a:cubicBezTo>
                      <a:pt x="48" y="0"/>
                      <a:pt x="62" y="14"/>
                      <a:pt x="62" y="31"/>
                    </a:cubicBezTo>
                    <a:cubicBezTo>
                      <a:pt x="62" y="48"/>
                      <a:pt x="48" y="62"/>
                      <a:pt x="31" y="62"/>
                    </a:cubicBezTo>
                    <a:close/>
                    <a:moveTo>
                      <a:pt x="51" y="30"/>
                    </a:moveTo>
                    <a:cubicBezTo>
                      <a:pt x="48" y="26"/>
                      <a:pt x="48" y="26"/>
                      <a:pt x="48" y="26"/>
                    </a:cubicBezTo>
                    <a:cubicBezTo>
                      <a:pt x="47" y="25"/>
                      <a:pt x="47" y="25"/>
                      <a:pt x="46" y="25"/>
                    </a:cubicBezTo>
                    <a:cubicBezTo>
                      <a:pt x="45" y="25"/>
                      <a:pt x="45" y="25"/>
                      <a:pt x="44" y="26"/>
                    </a:cubicBezTo>
                    <a:cubicBezTo>
                      <a:pt x="36" y="33"/>
                      <a:pt x="36" y="33"/>
                      <a:pt x="36" y="33"/>
                    </a:cubicBezTo>
                    <a:cubicBezTo>
                      <a:pt x="36" y="13"/>
                      <a:pt x="36" y="13"/>
                      <a:pt x="36" y="13"/>
                    </a:cubicBezTo>
                    <a:cubicBezTo>
                      <a:pt x="36" y="12"/>
                      <a:pt x="35" y="11"/>
                      <a:pt x="34" y="11"/>
                    </a:cubicBezTo>
                    <a:cubicBezTo>
                      <a:pt x="29" y="11"/>
                      <a:pt x="29" y="11"/>
                      <a:pt x="29" y="11"/>
                    </a:cubicBezTo>
                    <a:cubicBezTo>
                      <a:pt x="27" y="11"/>
                      <a:pt x="26" y="12"/>
                      <a:pt x="26" y="13"/>
                    </a:cubicBezTo>
                    <a:cubicBezTo>
                      <a:pt x="26" y="33"/>
                      <a:pt x="26" y="33"/>
                      <a:pt x="26" y="33"/>
                    </a:cubicBezTo>
                    <a:cubicBezTo>
                      <a:pt x="19" y="26"/>
                      <a:pt x="19" y="26"/>
                      <a:pt x="19" y="26"/>
                    </a:cubicBezTo>
                    <a:cubicBezTo>
                      <a:pt x="18" y="25"/>
                      <a:pt x="17" y="25"/>
                      <a:pt x="17" y="25"/>
                    </a:cubicBezTo>
                    <a:cubicBezTo>
                      <a:pt x="16" y="25"/>
                      <a:pt x="15" y="25"/>
                      <a:pt x="15" y="26"/>
                    </a:cubicBezTo>
                    <a:cubicBezTo>
                      <a:pt x="11" y="30"/>
                      <a:pt x="11" y="30"/>
                      <a:pt x="11" y="30"/>
                    </a:cubicBezTo>
                    <a:cubicBezTo>
                      <a:pt x="11" y="30"/>
                      <a:pt x="11" y="31"/>
                      <a:pt x="11" y="31"/>
                    </a:cubicBezTo>
                    <a:cubicBezTo>
                      <a:pt x="11" y="32"/>
                      <a:pt x="11" y="33"/>
                      <a:pt x="11" y="33"/>
                    </a:cubicBezTo>
                    <a:cubicBezTo>
                      <a:pt x="26" y="48"/>
                      <a:pt x="26" y="48"/>
                      <a:pt x="26" y="48"/>
                    </a:cubicBezTo>
                    <a:cubicBezTo>
                      <a:pt x="30" y="51"/>
                      <a:pt x="30" y="51"/>
                      <a:pt x="30" y="51"/>
                    </a:cubicBezTo>
                    <a:cubicBezTo>
                      <a:pt x="30" y="52"/>
                      <a:pt x="31" y="52"/>
                      <a:pt x="31" y="52"/>
                    </a:cubicBezTo>
                    <a:cubicBezTo>
                      <a:pt x="32" y="52"/>
                      <a:pt x="33" y="52"/>
                      <a:pt x="33" y="51"/>
                    </a:cubicBezTo>
                    <a:cubicBezTo>
                      <a:pt x="37" y="48"/>
                      <a:pt x="37" y="48"/>
                      <a:pt x="37" y="48"/>
                    </a:cubicBezTo>
                    <a:cubicBezTo>
                      <a:pt x="51" y="33"/>
                      <a:pt x="51" y="33"/>
                      <a:pt x="51" y="33"/>
                    </a:cubicBezTo>
                    <a:cubicBezTo>
                      <a:pt x="52" y="33"/>
                      <a:pt x="52" y="32"/>
                      <a:pt x="52" y="31"/>
                    </a:cubicBezTo>
                    <a:cubicBezTo>
                      <a:pt x="52" y="31"/>
                      <a:pt x="52" y="30"/>
                      <a:pt x="51" y="30"/>
                    </a:cubicBezTo>
                    <a:close/>
                  </a:path>
                </a:pathLst>
              </a:custGeom>
              <a:solidFill>
                <a:sysClr val="window" lastClr="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cs typeface="Arial" panose="020B0604020202020204" pitchFamily="34" charset="0"/>
                </a:endParaRPr>
              </a:p>
            </p:txBody>
          </p:sp>
          <p:sp>
            <p:nvSpPr>
              <p:cNvPr id="166" name="Rectangle 165">
                <a:extLst>
                  <a:ext uri="{FF2B5EF4-FFF2-40B4-BE49-F238E27FC236}">
                    <a16:creationId xmlns:a16="http://schemas.microsoft.com/office/drawing/2014/main" id="{C0BEA025-52AF-2F0E-AB76-7758D7E98099}"/>
                  </a:ext>
                </a:extLst>
              </p:cNvPr>
              <p:cNvSpPr/>
              <p:nvPr/>
            </p:nvSpPr>
            <p:spPr bwMode="auto">
              <a:xfrm>
                <a:off x="8777222" y="3533384"/>
                <a:ext cx="76200" cy="1186345"/>
              </a:xfrm>
              <a:prstGeom prst="rect">
                <a:avLst/>
              </a:prstGeom>
              <a:solidFill>
                <a:srgbClr val="00A3A1"/>
              </a:solidFill>
              <a:ln w="9525">
                <a:noFill/>
                <a:round/>
                <a:headEnd/>
                <a:tailEnd/>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cs typeface="Arial" panose="020B0604020202020204" pitchFamily="34" charset="0"/>
                </a:endParaRPr>
              </a:p>
            </p:txBody>
          </p:sp>
        </p:grpSp>
        <p:grpSp>
          <p:nvGrpSpPr>
            <p:cNvPr id="6" name="Group 5">
              <a:extLst>
                <a:ext uri="{FF2B5EF4-FFF2-40B4-BE49-F238E27FC236}">
                  <a16:creationId xmlns:a16="http://schemas.microsoft.com/office/drawing/2014/main" id="{FF3F2519-418D-38E0-27EE-2D8C91713A53}"/>
                </a:ext>
              </a:extLst>
            </p:cNvPr>
            <p:cNvGrpSpPr/>
            <p:nvPr/>
          </p:nvGrpSpPr>
          <p:grpSpPr>
            <a:xfrm>
              <a:off x="9345504" y="2124628"/>
              <a:ext cx="2331720" cy="1517904"/>
              <a:chOff x="9509670" y="2023534"/>
              <a:chExt cx="2331720" cy="1517904"/>
            </a:xfrm>
          </p:grpSpPr>
          <p:grpSp>
            <p:nvGrpSpPr>
              <p:cNvPr id="144" name="Group 131">
                <a:extLst>
                  <a:ext uri="{FF2B5EF4-FFF2-40B4-BE49-F238E27FC236}">
                    <a16:creationId xmlns:a16="http://schemas.microsoft.com/office/drawing/2014/main" id="{C51EEBEB-E02E-7946-1D97-516081AF6A9E}"/>
                  </a:ext>
                </a:extLst>
              </p:cNvPr>
              <p:cNvGrpSpPr/>
              <p:nvPr/>
            </p:nvGrpSpPr>
            <p:grpSpPr>
              <a:xfrm>
                <a:off x="9509670" y="2023534"/>
                <a:ext cx="2331720" cy="1517904"/>
                <a:chOff x="6510405" y="1390650"/>
                <a:chExt cx="1561966" cy="1365576"/>
              </a:xfrm>
            </p:grpSpPr>
            <p:sp>
              <p:nvSpPr>
                <p:cNvPr id="145" name="Rounded Rectangle 123">
                  <a:extLst>
                    <a:ext uri="{FF2B5EF4-FFF2-40B4-BE49-F238E27FC236}">
                      <a16:creationId xmlns:a16="http://schemas.microsoft.com/office/drawing/2014/main" id="{C1DDDB2B-B0EE-FC62-EE3A-5BC59A8BAE6D}"/>
                    </a:ext>
                  </a:extLst>
                </p:cNvPr>
                <p:cNvSpPr/>
                <p:nvPr/>
              </p:nvSpPr>
              <p:spPr bwMode="auto">
                <a:xfrm>
                  <a:off x="6510405" y="1461221"/>
                  <a:ext cx="1561965" cy="1295005"/>
                </a:xfrm>
                <a:prstGeom prst="roundRect">
                  <a:avLst>
                    <a:gd name="adj" fmla="val 8404"/>
                  </a:avLst>
                </a:prstGeom>
                <a:solidFill>
                  <a:srgbClr val="00A3A1">
                    <a:lumMod val="75000"/>
                  </a:srgbClr>
                </a:solidFill>
                <a:ln w="9525">
                  <a:noFill/>
                  <a:round/>
                  <a:headEnd/>
                  <a:tailEnd/>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cs typeface="Arial" panose="020B0604020202020204" pitchFamily="34" charset="0"/>
                  </a:endParaRPr>
                </a:p>
              </p:txBody>
            </p:sp>
            <p:grpSp>
              <p:nvGrpSpPr>
                <p:cNvPr id="146" name="Group 127">
                  <a:extLst>
                    <a:ext uri="{FF2B5EF4-FFF2-40B4-BE49-F238E27FC236}">
                      <a16:creationId xmlns:a16="http://schemas.microsoft.com/office/drawing/2014/main" id="{F359D93D-4281-185D-B812-BEB3336E6D32}"/>
                    </a:ext>
                  </a:extLst>
                </p:cNvPr>
                <p:cNvGrpSpPr/>
                <p:nvPr/>
              </p:nvGrpSpPr>
              <p:grpSpPr>
                <a:xfrm>
                  <a:off x="6510405" y="1390650"/>
                  <a:ext cx="1561966" cy="1295005"/>
                  <a:chOff x="6510405" y="1390650"/>
                  <a:chExt cx="1561966" cy="1295005"/>
                </a:xfrm>
              </p:grpSpPr>
              <p:sp>
                <p:nvSpPr>
                  <p:cNvPr id="147" name="Rounded Rectangle 104">
                    <a:extLst>
                      <a:ext uri="{FF2B5EF4-FFF2-40B4-BE49-F238E27FC236}">
                        <a16:creationId xmlns:a16="http://schemas.microsoft.com/office/drawing/2014/main" id="{D26CCA91-502B-F1DA-88F0-BDE733B896F3}"/>
                      </a:ext>
                    </a:extLst>
                  </p:cNvPr>
                  <p:cNvSpPr/>
                  <p:nvPr/>
                </p:nvSpPr>
                <p:spPr bwMode="auto">
                  <a:xfrm>
                    <a:off x="6510405" y="1390650"/>
                    <a:ext cx="1561966" cy="1295005"/>
                  </a:xfrm>
                  <a:prstGeom prst="roundRect">
                    <a:avLst>
                      <a:gd name="adj" fmla="val 8404"/>
                    </a:avLst>
                  </a:prstGeom>
                  <a:solidFill>
                    <a:srgbClr val="00A3A1"/>
                  </a:solidFill>
                  <a:ln w="9525">
                    <a:noFill/>
                    <a:round/>
                    <a:headEnd/>
                    <a:tailEnd/>
                  </a:ln>
                </p:spPr>
                <p:txBody>
                  <a:bodyPr vert="horz" wrap="square" lIns="91440" tIns="45720" rIns="91440" bIns="4572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cs typeface="Arial" panose="020B0604020202020204" pitchFamily="34" charset="0"/>
                    </a:endParaRPr>
                  </a:p>
                </p:txBody>
              </p:sp>
              <p:sp>
                <p:nvSpPr>
                  <p:cNvPr id="150" name="TextBox 149">
                    <a:extLst>
                      <a:ext uri="{FF2B5EF4-FFF2-40B4-BE49-F238E27FC236}">
                        <a16:creationId xmlns:a16="http://schemas.microsoft.com/office/drawing/2014/main" id="{F18F541A-F1A5-10FC-4E08-CE0862E3372F}"/>
                      </a:ext>
                    </a:extLst>
                  </p:cNvPr>
                  <p:cNvSpPr txBox="1"/>
                  <p:nvPr/>
                </p:nvSpPr>
                <p:spPr>
                  <a:xfrm>
                    <a:off x="6650896" y="1913552"/>
                    <a:ext cx="156777" cy="249201"/>
                  </a:xfrm>
                  <a:prstGeom prst="rect">
                    <a:avLst/>
                  </a:prstGeom>
                  <a:noFill/>
                </p:spPr>
                <p:txBody>
                  <a:bodyPr wrap="none" lIns="0" tIns="0" rIns="0" bIns="0" rtlCol="0" anchor="ctr">
                    <a:spAutoFit/>
                  </a:bodyP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US" sz="1800" b="1" i="0" u="none" strike="noStrike" kern="0" cap="none" spc="0" normalizeH="0" baseline="0" noProof="0">
                        <a:ln>
                          <a:noFill/>
                        </a:ln>
                        <a:solidFill>
                          <a:srgbClr val="00A3A1"/>
                        </a:solidFill>
                        <a:effectLst/>
                        <a:uLnTx/>
                        <a:uFillTx/>
                        <a:cs typeface="Arial" panose="020B0604020202020204" pitchFamily="34" charset="0"/>
                      </a:rPr>
                      <a:t>04</a:t>
                    </a:r>
                    <a:endParaRPr kumimoji="0" lang="en-US" sz="1800" b="0" i="0" u="none" strike="noStrike" kern="0" cap="none" spc="0" normalizeH="0" baseline="0" noProof="0">
                      <a:ln>
                        <a:noFill/>
                      </a:ln>
                      <a:solidFill>
                        <a:srgbClr val="00A3A1"/>
                      </a:solidFill>
                      <a:effectLst/>
                      <a:uLnTx/>
                      <a:uFillTx/>
                      <a:cs typeface="Arial" panose="020B0604020202020204" pitchFamily="34" charset="0"/>
                    </a:endParaRPr>
                  </a:p>
                </p:txBody>
              </p:sp>
            </p:grpSp>
          </p:grpSp>
          <p:sp>
            <p:nvSpPr>
              <p:cNvPr id="167" name="TextBox 166">
                <a:extLst>
                  <a:ext uri="{FF2B5EF4-FFF2-40B4-BE49-F238E27FC236}">
                    <a16:creationId xmlns:a16="http://schemas.microsoft.com/office/drawing/2014/main" id="{5BD9CA38-D2F7-6ECF-BC83-9BE5467B12D8}"/>
                  </a:ext>
                </a:extLst>
              </p:cNvPr>
              <p:cNvSpPr txBox="1"/>
              <p:nvPr/>
            </p:nvSpPr>
            <p:spPr>
              <a:xfrm>
                <a:off x="9772855" y="2068376"/>
                <a:ext cx="1861046" cy="1292662"/>
              </a:xfrm>
              <a:prstGeom prst="rect">
                <a:avLst/>
              </a:prstGeom>
              <a:noFill/>
            </p:spPr>
            <p:txBody>
              <a:bodyPr wrap="square" rtlCol="0">
                <a:spAutoFit/>
              </a:bodyPr>
              <a:lstStyle/>
              <a:p>
                <a:pPr algn="ctr"/>
                <a:r>
                  <a:rPr lang="en-US" b="1">
                    <a:solidFill>
                      <a:prstClr val="white"/>
                    </a:solidFill>
                    <a:cs typeface="Arial" panose="020B0604020202020204" pitchFamily="34" charset="0"/>
                  </a:rPr>
                  <a:t>Receive DRA score</a:t>
                </a:r>
                <a:br>
                  <a:rPr lang="en-US" sz="2000" b="1">
                    <a:solidFill>
                      <a:prstClr val="white"/>
                    </a:solidFill>
                    <a:cs typeface="Arial" panose="020B0604020202020204" pitchFamily="34" charset="0"/>
                  </a:rPr>
                </a:br>
                <a:r>
                  <a:rPr lang="en-US" sz="1400">
                    <a:solidFill>
                      <a:prstClr val="white"/>
                    </a:solidFill>
                    <a:cs typeface="Arial" panose="020B0604020202020204" pitchFamily="34" charset="0"/>
                  </a:rPr>
                  <a:t>Once you have a score you can create an Abatement Plan</a:t>
                </a:r>
              </a:p>
            </p:txBody>
          </p:sp>
        </p:grpSp>
      </p:grpSp>
      <p:cxnSp>
        <p:nvCxnSpPr>
          <p:cNvPr id="169" name="Straight Connector 168">
            <a:extLst>
              <a:ext uri="{FF2B5EF4-FFF2-40B4-BE49-F238E27FC236}">
                <a16:creationId xmlns:a16="http://schemas.microsoft.com/office/drawing/2014/main" id="{0B5B5A7B-90F8-5270-0B2E-58C21D539E25}"/>
              </a:ext>
            </a:extLst>
          </p:cNvPr>
          <p:cNvCxnSpPr>
            <a:cxnSpLocks/>
          </p:cNvCxnSpPr>
          <p:nvPr/>
        </p:nvCxnSpPr>
        <p:spPr>
          <a:xfrm>
            <a:off x="8800765" y="2498895"/>
            <a:ext cx="0" cy="3488454"/>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71" name="TextBox 170">
            <a:extLst>
              <a:ext uri="{FF2B5EF4-FFF2-40B4-BE49-F238E27FC236}">
                <a16:creationId xmlns:a16="http://schemas.microsoft.com/office/drawing/2014/main" id="{4E429F82-38C3-EE16-1121-3E93F19A21E2}"/>
              </a:ext>
            </a:extLst>
          </p:cNvPr>
          <p:cNvSpPr txBox="1"/>
          <p:nvPr/>
        </p:nvSpPr>
        <p:spPr>
          <a:xfrm>
            <a:off x="8228224" y="1632770"/>
            <a:ext cx="1145082" cy="830997"/>
          </a:xfrm>
          <a:prstGeom prst="rect">
            <a:avLst/>
          </a:prstGeom>
          <a:noFill/>
        </p:spPr>
        <p:txBody>
          <a:bodyPr wrap="square" rtlCol="0">
            <a:spAutoFit/>
          </a:bodyPr>
          <a:lstStyle/>
          <a:p>
            <a:pPr algn="ctr"/>
            <a:r>
              <a:rPr lang="en-US" sz="1600" b="1">
                <a:cs typeface="Arial" panose="020B0604020202020204" pitchFamily="34" charset="0"/>
              </a:rPr>
              <a:t>FDEM validation review</a:t>
            </a:r>
            <a:endParaRPr lang="en-US" sz="1200">
              <a:cs typeface="Arial" panose="020B0604020202020204" pitchFamily="34" charset="0"/>
            </a:endParaRPr>
          </a:p>
        </p:txBody>
      </p:sp>
    </p:spTree>
    <p:custDataLst>
      <p:tags r:id="rId1"/>
    </p:custDataLst>
    <p:extLst>
      <p:ext uri="{BB962C8B-B14F-4D97-AF65-F5344CB8AC3E}">
        <p14:creationId xmlns:p14="http://schemas.microsoft.com/office/powerpoint/2010/main" val="35984191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1C72F9-526C-4216-B840-1011D6B97DFB}"/>
              </a:ext>
            </a:extLst>
          </p:cNvPr>
          <p:cNvSpPr>
            <a:spLocks noGrp="1"/>
          </p:cNvSpPr>
          <p:nvPr>
            <p:ph type="title"/>
          </p:nvPr>
        </p:nvSpPr>
        <p:spPr/>
        <p:txBody>
          <a:bodyPr/>
          <a:lstStyle/>
          <a:p>
            <a:r>
              <a:rPr lang="en-US">
                <a:latin typeface="+mn-lt"/>
              </a:rPr>
              <a:t>With You Today</a:t>
            </a:r>
          </a:p>
        </p:txBody>
      </p:sp>
      <p:pic>
        <p:nvPicPr>
          <p:cNvPr id="3" name="Picture 2">
            <a:extLst>
              <a:ext uri="{FF2B5EF4-FFF2-40B4-BE49-F238E27FC236}">
                <a16:creationId xmlns:a16="http://schemas.microsoft.com/office/drawing/2014/main" id="{F1107330-8A55-4028-E98F-A561906D3A84}"/>
              </a:ext>
            </a:extLst>
          </p:cNvPr>
          <p:cNvPicPr>
            <a:picLocks noChangeAspect="1"/>
          </p:cNvPicPr>
          <p:nvPr/>
        </p:nvPicPr>
        <p:blipFill rotWithShape="1">
          <a:blip r:embed="rId4"/>
          <a:srcRect l="14704" r="14372"/>
          <a:stretch/>
        </p:blipFill>
        <p:spPr>
          <a:xfrm>
            <a:off x="9001616" y="2133600"/>
            <a:ext cx="2274271" cy="2142402"/>
          </a:xfrm>
          <a:prstGeom prst="rect">
            <a:avLst/>
          </a:prstGeom>
          <a:ln>
            <a:solidFill>
              <a:schemeClr val="bg2"/>
            </a:solidFill>
          </a:ln>
        </p:spPr>
      </p:pic>
      <p:sp>
        <p:nvSpPr>
          <p:cNvPr id="4" name="Content Placeholder 2">
            <a:extLst>
              <a:ext uri="{FF2B5EF4-FFF2-40B4-BE49-F238E27FC236}">
                <a16:creationId xmlns:a16="http://schemas.microsoft.com/office/drawing/2014/main" id="{C8AB979C-A8CE-A2CC-E97F-E0A8E95CCA9D}"/>
              </a:ext>
            </a:extLst>
          </p:cNvPr>
          <p:cNvSpPr txBox="1">
            <a:spLocks/>
          </p:cNvSpPr>
          <p:nvPr/>
        </p:nvSpPr>
        <p:spPr>
          <a:xfrm>
            <a:off x="8575047" y="4419599"/>
            <a:ext cx="3127408" cy="91440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srgbClr val="00338D"/>
                </a:solidFill>
                <a:effectLst/>
                <a:uLnTx/>
                <a:uFillTx/>
                <a:ea typeface="+mn-ea"/>
                <a:cs typeface="Arial" panose="020B0604020202020204" pitchFamily="34" charset="0"/>
              </a:rPr>
              <a:t>Matt Ramirez</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a:ln>
                <a:noFill/>
              </a:ln>
              <a:solidFill>
                <a:srgbClr val="005EB8"/>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a:ln>
                <a:noFill/>
              </a:ln>
              <a:solidFill>
                <a:srgbClr val="005EB8"/>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a:ln>
                <a:noFill/>
              </a:ln>
              <a:solidFill>
                <a:srgbClr val="005EB8"/>
              </a:solidFill>
              <a:effectLst/>
              <a:uLnTx/>
              <a:uFillTx/>
              <a:latin typeface="Arial" panose="020B0604020202020204" pitchFamily="34" charset="0"/>
              <a:ea typeface="+mn-ea"/>
              <a:cs typeface="Arial" panose="020B0604020202020204" pitchFamily="34" charset="0"/>
            </a:endParaRPr>
          </a:p>
        </p:txBody>
      </p:sp>
      <p:sp>
        <p:nvSpPr>
          <p:cNvPr id="5" name="Content Placeholder 2">
            <a:extLst>
              <a:ext uri="{FF2B5EF4-FFF2-40B4-BE49-F238E27FC236}">
                <a16:creationId xmlns:a16="http://schemas.microsoft.com/office/drawing/2014/main" id="{E4962590-03B2-C425-68DF-72F72F910FAB}"/>
              </a:ext>
            </a:extLst>
          </p:cNvPr>
          <p:cNvSpPr txBox="1">
            <a:spLocks/>
          </p:cNvSpPr>
          <p:nvPr/>
        </p:nvSpPr>
        <p:spPr>
          <a:xfrm>
            <a:off x="4498720" y="4419599"/>
            <a:ext cx="3127408" cy="91440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srgbClr val="00338D"/>
                </a:solidFill>
                <a:effectLst/>
                <a:uLnTx/>
                <a:uFillTx/>
                <a:ea typeface="+mn-ea"/>
                <a:cs typeface="Arial" panose="020B0604020202020204" pitchFamily="34" charset="0"/>
              </a:rPr>
              <a:t>Melissa Foggy</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a:ln>
                <a:noFill/>
              </a:ln>
              <a:solidFill>
                <a:srgbClr val="005EB8"/>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a:ln>
                <a:noFill/>
              </a:ln>
              <a:solidFill>
                <a:srgbClr val="005EB8"/>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a:ln>
                <a:noFill/>
              </a:ln>
              <a:solidFill>
                <a:srgbClr val="005EB8"/>
              </a:solidFill>
              <a:effectLst/>
              <a:uLnTx/>
              <a:uFillTx/>
              <a:latin typeface="Arial" panose="020B0604020202020204" pitchFamily="34" charset="0"/>
              <a:ea typeface="+mn-ea"/>
              <a:cs typeface="Arial" panose="020B0604020202020204" pitchFamily="34" charset="0"/>
            </a:endParaRPr>
          </a:p>
        </p:txBody>
      </p:sp>
      <p:pic>
        <p:nvPicPr>
          <p:cNvPr id="8" name="Picture 7">
            <a:extLst>
              <a:ext uri="{FF2B5EF4-FFF2-40B4-BE49-F238E27FC236}">
                <a16:creationId xmlns:a16="http://schemas.microsoft.com/office/drawing/2014/main" id="{714A9D6F-56AF-BDD1-38E5-A00ABAB51D04}"/>
              </a:ext>
            </a:extLst>
          </p:cNvPr>
          <p:cNvPicPr>
            <a:picLocks noChangeAspect="1"/>
          </p:cNvPicPr>
          <p:nvPr/>
        </p:nvPicPr>
        <p:blipFill>
          <a:blip r:embed="rId5"/>
          <a:stretch>
            <a:fillRect/>
          </a:stretch>
        </p:blipFill>
        <p:spPr>
          <a:xfrm>
            <a:off x="5107693" y="2133600"/>
            <a:ext cx="1950797" cy="2139696"/>
          </a:xfrm>
          <a:prstGeom prst="rect">
            <a:avLst/>
          </a:prstGeom>
          <a:ln>
            <a:solidFill>
              <a:schemeClr val="bg2"/>
            </a:solidFill>
          </a:ln>
        </p:spPr>
      </p:pic>
      <p:sp>
        <p:nvSpPr>
          <p:cNvPr id="10" name="Content Placeholder 2">
            <a:extLst>
              <a:ext uri="{FF2B5EF4-FFF2-40B4-BE49-F238E27FC236}">
                <a16:creationId xmlns:a16="http://schemas.microsoft.com/office/drawing/2014/main" id="{425850A2-F989-75EF-771A-E3108F8B6438}"/>
              </a:ext>
            </a:extLst>
          </p:cNvPr>
          <p:cNvSpPr txBox="1">
            <a:spLocks/>
          </p:cNvSpPr>
          <p:nvPr/>
        </p:nvSpPr>
        <p:spPr>
          <a:xfrm>
            <a:off x="489545" y="4432299"/>
            <a:ext cx="3127408" cy="91440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srgbClr val="00338D"/>
                </a:solidFill>
                <a:effectLst/>
                <a:uLnTx/>
                <a:uFillTx/>
                <a:ea typeface="+mn-ea"/>
                <a:cs typeface="Arial" panose="020B0604020202020204" pitchFamily="34" charset="0"/>
              </a:rPr>
              <a:t>Barry Flink</a:t>
            </a:r>
          </a:p>
          <a:p>
            <a:pPr marL="339725" marR="0" lvl="0" indent="-339725" algn="ctr"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a:ln>
                <a:noFill/>
              </a:ln>
              <a:solidFill>
                <a:srgbClr val="005EB8"/>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a:ln>
                <a:noFill/>
              </a:ln>
              <a:solidFill>
                <a:srgbClr val="005EB8"/>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a:ln>
                <a:noFill/>
              </a:ln>
              <a:solidFill>
                <a:srgbClr val="005EB8"/>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0" i="0" u="none" strike="noStrike" kern="1200" cap="none" spc="0" normalizeH="0" baseline="0" noProof="0">
              <a:ln>
                <a:noFill/>
              </a:ln>
              <a:solidFill>
                <a:srgbClr val="005EB8"/>
              </a:solidFill>
              <a:effectLst/>
              <a:uLnTx/>
              <a:uFillTx/>
              <a:latin typeface="Arial" panose="020B0604020202020204" pitchFamily="34" charset="0"/>
              <a:ea typeface="+mn-ea"/>
              <a:cs typeface="Arial" panose="020B0604020202020204" pitchFamily="34" charset="0"/>
            </a:endParaRPr>
          </a:p>
        </p:txBody>
      </p:sp>
      <p:pic>
        <p:nvPicPr>
          <p:cNvPr id="11" name="Picture 10">
            <a:extLst>
              <a:ext uri="{FF2B5EF4-FFF2-40B4-BE49-F238E27FC236}">
                <a16:creationId xmlns:a16="http://schemas.microsoft.com/office/drawing/2014/main" id="{A23A17E8-F2F4-68F9-93A9-62DAE52C081A}"/>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32517"/>
          <a:stretch/>
        </p:blipFill>
        <p:spPr>
          <a:xfrm>
            <a:off x="899258" y="2146300"/>
            <a:ext cx="2265309" cy="2142403"/>
          </a:xfrm>
          <a:prstGeom prst="rect">
            <a:avLst/>
          </a:prstGeom>
          <a:ln>
            <a:solidFill>
              <a:schemeClr val="bg2"/>
            </a:solidFill>
          </a:ln>
        </p:spPr>
      </p:pic>
      <p:sp>
        <p:nvSpPr>
          <p:cNvPr id="6" name="TextBox 5">
            <a:extLst>
              <a:ext uri="{FF2B5EF4-FFF2-40B4-BE49-F238E27FC236}">
                <a16:creationId xmlns:a16="http://schemas.microsoft.com/office/drawing/2014/main" id="{72566272-576C-90BB-DA97-CBE087CFBF05}"/>
              </a:ext>
            </a:extLst>
          </p:cNvPr>
          <p:cNvSpPr txBox="1"/>
          <p:nvPr/>
        </p:nvSpPr>
        <p:spPr>
          <a:xfrm rot="19852539">
            <a:off x="3002976" y="2906419"/>
            <a:ext cx="6186045" cy="2215991"/>
          </a:xfrm>
          <a:prstGeom prst="rect">
            <a:avLst/>
          </a:prstGeom>
          <a:noFill/>
        </p:spPr>
        <p:txBody>
          <a:bodyPr wrap="square" rtlCol="0">
            <a:spAutoFit/>
          </a:bodyPr>
          <a:lstStyle/>
          <a:p>
            <a:pPr algn="ctr"/>
            <a:r>
              <a:rPr lang="en-US" sz="13800">
                <a:solidFill>
                  <a:srgbClr val="FF0000"/>
                </a:solidFill>
              </a:rPr>
              <a:t>UPDATE</a:t>
            </a:r>
          </a:p>
        </p:txBody>
      </p:sp>
    </p:spTree>
    <p:custDataLst>
      <p:tags r:id="rId1"/>
    </p:custDataLst>
    <p:extLst>
      <p:ext uri="{BB962C8B-B14F-4D97-AF65-F5344CB8AC3E}">
        <p14:creationId xmlns:p14="http://schemas.microsoft.com/office/powerpoint/2010/main" val="128617236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940C2F-0130-4C73-95D0-8335F4E7DBEC}"/>
              </a:ext>
            </a:extLst>
          </p:cNvPr>
          <p:cNvSpPr>
            <a:spLocks noGrp="1"/>
          </p:cNvSpPr>
          <p:nvPr>
            <p:ph type="title"/>
          </p:nvPr>
        </p:nvSpPr>
        <p:spPr/>
        <p:txBody>
          <a:bodyPr/>
          <a:lstStyle/>
          <a:p>
            <a:r>
              <a:rPr lang="en-US"/>
              <a:t>Disaster Readiness Assessment (DRA)</a:t>
            </a:r>
          </a:p>
        </p:txBody>
      </p:sp>
      <p:sp>
        <p:nvSpPr>
          <p:cNvPr id="6" name="Rectangle: Rounded Corners 4">
            <a:extLst>
              <a:ext uri="{FF2B5EF4-FFF2-40B4-BE49-F238E27FC236}">
                <a16:creationId xmlns:a16="http://schemas.microsoft.com/office/drawing/2014/main" id="{79169CCB-3ECF-4141-9C78-A66EECF0024E}"/>
              </a:ext>
            </a:extLst>
          </p:cNvPr>
          <p:cNvSpPr txBox="1"/>
          <p:nvPr/>
        </p:nvSpPr>
        <p:spPr>
          <a:xfrm>
            <a:off x="314572" y="2437993"/>
            <a:ext cx="5401578" cy="238011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marL="0" marR="0" lvl="0" indent="0" algn="ctr" defTabSz="1066800" rtl="0" eaLnBrk="1" fontAlgn="auto" latinLnBrk="0" hangingPunct="1">
              <a:lnSpc>
                <a:spcPct val="90000"/>
              </a:lnSpc>
              <a:spcBef>
                <a:spcPct val="0"/>
              </a:spcBef>
              <a:spcAft>
                <a:spcPct val="35000"/>
              </a:spcAft>
              <a:buClrTx/>
              <a:buSzTx/>
              <a:buFontTx/>
              <a:buNone/>
              <a:tabLst/>
              <a:defRPr/>
            </a:pPr>
            <a:r>
              <a:rPr kumimoji="0" lang="en-US" sz="2400" b="0" i="0" u="none" strike="noStrike" kern="1200" cap="none" spc="0" normalizeH="0" baseline="0" noProof="0">
                <a:ln>
                  <a:noFill/>
                </a:ln>
                <a:solidFill>
                  <a:srgbClr val="002060"/>
                </a:solidFill>
                <a:effectLst/>
                <a:uLnTx/>
                <a:uFillTx/>
                <a:latin typeface="Calibri" panose="020F0502020204030204"/>
                <a:ea typeface="Roboto" panose="02000000000000000000" pitchFamily="2" charset="0"/>
                <a:cs typeface="Roboto" panose="02000000000000000000" pitchFamily="2" charset="0"/>
              </a:rPr>
              <a:t>All Disaster Readiness Assessment questions are grouped into two  categories, Category A and Category B. The questions in these two categories can then be further broken down into five sub-categories: </a:t>
            </a:r>
          </a:p>
        </p:txBody>
      </p:sp>
      <p:grpSp>
        <p:nvGrpSpPr>
          <p:cNvPr id="9" name="Group 8">
            <a:extLst>
              <a:ext uri="{FF2B5EF4-FFF2-40B4-BE49-F238E27FC236}">
                <a16:creationId xmlns:a16="http://schemas.microsoft.com/office/drawing/2014/main" id="{EBD18591-3E3C-4DB9-9345-C26B52C89F26}"/>
              </a:ext>
            </a:extLst>
          </p:cNvPr>
          <p:cNvGrpSpPr>
            <a:grpSpLocks noChangeAspect="1"/>
          </p:cNvGrpSpPr>
          <p:nvPr/>
        </p:nvGrpSpPr>
        <p:grpSpPr>
          <a:xfrm>
            <a:off x="6242057" y="1610723"/>
            <a:ext cx="4749955" cy="4601348"/>
            <a:chOff x="1285274" y="502807"/>
            <a:chExt cx="6524237" cy="6320118"/>
          </a:xfrm>
        </p:grpSpPr>
        <p:grpSp>
          <p:nvGrpSpPr>
            <p:cNvPr id="10" name="Group 9">
              <a:extLst>
                <a:ext uri="{FF2B5EF4-FFF2-40B4-BE49-F238E27FC236}">
                  <a16:creationId xmlns:a16="http://schemas.microsoft.com/office/drawing/2014/main" id="{43CDDF3A-8DD1-4CE2-8D92-BDEA6843BC71}"/>
                </a:ext>
              </a:extLst>
            </p:cNvPr>
            <p:cNvGrpSpPr/>
            <p:nvPr/>
          </p:nvGrpSpPr>
          <p:grpSpPr>
            <a:xfrm>
              <a:off x="1285274" y="502807"/>
              <a:ext cx="5254075" cy="5729174"/>
              <a:chOff x="1285274" y="502807"/>
              <a:chExt cx="5254075" cy="5729174"/>
            </a:xfrm>
          </p:grpSpPr>
          <p:grpSp>
            <p:nvGrpSpPr>
              <p:cNvPr id="91" name="Group 90">
                <a:extLst>
                  <a:ext uri="{FF2B5EF4-FFF2-40B4-BE49-F238E27FC236}">
                    <a16:creationId xmlns:a16="http://schemas.microsoft.com/office/drawing/2014/main" id="{E177C9ED-B04F-4C88-8A79-7928CC7DA3CC}"/>
                  </a:ext>
                </a:extLst>
              </p:cNvPr>
              <p:cNvGrpSpPr/>
              <p:nvPr/>
            </p:nvGrpSpPr>
            <p:grpSpPr>
              <a:xfrm>
                <a:off x="1952452" y="1136154"/>
                <a:ext cx="4397102" cy="5095827"/>
                <a:chOff x="-4990" y="1221012"/>
                <a:chExt cx="4397102" cy="5095827"/>
              </a:xfrm>
            </p:grpSpPr>
            <p:sp>
              <p:nvSpPr>
                <p:cNvPr id="109" name="Rectangle 108">
                  <a:extLst>
                    <a:ext uri="{FF2B5EF4-FFF2-40B4-BE49-F238E27FC236}">
                      <a16:creationId xmlns:a16="http://schemas.microsoft.com/office/drawing/2014/main" id="{DBA2027E-8CF0-436F-9FCC-4C5D6AFA6E23}"/>
                    </a:ext>
                  </a:extLst>
                </p:cNvPr>
                <p:cNvSpPr/>
                <p:nvPr/>
              </p:nvSpPr>
              <p:spPr>
                <a:xfrm flipH="1">
                  <a:off x="73927" y="1221012"/>
                  <a:ext cx="4318185" cy="33819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a:ln>
                      <a:noFill/>
                    </a:ln>
                    <a:solidFill>
                      <a:srgbClr val="7F7F7F"/>
                    </a:solidFill>
                    <a:effectLst/>
                    <a:uLnTx/>
                    <a:uFillTx/>
                    <a:latin typeface="Univers for KPMG" panose="020B0603020202020204" pitchFamily="34" charset="0"/>
                    <a:ea typeface="+mn-ea"/>
                    <a:cs typeface="Arial" panose="020B0604020202020204" pitchFamily="34" charset="0"/>
                  </a:endParaRPr>
                </a:p>
              </p:txBody>
            </p:sp>
            <p:sp>
              <p:nvSpPr>
                <p:cNvPr id="110" name="TextBox 81">
                  <a:extLst>
                    <a:ext uri="{FF2B5EF4-FFF2-40B4-BE49-F238E27FC236}">
                      <a16:creationId xmlns:a16="http://schemas.microsoft.com/office/drawing/2014/main" id="{C9438538-D2D5-4BAB-83A7-BF03C92BA417}"/>
                    </a:ext>
                  </a:extLst>
                </p:cNvPr>
                <p:cNvSpPr txBox="1"/>
                <p:nvPr/>
              </p:nvSpPr>
              <p:spPr>
                <a:xfrm flipH="1">
                  <a:off x="-4990" y="5809548"/>
                  <a:ext cx="4275412" cy="50729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00A3A1"/>
                      </a:solidFill>
                      <a:effectLst/>
                      <a:uLnTx/>
                      <a:uFillTx/>
                      <a:latin typeface="Calibri" panose="020F0502020204030204"/>
                      <a:ea typeface="+mn-ea"/>
                      <a:cs typeface="Arial" panose="020B0604020202020204" pitchFamily="34" charset="0"/>
                    </a:rPr>
                    <a:t>Contract Administration </a:t>
                  </a:r>
                </a:p>
              </p:txBody>
            </p:sp>
          </p:grpSp>
          <p:grpSp>
            <p:nvGrpSpPr>
              <p:cNvPr id="92" name="Group 91">
                <a:extLst>
                  <a:ext uri="{FF2B5EF4-FFF2-40B4-BE49-F238E27FC236}">
                    <a16:creationId xmlns:a16="http://schemas.microsoft.com/office/drawing/2014/main" id="{69021049-2A0F-4722-B675-8476F095FAE8}"/>
                  </a:ext>
                </a:extLst>
              </p:cNvPr>
              <p:cNvGrpSpPr/>
              <p:nvPr/>
            </p:nvGrpSpPr>
            <p:grpSpPr>
              <a:xfrm>
                <a:off x="1285274" y="502807"/>
                <a:ext cx="5254075" cy="1261872"/>
                <a:chOff x="1285274" y="502807"/>
                <a:chExt cx="5254075" cy="1261872"/>
              </a:xfrm>
            </p:grpSpPr>
            <p:cxnSp>
              <p:nvCxnSpPr>
                <p:cNvPr id="93" name="Straight Connector 92">
                  <a:extLst>
                    <a:ext uri="{FF2B5EF4-FFF2-40B4-BE49-F238E27FC236}">
                      <a16:creationId xmlns:a16="http://schemas.microsoft.com/office/drawing/2014/main" id="{3A56F1A3-6DBF-4A5B-88C5-0EBBF6E3F726}"/>
                    </a:ext>
                  </a:extLst>
                </p:cNvPr>
                <p:cNvCxnSpPr/>
                <p:nvPr/>
              </p:nvCxnSpPr>
              <p:spPr>
                <a:xfrm>
                  <a:off x="1601589" y="1127393"/>
                  <a:ext cx="4937760" cy="0"/>
                </a:xfrm>
                <a:prstGeom prst="line">
                  <a:avLst/>
                </a:prstGeom>
                <a:noFill/>
                <a:ln w="6350" cap="flat" cmpd="sng" algn="ctr">
                  <a:solidFill>
                    <a:srgbClr val="00338D"/>
                  </a:solidFill>
                  <a:prstDash val="solid"/>
                  <a:miter lim="800000"/>
                </a:ln>
                <a:effectLst/>
              </p:spPr>
            </p:cxnSp>
            <p:grpSp>
              <p:nvGrpSpPr>
                <p:cNvPr id="96" name="Group 95">
                  <a:extLst>
                    <a:ext uri="{FF2B5EF4-FFF2-40B4-BE49-F238E27FC236}">
                      <a16:creationId xmlns:a16="http://schemas.microsoft.com/office/drawing/2014/main" id="{71547902-8E2A-4DC4-B9CB-02117B60D308}"/>
                    </a:ext>
                  </a:extLst>
                </p:cNvPr>
                <p:cNvGrpSpPr/>
                <p:nvPr/>
              </p:nvGrpSpPr>
              <p:grpSpPr>
                <a:xfrm>
                  <a:off x="1285274" y="502807"/>
                  <a:ext cx="548288" cy="1261872"/>
                  <a:chOff x="1285274" y="502807"/>
                  <a:chExt cx="548288" cy="1261872"/>
                </a:xfrm>
              </p:grpSpPr>
              <p:sp>
                <p:nvSpPr>
                  <p:cNvPr id="97" name="Freeform 109">
                    <a:extLst>
                      <a:ext uri="{FF2B5EF4-FFF2-40B4-BE49-F238E27FC236}">
                        <a16:creationId xmlns:a16="http://schemas.microsoft.com/office/drawing/2014/main" id="{E973C5E8-BC45-4530-A8F6-13B0D06C4D08}"/>
                      </a:ext>
                    </a:extLst>
                  </p:cNvPr>
                  <p:cNvSpPr/>
                  <p:nvPr/>
                </p:nvSpPr>
                <p:spPr>
                  <a:xfrm>
                    <a:off x="1465288" y="502807"/>
                    <a:ext cx="188260" cy="1261872"/>
                  </a:xfrm>
                  <a:custGeom>
                    <a:avLst/>
                    <a:gdLst>
                      <a:gd name="connsiteX0" fmla="*/ 94130 w 188260"/>
                      <a:gd name="connsiteY0" fmla="*/ 0 h 1261872"/>
                      <a:gd name="connsiteX1" fmla="*/ 188260 w 188260"/>
                      <a:gd name="connsiteY1" fmla="*/ 94130 h 1261872"/>
                      <a:gd name="connsiteX2" fmla="*/ 188260 w 188260"/>
                      <a:gd name="connsiteY2" fmla="*/ 1261872 h 1261872"/>
                      <a:gd name="connsiteX3" fmla="*/ 0 w 188260"/>
                      <a:gd name="connsiteY3" fmla="*/ 1261872 h 1261872"/>
                      <a:gd name="connsiteX4" fmla="*/ 0 w 188260"/>
                      <a:gd name="connsiteY4" fmla="*/ 94130 h 1261872"/>
                      <a:gd name="connsiteX5" fmla="*/ 94130 w 188260"/>
                      <a:gd name="connsiteY5" fmla="*/ 0 h 1261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260" h="1261872">
                        <a:moveTo>
                          <a:pt x="94130" y="0"/>
                        </a:moveTo>
                        <a:cubicBezTo>
                          <a:pt x="146117" y="0"/>
                          <a:pt x="188260" y="42143"/>
                          <a:pt x="188260" y="94130"/>
                        </a:cubicBezTo>
                        <a:lnTo>
                          <a:pt x="188260" y="1261872"/>
                        </a:lnTo>
                        <a:lnTo>
                          <a:pt x="0" y="1261872"/>
                        </a:lnTo>
                        <a:lnTo>
                          <a:pt x="0" y="94130"/>
                        </a:lnTo>
                        <a:cubicBezTo>
                          <a:pt x="0" y="42143"/>
                          <a:pt x="42143" y="0"/>
                          <a:pt x="94130" y="0"/>
                        </a:cubicBezTo>
                        <a:close/>
                      </a:path>
                    </a:pathLst>
                  </a:custGeom>
                  <a:solidFill>
                    <a:srgbClr val="00338D"/>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nvGrpSpPr>
                  <p:cNvPr id="98" name="Group 97">
                    <a:extLst>
                      <a:ext uri="{FF2B5EF4-FFF2-40B4-BE49-F238E27FC236}">
                        <a16:creationId xmlns:a16="http://schemas.microsoft.com/office/drawing/2014/main" id="{CC5E0763-1A19-4B9E-B483-58230084B908}"/>
                      </a:ext>
                    </a:extLst>
                  </p:cNvPr>
                  <p:cNvGrpSpPr/>
                  <p:nvPr/>
                </p:nvGrpSpPr>
                <p:grpSpPr>
                  <a:xfrm>
                    <a:off x="1285274" y="859599"/>
                    <a:ext cx="548288" cy="548288"/>
                    <a:chOff x="1285274" y="859599"/>
                    <a:chExt cx="548288" cy="548288"/>
                  </a:xfrm>
                </p:grpSpPr>
                <p:grpSp>
                  <p:nvGrpSpPr>
                    <p:cNvPr id="99" name="Group 98">
                      <a:extLst>
                        <a:ext uri="{FF2B5EF4-FFF2-40B4-BE49-F238E27FC236}">
                          <a16:creationId xmlns:a16="http://schemas.microsoft.com/office/drawing/2014/main" id="{B24A3DEE-598F-4757-893B-418707157975}"/>
                        </a:ext>
                      </a:extLst>
                    </p:cNvPr>
                    <p:cNvGrpSpPr/>
                    <p:nvPr/>
                  </p:nvGrpSpPr>
                  <p:grpSpPr>
                    <a:xfrm>
                      <a:off x="1285274" y="859599"/>
                      <a:ext cx="548288" cy="548288"/>
                      <a:chOff x="4114891" y="1309087"/>
                      <a:chExt cx="548288" cy="548288"/>
                    </a:xfrm>
                  </p:grpSpPr>
                  <p:sp>
                    <p:nvSpPr>
                      <p:cNvPr id="101" name="Oval 100">
                        <a:extLst>
                          <a:ext uri="{FF2B5EF4-FFF2-40B4-BE49-F238E27FC236}">
                            <a16:creationId xmlns:a16="http://schemas.microsoft.com/office/drawing/2014/main" id="{02E693B1-851A-485F-9D5D-A57343780D3F}"/>
                          </a:ext>
                        </a:extLst>
                      </p:cNvPr>
                      <p:cNvSpPr/>
                      <p:nvPr/>
                    </p:nvSpPr>
                    <p:spPr>
                      <a:xfrm>
                        <a:off x="4114891" y="1309087"/>
                        <a:ext cx="548288" cy="548288"/>
                      </a:xfrm>
                      <a:prstGeom prst="ellipse">
                        <a:avLst/>
                      </a:prstGeom>
                      <a:solidFill>
                        <a:srgbClr val="00338D">
                          <a:lumMod val="75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338D"/>
                          </a:solidFill>
                          <a:effectLst/>
                          <a:uLnTx/>
                          <a:uFillTx/>
                          <a:latin typeface="Univers for KPMG" panose="020B0603020202020204" pitchFamily="34" charset="0"/>
                          <a:ea typeface="+mn-ea"/>
                          <a:cs typeface="Arial" panose="020B0604020202020204" pitchFamily="34" charset="0"/>
                        </a:endParaRPr>
                      </a:p>
                    </p:txBody>
                  </p:sp>
                  <p:sp>
                    <p:nvSpPr>
                      <p:cNvPr id="102" name="Oval 101">
                        <a:extLst>
                          <a:ext uri="{FF2B5EF4-FFF2-40B4-BE49-F238E27FC236}">
                            <a16:creationId xmlns:a16="http://schemas.microsoft.com/office/drawing/2014/main" id="{4F356819-CE87-4F89-AC5F-BD9056A07AF6}"/>
                          </a:ext>
                        </a:extLst>
                      </p:cNvPr>
                      <p:cNvSpPr/>
                      <p:nvPr/>
                    </p:nvSpPr>
                    <p:spPr>
                      <a:xfrm>
                        <a:off x="4187020" y="1381216"/>
                        <a:ext cx="404030" cy="404030"/>
                      </a:xfrm>
                      <a:prstGeom prst="ellipse">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sp>
                  <p:nvSpPr>
                    <p:cNvPr id="100" name="TextBox 111">
                      <a:extLst>
                        <a:ext uri="{FF2B5EF4-FFF2-40B4-BE49-F238E27FC236}">
                          <a16:creationId xmlns:a16="http://schemas.microsoft.com/office/drawing/2014/main" id="{B96C8FF6-B22D-4FB4-B469-6DF1ABBA16FF}"/>
                        </a:ext>
                      </a:extLst>
                    </p:cNvPr>
                    <p:cNvSpPr txBox="1"/>
                    <p:nvPr/>
                  </p:nvSpPr>
                  <p:spPr>
                    <a:xfrm>
                      <a:off x="1301241" y="938840"/>
                      <a:ext cx="514912" cy="3804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338D"/>
                          </a:solidFill>
                          <a:effectLst/>
                          <a:uLnTx/>
                          <a:uFillTx/>
                          <a:latin typeface="Univers for KPMG" panose="020B0603020202020204" pitchFamily="34" charset="0"/>
                          <a:ea typeface="Cambria Math" panose="02040503050406030204" pitchFamily="18" charset="0"/>
                          <a:cs typeface="Arial" panose="020B0604020202020204" pitchFamily="34" charset="0"/>
                        </a:rPr>
                        <a:t>01</a:t>
                      </a:r>
                    </a:p>
                  </p:txBody>
                </p:sp>
              </p:grpSp>
            </p:grpSp>
          </p:grpSp>
        </p:grpSp>
        <p:grpSp>
          <p:nvGrpSpPr>
            <p:cNvPr id="11" name="Group 10">
              <a:extLst>
                <a:ext uri="{FF2B5EF4-FFF2-40B4-BE49-F238E27FC236}">
                  <a16:creationId xmlns:a16="http://schemas.microsoft.com/office/drawing/2014/main" id="{1372544A-E207-4224-88EE-7783CE4DF699}"/>
                </a:ext>
              </a:extLst>
            </p:cNvPr>
            <p:cNvGrpSpPr/>
            <p:nvPr/>
          </p:nvGrpSpPr>
          <p:grpSpPr>
            <a:xfrm>
              <a:off x="1285274" y="1764679"/>
              <a:ext cx="5254075" cy="3217068"/>
              <a:chOff x="1285274" y="1764679"/>
              <a:chExt cx="5254075" cy="3217068"/>
            </a:xfrm>
          </p:grpSpPr>
          <p:sp>
            <p:nvSpPr>
              <p:cNvPr id="90" name="TextBox 81">
                <a:extLst>
                  <a:ext uri="{FF2B5EF4-FFF2-40B4-BE49-F238E27FC236}">
                    <a16:creationId xmlns:a16="http://schemas.microsoft.com/office/drawing/2014/main" id="{6409F0F6-8E86-4D84-92E3-9A496B8B3FAF}"/>
                  </a:ext>
                </a:extLst>
              </p:cNvPr>
              <p:cNvSpPr txBox="1"/>
              <p:nvPr/>
            </p:nvSpPr>
            <p:spPr>
              <a:xfrm flipH="1">
                <a:off x="1952453" y="4474456"/>
                <a:ext cx="4275411" cy="50729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005EB8"/>
                    </a:solidFill>
                    <a:effectLst/>
                    <a:uLnTx/>
                    <a:uFillTx/>
                    <a:latin typeface="Calibri" panose="020F0502020204030204"/>
                    <a:ea typeface="+mn-ea"/>
                    <a:cs typeface="Arial" panose="020B0604020202020204" pitchFamily="34" charset="0"/>
                  </a:rPr>
                  <a:t>Procurement</a:t>
                </a:r>
              </a:p>
            </p:txBody>
          </p:sp>
          <p:grpSp>
            <p:nvGrpSpPr>
              <p:cNvPr id="73" name="Group 72">
                <a:extLst>
                  <a:ext uri="{FF2B5EF4-FFF2-40B4-BE49-F238E27FC236}">
                    <a16:creationId xmlns:a16="http://schemas.microsoft.com/office/drawing/2014/main" id="{0587DAD9-BECA-493B-9407-3D7E8B8A1258}"/>
                  </a:ext>
                </a:extLst>
              </p:cNvPr>
              <p:cNvGrpSpPr/>
              <p:nvPr/>
            </p:nvGrpSpPr>
            <p:grpSpPr>
              <a:xfrm>
                <a:off x="1285274" y="1764679"/>
                <a:ext cx="5254075" cy="1272628"/>
                <a:chOff x="1285274" y="1764679"/>
                <a:chExt cx="5254075" cy="1272628"/>
              </a:xfrm>
            </p:grpSpPr>
            <p:cxnSp>
              <p:nvCxnSpPr>
                <p:cNvPr id="74" name="Straight Connector 73">
                  <a:extLst>
                    <a:ext uri="{FF2B5EF4-FFF2-40B4-BE49-F238E27FC236}">
                      <a16:creationId xmlns:a16="http://schemas.microsoft.com/office/drawing/2014/main" id="{A5964B41-F54B-4542-9F7A-5D89F0303966}"/>
                    </a:ext>
                  </a:extLst>
                </p:cNvPr>
                <p:cNvCxnSpPr>
                  <a:cxnSpLocks/>
                </p:cNvCxnSpPr>
                <p:nvPr/>
              </p:nvCxnSpPr>
              <p:spPr>
                <a:xfrm>
                  <a:off x="1601589" y="2397818"/>
                  <a:ext cx="4937760" cy="0"/>
                </a:xfrm>
                <a:prstGeom prst="line">
                  <a:avLst/>
                </a:prstGeom>
                <a:noFill/>
                <a:ln w="6350" cap="flat" cmpd="sng" algn="ctr">
                  <a:solidFill>
                    <a:srgbClr val="0091DA"/>
                  </a:solidFill>
                  <a:prstDash val="solid"/>
                  <a:miter lim="800000"/>
                </a:ln>
                <a:effectLst/>
              </p:spPr>
            </p:cxnSp>
            <p:grpSp>
              <p:nvGrpSpPr>
                <p:cNvPr id="76" name="Group 75">
                  <a:extLst>
                    <a:ext uri="{FF2B5EF4-FFF2-40B4-BE49-F238E27FC236}">
                      <a16:creationId xmlns:a16="http://schemas.microsoft.com/office/drawing/2014/main" id="{96EB1031-F7BD-4C28-B241-97B63CFBD9B0}"/>
                    </a:ext>
                  </a:extLst>
                </p:cNvPr>
                <p:cNvGrpSpPr/>
                <p:nvPr/>
              </p:nvGrpSpPr>
              <p:grpSpPr>
                <a:xfrm>
                  <a:off x="1285274" y="1764679"/>
                  <a:ext cx="548288" cy="1272628"/>
                  <a:chOff x="1285274" y="1764679"/>
                  <a:chExt cx="548288" cy="1272628"/>
                </a:xfrm>
              </p:grpSpPr>
              <p:sp>
                <p:nvSpPr>
                  <p:cNvPr id="77" name="Freeform 84">
                    <a:extLst>
                      <a:ext uri="{FF2B5EF4-FFF2-40B4-BE49-F238E27FC236}">
                        <a16:creationId xmlns:a16="http://schemas.microsoft.com/office/drawing/2014/main" id="{3ED8C861-7EDA-4F29-B349-B9DA5A108475}"/>
                      </a:ext>
                    </a:extLst>
                  </p:cNvPr>
                  <p:cNvSpPr/>
                  <p:nvPr/>
                </p:nvSpPr>
                <p:spPr>
                  <a:xfrm>
                    <a:off x="1465288" y="1764679"/>
                    <a:ext cx="188260" cy="1272628"/>
                  </a:xfrm>
                  <a:custGeom>
                    <a:avLst/>
                    <a:gdLst>
                      <a:gd name="connsiteX0" fmla="*/ 0 w 188260"/>
                      <a:gd name="connsiteY0" fmla="*/ 0 h 1272628"/>
                      <a:gd name="connsiteX1" fmla="*/ 188260 w 188260"/>
                      <a:gd name="connsiteY1" fmla="*/ 0 h 1272628"/>
                      <a:gd name="connsiteX2" fmla="*/ 188260 w 188260"/>
                      <a:gd name="connsiteY2" fmla="*/ 1272628 h 1272628"/>
                      <a:gd name="connsiteX3" fmla="*/ 0 w 188260"/>
                      <a:gd name="connsiteY3" fmla="*/ 1272628 h 1272628"/>
                      <a:gd name="connsiteX4" fmla="*/ 0 w 188260"/>
                      <a:gd name="connsiteY4" fmla="*/ 0 h 12726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260" h="1272628">
                        <a:moveTo>
                          <a:pt x="0" y="0"/>
                        </a:moveTo>
                        <a:lnTo>
                          <a:pt x="188260" y="0"/>
                        </a:lnTo>
                        <a:lnTo>
                          <a:pt x="188260" y="1272628"/>
                        </a:lnTo>
                        <a:lnTo>
                          <a:pt x="0" y="1272628"/>
                        </a:lnTo>
                        <a:lnTo>
                          <a:pt x="0" y="0"/>
                        </a:lnTo>
                        <a:close/>
                      </a:path>
                    </a:pathLst>
                  </a:custGeom>
                  <a:solidFill>
                    <a:srgbClr val="0099D5"/>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91DA"/>
                      </a:solidFill>
                      <a:effectLst/>
                      <a:uLnTx/>
                      <a:uFillTx/>
                      <a:latin typeface="Univers for KPMG" panose="020B0603020202020204" pitchFamily="34" charset="0"/>
                      <a:ea typeface="+mn-ea"/>
                      <a:cs typeface="Arial" panose="020B0604020202020204" pitchFamily="34" charset="0"/>
                    </a:endParaRPr>
                  </a:p>
                </p:txBody>
              </p:sp>
              <p:grpSp>
                <p:nvGrpSpPr>
                  <p:cNvPr id="78" name="Group 77">
                    <a:extLst>
                      <a:ext uri="{FF2B5EF4-FFF2-40B4-BE49-F238E27FC236}">
                        <a16:creationId xmlns:a16="http://schemas.microsoft.com/office/drawing/2014/main" id="{FF72EC53-AF54-4A9A-8A13-46E4EA3FE0AE}"/>
                      </a:ext>
                    </a:extLst>
                  </p:cNvPr>
                  <p:cNvGrpSpPr/>
                  <p:nvPr/>
                </p:nvGrpSpPr>
                <p:grpSpPr>
                  <a:xfrm>
                    <a:off x="1285274" y="2126849"/>
                    <a:ext cx="548288" cy="548288"/>
                    <a:chOff x="1285274" y="2126849"/>
                    <a:chExt cx="548288" cy="548288"/>
                  </a:xfrm>
                </p:grpSpPr>
                <p:grpSp>
                  <p:nvGrpSpPr>
                    <p:cNvPr id="79" name="Group 78">
                      <a:extLst>
                        <a:ext uri="{FF2B5EF4-FFF2-40B4-BE49-F238E27FC236}">
                          <a16:creationId xmlns:a16="http://schemas.microsoft.com/office/drawing/2014/main" id="{AE234154-86B8-41EB-B367-62CADE5DB16A}"/>
                        </a:ext>
                      </a:extLst>
                    </p:cNvPr>
                    <p:cNvGrpSpPr/>
                    <p:nvPr/>
                  </p:nvGrpSpPr>
                  <p:grpSpPr>
                    <a:xfrm>
                      <a:off x="1285274" y="2126849"/>
                      <a:ext cx="548288" cy="548288"/>
                      <a:chOff x="4114891" y="1309087"/>
                      <a:chExt cx="548288" cy="548288"/>
                    </a:xfrm>
                  </p:grpSpPr>
                  <p:sp>
                    <p:nvSpPr>
                      <p:cNvPr id="81" name="Oval 80">
                        <a:extLst>
                          <a:ext uri="{FF2B5EF4-FFF2-40B4-BE49-F238E27FC236}">
                            <a16:creationId xmlns:a16="http://schemas.microsoft.com/office/drawing/2014/main" id="{C5B4C308-2C75-4C5D-A056-83B87B1AA237}"/>
                          </a:ext>
                        </a:extLst>
                      </p:cNvPr>
                      <p:cNvSpPr/>
                      <p:nvPr/>
                    </p:nvSpPr>
                    <p:spPr>
                      <a:xfrm>
                        <a:off x="4114891" y="1309087"/>
                        <a:ext cx="548288" cy="548288"/>
                      </a:xfrm>
                      <a:prstGeom prst="ellipse">
                        <a:avLst/>
                      </a:prstGeom>
                      <a:solidFill>
                        <a:srgbClr val="0091DA">
                          <a:lumMod val="75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sp>
                    <p:nvSpPr>
                      <p:cNvPr id="82" name="Oval 81">
                        <a:extLst>
                          <a:ext uri="{FF2B5EF4-FFF2-40B4-BE49-F238E27FC236}">
                            <a16:creationId xmlns:a16="http://schemas.microsoft.com/office/drawing/2014/main" id="{64113B98-94C2-4AD3-9A74-699F249F6A06}"/>
                          </a:ext>
                        </a:extLst>
                      </p:cNvPr>
                      <p:cNvSpPr/>
                      <p:nvPr/>
                    </p:nvSpPr>
                    <p:spPr>
                      <a:xfrm>
                        <a:off x="4187020" y="1381216"/>
                        <a:ext cx="404030" cy="404030"/>
                      </a:xfrm>
                      <a:prstGeom prst="ellipse">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sp>
                  <p:nvSpPr>
                    <p:cNvPr id="80" name="TextBox 112">
                      <a:extLst>
                        <a:ext uri="{FF2B5EF4-FFF2-40B4-BE49-F238E27FC236}">
                          <a16:creationId xmlns:a16="http://schemas.microsoft.com/office/drawing/2014/main" id="{03C50EBA-5A8D-4171-8813-8F0AD6F9904D}"/>
                        </a:ext>
                      </a:extLst>
                    </p:cNvPr>
                    <p:cNvSpPr txBox="1"/>
                    <p:nvPr/>
                  </p:nvSpPr>
                  <p:spPr>
                    <a:xfrm>
                      <a:off x="1301241" y="2217545"/>
                      <a:ext cx="514912" cy="3804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91DA">
                              <a:lumMod val="75000"/>
                            </a:srgbClr>
                          </a:solidFill>
                          <a:effectLst/>
                          <a:uLnTx/>
                          <a:uFillTx/>
                          <a:latin typeface="Univers for KPMG" panose="020B0603020202020204" pitchFamily="34" charset="0"/>
                          <a:ea typeface="Cambria Math" panose="02040503050406030204" pitchFamily="18" charset="0"/>
                          <a:cs typeface="Arial" panose="020B0604020202020204" pitchFamily="34" charset="0"/>
                        </a:rPr>
                        <a:t>02</a:t>
                      </a:r>
                    </a:p>
                  </p:txBody>
                </p:sp>
              </p:grpSp>
            </p:grpSp>
          </p:grpSp>
        </p:grpSp>
        <p:grpSp>
          <p:nvGrpSpPr>
            <p:cNvPr id="12" name="Group 11">
              <a:extLst>
                <a:ext uri="{FF2B5EF4-FFF2-40B4-BE49-F238E27FC236}">
                  <a16:creationId xmlns:a16="http://schemas.microsoft.com/office/drawing/2014/main" id="{E51A8031-BBB4-4F11-A9AA-B9EF896C27B1}"/>
                </a:ext>
              </a:extLst>
            </p:cNvPr>
            <p:cNvGrpSpPr/>
            <p:nvPr/>
          </p:nvGrpSpPr>
          <p:grpSpPr>
            <a:xfrm>
              <a:off x="1285274" y="1942658"/>
              <a:ext cx="6524237" cy="2356522"/>
              <a:chOff x="1285274" y="1942658"/>
              <a:chExt cx="6524237" cy="2356522"/>
            </a:xfrm>
          </p:grpSpPr>
          <p:sp>
            <p:nvSpPr>
              <p:cNvPr id="71" name="TextBox 81">
                <a:extLst>
                  <a:ext uri="{FF2B5EF4-FFF2-40B4-BE49-F238E27FC236}">
                    <a16:creationId xmlns:a16="http://schemas.microsoft.com/office/drawing/2014/main" id="{3840E532-2517-4C85-AF51-1EBF30966CD4}"/>
                  </a:ext>
                </a:extLst>
              </p:cNvPr>
              <p:cNvSpPr txBox="1"/>
              <p:nvPr/>
            </p:nvSpPr>
            <p:spPr>
              <a:xfrm flipH="1">
                <a:off x="1952454" y="1942658"/>
                <a:ext cx="4275411" cy="50729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0099D5"/>
                    </a:solidFill>
                    <a:effectLst/>
                    <a:uLnTx/>
                    <a:uFillTx/>
                    <a:latin typeface="Calibri" panose="020F0502020204030204"/>
                    <a:ea typeface="+mn-ea"/>
                    <a:cs typeface="Arial" panose="020B0604020202020204" pitchFamily="34" charset="0"/>
                  </a:rPr>
                  <a:t>Policy and Procedure</a:t>
                </a:r>
              </a:p>
            </p:txBody>
          </p:sp>
          <p:grpSp>
            <p:nvGrpSpPr>
              <p:cNvPr id="54" name="Group 53">
                <a:extLst>
                  <a:ext uri="{FF2B5EF4-FFF2-40B4-BE49-F238E27FC236}">
                    <a16:creationId xmlns:a16="http://schemas.microsoft.com/office/drawing/2014/main" id="{4B0E6648-192C-4908-9D56-80A74B115F1A}"/>
                  </a:ext>
                </a:extLst>
              </p:cNvPr>
              <p:cNvGrpSpPr/>
              <p:nvPr/>
            </p:nvGrpSpPr>
            <p:grpSpPr>
              <a:xfrm>
                <a:off x="1285274" y="2957887"/>
                <a:ext cx="6524237" cy="1341293"/>
                <a:chOff x="1285274" y="2957887"/>
                <a:chExt cx="6524237" cy="1341293"/>
              </a:xfrm>
            </p:grpSpPr>
            <p:cxnSp>
              <p:nvCxnSpPr>
                <p:cNvPr id="55" name="Straight Connector 54">
                  <a:extLst>
                    <a:ext uri="{FF2B5EF4-FFF2-40B4-BE49-F238E27FC236}">
                      <a16:creationId xmlns:a16="http://schemas.microsoft.com/office/drawing/2014/main" id="{1E15AFB1-CA17-4520-8F25-4842C3476FEF}"/>
                    </a:ext>
                  </a:extLst>
                </p:cNvPr>
                <p:cNvCxnSpPr/>
                <p:nvPr/>
              </p:nvCxnSpPr>
              <p:spPr>
                <a:xfrm>
                  <a:off x="1601589" y="3658718"/>
                  <a:ext cx="4937760" cy="0"/>
                </a:xfrm>
                <a:prstGeom prst="line">
                  <a:avLst/>
                </a:prstGeom>
                <a:noFill/>
                <a:ln w="6350" cap="flat" cmpd="sng" algn="ctr">
                  <a:solidFill>
                    <a:srgbClr val="6D2077"/>
                  </a:solidFill>
                  <a:prstDash val="solid"/>
                  <a:miter lim="800000"/>
                </a:ln>
                <a:effectLst/>
              </p:spPr>
            </p:cxnSp>
            <p:sp>
              <p:nvSpPr>
                <p:cNvPr id="69" name="Freeform 76">
                  <a:extLst>
                    <a:ext uri="{FF2B5EF4-FFF2-40B4-BE49-F238E27FC236}">
                      <a16:creationId xmlns:a16="http://schemas.microsoft.com/office/drawing/2014/main" id="{CCFCCEDF-263D-42AF-B863-66495B9EF195}"/>
                    </a:ext>
                  </a:extLst>
                </p:cNvPr>
                <p:cNvSpPr>
                  <a:spLocks/>
                </p:cNvSpPr>
                <p:nvPr/>
              </p:nvSpPr>
              <p:spPr bwMode="auto">
                <a:xfrm flipH="1">
                  <a:off x="6265925" y="2957887"/>
                  <a:ext cx="1543586" cy="700952"/>
                </a:xfrm>
                <a:custGeom>
                  <a:avLst/>
                  <a:gdLst>
                    <a:gd name="T0" fmla="*/ 873 w 873"/>
                    <a:gd name="T1" fmla="*/ 396 h 396"/>
                    <a:gd name="T2" fmla="*/ 571 w 873"/>
                    <a:gd name="T3" fmla="*/ 149 h 396"/>
                    <a:gd name="T4" fmla="*/ 122 w 873"/>
                    <a:gd name="T5" fmla="*/ 114 h 396"/>
                    <a:gd name="T6" fmla="*/ 13 w 873"/>
                    <a:gd name="T7" fmla="*/ 396 h 396"/>
                    <a:gd name="T8" fmla="*/ 873 w 873"/>
                    <a:gd name="T9" fmla="*/ 396 h 396"/>
                  </a:gdLst>
                  <a:ahLst/>
                  <a:cxnLst>
                    <a:cxn ang="0">
                      <a:pos x="T0" y="T1"/>
                    </a:cxn>
                    <a:cxn ang="0">
                      <a:pos x="T2" y="T3"/>
                    </a:cxn>
                    <a:cxn ang="0">
                      <a:pos x="T4" y="T5"/>
                    </a:cxn>
                    <a:cxn ang="0">
                      <a:pos x="T6" y="T7"/>
                    </a:cxn>
                    <a:cxn ang="0">
                      <a:pos x="T8" y="T9"/>
                    </a:cxn>
                  </a:cxnLst>
                  <a:rect l="0" t="0" r="r" b="b"/>
                  <a:pathLst>
                    <a:path w="873" h="396">
                      <a:moveTo>
                        <a:pt x="873" y="396"/>
                      </a:moveTo>
                      <a:cubicBezTo>
                        <a:pt x="755" y="329"/>
                        <a:pt x="654" y="246"/>
                        <a:pt x="571" y="149"/>
                      </a:cubicBezTo>
                      <a:cubicBezTo>
                        <a:pt x="457" y="15"/>
                        <a:pt x="255" y="0"/>
                        <a:pt x="122" y="114"/>
                      </a:cubicBezTo>
                      <a:cubicBezTo>
                        <a:pt x="37" y="186"/>
                        <a:pt x="0" y="293"/>
                        <a:pt x="13" y="396"/>
                      </a:cubicBezTo>
                      <a:lnTo>
                        <a:pt x="873" y="396"/>
                      </a:lnTo>
                      <a:close/>
                    </a:path>
                  </a:pathLst>
                </a:custGeom>
                <a:solidFill>
                  <a:sysClr val="window" lastClr="FFFFFF">
                    <a:alpha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Univers for KPMG" panose="020B0603020202020204" pitchFamily="34" charset="0"/>
                    <a:ea typeface="+mn-ea"/>
                    <a:cs typeface="Arial" panose="020B0604020202020204" pitchFamily="34" charset="0"/>
                  </a:endParaRPr>
                </a:p>
              </p:txBody>
            </p:sp>
            <p:grpSp>
              <p:nvGrpSpPr>
                <p:cNvPr id="57" name="Group 56">
                  <a:extLst>
                    <a:ext uri="{FF2B5EF4-FFF2-40B4-BE49-F238E27FC236}">
                      <a16:creationId xmlns:a16="http://schemas.microsoft.com/office/drawing/2014/main" id="{9E707E91-441A-488A-98B3-8B9D4F02F0B9}"/>
                    </a:ext>
                  </a:extLst>
                </p:cNvPr>
                <p:cNvGrpSpPr/>
                <p:nvPr/>
              </p:nvGrpSpPr>
              <p:grpSpPr>
                <a:xfrm>
                  <a:off x="1285274" y="3037307"/>
                  <a:ext cx="548288" cy="1261873"/>
                  <a:chOff x="1285274" y="3037307"/>
                  <a:chExt cx="548288" cy="1261873"/>
                </a:xfrm>
              </p:grpSpPr>
              <p:sp>
                <p:nvSpPr>
                  <p:cNvPr id="58" name="Freeform 60">
                    <a:extLst>
                      <a:ext uri="{FF2B5EF4-FFF2-40B4-BE49-F238E27FC236}">
                        <a16:creationId xmlns:a16="http://schemas.microsoft.com/office/drawing/2014/main" id="{D2F63563-9ABF-4EFC-A9B1-93159250B8AE}"/>
                      </a:ext>
                    </a:extLst>
                  </p:cNvPr>
                  <p:cNvSpPr/>
                  <p:nvPr/>
                </p:nvSpPr>
                <p:spPr>
                  <a:xfrm>
                    <a:off x="1465288" y="3037307"/>
                    <a:ext cx="188260" cy="1261873"/>
                  </a:xfrm>
                  <a:custGeom>
                    <a:avLst/>
                    <a:gdLst>
                      <a:gd name="connsiteX0" fmla="*/ 0 w 188260"/>
                      <a:gd name="connsiteY0" fmla="*/ 0 h 1261873"/>
                      <a:gd name="connsiteX1" fmla="*/ 188260 w 188260"/>
                      <a:gd name="connsiteY1" fmla="*/ 0 h 1261873"/>
                      <a:gd name="connsiteX2" fmla="*/ 188259 w 188260"/>
                      <a:gd name="connsiteY2" fmla="*/ 1261873 h 1261873"/>
                      <a:gd name="connsiteX3" fmla="*/ 0 w 188260"/>
                      <a:gd name="connsiteY3" fmla="*/ 1261873 h 1261873"/>
                      <a:gd name="connsiteX4" fmla="*/ 0 w 188260"/>
                      <a:gd name="connsiteY4" fmla="*/ 0 h 126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260" h="1261873">
                        <a:moveTo>
                          <a:pt x="0" y="0"/>
                        </a:moveTo>
                        <a:lnTo>
                          <a:pt x="188260" y="0"/>
                        </a:lnTo>
                        <a:lnTo>
                          <a:pt x="188259" y="1261873"/>
                        </a:lnTo>
                        <a:lnTo>
                          <a:pt x="0" y="1261873"/>
                        </a:lnTo>
                        <a:lnTo>
                          <a:pt x="0" y="0"/>
                        </a:lnTo>
                        <a:close/>
                      </a:path>
                    </a:pathLst>
                  </a:custGeom>
                  <a:solidFill>
                    <a:srgbClr val="6D2077"/>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nvGrpSpPr>
                  <p:cNvPr id="59" name="Group 58">
                    <a:extLst>
                      <a:ext uri="{FF2B5EF4-FFF2-40B4-BE49-F238E27FC236}">
                        <a16:creationId xmlns:a16="http://schemas.microsoft.com/office/drawing/2014/main" id="{F58BC9EE-A0B1-46BE-91E7-34AF2ABAF95D}"/>
                      </a:ext>
                    </a:extLst>
                  </p:cNvPr>
                  <p:cNvGrpSpPr/>
                  <p:nvPr/>
                </p:nvGrpSpPr>
                <p:grpSpPr>
                  <a:xfrm>
                    <a:off x="1285274" y="3394099"/>
                    <a:ext cx="548288" cy="548288"/>
                    <a:chOff x="1285274" y="3394099"/>
                    <a:chExt cx="548288" cy="548288"/>
                  </a:xfrm>
                </p:grpSpPr>
                <p:grpSp>
                  <p:nvGrpSpPr>
                    <p:cNvPr id="60" name="Group 59">
                      <a:extLst>
                        <a:ext uri="{FF2B5EF4-FFF2-40B4-BE49-F238E27FC236}">
                          <a16:creationId xmlns:a16="http://schemas.microsoft.com/office/drawing/2014/main" id="{6F7DDA6B-A40D-454C-B3EE-E0431FD2E4AC}"/>
                        </a:ext>
                      </a:extLst>
                    </p:cNvPr>
                    <p:cNvGrpSpPr/>
                    <p:nvPr/>
                  </p:nvGrpSpPr>
                  <p:grpSpPr>
                    <a:xfrm>
                      <a:off x="1285274" y="3394099"/>
                      <a:ext cx="548288" cy="548288"/>
                      <a:chOff x="4114891" y="1309087"/>
                      <a:chExt cx="548288" cy="548288"/>
                    </a:xfrm>
                  </p:grpSpPr>
                  <p:sp>
                    <p:nvSpPr>
                      <p:cNvPr id="62" name="Oval 61">
                        <a:extLst>
                          <a:ext uri="{FF2B5EF4-FFF2-40B4-BE49-F238E27FC236}">
                            <a16:creationId xmlns:a16="http://schemas.microsoft.com/office/drawing/2014/main" id="{BC7E7E14-7A2A-410E-89A8-B60A26F4ECE3}"/>
                          </a:ext>
                        </a:extLst>
                      </p:cNvPr>
                      <p:cNvSpPr/>
                      <p:nvPr/>
                    </p:nvSpPr>
                    <p:spPr>
                      <a:xfrm>
                        <a:off x="4114891" y="1309087"/>
                        <a:ext cx="548288" cy="548288"/>
                      </a:xfrm>
                      <a:prstGeom prst="ellipse">
                        <a:avLst/>
                      </a:prstGeom>
                      <a:solidFill>
                        <a:srgbClr val="6D2077">
                          <a:lumMod val="75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sp>
                    <p:nvSpPr>
                      <p:cNvPr id="63" name="Oval 62">
                        <a:extLst>
                          <a:ext uri="{FF2B5EF4-FFF2-40B4-BE49-F238E27FC236}">
                            <a16:creationId xmlns:a16="http://schemas.microsoft.com/office/drawing/2014/main" id="{459C3065-F8B1-4D0F-BC7D-F100F3198F32}"/>
                          </a:ext>
                        </a:extLst>
                      </p:cNvPr>
                      <p:cNvSpPr/>
                      <p:nvPr/>
                    </p:nvSpPr>
                    <p:spPr>
                      <a:xfrm>
                        <a:off x="4187020" y="1381216"/>
                        <a:ext cx="404030" cy="404030"/>
                      </a:xfrm>
                      <a:prstGeom prst="ellipse">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sp>
                  <p:nvSpPr>
                    <p:cNvPr id="61" name="TextBox 113">
                      <a:extLst>
                        <a:ext uri="{FF2B5EF4-FFF2-40B4-BE49-F238E27FC236}">
                          <a16:creationId xmlns:a16="http://schemas.microsoft.com/office/drawing/2014/main" id="{ACE83B9B-3E2A-44F2-A1A0-A02D49B2D8F2}"/>
                        </a:ext>
                      </a:extLst>
                    </p:cNvPr>
                    <p:cNvSpPr txBox="1"/>
                    <p:nvPr/>
                  </p:nvSpPr>
                  <p:spPr>
                    <a:xfrm>
                      <a:off x="1301241" y="3476627"/>
                      <a:ext cx="514912" cy="3804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6D2077">
                              <a:lumMod val="75000"/>
                            </a:srgbClr>
                          </a:solidFill>
                          <a:effectLst/>
                          <a:uLnTx/>
                          <a:uFillTx/>
                          <a:latin typeface="Univers for KPMG" panose="020B0603020202020204" pitchFamily="34" charset="0"/>
                          <a:ea typeface="Cambria Math" panose="02040503050406030204" pitchFamily="18" charset="0"/>
                          <a:cs typeface="Arial" panose="020B0604020202020204" pitchFamily="34" charset="0"/>
                        </a:rPr>
                        <a:t>03</a:t>
                      </a:r>
                    </a:p>
                  </p:txBody>
                </p:sp>
              </p:grpSp>
            </p:grpSp>
          </p:grpSp>
        </p:grpSp>
        <p:grpSp>
          <p:nvGrpSpPr>
            <p:cNvPr id="13" name="Group 12">
              <a:extLst>
                <a:ext uri="{FF2B5EF4-FFF2-40B4-BE49-F238E27FC236}">
                  <a16:creationId xmlns:a16="http://schemas.microsoft.com/office/drawing/2014/main" id="{485DF25A-6609-443A-8C44-3B850B9D9EF3}"/>
                </a:ext>
              </a:extLst>
            </p:cNvPr>
            <p:cNvGrpSpPr/>
            <p:nvPr/>
          </p:nvGrpSpPr>
          <p:grpSpPr>
            <a:xfrm>
              <a:off x="1285274" y="3224222"/>
              <a:ext cx="6524237" cy="2336831"/>
              <a:chOff x="1285274" y="3224222"/>
              <a:chExt cx="6524237" cy="2336831"/>
            </a:xfrm>
          </p:grpSpPr>
          <p:sp>
            <p:nvSpPr>
              <p:cNvPr id="52" name="TextBox 81">
                <a:extLst>
                  <a:ext uri="{FF2B5EF4-FFF2-40B4-BE49-F238E27FC236}">
                    <a16:creationId xmlns:a16="http://schemas.microsoft.com/office/drawing/2014/main" id="{B59E47A6-053E-4A2C-94DE-CEC500EB40D5}"/>
                  </a:ext>
                </a:extLst>
              </p:cNvPr>
              <p:cNvSpPr txBox="1"/>
              <p:nvPr/>
            </p:nvSpPr>
            <p:spPr>
              <a:xfrm flipH="1">
                <a:off x="1952454" y="3224222"/>
                <a:ext cx="4275413" cy="50729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6D2077"/>
                    </a:solidFill>
                    <a:effectLst/>
                    <a:uLnTx/>
                    <a:uFillTx/>
                    <a:latin typeface="Calibri" panose="020F0502020204030204"/>
                    <a:ea typeface="+mn-ea"/>
                    <a:cs typeface="Arial" panose="020B0604020202020204" pitchFamily="34" charset="0"/>
                  </a:rPr>
                  <a:t>Documentation</a:t>
                </a:r>
              </a:p>
            </p:txBody>
          </p:sp>
          <p:grpSp>
            <p:nvGrpSpPr>
              <p:cNvPr id="35" name="Group 34">
                <a:extLst>
                  <a:ext uri="{FF2B5EF4-FFF2-40B4-BE49-F238E27FC236}">
                    <a16:creationId xmlns:a16="http://schemas.microsoft.com/office/drawing/2014/main" id="{53FDD1DA-A855-479F-816D-6829929DD292}"/>
                  </a:ext>
                </a:extLst>
              </p:cNvPr>
              <p:cNvGrpSpPr/>
              <p:nvPr/>
            </p:nvGrpSpPr>
            <p:grpSpPr>
              <a:xfrm>
                <a:off x="1285274" y="4221779"/>
                <a:ext cx="6524237" cy="1339274"/>
                <a:chOff x="1285274" y="4221779"/>
                <a:chExt cx="6524237" cy="1339274"/>
              </a:xfrm>
            </p:grpSpPr>
            <p:cxnSp>
              <p:nvCxnSpPr>
                <p:cNvPr id="36" name="Straight Connector 35">
                  <a:extLst>
                    <a:ext uri="{FF2B5EF4-FFF2-40B4-BE49-F238E27FC236}">
                      <a16:creationId xmlns:a16="http://schemas.microsoft.com/office/drawing/2014/main" id="{009F6170-20BE-445A-81D3-C76970492272}"/>
                    </a:ext>
                  </a:extLst>
                </p:cNvPr>
                <p:cNvCxnSpPr/>
                <p:nvPr/>
              </p:nvCxnSpPr>
              <p:spPr>
                <a:xfrm>
                  <a:off x="1601589" y="4917237"/>
                  <a:ext cx="4937760" cy="0"/>
                </a:xfrm>
                <a:prstGeom prst="line">
                  <a:avLst/>
                </a:prstGeom>
                <a:noFill/>
                <a:ln w="6350" cap="flat" cmpd="sng" algn="ctr">
                  <a:solidFill>
                    <a:srgbClr val="005EB8"/>
                  </a:solidFill>
                  <a:prstDash val="solid"/>
                  <a:miter lim="800000"/>
                </a:ln>
                <a:effectLst/>
              </p:spPr>
            </p:cxnSp>
            <p:grpSp>
              <p:nvGrpSpPr>
                <p:cNvPr id="37" name="Group 36">
                  <a:extLst>
                    <a:ext uri="{FF2B5EF4-FFF2-40B4-BE49-F238E27FC236}">
                      <a16:creationId xmlns:a16="http://schemas.microsoft.com/office/drawing/2014/main" id="{D6C57B1A-D585-4040-9D43-91CA40524324}"/>
                    </a:ext>
                  </a:extLst>
                </p:cNvPr>
                <p:cNvGrpSpPr/>
                <p:nvPr/>
              </p:nvGrpSpPr>
              <p:grpSpPr>
                <a:xfrm>
                  <a:off x="6265925" y="4221779"/>
                  <a:ext cx="1543586" cy="979097"/>
                  <a:chOff x="6265925" y="4221779"/>
                  <a:chExt cx="1543586" cy="979097"/>
                </a:xfrm>
              </p:grpSpPr>
              <p:sp>
                <p:nvSpPr>
                  <p:cNvPr id="50" name="Freeform 52">
                    <a:extLst>
                      <a:ext uri="{FF2B5EF4-FFF2-40B4-BE49-F238E27FC236}">
                        <a16:creationId xmlns:a16="http://schemas.microsoft.com/office/drawing/2014/main" id="{22A88DCA-E0F8-4DD6-9347-E1DCBECEB00E}"/>
                      </a:ext>
                    </a:extLst>
                  </p:cNvPr>
                  <p:cNvSpPr>
                    <a:spLocks/>
                  </p:cNvSpPr>
                  <p:nvPr/>
                </p:nvSpPr>
                <p:spPr bwMode="auto">
                  <a:xfrm flipH="1">
                    <a:off x="6265925" y="4221779"/>
                    <a:ext cx="1543586" cy="700952"/>
                  </a:xfrm>
                  <a:custGeom>
                    <a:avLst/>
                    <a:gdLst>
                      <a:gd name="T0" fmla="*/ 873 w 873"/>
                      <a:gd name="T1" fmla="*/ 396 h 396"/>
                      <a:gd name="T2" fmla="*/ 571 w 873"/>
                      <a:gd name="T3" fmla="*/ 149 h 396"/>
                      <a:gd name="T4" fmla="*/ 122 w 873"/>
                      <a:gd name="T5" fmla="*/ 114 h 396"/>
                      <a:gd name="T6" fmla="*/ 13 w 873"/>
                      <a:gd name="T7" fmla="*/ 396 h 396"/>
                      <a:gd name="T8" fmla="*/ 873 w 873"/>
                      <a:gd name="T9" fmla="*/ 396 h 396"/>
                    </a:gdLst>
                    <a:ahLst/>
                    <a:cxnLst>
                      <a:cxn ang="0">
                        <a:pos x="T0" y="T1"/>
                      </a:cxn>
                      <a:cxn ang="0">
                        <a:pos x="T2" y="T3"/>
                      </a:cxn>
                      <a:cxn ang="0">
                        <a:pos x="T4" y="T5"/>
                      </a:cxn>
                      <a:cxn ang="0">
                        <a:pos x="T6" y="T7"/>
                      </a:cxn>
                      <a:cxn ang="0">
                        <a:pos x="T8" y="T9"/>
                      </a:cxn>
                    </a:cxnLst>
                    <a:rect l="0" t="0" r="r" b="b"/>
                    <a:pathLst>
                      <a:path w="873" h="396">
                        <a:moveTo>
                          <a:pt x="873" y="396"/>
                        </a:moveTo>
                        <a:cubicBezTo>
                          <a:pt x="755" y="329"/>
                          <a:pt x="654" y="246"/>
                          <a:pt x="571" y="149"/>
                        </a:cubicBezTo>
                        <a:cubicBezTo>
                          <a:pt x="457" y="15"/>
                          <a:pt x="255" y="0"/>
                          <a:pt x="122" y="114"/>
                        </a:cubicBezTo>
                        <a:cubicBezTo>
                          <a:pt x="37" y="186"/>
                          <a:pt x="0" y="293"/>
                          <a:pt x="13" y="396"/>
                        </a:cubicBezTo>
                        <a:lnTo>
                          <a:pt x="873" y="396"/>
                        </a:lnTo>
                        <a:close/>
                      </a:path>
                    </a:pathLst>
                  </a:custGeom>
                  <a:solidFill>
                    <a:sysClr val="window" lastClr="FFFFFF">
                      <a:alpha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Univers for KPMG" panose="020B0603020202020204" pitchFamily="34" charset="0"/>
                      <a:ea typeface="+mn-ea"/>
                      <a:cs typeface="Arial" panose="020B0604020202020204" pitchFamily="34" charset="0"/>
                    </a:endParaRPr>
                  </a:p>
                </p:txBody>
              </p:sp>
              <p:sp>
                <p:nvSpPr>
                  <p:cNvPr id="48" name="Freeform 50">
                    <a:extLst>
                      <a:ext uri="{FF2B5EF4-FFF2-40B4-BE49-F238E27FC236}">
                        <a16:creationId xmlns:a16="http://schemas.microsoft.com/office/drawing/2014/main" id="{1D6B1DD0-8DC8-4A9F-968A-10360F85F8E1}"/>
                      </a:ext>
                    </a:extLst>
                  </p:cNvPr>
                  <p:cNvSpPr>
                    <a:spLocks/>
                  </p:cNvSpPr>
                  <p:nvPr/>
                </p:nvSpPr>
                <p:spPr bwMode="auto">
                  <a:xfrm flipH="1">
                    <a:off x="6891562" y="4505144"/>
                    <a:ext cx="694986" cy="695732"/>
                  </a:xfrm>
                  <a:custGeom>
                    <a:avLst/>
                    <a:gdLst>
                      <a:gd name="T0" fmla="*/ 82 w 393"/>
                      <a:gd name="T1" fmla="*/ 63 h 393"/>
                      <a:gd name="T2" fmla="*/ 330 w 393"/>
                      <a:gd name="T3" fmla="*/ 82 h 393"/>
                      <a:gd name="T4" fmla="*/ 311 w 393"/>
                      <a:gd name="T5" fmla="*/ 330 h 393"/>
                      <a:gd name="T6" fmla="*/ 63 w 393"/>
                      <a:gd name="T7" fmla="*/ 311 h 393"/>
                      <a:gd name="T8" fmla="*/ 82 w 393"/>
                      <a:gd name="T9" fmla="*/ 63 h 393"/>
                    </a:gdLst>
                    <a:ahLst/>
                    <a:cxnLst>
                      <a:cxn ang="0">
                        <a:pos x="T0" y="T1"/>
                      </a:cxn>
                      <a:cxn ang="0">
                        <a:pos x="T2" y="T3"/>
                      </a:cxn>
                      <a:cxn ang="0">
                        <a:pos x="T4" y="T5"/>
                      </a:cxn>
                      <a:cxn ang="0">
                        <a:pos x="T6" y="T7"/>
                      </a:cxn>
                      <a:cxn ang="0">
                        <a:pos x="T8" y="T9"/>
                      </a:cxn>
                    </a:cxnLst>
                    <a:rect l="0" t="0" r="r" b="b"/>
                    <a:pathLst>
                      <a:path w="393" h="393">
                        <a:moveTo>
                          <a:pt x="82" y="63"/>
                        </a:moveTo>
                        <a:cubicBezTo>
                          <a:pt x="156" y="0"/>
                          <a:pt x="267" y="8"/>
                          <a:pt x="330" y="82"/>
                        </a:cubicBezTo>
                        <a:cubicBezTo>
                          <a:pt x="393" y="156"/>
                          <a:pt x="385" y="267"/>
                          <a:pt x="311" y="330"/>
                        </a:cubicBezTo>
                        <a:cubicBezTo>
                          <a:pt x="237" y="393"/>
                          <a:pt x="126" y="384"/>
                          <a:pt x="63" y="311"/>
                        </a:cubicBezTo>
                        <a:cubicBezTo>
                          <a:pt x="0" y="237"/>
                          <a:pt x="9" y="126"/>
                          <a:pt x="82"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Univers for KPMG" panose="020B0603020202020204" pitchFamily="34" charset="0"/>
                      <a:ea typeface="+mn-ea"/>
                      <a:cs typeface="Arial" panose="020B0604020202020204" pitchFamily="34" charset="0"/>
                    </a:endParaRPr>
                  </a:p>
                </p:txBody>
              </p:sp>
            </p:grpSp>
            <p:grpSp>
              <p:nvGrpSpPr>
                <p:cNvPr id="38" name="Group 37">
                  <a:extLst>
                    <a:ext uri="{FF2B5EF4-FFF2-40B4-BE49-F238E27FC236}">
                      <a16:creationId xmlns:a16="http://schemas.microsoft.com/office/drawing/2014/main" id="{DEC88A1C-DF90-4071-9592-87A44D45D03C}"/>
                    </a:ext>
                  </a:extLst>
                </p:cNvPr>
                <p:cNvGrpSpPr/>
                <p:nvPr/>
              </p:nvGrpSpPr>
              <p:grpSpPr>
                <a:xfrm>
                  <a:off x="1285274" y="4299180"/>
                  <a:ext cx="548288" cy="1261873"/>
                  <a:chOff x="1285274" y="4299180"/>
                  <a:chExt cx="548288" cy="1261873"/>
                </a:xfrm>
              </p:grpSpPr>
              <p:sp>
                <p:nvSpPr>
                  <p:cNvPr id="39" name="Freeform 37">
                    <a:extLst>
                      <a:ext uri="{FF2B5EF4-FFF2-40B4-BE49-F238E27FC236}">
                        <a16:creationId xmlns:a16="http://schemas.microsoft.com/office/drawing/2014/main" id="{B772C540-AF51-4377-9C45-C2A4A4E311D3}"/>
                      </a:ext>
                    </a:extLst>
                  </p:cNvPr>
                  <p:cNvSpPr/>
                  <p:nvPr/>
                </p:nvSpPr>
                <p:spPr>
                  <a:xfrm>
                    <a:off x="1465289" y="4299180"/>
                    <a:ext cx="188259" cy="1261873"/>
                  </a:xfrm>
                  <a:custGeom>
                    <a:avLst/>
                    <a:gdLst>
                      <a:gd name="connsiteX0" fmla="*/ 0 w 188259"/>
                      <a:gd name="connsiteY0" fmla="*/ 0 h 1261873"/>
                      <a:gd name="connsiteX1" fmla="*/ 188259 w 188259"/>
                      <a:gd name="connsiteY1" fmla="*/ 0 h 1261873"/>
                      <a:gd name="connsiteX2" fmla="*/ 188259 w 188259"/>
                      <a:gd name="connsiteY2" fmla="*/ 1261873 h 1261873"/>
                      <a:gd name="connsiteX3" fmla="*/ 0 w 188259"/>
                      <a:gd name="connsiteY3" fmla="*/ 1261873 h 1261873"/>
                      <a:gd name="connsiteX4" fmla="*/ 0 w 188259"/>
                      <a:gd name="connsiteY4" fmla="*/ 0 h 126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259" h="1261873">
                        <a:moveTo>
                          <a:pt x="0" y="0"/>
                        </a:moveTo>
                        <a:lnTo>
                          <a:pt x="188259" y="0"/>
                        </a:lnTo>
                        <a:lnTo>
                          <a:pt x="188259" y="1261873"/>
                        </a:lnTo>
                        <a:lnTo>
                          <a:pt x="0" y="1261873"/>
                        </a:lnTo>
                        <a:lnTo>
                          <a:pt x="0" y="0"/>
                        </a:lnTo>
                        <a:close/>
                      </a:path>
                    </a:pathLst>
                  </a:custGeom>
                  <a:solidFill>
                    <a:srgbClr val="005EB8"/>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nvGrpSpPr>
                  <p:cNvPr id="40" name="Group 39">
                    <a:extLst>
                      <a:ext uri="{FF2B5EF4-FFF2-40B4-BE49-F238E27FC236}">
                        <a16:creationId xmlns:a16="http://schemas.microsoft.com/office/drawing/2014/main" id="{C1F61CD5-1461-4A3A-9349-D41BE8599810}"/>
                      </a:ext>
                    </a:extLst>
                  </p:cNvPr>
                  <p:cNvGrpSpPr/>
                  <p:nvPr/>
                </p:nvGrpSpPr>
                <p:grpSpPr>
                  <a:xfrm>
                    <a:off x="1285274" y="4655972"/>
                    <a:ext cx="548288" cy="548288"/>
                    <a:chOff x="1285274" y="4655972"/>
                    <a:chExt cx="548288" cy="548288"/>
                  </a:xfrm>
                </p:grpSpPr>
                <p:grpSp>
                  <p:nvGrpSpPr>
                    <p:cNvPr id="41" name="Group 40">
                      <a:extLst>
                        <a:ext uri="{FF2B5EF4-FFF2-40B4-BE49-F238E27FC236}">
                          <a16:creationId xmlns:a16="http://schemas.microsoft.com/office/drawing/2014/main" id="{461C82BA-594B-4E69-AFE4-23C978B1DCB5}"/>
                        </a:ext>
                      </a:extLst>
                    </p:cNvPr>
                    <p:cNvGrpSpPr/>
                    <p:nvPr/>
                  </p:nvGrpSpPr>
                  <p:grpSpPr>
                    <a:xfrm>
                      <a:off x="1285274" y="4655972"/>
                      <a:ext cx="548288" cy="548288"/>
                      <a:chOff x="4114891" y="1309087"/>
                      <a:chExt cx="548288" cy="548288"/>
                    </a:xfrm>
                  </p:grpSpPr>
                  <p:sp>
                    <p:nvSpPr>
                      <p:cNvPr id="43" name="Oval 42">
                        <a:extLst>
                          <a:ext uri="{FF2B5EF4-FFF2-40B4-BE49-F238E27FC236}">
                            <a16:creationId xmlns:a16="http://schemas.microsoft.com/office/drawing/2014/main" id="{91C75F8E-CD85-4A79-B017-403DE189AD2F}"/>
                          </a:ext>
                        </a:extLst>
                      </p:cNvPr>
                      <p:cNvSpPr/>
                      <p:nvPr/>
                    </p:nvSpPr>
                    <p:spPr>
                      <a:xfrm>
                        <a:off x="4114891" y="1309087"/>
                        <a:ext cx="548288" cy="548288"/>
                      </a:xfrm>
                      <a:prstGeom prst="ellipse">
                        <a:avLst/>
                      </a:prstGeom>
                      <a:solidFill>
                        <a:srgbClr val="005EB8">
                          <a:lumMod val="75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sp>
                    <p:nvSpPr>
                      <p:cNvPr id="44" name="Oval 43">
                        <a:extLst>
                          <a:ext uri="{FF2B5EF4-FFF2-40B4-BE49-F238E27FC236}">
                            <a16:creationId xmlns:a16="http://schemas.microsoft.com/office/drawing/2014/main" id="{085FBC7F-CF38-4B2C-BEF0-A9E9AB1AD6E1}"/>
                          </a:ext>
                        </a:extLst>
                      </p:cNvPr>
                      <p:cNvSpPr/>
                      <p:nvPr/>
                    </p:nvSpPr>
                    <p:spPr>
                      <a:xfrm>
                        <a:off x="4187020" y="1381216"/>
                        <a:ext cx="404030" cy="404030"/>
                      </a:xfrm>
                      <a:prstGeom prst="ellipse">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sp>
                  <p:nvSpPr>
                    <p:cNvPr id="42" name="TextBox 114">
                      <a:extLst>
                        <a:ext uri="{FF2B5EF4-FFF2-40B4-BE49-F238E27FC236}">
                          <a16:creationId xmlns:a16="http://schemas.microsoft.com/office/drawing/2014/main" id="{C88D3E46-D7A5-49EE-93C3-2635462AC912}"/>
                        </a:ext>
                      </a:extLst>
                    </p:cNvPr>
                    <p:cNvSpPr txBox="1"/>
                    <p:nvPr/>
                  </p:nvSpPr>
                  <p:spPr>
                    <a:xfrm>
                      <a:off x="1301241" y="4738226"/>
                      <a:ext cx="514912" cy="3804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5EB8">
                              <a:lumMod val="75000"/>
                            </a:srgbClr>
                          </a:solidFill>
                          <a:effectLst/>
                          <a:uLnTx/>
                          <a:uFillTx/>
                          <a:latin typeface="Univers for KPMG" panose="020B0603020202020204" pitchFamily="34" charset="0"/>
                          <a:ea typeface="Cambria Math" panose="02040503050406030204" pitchFamily="18" charset="0"/>
                          <a:cs typeface="Arial" panose="020B0604020202020204" pitchFamily="34" charset="0"/>
                        </a:rPr>
                        <a:t>04</a:t>
                      </a:r>
                    </a:p>
                  </p:txBody>
                </p:sp>
              </p:grpSp>
            </p:grpSp>
          </p:grpSp>
        </p:grpSp>
        <p:grpSp>
          <p:nvGrpSpPr>
            <p:cNvPr id="14" name="Group 13">
              <a:extLst>
                <a:ext uri="{FF2B5EF4-FFF2-40B4-BE49-F238E27FC236}">
                  <a16:creationId xmlns:a16="http://schemas.microsoft.com/office/drawing/2014/main" id="{6B6979CA-229F-4EC6-B3DD-B5BBD4F343E2}"/>
                </a:ext>
              </a:extLst>
            </p:cNvPr>
            <p:cNvGrpSpPr/>
            <p:nvPr/>
          </p:nvGrpSpPr>
          <p:grpSpPr>
            <a:xfrm>
              <a:off x="1285274" y="688003"/>
              <a:ext cx="6524237" cy="6134922"/>
              <a:chOff x="1285274" y="688003"/>
              <a:chExt cx="6524237" cy="6134922"/>
            </a:xfrm>
          </p:grpSpPr>
          <p:sp>
            <p:nvSpPr>
              <p:cNvPr id="33" name="TextBox 81">
                <a:extLst>
                  <a:ext uri="{FF2B5EF4-FFF2-40B4-BE49-F238E27FC236}">
                    <a16:creationId xmlns:a16="http://schemas.microsoft.com/office/drawing/2014/main" id="{59E9C18D-4F19-432E-8791-20D5F770A60F}"/>
                  </a:ext>
                </a:extLst>
              </p:cNvPr>
              <p:cNvSpPr txBox="1"/>
              <p:nvPr/>
            </p:nvSpPr>
            <p:spPr>
              <a:xfrm flipH="1">
                <a:off x="1980201" y="688003"/>
                <a:ext cx="4275411" cy="50729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00338D"/>
                    </a:solidFill>
                    <a:effectLst/>
                    <a:uLnTx/>
                    <a:uFillTx/>
                    <a:latin typeface="Calibri" panose="020F0502020204030204"/>
                    <a:ea typeface="+mn-ea"/>
                    <a:cs typeface="Arial" panose="020B0604020202020204" pitchFamily="34" charset="0"/>
                  </a:rPr>
                  <a:t>Applicant Experience</a:t>
                </a:r>
              </a:p>
            </p:txBody>
          </p:sp>
          <p:grpSp>
            <p:nvGrpSpPr>
              <p:cNvPr id="16" name="Group 15">
                <a:extLst>
                  <a:ext uri="{FF2B5EF4-FFF2-40B4-BE49-F238E27FC236}">
                    <a16:creationId xmlns:a16="http://schemas.microsoft.com/office/drawing/2014/main" id="{1D02FD87-0CA1-477C-B512-9F11C819218A}"/>
                  </a:ext>
                </a:extLst>
              </p:cNvPr>
              <p:cNvGrpSpPr/>
              <p:nvPr/>
            </p:nvGrpSpPr>
            <p:grpSpPr>
              <a:xfrm>
                <a:off x="1285274" y="5482691"/>
                <a:ext cx="6524237" cy="1340234"/>
                <a:chOff x="1285274" y="5482691"/>
                <a:chExt cx="6524237" cy="1340234"/>
              </a:xfrm>
            </p:grpSpPr>
            <p:cxnSp>
              <p:nvCxnSpPr>
                <p:cNvPr id="17" name="Straight Connector 16">
                  <a:extLst>
                    <a:ext uri="{FF2B5EF4-FFF2-40B4-BE49-F238E27FC236}">
                      <a16:creationId xmlns:a16="http://schemas.microsoft.com/office/drawing/2014/main" id="{4ED03FD1-CEFE-4470-8746-B719D35BC00E}"/>
                    </a:ext>
                  </a:extLst>
                </p:cNvPr>
                <p:cNvCxnSpPr/>
                <p:nvPr/>
              </p:nvCxnSpPr>
              <p:spPr>
                <a:xfrm>
                  <a:off x="1601588" y="6179110"/>
                  <a:ext cx="4937761" cy="0"/>
                </a:xfrm>
                <a:prstGeom prst="line">
                  <a:avLst/>
                </a:prstGeom>
                <a:noFill/>
                <a:ln w="6350" cap="flat" cmpd="sng" algn="ctr">
                  <a:solidFill>
                    <a:srgbClr val="00A3A1"/>
                  </a:solidFill>
                  <a:prstDash val="solid"/>
                  <a:miter lim="800000"/>
                </a:ln>
                <a:effectLst/>
              </p:spPr>
            </p:cxnSp>
            <p:sp>
              <p:nvSpPr>
                <p:cNvPr id="31" name="Freeform 29">
                  <a:extLst>
                    <a:ext uri="{FF2B5EF4-FFF2-40B4-BE49-F238E27FC236}">
                      <a16:creationId xmlns:a16="http://schemas.microsoft.com/office/drawing/2014/main" id="{0801EB3E-E237-4547-9AE7-3FA2B923DE10}"/>
                    </a:ext>
                  </a:extLst>
                </p:cNvPr>
                <p:cNvSpPr>
                  <a:spLocks/>
                </p:cNvSpPr>
                <p:nvPr/>
              </p:nvSpPr>
              <p:spPr bwMode="auto">
                <a:xfrm flipH="1">
                  <a:off x="6265925" y="5482691"/>
                  <a:ext cx="1543586" cy="700952"/>
                </a:xfrm>
                <a:custGeom>
                  <a:avLst/>
                  <a:gdLst>
                    <a:gd name="T0" fmla="*/ 873 w 873"/>
                    <a:gd name="T1" fmla="*/ 396 h 396"/>
                    <a:gd name="T2" fmla="*/ 571 w 873"/>
                    <a:gd name="T3" fmla="*/ 149 h 396"/>
                    <a:gd name="T4" fmla="*/ 122 w 873"/>
                    <a:gd name="T5" fmla="*/ 114 h 396"/>
                    <a:gd name="T6" fmla="*/ 13 w 873"/>
                    <a:gd name="T7" fmla="*/ 396 h 396"/>
                    <a:gd name="T8" fmla="*/ 873 w 873"/>
                    <a:gd name="T9" fmla="*/ 396 h 396"/>
                  </a:gdLst>
                  <a:ahLst/>
                  <a:cxnLst>
                    <a:cxn ang="0">
                      <a:pos x="T0" y="T1"/>
                    </a:cxn>
                    <a:cxn ang="0">
                      <a:pos x="T2" y="T3"/>
                    </a:cxn>
                    <a:cxn ang="0">
                      <a:pos x="T4" y="T5"/>
                    </a:cxn>
                    <a:cxn ang="0">
                      <a:pos x="T6" y="T7"/>
                    </a:cxn>
                    <a:cxn ang="0">
                      <a:pos x="T8" y="T9"/>
                    </a:cxn>
                  </a:cxnLst>
                  <a:rect l="0" t="0" r="r" b="b"/>
                  <a:pathLst>
                    <a:path w="873" h="396">
                      <a:moveTo>
                        <a:pt x="873" y="396"/>
                      </a:moveTo>
                      <a:cubicBezTo>
                        <a:pt x="755" y="329"/>
                        <a:pt x="654" y="246"/>
                        <a:pt x="571" y="149"/>
                      </a:cubicBezTo>
                      <a:cubicBezTo>
                        <a:pt x="457" y="15"/>
                        <a:pt x="255" y="0"/>
                        <a:pt x="122" y="114"/>
                      </a:cubicBezTo>
                      <a:cubicBezTo>
                        <a:pt x="37" y="186"/>
                        <a:pt x="0" y="293"/>
                        <a:pt x="13" y="396"/>
                      </a:cubicBezTo>
                      <a:lnTo>
                        <a:pt x="873" y="396"/>
                      </a:lnTo>
                      <a:close/>
                    </a:path>
                  </a:pathLst>
                </a:custGeom>
                <a:solidFill>
                  <a:sysClr val="window" lastClr="FFFFFF">
                    <a:alpha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Univers for KPMG" panose="020B0603020202020204" pitchFamily="34" charset="0"/>
                    <a:ea typeface="+mn-ea"/>
                    <a:cs typeface="Arial" panose="020B0604020202020204" pitchFamily="34" charset="0"/>
                  </a:endParaRPr>
                </a:p>
              </p:txBody>
            </p:sp>
            <p:grpSp>
              <p:nvGrpSpPr>
                <p:cNvPr id="19" name="Group 18">
                  <a:extLst>
                    <a:ext uri="{FF2B5EF4-FFF2-40B4-BE49-F238E27FC236}">
                      <a16:creationId xmlns:a16="http://schemas.microsoft.com/office/drawing/2014/main" id="{09CF182A-1580-45ED-9A60-8E0F8B7DB1AF}"/>
                    </a:ext>
                  </a:extLst>
                </p:cNvPr>
                <p:cNvGrpSpPr/>
                <p:nvPr/>
              </p:nvGrpSpPr>
              <p:grpSpPr>
                <a:xfrm>
                  <a:off x="1285274" y="5561053"/>
                  <a:ext cx="548288" cy="1261872"/>
                  <a:chOff x="1285274" y="5561053"/>
                  <a:chExt cx="548288" cy="1261872"/>
                </a:xfrm>
              </p:grpSpPr>
              <p:sp>
                <p:nvSpPr>
                  <p:cNvPr id="20" name="Freeform 13">
                    <a:extLst>
                      <a:ext uri="{FF2B5EF4-FFF2-40B4-BE49-F238E27FC236}">
                        <a16:creationId xmlns:a16="http://schemas.microsoft.com/office/drawing/2014/main" id="{DE9974F9-15F5-41E6-A656-1949F57B11EB}"/>
                      </a:ext>
                    </a:extLst>
                  </p:cNvPr>
                  <p:cNvSpPr/>
                  <p:nvPr/>
                </p:nvSpPr>
                <p:spPr>
                  <a:xfrm>
                    <a:off x="1465289" y="5561053"/>
                    <a:ext cx="188259" cy="1261872"/>
                  </a:xfrm>
                  <a:custGeom>
                    <a:avLst/>
                    <a:gdLst>
                      <a:gd name="connsiteX0" fmla="*/ 0 w 188259"/>
                      <a:gd name="connsiteY0" fmla="*/ 0 h 1261872"/>
                      <a:gd name="connsiteX1" fmla="*/ 188259 w 188259"/>
                      <a:gd name="connsiteY1" fmla="*/ 0 h 1261872"/>
                      <a:gd name="connsiteX2" fmla="*/ 188259 w 188259"/>
                      <a:gd name="connsiteY2" fmla="*/ 1167743 h 1261872"/>
                      <a:gd name="connsiteX3" fmla="*/ 130769 w 188259"/>
                      <a:gd name="connsiteY3" fmla="*/ 1254476 h 1261872"/>
                      <a:gd name="connsiteX4" fmla="*/ 94134 w 188259"/>
                      <a:gd name="connsiteY4" fmla="*/ 1261872 h 1261872"/>
                      <a:gd name="connsiteX5" fmla="*/ 94130 w 188259"/>
                      <a:gd name="connsiteY5" fmla="*/ 1261872 h 1261872"/>
                      <a:gd name="connsiteX6" fmla="*/ 0 w 188259"/>
                      <a:gd name="connsiteY6" fmla="*/ 1167742 h 1261872"/>
                      <a:gd name="connsiteX7" fmla="*/ 0 w 188259"/>
                      <a:gd name="connsiteY7" fmla="*/ 0 h 1261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259" h="1261872">
                        <a:moveTo>
                          <a:pt x="0" y="0"/>
                        </a:moveTo>
                        <a:lnTo>
                          <a:pt x="188259" y="0"/>
                        </a:lnTo>
                        <a:lnTo>
                          <a:pt x="188259" y="1167743"/>
                        </a:lnTo>
                        <a:cubicBezTo>
                          <a:pt x="188259" y="1206733"/>
                          <a:pt x="164554" y="1240186"/>
                          <a:pt x="130769" y="1254476"/>
                        </a:cubicBezTo>
                        <a:lnTo>
                          <a:pt x="94134" y="1261872"/>
                        </a:lnTo>
                        <a:lnTo>
                          <a:pt x="94130" y="1261872"/>
                        </a:lnTo>
                        <a:cubicBezTo>
                          <a:pt x="42143" y="1261872"/>
                          <a:pt x="0" y="1219729"/>
                          <a:pt x="0" y="1167742"/>
                        </a:cubicBezTo>
                        <a:lnTo>
                          <a:pt x="0" y="0"/>
                        </a:lnTo>
                        <a:close/>
                      </a:path>
                    </a:pathLst>
                  </a:custGeom>
                  <a:solidFill>
                    <a:srgbClr val="00A3A1"/>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nvGrpSpPr>
                  <p:cNvPr id="21" name="Group 20">
                    <a:extLst>
                      <a:ext uri="{FF2B5EF4-FFF2-40B4-BE49-F238E27FC236}">
                        <a16:creationId xmlns:a16="http://schemas.microsoft.com/office/drawing/2014/main" id="{7503A7EE-3123-4C40-B50F-E7859E8F9E23}"/>
                      </a:ext>
                    </a:extLst>
                  </p:cNvPr>
                  <p:cNvGrpSpPr/>
                  <p:nvPr/>
                </p:nvGrpSpPr>
                <p:grpSpPr>
                  <a:xfrm>
                    <a:off x="1285274" y="5917845"/>
                    <a:ext cx="548288" cy="548288"/>
                    <a:chOff x="1285274" y="5917845"/>
                    <a:chExt cx="548288" cy="548288"/>
                  </a:xfrm>
                </p:grpSpPr>
                <p:grpSp>
                  <p:nvGrpSpPr>
                    <p:cNvPr id="22" name="Group 21">
                      <a:extLst>
                        <a:ext uri="{FF2B5EF4-FFF2-40B4-BE49-F238E27FC236}">
                          <a16:creationId xmlns:a16="http://schemas.microsoft.com/office/drawing/2014/main" id="{4A305BB6-8284-45A7-BCA6-4CB4FD709D2C}"/>
                        </a:ext>
                      </a:extLst>
                    </p:cNvPr>
                    <p:cNvGrpSpPr/>
                    <p:nvPr/>
                  </p:nvGrpSpPr>
                  <p:grpSpPr>
                    <a:xfrm>
                      <a:off x="1285274" y="5917845"/>
                      <a:ext cx="548288" cy="548288"/>
                      <a:chOff x="4114891" y="1309087"/>
                      <a:chExt cx="548288" cy="548288"/>
                    </a:xfrm>
                  </p:grpSpPr>
                  <p:sp>
                    <p:nvSpPr>
                      <p:cNvPr id="24" name="Oval 23">
                        <a:extLst>
                          <a:ext uri="{FF2B5EF4-FFF2-40B4-BE49-F238E27FC236}">
                            <a16:creationId xmlns:a16="http://schemas.microsoft.com/office/drawing/2014/main" id="{45A3AB98-63A5-4770-AD8B-94EEBFBA02D2}"/>
                          </a:ext>
                        </a:extLst>
                      </p:cNvPr>
                      <p:cNvSpPr/>
                      <p:nvPr/>
                    </p:nvSpPr>
                    <p:spPr>
                      <a:xfrm>
                        <a:off x="4114891" y="1309087"/>
                        <a:ext cx="548288" cy="548288"/>
                      </a:xfrm>
                      <a:prstGeom prst="ellipse">
                        <a:avLst/>
                      </a:prstGeom>
                      <a:solidFill>
                        <a:srgbClr val="00A3A1">
                          <a:lumMod val="75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sp>
                    <p:nvSpPr>
                      <p:cNvPr id="25" name="Oval 24">
                        <a:extLst>
                          <a:ext uri="{FF2B5EF4-FFF2-40B4-BE49-F238E27FC236}">
                            <a16:creationId xmlns:a16="http://schemas.microsoft.com/office/drawing/2014/main" id="{5259DD1E-8657-45F9-BE3F-94127AA8C19B}"/>
                          </a:ext>
                        </a:extLst>
                      </p:cNvPr>
                      <p:cNvSpPr/>
                      <p:nvPr/>
                    </p:nvSpPr>
                    <p:spPr>
                      <a:xfrm>
                        <a:off x="4187020" y="1381216"/>
                        <a:ext cx="404030" cy="404030"/>
                      </a:xfrm>
                      <a:prstGeom prst="ellipse">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sp>
                  <p:nvSpPr>
                    <p:cNvPr id="23" name="TextBox 115">
                      <a:extLst>
                        <a:ext uri="{FF2B5EF4-FFF2-40B4-BE49-F238E27FC236}">
                          <a16:creationId xmlns:a16="http://schemas.microsoft.com/office/drawing/2014/main" id="{358D4619-700D-4C05-851D-C2C892198063}"/>
                        </a:ext>
                      </a:extLst>
                    </p:cNvPr>
                    <p:cNvSpPr txBox="1"/>
                    <p:nvPr/>
                  </p:nvSpPr>
                  <p:spPr>
                    <a:xfrm>
                      <a:off x="1301241" y="5993149"/>
                      <a:ext cx="514912" cy="3804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A3A1">
                              <a:lumMod val="75000"/>
                            </a:srgbClr>
                          </a:solidFill>
                          <a:effectLst/>
                          <a:uLnTx/>
                          <a:uFillTx/>
                          <a:latin typeface="Univers for KPMG" panose="020B0603020202020204" pitchFamily="34" charset="0"/>
                          <a:ea typeface="Cambria Math" panose="02040503050406030204" pitchFamily="18" charset="0"/>
                          <a:cs typeface="Arial" panose="020B0604020202020204" pitchFamily="34" charset="0"/>
                        </a:rPr>
                        <a:t>05</a:t>
                      </a:r>
                    </a:p>
                  </p:txBody>
                </p:sp>
              </p:grpSp>
            </p:grpSp>
          </p:grpSp>
        </p:grpSp>
      </p:grpSp>
    </p:spTree>
    <p:custDataLst>
      <p:tags r:id="rId1"/>
    </p:custDataLst>
    <p:extLst>
      <p:ext uri="{BB962C8B-B14F-4D97-AF65-F5344CB8AC3E}">
        <p14:creationId xmlns:p14="http://schemas.microsoft.com/office/powerpoint/2010/main" val="17365176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A1AA09C-F596-1BA4-FB1F-0CB3EB6D642C}"/>
              </a:ext>
            </a:extLst>
          </p:cNvPr>
          <p:cNvGrpSpPr>
            <a:grpSpLocks noChangeAspect="1"/>
          </p:cNvGrpSpPr>
          <p:nvPr/>
        </p:nvGrpSpPr>
        <p:grpSpPr>
          <a:xfrm>
            <a:off x="4962808" y="1853610"/>
            <a:ext cx="4749955" cy="4601349"/>
            <a:chOff x="1285274" y="502807"/>
            <a:chExt cx="6524237" cy="6320118"/>
          </a:xfrm>
        </p:grpSpPr>
        <p:grpSp>
          <p:nvGrpSpPr>
            <p:cNvPr id="3" name="Group 2">
              <a:extLst>
                <a:ext uri="{FF2B5EF4-FFF2-40B4-BE49-F238E27FC236}">
                  <a16:creationId xmlns:a16="http://schemas.microsoft.com/office/drawing/2014/main" id="{64AAC912-B75F-6974-378C-260AACEA3B46}"/>
                </a:ext>
              </a:extLst>
            </p:cNvPr>
            <p:cNvGrpSpPr/>
            <p:nvPr/>
          </p:nvGrpSpPr>
          <p:grpSpPr>
            <a:xfrm>
              <a:off x="1285274" y="502807"/>
              <a:ext cx="5254075" cy="5729174"/>
              <a:chOff x="1285274" y="502807"/>
              <a:chExt cx="5254075" cy="5729174"/>
            </a:xfrm>
          </p:grpSpPr>
          <p:grpSp>
            <p:nvGrpSpPr>
              <p:cNvPr id="54" name="Group 53">
                <a:extLst>
                  <a:ext uri="{FF2B5EF4-FFF2-40B4-BE49-F238E27FC236}">
                    <a16:creationId xmlns:a16="http://schemas.microsoft.com/office/drawing/2014/main" id="{0AF673A8-C98D-1D86-C84B-3A819763DA60}"/>
                  </a:ext>
                </a:extLst>
              </p:cNvPr>
              <p:cNvGrpSpPr/>
              <p:nvPr/>
            </p:nvGrpSpPr>
            <p:grpSpPr>
              <a:xfrm>
                <a:off x="1952452" y="1136154"/>
                <a:ext cx="4397102" cy="5095827"/>
                <a:chOff x="-4990" y="1221012"/>
                <a:chExt cx="4397102" cy="5095827"/>
              </a:xfrm>
            </p:grpSpPr>
            <p:sp>
              <p:nvSpPr>
                <p:cNvPr id="64" name="Rectangle 63">
                  <a:extLst>
                    <a:ext uri="{FF2B5EF4-FFF2-40B4-BE49-F238E27FC236}">
                      <a16:creationId xmlns:a16="http://schemas.microsoft.com/office/drawing/2014/main" id="{1B95D792-0153-CC8A-7FA3-929A822E54A1}"/>
                    </a:ext>
                  </a:extLst>
                </p:cNvPr>
                <p:cNvSpPr/>
                <p:nvPr/>
              </p:nvSpPr>
              <p:spPr>
                <a:xfrm flipH="1">
                  <a:off x="73927" y="1221012"/>
                  <a:ext cx="4318185" cy="33819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a:ln>
                      <a:noFill/>
                    </a:ln>
                    <a:solidFill>
                      <a:srgbClr val="7F7F7F"/>
                    </a:solidFill>
                    <a:effectLst/>
                    <a:uLnTx/>
                    <a:uFillTx/>
                    <a:latin typeface="Univers for KPMG" panose="020B0603020202020204" pitchFamily="34" charset="0"/>
                    <a:ea typeface="+mn-ea"/>
                    <a:cs typeface="Arial" panose="020B0604020202020204" pitchFamily="34" charset="0"/>
                  </a:endParaRPr>
                </a:p>
              </p:txBody>
            </p:sp>
            <p:sp>
              <p:nvSpPr>
                <p:cNvPr id="65" name="TextBox 81">
                  <a:extLst>
                    <a:ext uri="{FF2B5EF4-FFF2-40B4-BE49-F238E27FC236}">
                      <a16:creationId xmlns:a16="http://schemas.microsoft.com/office/drawing/2014/main" id="{F842A082-3D9E-A620-20C0-FEACD97DD6C3}"/>
                    </a:ext>
                  </a:extLst>
                </p:cNvPr>
                <p:cNvSpPr txBox="1"/>
                <p:nvPr/>
              </p:nvSpPr>
              <p:spPr>
                <a:xfrm flipH="1">
                  <a:off x="-4990" y="5809548"/>
                  <a:ext cx="4275412" cy="50729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00A3A1"/>
                      </a:solidFill>
                      <a:effectLst/>
                      <a:uLnTx/>
                      <a:uFillTx/>
                      <a:latin typeface="Calibri" panose="020F0502020204030204"/>
                      <a:ea typeface="+mn-ea"/>
                      <a:cs typeface="Arial" panose="020B0604020202020204" pitchFamily="34" charset="0"/>
                    </a:rPr>
                    <a:t>Contract Administration </a:t>
                  </a:r>
                </a:p>
              </p:txBody>
            </p:sp>
          </p:grpSp>
          <p:grpSp>
            <p:nvGrpSpPr>
              <p:cNvPr id="55" name="Group 54">
                <a:extLst>
                  <a:ext uri="{FF2B5EF4-FFF2-40B4-BE49-F238E27FC236}">
                    <a16:creationId xmlns:a16="http://schemas.microsoft.com/office/drawing/2014/main" id="{4F6B750D-1FA1-A60E-11EB-9677331A6A20}"/>
                  </a:ext>
                </a:extLst>
              </p:cNvPr>
              <p:cNvGrpSpPr/>
              <p:nvPr/>
            </p:nvGrpSpPr>
            <p:grpSpPr>
              <a:xfrm>
                <a:off x="1285274" y="502807"/>
                <a:ext cx="5254075" cy="1261872"/>
                <a:chOff x="1285274" y="502807"/>
                <a:chExt cx="5254075" cy="1261872"/>
              </a:xfrm>
            </p:grpSpPr>
            <p:cxnSp>
              <p:nvCxnSpPr>
                <p:cNvPr id="56" name="Straight Connector 55">
                  <a:extLst>
                    <a:ext uri="{FF2B5EF4-FFF2-40B4-BE49-F238E27FC236}">
                      <a16:creationId xmlns:a16="http://schemas.microsoft.com/office/drawing/2014/main" id="{5EBB59EC-C088-8A96-D6B6-2404D2CF6D76}"/>
                    </a:ext>
                  </a:extLst>
                </p:cNvPr>
                <p:cNvCxnSpPr/>
                <p:nvPr/>
              </p:nvCxnSpPr>
              <p:spPr>
                <a:xfrm>
                  <a:off x="1601589" y="1127393"/>
                  <a:ext cx="4937760" cy="0"/>
                </a:xfrm>
                <a:prstGeom prst="line">
                  <a:avLst/>
                </a:prstGeom>
                <a:noFill/>
                <a:ln w="6350" cap="flat" cmpd="sng" algn="ctr">
                  <a:solidFill>
                    <a:srgbClr val="00338D"/>
                  </a:solidFill>
                  <a:prstDash val="solid"/>
                  <a:miter lim="800000"/>
                </a:ln>
                <a:effectLst/>
              </p:spPr>
            </p:cxnSp>
            <p:grpSp>
              <p:nvGrpSpPr>
                <p:cNvPr id="57" name="Group 56">
                  <a:extLst>
                    <a:ext uri="{FF2B5EF4-FFF2-40B4-BE49-F238E27FC236}">
                      <a16:creationId xmlns:a16="http://schemas.microsoft.com/office/drawing/2014/main" id="{B6219ED4-6CF6-C724-F690-444633C32C5D}"/>
                    </a:ext>
                  </a:extLst>
                </p:cNvPr>
                <p:cNvGrpSpPr/>
                <p:nvPr/>
              </p:nvGrpSpPr>
              <p:grpSpPr>
                <a:xfrm>
                  <a:off x="1285274" y="502807"/>
                  <a:ext cx="548288" cy="1261872"/>
                  <a:chOff x="1285274" y="502807"/>
                  <a:chExt cx="548288" cy="1261872"/>
                </a:xfrm>
              </p:grpSpPr>
              <p:sp>
                <p:nvSpPr>
                  <p:cNvPr id="58" name="Freeform 109">
                    <a:extLst>
                      <a:ext uri="{FF2B5EF4-FFF2-40B4-BE49-F238E27FC236}">
                        <a16:creationId xmlns:a16="http://schemas.microsoft.com/office/drawing/2014/main" id="{D0D52C29-6887-EF52-9614-706F967030E9}"/>
                      </a:ext>
                    </a:extLst>
                  </p:cNvPr>
                  <p:cNvSpPr/>
                  <p:nvPr/>
                </p:nvSpPr>
                <p:spPr>
                  <a:xfrm>
                    <a:off x="1465288" y="502807"/>
                    <a:ext cx="188260" cy="1261872"/>
                  </a:xfrm>
                  <a:custGeom>
                    <a:avLst/>
                    <a:gdLst>
                      <a:gd name="connsiteX0" fmla="*/ 94130 w 188260"/>
                      <a:gd name="connsiteY0" fmla="*/ 0 h 1261872"/>
                      <a:gd name="connsiteX1" fmla="*/ 188260 w 188260"/>
                      <a:gd name="connsiteY1" fmla="*/ 94130 h 1261872"/>
                      <a:gd name="connsiteX2" fmla="*/ 188260 w 188260"/>
                      <a:gd name="connsiteY2" fmla="*/ 1261872 h 1261872"/>
                      <a:gd name="connsiteX3" fmla="*/ 0 w 188260"/>
                      <a:gd name="connsiteY3" fmla="*/ 1261872 h 1261872"/>
                      <a:gd name="connsiteX4" fmla="*/ 0 w 188260"/>
                      <a:gd name="connsiteY4" fmla="*/ 94130 h 1261872"/>
                      <a:gd name="connsiteX5" fmla="*/ 94130 w 188260"/>
                      <a:gd name="connsiteY5" fmla="*/ 0 h 1261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260" h="1261872">
                        <a:moveTo>
                          <a:pt x="94130" y="0"/>
                        </a:moveTo>
                        <a:cubicBezTo>
                          <a:pt x="146117" y="0"/>
                          <a:pt x="188260" y="42143"/>
                          <a:pt x="188260" y="94130"/>
                        </a:cubicBezTo>
                        <a:lnTo>
                          <a:pt x="188260" y="1261872"/>
                        </a:lnTo>
                        <a:lnTo>
                          <a:pt x="0" y="1261872"/>
                        </a:lnTo>
                        <a:lnTo>
                          <a:pt x="0" y="94130"/>
                        </a:lnTo>
                        <a:cubicBezTo>
                          <a:pt x="0" y="42143"/>
                          <a:pt x="42143" y="0"/>
                          <a:pt x="94130" y="0"/>
                        </a:cubicBezTo>
                        <a:close/>
                      </a:path>
                    </a:pathLst>
                  </a:custGeom>
                  <a:solidFill>
                    <a:srgbClr val="00338D"/>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nvGrpSpPr>
                  <p:cNvPr id="59" name="Group 58">
                    <a:extLst>
                      <a:ext uri="{FF2B5EF4-FFF2-40B4-BE49-F238E27FC236}">
                        <a16:creationId xmlns:a16="http://schemas.microsoft.com/office/drawing/2014/main" id="{04C916B6-F923-7597-84E5-8EE64441F1EB}"/>
                      </a:ext>
                    </a:extLst>
                  </p:cNvPr>
                  <p:cNvGrpSpPr/>
                  <p:nvPr/>
                </p:nvGrpSpPr>
                <p:grpSpPr>
                  <a:xfrm>
                    <a:off x="1285274" y="859599"/>
                    <a:ext cx="548288" cy="548288"/>
                    <a:chOff x="1285274" y="859599"/>
                    <a:chExt cx="548288" cy="548288"/>
                  </a:xfrm>
                </p:grpSpPr>
                <p:grpSp>
                  <p:nvGrpSpPr>
                    <p:cNvPr id="60" name="Group 59">
                      <a:extLst>
                        <a:ext uri="{FF2B5EF4-FFF2-40B4-BE49-F238E27FC236}">
                          <a16:creationId xmlns:a16="http://schemas.microsoft.com/office/drawing/2014/main" id="{125B1425-3D7F-5CBA-1894-E367782204DA}"/>
                        </a:ext>
                      </a:extLst>
                    </p:cNvPr>
                    <p:cNvGrpSpPr/>
                    <p:nvPr/>
                  </p:nvGrpSpPr>
                  <p:grpSpPr>
                    <a:xfrm>
                      <a:off x="1285274" y="859599"/>
                      <a:ext cx="548288" cy="548288"/>
                      <a:chOff x="4114891" y="1309087"/>
                      <a:chExt cx="548288" cy="548288"/>
                    </a:xfrm>
                  </p:grpSpPr>
                  <p:sp>
                    <p:nvSpPr>
                      <p:cNvPr id="62" name="Oval 61">
                        <a:extLst>
                          <a:ext uri="{FF2B5EF4-FFF2-40B4-BE49-F238E27FC236}">
                            <a16:creationId xmlns:a16="http://schemas.microsoft.com/office/drawing/2014/main" id="{E1F27165-5C4B-BA66-6308-3C0306B28FF0}"/>
                          </a:ext>
                        </a:extLst>
                      </p:cNvPr>
                      <p:cNvSpPr/>
                      <p:nvPr/>
                    </p:nvSpPr>
                    <p:spPr>
                      <a:xfrm>
                        <a:off x="4114891" y="1309087"/>
                        <a:ext cx="548288" cy="548288"/>
                      </a:xfrm>
                      <a:prstGeom prst="ellipse">
                        <a:avLst/>
                      </a:prstGeom>
                      <a:solidFill>
                        <a:srgbClr val="00338D">
                          <a:lumMod val="75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338D"/>
                          </a:solidFill>
                          <a:effectLst/>
                          <a:uLnTx/>
                          <a:uFillTx/>
                          <a:latin typeface="Univers for KPMG" panose="020B0603020202020204" pitchFamily="34" charset="0"/>
                          <a:ea typeface="+mn-ea"/>
                          <a:cs typeface="Arial" panose="020B0604020202020204" pitchFamily="34" charset="0"/>
                        </a:endParaRPr>
                      </a:p>
                    </p:txBody>
                  </p:sp>
                  <p:sp>
                    <p:nvSpPr>
                      <p:cNvPr id="63" name="Oval 62">
                        <a:extLst>
                          <a:ext uri="{FF2B5EF4-FFF2-40B4-BE49-F238E27FC236}">
                            <a16:creationId xmlns:a16="http://schemas.microsoft.com/office/drawing/2014/main" id="{669400FB-7F93-7811-70B8-33E3A88B2458}"/>
                          </a:ext>
                        </a:extLst>
                      </p:cNvPr>
                      <p:cNvSpPr/>
                      <p:nvPr/>
                    </p:nvSpPr>
                    <p:spPr>
                      <a:xfrm>
                        <a:off x="4187020" y="1381216"/>
                        <a:ext cx="404030" cy="404030"/>
                      </a:xfrm>
                      <a:prstGeom prst="ellipse">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sp>
                  <p:nvSpPr>
                    <p:cNvPr id="61" name="TextBox 111">
                      <a:extLst>
                        <a:ext uri="{FF2B5EF4-FFF2-40B4-BE49-F238E27FC236}">
                          <a16:creationId xmlns:a16="http://schemas.microsoft.com/office/drawing/2014/main" id="{9929BA44-C61D-C587-CFDC-A80D3B3880BC}"/>
                        </a:ext>
                      </a:extLst>
                    </p:cNvPr>
                    <p:cNvSpPr txBox="1"/>
                    <p:nvPr/>
                  </p:nvSpPr>
                  <p:spPr>
                    <a:xfrm>
                      <a:off x="1301241" y="938840"/>
                      <a:ext cx="514912" cy="3804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338D"/>
                          </a:solidFill>
                          <a:effectLst/>
                          <a:uLnTx/>
                          <a:uFillTx/>
                          <a:latin typeface="Univers for KPMG" panose="020B0603020202020204" pitchFamily="34" charset="0"/>
                          <a:ea typeface="Cambria Math" panose="02040503050406030204" pitchFamily="18" charset="0"/>
                          <a:cs typeface="Arial" panose="020B0604020202020204" pitchFamily="34" charset="0"/>
                        </a:rPr>
                        <a:t>01</a:t>
                      </a:r>
                    </a:p>
                  </p:txBody>
                </p:sp>
              </p:grpSp>
            </p:grpSp>
          </p:grpSp>
        </p:grpSp>
        <p:grpSp>
          <p:nvGrpSpPr>
            <p:cNvPr id="5" name="Group 4">
              <a:extLst>
                <a:ext uri="{FF2B5EF4-FFF2-40B4-BE49-F238E27FC236}">
                  <a16:creationId xmlns:a16="http://schemas.microsoft.com/office/drawing/2014/main" id="{B4CB40F8-5EDB-C08E-60A3-33E231D14CE7}"/>
                </a:ext>
              </a:extLst>
            </p:cNvPr>
            <p:cNvGrpSpPr/>
            <p:nvPr/>
          </p:nvGrpSpPr>
          <p:grpSpPr>
            <a:xfrm>
              <a:off x="1285274" y="1764679"/>
              <a:ext cx="5254075" cy="3217068"/>
              <a:chOff x="1285274" y="1764679"/>
              <a:chExt cx="5254075" cy="3217068"/>
            </a:xfrm>
          </p:grpSpPr>
          <p:sp>
            <p:nvSpPr>
              <p:cNvPr id="44" name="TextBox 81">
                <a:extLst>
                  <a:ext uri="{FF2B5EF4-FFF2-40B4-BE49-F238E27FC236}">
                    <a16:creationId xmlns:a16="http://schemas.microsoft.com/office/drawing/2014/main" id="{2422E1B1-C5A0-D64F-A838-389074722B24}"/>
                  </a:ext>
                </a:extLst>
              </p:cNvPr>
              <p:cNvSpPr txBox="1"/>
              <p:nvPr/>
            </p:nvSpPr>
            <p:spPr>
              <a:xfrm flipH="1">
                <a:off x="1952453" y="4474456"/>
                <a:ext cx="4275411" cy="50729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005EB8"/>
                    </a:solidFill>
                    <a:effectLst/>
                    <a:uLnTx/>
                    <a:uFillTx/>
                    <a:latin typeface="Calibri" panose="020F0502020204030204"/>
                    <a:ea typeface="+mn-ea"/>
                    <a:cs typeface="Arial" panose="020B0604020202020204" pitchFamily="34" charset="0"/>
                  </a:rPr>
                  <a:t>Procurement</a:t>
                </a:r>
              </a:p>
            </p:txBody>
          </p:sp>
          <p:grpSp>
            <p:nvGrpSpPr>
              <p:cNvPr id="45" name="Group 44">
                <a:extLst>
                  <a:ext uri="{FF2B5EF4-FFF2-40B4-BE49-F238E27FC236}">
                    <a16:creationId xmlns:a16="http://schemas.microsoft.com/office/drawing/2014/main" id="{C2342CDB-40D9-D0E8-4077-4382A47361EA}"/>
                  </a:ext>
                </a:extLst>
              </p:cNvPr>
              <p:cNvGrpSpPr/>
              <p:nvPr/>
            </p:nvGrpSpPr>
            <p:grpSpPr>
              <a:xfrm>
                <a:off x="1285274" y="1764679"/>
                <a:ext cx="5254075" cy="1272628"/>
                <a:chOff x="1285274" y="1764679"/>
                <a:chExt cx="5254075" cy="1272628"/>
              </a:xfrm>
            </p:grpSpPr>
            <p:cxnSp>
              <p:nvCxnSpPr>
                <p:cNvPr id="46" name="Straight Connector 45">
                  <a:extLst>
                    <a:ext uri="{FF2B5EF4-FFF2-40B4-BE49-F238E27FC236}">
                      <a16:creationId xmlns:a16="http://schemas.microsoft.com/office/drawing/2014/main" id="{61F618B1-E8B1-21E5-307F-11A7D56D7EA1}"/>
                    </a:ext>
                  </a:extLst>
                </p:cNvPr>
                <p:cNvCxnSpPr>
                  <a:cxnSpLocks/>
                </p:cNvCxnSpPr>
                <p:nvPr/>
              </p:nvCxnSpPr>
              <p:spPr>
                <a:xfrm>
                  <a:off x="1601589" y="2397818"/>
                  <a:ext cx="4937760" cy="0"/>
                </a:xfrm>
                <a:prstGeom prst="line">
                  <a:avLst/>
                </a:prstGeom>
                <a:noFill/>
                <a:ln w="6350" cap="flat" cmpd="sng" algn="ctr">
                  <a:solidFill>
                    <a:srgbClr val="0091DA"/>
                  </a:solidFill>
                  <a:prstDash val="solid"/>
                  <a:miter lim="800000"/>
                </a:ln>
                <a:effectLst/>
              </p:spPr>
            </p:cxnSp>
            <p:grpSp>
              <p:nvGrpSpPr>
                <p:cNvPr id="47" name="Group 46">
                  <a:extLst>
                    <a:ext uri="{FF2B5EF4-FFF2-40B4-BE49-F238E27FC236}">
                      <a16:creationId xmlns:a16="http://schemas.microsoft.com/office/drawing/2014/main" id="{4ACDC5A8-A6AC-C44F-8795-F1039F44E817}"/>
                    </a:ext>
                  </a:extLst>
                </p:cNvPr>
                <p:cNvGrpSpPr/>
                <p:nvPr/>
              </p:nvGrpSpPr>
              <p:grpSpPr>
                <a:xfrm>
                  <a:off x="1285274" y="1764679"/>
                  <a:ext cx="548288" cy="1272628"/>
                  <a:chOff x="1285274" y="1764679"/>
                  <a:chExt cx="548288" cy="1272628"/>
                </a:xfrm>
              </p:grpSpPr>
              <p:sp>
                <p:nvSpPr>
                  <p:cNvPr id="48" name="Freeform 84">
                    <a:extLst>
                      <a:ext uri="{FF2B5EF4-FFF2-40B4-BE49-F238E27FC236}">
                        <a16:creationId xmlns:a16="http://schemas.microsoft.com/office/drawing/2014/main" id="{9014E2EE-7EC6-A486-E3CE-EE39D42B4864}"/>
                      </a:ext>
                    </a:extLst>
                  </p:cNvPr>
                  <p:cNvSpPr/>
                  <p:nvPr/>
                </p:nvSpPr>
                <p:spPr>
                  <a:xfrm>
                    <a:off x="1465288" y="1764679"/>
                    <a:ext cx="188260" cy="1272628"/>
                  </a:xfrm>
                  <a:custGeom>
                    <a:avLst/>
                    <a:gdLst>
                      <a:gd name="connsiteX0" fmla="*/ 0 w 188260"/>
                      <a:gd name="connsiteY0" fmla="*/ 0 h 1272628"/>
                      <a:gd name="connsiteX1" fmla="*/ 188260 w 188260"/>
                      <a:gd name="connsiteY1" fmla="*/ 0 h 1272628"/>
                      <a:gd name="connsiteX2" fmla="*/ 188260 w 188260"/>
                      <a:gd name="connsiteY2" fmla="*/ 1272628 h 1272628"/>
                      <a:gd name="connsiteX3" fmla="*/ 0 w 188260"/>
                      <a:gd name="connsiteY3" fmla="*/ 1272628 h 1272628"/>
                      <a:gd name="connsiteX4" fmla="*/ 0 w 188260"/>
                      <a:gd name="connsiteY4" fmla="*/ 0 h 12726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260" h="1272628">
                        <a:moveTo>
                          <a:pt x="0" y="0"/>
                        </a:moveTo>
                        <a:lnTo>
                          <a:pt x="188260" y="0"/>
                        </a:lnTo>
                        <a:lnTo>
                          <a:pt x="188260" y="1272628"/>
                        </a:lnTo>
                        <a:lnTo>
                          <a:pt x="0" y="1272628"/>
                        </a:lnTo>
                        <a:lnTo>
                          <a:pt x="0" y="0"/>
                        </a:lnTo>
                        <a:close/>
                      </a:path>
                    </a:pathLst>
                  </a:custGeom>
                  <a:solidFill>
                    <a:srgbClr val="0099D5"/>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91DA"/>
                      </a:solidFill>
                      <a:effectLst/>
                      <a:uLnTx/>
                      <a:uFillTx/>
                      <a:latin typeface="Univers for KPMG" panose="020B0603020202020204" pitchFamily="34" charset="0"/>
                      <a:ea typeface="+mn-ea"/>
                      <a:cs typeface="Arial" panose="020B0604020202020204" pitchFamily="34" charset="0"/>
                    </a:endParaRPr>
                  </a:p>
                </p:txBody>
              </p:sp>
              <p:grpSp>
                <p:nvGrpSpPr>
                  <p:cNvPr id="49" name="Group 48">
                    <a:extLst>
                      <a:ext uri="{FF2B5EF4-FFF2-40B4-BE49-F238E27FC236}">
                        <a16:creationId xmlns:a16="http://schemas.microsoft.com/office/drawing/2014/main" id="{6ECA9A74-0F0C-FF4A-7046-876954E9988B}"/>
                      </a:ext>
                    </a:extLst>
                  </p:cNvPr>
                  <p:cNvGrpSpPr/>
                  <p:nvPr/>
                </p:nvGrpSpPr>
                <p:grpSpPr>
                  <a:xfrm>
                    <a:off x="1285274" y="2126849"/>
                    <a:ext cx="548288" cy="548288"/>
                    <a:chOff x="1285274" y="2126849"/>
                    <a:chExt cx="548288" cy="548288"/>
                  </a:xfrm>
                </p:grpSpPr>
                <p:grpSp>
                  <p:nvGrpSpPr>
                    <p:cNvPr id="50" name="Group 49">
                      <a:extLst>
                        <a:ext uri="{FF2B5EF4-FFF2-40B4-BE49-F238E27FC236}">
                          <a16:creationId xmlns:a16="http://schemas.microsoft.com/office/drawing/2014/main" id="{2D22DC9A-3A59-8B64-B3CF-39287CD56AEF}"/>
                        </a:ext>
                      </a:extLst>
                    </p:cNvPr>
                    <p:cNvGrpSpPr/>
                    <p:nvPr/>
                  </p:nvGrpSpPr>
                  <p:grpSpPr>
                    <a:xfrm>
                      <a:off x="1285274" y="2126849"/>
                      <a:ext cx="548288" cy="548288"/>
                      <a:chOff x="4114891" y="1309087"/>
                      <a:chExt cx="548288" cy="548288"/>
                    </a:xfrm>
                  </p:grpSpPr>
                  <p:sp>
                    <p:nvSpPr>
                      <p:cNvPr id="52" name="Oval 51">
                        <a:extLst>
                          <a:ext uri="{FF2B5EF4-FFF2-40B4-BE49-F238E27FC236}">
                            <a16:creationId xmlns:a16="http://schemas.microsoft.com/office/drawing/2014/main" id="{037EB7CD-8290-ECEF-C9D2-70DA3A471DFA}"/>
                          </a:ext>
                        </a:extLst>
                      </p:cNvPr>
                      <p:cNvSpPr/>
                      <p:nvPr/>
                    </p:nvSpPr>
                    <p:spPr>
                      <a:xfrm>
                        <a:off x="4114891" y="1309087"/>
                        <a:ext cx="548288" cy="548288"/>
                      </a:xfrm>
                      <a:prstGeom prst="ellipse">
                        <a:avLst/>
                      </a:prstGeom>
                      <a:solidFill>
                        <a:srgbClr val="0091DA">
                          <a:lumMod val="75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sp>
                    <p:nvSpPr>
                      <p:cNvPr id="53" name="Oval 52">
                        <a:extLst>
                          <a:ext uri="{FF2B5EF4-FFF2-40B4-BE49-F238E27FC236}">
                            <a16:creationId xmlns:a16="http://schemas.microsoft.com/office/drawing/2014/main" id="{50523C03-D640-0025-52CF-D6BD8DF6FA98}"/>
                          </a:ext>
                        </a:extLst>
                      </p:cNvPr>
                      <p:cNvSpPr/>
                      <p:nvPr/>
                    </p:nvSpPr>
                    <p:spPr>
                      <a:xfrm>
                        <a:off x="4187020" y="1381216"/>
                        <a:ext cx="404030" cy="404030"/>
                      </a:xfrm>
                      <a:prstGeom prst="ellipse">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sp>
                  <p:nvSpPr>
                    <p:cNvPr id="51" name="TextBox 112">
                      <a:extLst>
                        <a:ext uri="{FF2B5EF4-FFF2-40B4-BE49-F238E27FC236}">
                          <a16:creationId xmlns:a16="http://schemas.microsoft.com/office/drawing/2014/main" id="{FC64B2F8-70B9-4077-D92A-09C3E5DBB6B4}"/>
                        </a:ext>
                      </a:extLst>
                    </p:cNvPr>
                    <p:cNvSpPr txBox="1"/>
                    <p:nvPr/>
                  </p:nvSpPr>
                  <p:spPr>
                    <a:xfrm>
                      <a:off x="1301241" y="2217545"/>
                      <a:ext cx="514912" cy="3804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91DA">
                              <a:lumMod val="75000"/>
                            </a:srgbClr>
                          </a:solidFill>
                          <a:effectLst/>
                          <a:uLnTx/>
                          <a:uFillTx/>
                          <a:latin typeface="Univers for KPMG" panose="020B0603020202020204" pitchFamily="34" charset="0"/>
                          <a:ea typeface="Cambria Math" panose="02040503050406030204" pitchFamily="18" charset="0"/>
                          <a:cs typeface="Arial" panose="020B0604020202020204" pitchFamily="34" charset="0"/>
                        </a:rPr>
                        <a:t>02</a:t>
                      </a:r>
                    </a:p>
                  </p:txBody>
                </p:sp>
              </p:grpSp>
            </p:grpSp>
          </p:grpSp>
        </p:grpSp>
        <p:grpSp>
          <p:nvGrpSpPr>
            <p:cNvPr id="6" name="Group 5">
              <a:extLst>
                <a:ext uri="{FF2B5EF4-FFF2-40B4-BE49-F238E27FC236}">
                  <a16:creationId xmlns:a16="http://schemas.microsoft.com/office/drawing/2014/main" id="{855183AC-82EA-A6F5-262B-D9BCF6D97F21}"/>
                </a:ext>
              </a:extLst>
            </p:cNvPr>
            <p:cNvGrpSpPr/>
            <p:nvPr/>
          </p:nvGrpSpPr>
          <p:grpSpPr>
            <a:xfrm>
              <a:off x="1285274" y="1942658"/>
              <a:ext cx="6524237" cy="2356522"/>
              <a:chOff x="1285274" y="1942658"/>
              <a:chExt cx="6524237" cy="2356522"/>
            </a:xfrm>
          </p:grpSpPr>
          <p:sp>
            <p:nvSpPr>
              <p:cNvPr id="33" name="TextBox 81">
                <a:extLst>
                  <a:ext uri="{FF2B5EF4-FFF2-40B4-BE49-F238E27FC236}">
                    <a16:creationId xmlns:a16="http://schemas.microsoft.com/office/drawing/2014/main" id="{CA444DB0-8EFA-CEBE-A549-0D1E9CB3EBF8}"/>
                  </a:ext>
                </a:extLst>
              </p:cNvPr>
              <p:cNvSpPr txBox="1"/>
              <p:nvPr/>
            </p:nvSpPr>
            <p:spPr>
              <a:xfrm flipH="1">
                <a:off x="1952454" y="1942658"/>
                <a:ext cx="4275411" cy="50729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0099D5"/>
                    </a:solidFill>
                    <a:effectLst/>
                    <a:uLnTx/>
                    <a:uFillTx/>
                    <a:latin typeface="Calibri" panose="020F0502020204030204"/>
                    <a:ea typeface="+mn-ea"/>
                    <a:cs typeface="Arial" panose="020B0604020202020204" pitchFamily="34" charset="0"/>
                  </a:rPr>
                  <a:t>Policy and Procedure</a:t>
                </a:r>
              </a:p>
            </p:txBody>
          </p:sp>
          <p:grpSp>
            <p:nvGrpSpPr>
              <p:cNvPr id="34" name="Group 33">
                <a:extLst>
                  <a:ext uri="{FF2B5EF4-FFF2-40B4-BE49-F238E27FC236}">
                    <a16:creationId xmlns:a16="http://schemas.microsoft.com/office/drawing/2014/main" id="{D6880C1D-2FE5-FDE0-AF80-09AE440B31D9}"/>
                  </a:ext>
                </a:extLst>
              </p:cNvPr>
              <p:cNvGrpSpPr/>
              <p:nvPr/>
            </p:nvGrpSpPr>
            <p:grpSpPr>
              <a:xfrm>
                <a:off x="1285274" y="2957887"/>
                <a:ext cx="6524237" cy="1341293"/>
                <a:chOff x="1285274" y="2957887"/>
                <a:chExt cx="6524237" cy="1341293"/>
              </a:xfrm>
            </p:grpSpPr>
            <p:cxnSp>
              <p:nvCxnSpPr>
                <p:cNvPr id="35" name="Straight Connector 34">
                  <a:extLst>
                    <a:ext uri="{FF2B5EF4-FFF2-40B4-BE49-F238E27FC236}">
                      <a16:creationId xmlns:a16="http://schemas.microsoft.com/office/drawing/2014/main" id="{A0C5ACFC-26D9-BCFA-4AA9-E73B5C613230}"/>
                    </a:ext>
                  </a:extLst>
                </p:cNvPr>
                <p:cNvCxnSpPr/>
                <p:nvPr/>
              </p:nvCxnSpPr>
              <p:spPr>
                <a:xfrm>
                  <a:off x="1601589" y="3658718"/>
                  <a:ext cx="4937760" cy="0"/>
                </a:xfrm>
                <a:prstGeom prst="line">
                  <a:avLst/>
                </a:prstGeom>
                <a:noFill/>
                <a:ln w="6350" cap="flat" cmpd="sng" algn="ctr">
                  <a:solidFill>
                    <a:srgbClr val="6D2077"/>
                  </a:solidFill>
                  <a:prstDash val="solid"/>
                  <a:miter lim="800000"/>
                </a:ln>
                <a:effectLst/>
              </p:spPr>
            </p:cxnSp>
            <p:sp>
              <p:nvSpPr>
                <p:cNvPr id="36" name="Freeform 76">
                  <a:extLst>
                    <a:ext uri="{FF2B5EF4-FFF2-40B4-BE49-F238E27FC236}">
                      <a16:creationId xmlns:a16="http://schemas.microsoft.com/office/drawing/2014/main" id="{C996C5DF-E1D2-E6C6-DCE3-8CFE66B1F4AD}"/>
                    </a:ext>
                  </a:extLst>
                </p:cNvPr>
                <p:cNvSpPr>
                  <a:spLocks/>
                </p:cNvSpPr>
                <p:nvPr/>
              </p:nvSpPr>
              <p:spPr bwMode="auto">
                <a:xfrm flipH="1">
                  <a:off x="6265925" y="2957887"/>
                  <a:ext cx="1543586" cy="700952"/>
                </a:xfrm>
                <a:custGeom>
                  <a:avLst/>
                  <a:gdLst>
                    <a:gd name="T0" fmla="*/ 873 w 873"/>
                    <a:gd name="T1" fmla="*/ 396 h 396"/>
                    <a:gd name="T2" fmla="*/ 571 w 873"/>
                    <a:gd name="T3" fmla="*/ 149 h 396"/>
                    <a:gd name="T4" fmla="*/ 122 w 873"/>
                    <a:gd name="T5" fmla="*/ 114 h 396"/>
                    <a:gd name="T6" fmla="*/ 13 w 873"/>
                    <a:gd name="T7" fmla="*/ 396 h 396"/>
                    <a:gd name="T8" fmla="*/ 873 w 873"/>
                    <a:gd name="T9" fmla="*/ 396 h 396"/>
                  </a:gdLst>
                  <a:ahLst/>
                  <a:cxnLst>
                    <a:cxn ang="0">
                      <a:pos x="T0" y="T1"/>
                    </a:cxn>
                    <a:cxn ang="0">
                      <a:pos x="T2" y="T3"/>
                    </a:cxn>
                    <a:cxn ang="0">
                      <a:pos x="T4" y="T5"/>
                    </a:cxn>
                    <a:cxn ang="0">
                      <a:pos x="T6" y="T7"/>
                    </a:cxn>
                    <a:cxn ang="0">
                      <a:pos x="T8" y="T9"/>
                    </a:cxn>
                  </a:cxnLst>
                  <a:rect l="0" t="0" r="r" b="b"/>
                  <a:pathLst>
                    <a:path w="873" h="396">
                      <a:moveTo>
                        <a:pt x="873" y="396"/>
                      </a:moveTo>
                      <a:cubicBezTo>
                        <a:pt x="755" y="329"/>
                        <a:pt x="654" y="246"/>
                        <a:pt x="571" y="149"/>
                      </a:cubicBezTo>
                      <a:cubicBezTo>
                        <a:pt x="457" y="15"/>
                        <a:pt x="255" y="0"/>
                        <a:pt x="122" y="114"/>
                      </a:cubicBezTo>
                      <a:cubicBezTo>
                        <a:pt x="37" y="186"/>
                        <a:pt x="0" y="293"/>
                        <a:pt x="13" y="396"/>
                      </a:cubicBezTo>
                      <a:lnTo>
                        <a:pt x="873" y="396"/>
                      </a:lnTo>
                      <a:close/>
                    </a:path>
                  </a:pathLst>
                </a:custGeom>
                <a:solidFill>
                  <a:sysClr val="window" lastClr="FFFFFF">
                    <a:alpha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Univers for KPMG" panose="020B0603020202020204" pitchFamily="34" charset="0"/>
                    <a:ea typeface="+mn-ea"/>
                    <a:cs typeface="Arial" panose="020B0604020202020204" pitchFamily="34" charset="0"/>
                  </a:endParaRPr>
                </a:p>
              </p:txBody>
            </p:sp>
            <p:grpSp>
              <p:nvGrpSpPr>
                <p:cNvPr id="37" name="Group 36">
                  <a:extLst>
                    <a:ext uri="{FF2B5EF4-FFF2-40B4-BE49-F238E27FC236}">
                      <a16:creationId xmlns:a16="http://schemas.microsoft.com/office/drawing/2014/main" id="{8F13DAB8-829B-07FC-673B-4AF25C3B1F06}"/>
                    </a:ext>
                  </a:extLst>
                </p:cNvPr>
                <p:cNvGrpSpPr/>
                <p:nvPr/>
              </p:nvGrpSpPr>
              <p:grpSpPr>
                <a:xfrm>
                  <a:off x="1285274" y="3037307"/>
                  <a:ext cx="548288" cy="1261873"/>
                  <a:chOff x="1285274" y="3037307"/>
                  <a:chExt cx="548288" cy="1261873"/>
                </a:xfrm>
              </p:grpSpPr>
              <p:sp>
                <p:nvSpPr>
                  <p:cNvPr id="38" name="Freeform 60">
                    <a:extLst>
                      <a:ext uri="{FF2B5EF4-FFF2-40B4-BE49-F238E27FC236}">
                        <a16:creationId xmlns:a16="http://schemas.microsoft.com/office/drawing/2014/main" id="{11354E91-1768-132E-A7F9-95B472659EDE}"/>
                      </a:ext>
                    </a:extLst>
                  </p:cNvPr>
                  <p:cNvSpPr/>
                  <p:nvPr/>
                </p:nvSpPr>
                <p:spPr>
                  <a:xfrm>
                    <a:off x="1465288" y="3037307"/>
                    <a:ext cx="188260" cy="1261873"/>
                  </a:xfrm>
                  <a:custGeom>
                    <a:avLst/>
                    <a:gdLst>
                      <a:gd name="connsiteX0" fmla="*/ 0 w 188260"/>
                      <a:gd name="connsiteY0" fmla="*/ 0 h 1261873"/>
                      <a:gd name="connsiteX1" fmla="*/ 188260 w 188260"/>
                      <a:gd name="connsiteY1" fmla="*/ 0 h 1261873"/>
                      <a:gd name="connsiteX2" fmla="*/ 188259 w 188260"/>
                      <a:gd name="connsiteY2" fmla="*/ 1261873 h 1261873"/>
                      <a:gd name="connsiteX3" fmla="*/ 0 w 188260"/>
                      <a:gd name="connsiteY3" fmla="*/ 1261873 h 1261873"/>
                      <a:gd name="connsiteX4" fmla="*/ 0 w 188260"/>
                      <a:gd name="connsiteY4" fmla="*/ 0 h 126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260" h="1261873">
                        <a:moveTo>
                          <a:pt x="0" y="0"/>
                        </a:moveTo>
                        <a:lnTo>
                          <a:pt x="188260" y="0"/>
                        </a:lnTo>
                        <a:lnTo>
                          <a:pt x="188259" y="1261873"/>
                        </a:lnTo>
                        <a:lnTo>
                          <a:pt x="0" y="1261873"/>
                        </a:lnTo>
                        <a:lnTo>
                          <a:pt x="0" y="0"/>
                        </a:lnTo>
                        <a:close/>
                      </a:path>
                    </a:pathLst>
                  </a:custGeom>
                  <a:solidFill>
                    <a:srgbClr val="6D2077"/>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nvGrpSpPr>
                  <p:cNvPr id="39" name="Group 38">
                    <a:extLst>
                      <a:ext uri="{FF2B5EF4-FFF2-40B4-BE49-F238E27FC236}">
                        <a16:creationId xmlns:a16="http://schemas.microsoft.com/office/drawing/2014/main" id="{A93FC269-657B-94F4-AC07-FF67613D6C2F}"/>
                      </a:ext>
                    </a:extLst>
                  </p:cNvPr>
                  <p:cNvGrpSpPr/>
                  <p:nvPr/>
                </p:nvGrpSpPr>
                <p:grpSpPr>
                  <a:xfrm>
                    <a:off x="1285274" y="3394099"/>
                    <a:ext cx="548288" cy="548288"/>
                    <a:chOff x="1285274" y="3394099"/>
                    <a:chExt cx="548288" cy="548288"/>
                  </a:xfrm>
                </p:grpSpPr>
                <p:grpSp>
                  <p:nvGrpSpPr>
                    <p:cNvPr id="40" name="Group 39">
                      <a:extLst>
                        <a:ext uri="{FF2B5EF4-FFF2-40B4-BE49-F238E27FC236}">
                          <a16:creationId xmlns:a16="http://schemas.microsoft.com/office/drawing/2014/main" id="{977B1DC9-33C8-B1E0-FA8B-0077B0E307CF}"/>
                        </a:ext>
                      </a:extLst>
                    </p:cNvPr>
                    <p:cNvGrpSpPr/>
                    <p:nvPr/>
                  </p:nvGrpSpPr>
                  <p:grpSpPr>
                    <a:xfrm>
                      <a:off x="1285274" y="3394099"/>
                      <a:ext cx="548288" cy="548288"/>
                      <a:chOff x="4114891" y="1309087"/>
                      <a:chExt cx="548288" cy="548288"/>
                    </a:xfrm>
                  </p:grpSpPr>
                  <p:sp>
                    <p:nvSpPr>
                      <p:cNvPr id="42" name="Oval 41">
                        <a:extLst>
                          <a:ext uri="{FF2B5EF4-FFF2-40B4-BE49-F238E27FC236}">
                            <a16:creationId xmlns:a16="http://schemas.microsoft.com/office/drawing/2014/main" id="{8F410592-9633-5C99-5EE8-38036D854C70}"/>
                          </a:ext>
                        </a:extLst>
                      </p:cNvPr>
                      <p:cNvSpPr/>
                      <p:nvPr/>
                    </p:nvSpPr>
                    <p:spPr>
                      <a:xfrm>
                        <a:off x="4114891" y="1309087"/>
                        <a:ext cx="548288" cy="548288"/>
                      </a:xfrm>
                      <a:prstGeom prst="ellipse">
                        <a:avLst/>
                      </a:prstGeom>
                      <a:solidFill>
                        <a:srgbClr val="6D2077">
                          <a:lumMod val="75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sp>
                    <p:nvSpPr>
                      <p:cNvPr id="43" name="Oval 42">
                        <a:extLst>
                          <a:ext uri="{FF2B5EF4-FFF2-40B4-BE49-F238E27FC236}">
                            <a16:creationId xmlns:a16="http://schemas.microsoft.com/office/drawing/2014/main" id="{9EDB97EB-C1C4-6627-6F15-419868B72AC5}"/>
                          </a:ext>
                        </a:extLst>
                      </p:cNvPr>
                      <p:cNvSpPr/>
                      <p:nvPr/>
                    </p:nvSpPr>
                    <p:spPr>
                      <a:xfrm>
                        <a:off x="4187020" y="1381216"/>
                        <a:ext cx="404030" cy="404030"/>
                      </a:xfrm>
                      <a:prstGeom prst="ellipse">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sp>
                  <p:nvSpPr>
                    <p:cNvPr id="41" name="TextBox 113">
                      <a:extLst>
                        <a:ext uri="{FF2B5EF4-FFF2-40B4-BE49-F238E27FC236}">
                          <a16:creationId xmlns:a16="http://schemas.microsoft.com/office/drawing/2014/main" id="{0FF132D9-73A0-1B00-2062-A5070647C762}"/>
                        </a:ext>
                      </a:extLst>
                    </p:cNvPr>
                    <p:cNvSpPr txBox="1"/>
                    <p:nvPr/>
                  </p:nvSpPr>
                  <p:spPr>
                    <a:xfrm>
                      <a:off x="1301241" y="3476627"/>
                      <a:ext cx="514912" cy="3804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6D2077">
                              <a:lumMod val="75000"/>
                            </a:srgbClr>
                          </a:solidFill>
                          <a:effectLst/>
                          <a:uLnTx/>
                          <a:uFillTx/>
                          <a:latin typeface="Univers for KPMG" panose="020B0603020202020204" pitchFamily="34" charset="0"/>
                          <a:ea typeface="Cambria Math" panose="02040503050406030204" pitchFamily="18" charset="0"/>
                          <a:cs typeface="Arial" panose="020B0604020202020204" pitchFamily="34" charset="0"/>
                        </a:rPr>
                        <a:t>03</a:t>
                      </a:r>
                    </a:p>
                  </p:txBody>
                </p:sp>
              </p:grpSp>
            </p:grpSp>
          </p:grpSp>
        </p:grpSp>
        <p:grpSp>
          <p:nvGrpSpPr>
            <p:cNvPr id="7" name="Group 6">
              <a:extLst>
                <a:ext uri="{FF2B5EF4-FFF2-40B4-BE49-F238E27FC236}">
                  <a16:creationId xmlns:a16="http://schemas.microsoft.com/office/drawing/2014/main" id="{DB3232C2-6795-33C4-3BCD-135619E66C17}"/>
                </a:ext>
              </a:extLst>
            </p:cNvPr>
            <p:cNvGrpSpPr/>
            <p:nvPr/>
          </p:nvGrpSpPr>
          <p:grpSpPr>
            <a:xfrm>
              <a:off x="1285274" y="3224222"/>
              <a:ext cx="6524237" cy="2336831"/>
              <a:chOff x="1285274" y="3224222"/>
              <a:chExt cx="6524237" cy="2336831"/>
            </a:xfrm>
          </p:grpSpPr>
          <p:sp>
            <p:nvSpPr>
              <p:cNvPr id="20" name="TextBox 81">
                <a:extLst>
                  <a:ext uri="{FF2B5EF4-FFF2-40B4-BE49-F238E27FC236}">
                    <a16:creationId xmlns:a16="http://schemas.microsoft.com/office/drawing/2014/main" id="{F4AF5B22-C6E3-A87B-0A9B-C79786B74C3D}"/>
                  </a:ext>
                </a:extLst>
              </p:cNvPr>
              <p:cNvSpPr txBox="1"/>
              <p:nvPr/>
            </p:nvSpPr>
            <p:spPr>
              <a:xfrm flipH="1">
                <a:off x="1952454" y="3224222"/>
                <a:ext cx="4275413" cy="50729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6D2077"/>
                    </a:solidFill>
                    <a:effectLst/>
                    <a:uLnTx/>
                    <a:uFillTx/>
                    <a:latin typeface="Calibri" panose="020F0502020204030204"/>
                    <a:ea typeface="+mn-ea"/>
                    <a:cs typeface="Arial" panose="020B0604020202020204" pitchFamily="34" charset="0"/>
                  </a:rPr>
                  <a:t>Documentation</a:t>
                </a:r>
              </a:p>
            </p:txBody>
          </p:sp>
          <p:grpSp>
            <p:nvGrpSpPr>
              <p:cNvPr id="21" name="Group 20">
                <a:extLst>
                  <a:ext uri="{FF2B5EF4-FFF2-40B4-BE49-F238E27FC236}">
                    <a16:creationId xmlns:a16="http://schemas.microsoft.com/office/drawing/2014/main" id="{CF423E2E-8D52-3845-ADCB-DC0A62AC31B4}"/>
                  </a:ext>
                </a:extLst>
              </p:cNvPr>
              <p:cNvGrpSpPr/>
              <p:nvPr/>
            </p:nvGrpSpPr>
            <p:grpSpPr>
              <a:xfrm>
                <a:off x="1285274" y="4221779"/>
                <a:ext cx="6524237" cy="1339274"/>
                <a:chOff x="1285274" y="4221779"/>
                <a:chExt cx="6524237" cy="1339274"/>
              </a:xfrm>
            </p:grpSpPr>
            <p:cxnSp>
              <p:nvCxnSpPr>
                <p:cNvPr id="22" name="Straight Connector 21">
                  <a:extLst>
                    <a:ext uri="{FF2B5EF4-FFF2-40B4-BE49-F238E27FC236}">
                      <a16:creationId xmlns:a16="http://schemas.microsoft.com/office/drawing/2014/main" id="{FB371C1F-792E-A96B-F52C-3C789C7702ED}"/>
                    </a:ext>
                  </a:extLst>
                </p:cNvPr>
                <p:cNvCxnSpPr/>
                <p:nvPr/>
              </p:nvCxnSpPr>
              <p:spPr>
                <a:xfrm>
                  <a:off x="1601589" y="4917237"/>
                  <a:ext cx="4937760" cy="0"/>
                </a:xfrm>
                <a:prstGeom prst="line">
                  <a:avLst/>
                </a:prstGeom>
                <a:noFill/>
                <a:ln w="6350" cap="flat" cmpd="sng" algn="ctr">
                  <a:solidFill>
                    <a:srgbClr val="005EB8"/>
                  </a:solidFill>
                  <a:prstDash val="solid"/>
                  <a:miter lim="800000"/>
                </a:ln>
                <a:effectLst/>
              </p:spPr>
            </p:cxnSp>
            <p:grpSp>
              <p:nvGrpSpPr>
                <p:cNvPr id="23" name="Group 22">
                  <a:extLst>
                    <a:ext uri="{FF2B5EF4-FFF2-40B4-BE49-F238E27FC236}">
                      <a16:creationId xmlns:a16="http://schemas.microsoft.com/office/drawing/2014/main" id="{4F482217-DBE4-9341-41B1-69A54CEE42C7}"/>
                    </a:ext>
                  </a:extLst>
                </p:cNvPr>
                <p:cNvGrpSpPr/>
                <p:nvPr/>
              </p:nvGrpSpPr>
              <p:grpSpPr>
                <a:xfrm>
                  <a:off x="6265925" y="4221779"/>
                  <a:ext cx="1543586" cy="979097"/>
                  <a:chOff x="6265925" y="4221779"/>
                  <a:chExt cx="1543586" cy="979097"/>
                </a:xfrm>
              </p:grpSpPr>
              <p:sp>
                <p:nvSpPr>
                  <p:cNvPr id="31" name="Freeform 52">
                    <a:extLst>
                      <a:ext uri="{FF2B5EF4-FFF2-40B4-BE49-F238E27FC236}">
                        <a16:creationId xmlns:a16="http://schemas.microsoft.com/office/drawing/2014/main" id="{BE48F75E-1EF8-D80B-E1D2-ACD74F2BE65A}"/>
                      </a:ext>
                    </a:extLst>
                  </p:cNvPr>
                  <p:cNvSpPr>
                    <a:spLocks/>
                  </p:cNvSpPr>
                  <p:nvPr/>
                </p:nvSpPr>
                <p:spPr bwMode="auto">
                  <a:xfrm flipH="1">
                    <a:off x="6265925" y="4221779"/>
                    <a:ext cx="1543586" cy="700952"/>
                  </a:xfrm>
                  <a:custGeom>
                    <a:avLst/>
                    <a:gdLst>
                      <a:gd name="T0" fmla="*/ 873 w 873"/>
                      <a:gd name="T1" fmla="*/ 396 h 396"/>
                      <a:gd name="T2" fmla="*/ 571 w 873"/>
                      <a:gd name="T3" fmla="*/ 149 h 396"/>
                      <a:gd name="T4" fmla="*/ 122 w 873"/>
                      <a:gd name="T5" fmla="*/ 114 h 396"/>
                      <a:gd name="T6" fmla="*/ 13 w 873"/>
                      <a:gd name="T7" fmla="*/ 396 h 396"/>
                      <a:gd name="T8" fmla="*/ 873 w 873"/>
                      <a:gd name="T9" fmla="*/ 396 h 396"/>
                    </a:gdLst>
                    <a:ahLst/>
                    <a:cxnLst>
                      <a:cxn ang="0">
                        <a:pos x="T0" y="T1"/>
                      </a:cxn>
                      <a:cxn ang="0">
                        <a:pos x="T2" y="T3"/>
                      </a:cxn>
                      <a:cxn ang="0">
                        <a:pos x="T4" y="T5"/>
                      </a:cxn>
                      <a:cxn ang="0">
                        <a:pos x="T6" y="T7"/>
                      </a:cxn>
                      <a:cxn ang="0">
                        <a:pos x="T8" y="T9"/>
                      </a:cxn>
                    </a:cxnLst>
                    <a:rect l="0" t="0" r="r" b="b"/>
                    <a:pathLst>
                      <a:path w="873" h="396">
                        <a:moveTo>
                          <a:pt x="873" y="396"/>
                        </a:moveTo>
                        <a:cubicBezTo>
                          <a:pt x="755" y="329"/>
                          <a:pt x="654" y="246"/>
                          <a:pt x="571" y="149"/>
                        </a:cubicBezTo>
                        <a:cubicBezTo>
                          <a:pt x="457" y="15"/>
                          <a:pt x="255" y="0"/>
                          <a:pt x="122" y="114"/>
                        </a:cubicBezTo>
                        <a:cubicBezTo>
                          <a:pt x="37" y="186"/>
                          <a:pt x="0" y="293"/>
                          <a:pt x="13" y="396"/>
                        </a:cubicBezTo>
                        <a:lnTo>
                          <a:pt x="873" y="396"/>
                        </a:lnTo>
                        <a:close/>
                      </a:path>
                    </a:pathLst>
                  </a:custGeom>
                  <a:solidFill>
                    <a:sysClr val="window" lastClr="FFFFFF">
                      <a:alpha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Univers for KPMG" panose="020B0603020202020204" pitchFamily="34" charset="0"/>
                      <a:ea typeface="+mn-ea"/>
                      <a:cs typeface="Arial" panose="020B0604020202020204" pitchFamily="34" charset="0"/>
                    </a:endParaRPr>
                  </a:p>
                </p:txBody>
              </p:sp>
              <p:sp>
                <p:nvSpPr>
                  <p:cNvPr id="32" name="Freeform 50">
                    <a:extLst>
                      <a:ext uri="{FF2B5EF4-FFF2-40B4-BE49-F238E27FC236}">
                        <a16:creationId xmlns:a16="http://schemas.microsoft.com/office/drawing/2014/main" id="{242E24E3-886F-E456-4206-4FA77252C4C9}"/>
                      </a:ext>
                    </a:extLst>
                  </p:cNvPr>
                  <p:cNvSpPr>
                    <a:spLocks/>
                  </p:cNvSpPr>
                  <p:nvPr/>
                </p:nvSpPr>
                <p:spPr bwMode="auto">
                  <a:xfrm flipH="1">
                    <a:off x="6891562" y="4505144"/>
                    <a:ext cx="694986" cy="695732"/>
                  </a:xfrm>
                  <a:custGeom>
                    <a:avLst/>
                    <a:gdLst>
                      <a:gd name="T0" fmla="*/ 82 w 393"/>
                      <a:gd name="T1" fmla="*/ 63 h 393"/>
                      <a:gd name="T2" fmla="*/ 330 w 393"/>
                      <a:gd name="T3" fmla="*/ 82 h 393"/>
                      <a:gd name="T4" fmla="*/ 311 w 393"/>
                      <a:gd name="T5" fmla="*/ 330 h 393"/>
                      <a:gd name="T6" fmla="*/ 63 w 393"/>
                      <a:gd name="T7" fmla="*/ 311 h 393"/>
                      <a:gd name="T8" fmla="*/ 82 w 393"/>
                      <a:gd name="T9" fmla="*/ 63 h 393"/>
                    </a:gdLst>
                    <a:ahLst/>
                    <a:cxnLst>
                      <a:cxn ang="0">
                        <a:pos x="T0" y="T1"/>
                      </a:cxn>
                      <a:cxn ang="0">
                        <a:pos x="T2" y="T3"/>
                      </a:cxn>
                      <a:cxn ang="0">
                        <a:pos x="T4" y="T5"/>
                      </a:cxn>
                      <a:cxn ang="0">
                        <a:pos x="T6" y="T7"/>
                      </a:cxn>
                      <a:cxn ang="0">
                        <a:pos x="T8" y="T9"/>
                      </a:cxn>
                    </a:cxnLst>
                    <a:rect l="0" t="0" r="r" b="b"/>
                    <a:pathLst>
                      <a:path w="393" h="393">
                        <a:moveTo>
                          <a:pt x="82" y="63"/>
                        </a:moveTo>
                        <a:cubicBezTo>
                          <a:pt x="156" y="0"/>
                          <a:pt x="267" y="8"/>
                          <a:pt x="330" y="82"/>
                        </a:cubicBezTo>
                        <a:cubicBezTo>
                          <a:pt x="393" y="156"/>
                          <a:pt x="385" y="267"/>
                          <a:pt x="311" y="330"/>
                        </a:cubicBezTo>
                        <a:cubicBezTo>
                          <a:pt x="237" y="393"/>
                          <a:pt x="126" y="384"/>
                          <a:pt x="63" y="311"/>
                        </a:cubicBezTo>
                        <a:cubicBezTo>
                          <a:pt x="0" y="237"/>
                          <a:pt x="9" y="126"/>
                          <a:pt x="82"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Univers for KPMG" panose="020B0603020202020204" pitchFamily="34" charset="0"/>
                      <a:ea typeface="+mn-ea"/>
                      <a:cs typeface="Arial" panose="020B0604020202020204" pitchFamily="34" charset="0"/>
                    </a:endParaRPr>
                  </a:p>
                </p:txBody>
              </p:sp>
            </p:grpSp>
            <p:grpSp>
              <p:nvGrpSpPr>
                <p:cNvPr id="24" name="Group 23">
                  <a:extLst>
                    <a:ext uri="{FF2B5EF4-FFF2-40B4-BE49-F238E27FC236}">
                      <a16:creationId xmlns:a16="http://schemas.microsoft.com/office/drawing/2014/main" id="{0D8004E7-FC37-A14A-9C4B-0462FE701A12}"/>
                    </a:ext>
                  </a:extLst>
                </p:cNvPr>
                <p:cNvGrpSpPr/>
                <p:nvPr/>
              </p:nvGrpSpPr>
              <p:grpSpPr>
                <a:xfrm>
                  <a:off x="1285274" y="4299180"/>
                  <a:ext cx="548288" cy="1261873"/>
                  <a:chOff x="1285274" y="4299180"/>
                  <a:chExt cx="548288" cy="1261873"/>
                </a:xfrm>
              </p:grpSpPr>
              <p:sp>
                <p:nvSpPr>
                  <p:cNvPr id="25" name="Freeform 37">
                    <a:extLst>
                      <a:ext uri="{FF2B5EF4-FFF2-40B4-BE49-F238E27FC236}">
                        <a16:creationId xmlns:a16="http://schemas.microsoft.com/office/drawing/2014/main" id="{2A9F8B18-8EAF-59BA-93CE-1C25E6C96F6D}"/>
                      </a:ext>
                    </a:extLst>
                  </p:cNvPr>
                  <p:cNvSpPr/>
                  <p:nvPr/>
                </p:nvSpPr>
                <p:spPr>
                  <a:xfrm>
                    <a:off x="1465289" y="4299180"/>
                    <a:ext cx="188259" cy="1261873"/>
                  </a:xfrm>
                  <a:custGeom>
                    <a:avLst/>
                    <a:gdLst>
                      <a:gd name="connsiteX0" fmla="*/ 0 w 188259"/>
                      <a:gd name="connsiteY0" fmla="*/ 0 h 1261873"/>
                      <a:gd name="connsiteX1" fmla="*/ 188259 w 188259"/>
                      <a:gd name="connsiteY1" fmla="*/ 0 h 1261873"/>
                      <a:gd name="connsiteX2" fmla="*/ 188259 w 188259"/>
                      <a:gd name="connsiteY2" fmla="*/ 1261873 h 1261873"/>
                      <a:gd name="connsiteX3" fmla="*/ 0 w 188259"/>
                      <a:gd name="connsiteY3" fmla="*/ 1261873 h 1261873"/>
                      <a:gd name="connsiteX4" fmla="*/ 0 w 188259"/>
                      <a:gd name="connsiteY4" fmla="*/ 0 h 126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259" h="1261873">
                        <a:moveTo>
                          <a:pt x="0" y="0"/>
                        </a:moveTo>
                        <a:lnTo>
                          <a:pt x="188259" y="0"/>
                        </a:lnTo>
                        <a:lnTo>
                          <a:pt x="188259" y="1261873"/>
                        </a:lnTo>
                        <a:lnTo>
                          <a:pt x="0" y="1261873"/>
                        </a:lnTo>
                        <a:lnTo>
                          <a:pt x="0" y="0"/>
                        </a:lnTo>
                        <a:close/>
                      </a:path>
                    </a:pathLst>
                  </a:custGeom>
                  <a:solidFill>
                    <a:srgbClr val="005EB8"/>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nvGrpSpPr>
                  <p:cNvPr id="26" name="Group 25">
                    <a:extLst>
                      <a:ext uri="{FF2B5EF4-FFF2-40B4-BE49-F238E27FC236}">
                        <a16:creationId xmlns:a16="http://schemas.microsoft.com/office/drawing/2014/main" id="{5BA9BDD9-DFC6-5047-2489-01C434A96484}"/>
                      </a:ext>
                    </a:extLst>
                  </p:cNvPr>
                  <p:cNvGrpSpPr/>
                  <p:nvPr/>
                </p:nvGrpSpPr>
                <p:grpSpPr>
                  <a:xfrm>
                    <a:off x="1285274" y="4655972"/>
                    <a:ext cx="548288" cy="548288"/>
                    <a:chOff x="1285274" y="4655972"/>
                    <a:chExt cx="548288" cy="548288"/>
                  </a:xfrm>
                </p:grpSpPr>
                <p:grpSp>
                  <p:nvGrpSpPr>
                    <p:cNvPr id="27" name="Group 26">
                      <a:extLst>
                        <a:ext uri="{FF2B5EF4-FFF2-40B4-BE49-F238E27FC236}">
                          <a16:creationId xmlns:a16="http://schemas.microsoft.com/office/drawing/2014/main" id="{A0E756B1-B06B-0C65-3D67-2EA46DFB81FB}"/>
                        </a:ext>
                      </a:extLst>
                    </p:cNvPr>
                    <p:cNvGrpSpPr/>
                    <p:nvPr/>
                  </p:nvGrpSpPr>
                  <p:grpSpPr>
                    <a:xfrm>
                      <a:off x="1285274" y="4655972"/>
                      <a:ext cx="548288" cy="548288"/>
                      <a:chOff x="4114891" y="1309087"/>
                      <a:chExt cx="548288" cy="548288"/>
                    </a:xfrm>
                  </p:grpSpPr>
                  <p:sp>
                    <p:nvSpPr>
                      <p:cNvPr id="29" name="Oval 28">
                        <a:extLst>
                          <a:ext uri="{FF2B5EF4-FFF2-40B4-BE49-F238E27FC236}">
                            <a16:creationId xmlns:a16="http://schemas.microsoft.com/office/drawing/2014/main" id="{5ABC8B83-D1C2-6BF6-4CFB-3F4895F06D44}"/>
                          </a:ext>
                        </a:extLst>
                      </p:cNvPr>
                      <p:cNvSpPr/>
                      <p:nvPr/>
                    </p:nvSpPr>
                    <p:spPr>
                      <a:xfrm>
                        <a:off x="4114891" y="1309087"/>
                        <a:ext cx="548288" cy="548288"/>
                      </a:xfrm>
                      <a:prstGeom prst="ellipse">
                        <a:avLst/>
                      </a:prstGeom>
                      <a:solidFill>
                        <a:srgbClr val="005EB8">
                          <a:lumMod val="75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sp>
                    <p:nvSpPr>
                      <p:cNvPr id="30" name="Oval 29">
                        <a:extLst>
                          <a:ext uri="{FF2B5EF4-FFF2-40B4-BE49-F238E27FC236}">
                            <a16:creationId xmlns:a16="http://schemas.microsoft.com/office/drawing/2014/main" id="{3371A4E3-ECDA-25DD-97F7-5A3610258DEB}"/>
                          </a:ext>
                        </a:extLst>
                      </p:cNvPr>
                      <p:cNvSpPr/>
                      <p:nvPr/>
                    </p:nvSpPr>
                    <p:spPr>
                      <a:xfrm>
                        <a:off x="4187020" y="1381216"/>
                        <a:ext cx="404030" cy="404030"/>
                      </a:xfrm>
                      <a:prstGeom prst="ellipse">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sp>
                  <p:nvSpPr>
                    <p:cNvPr id="28" name="TextBox 114">
                      <a:extLst>
                        <a:ext uri="{FF2B5EF4-FFF2-40B4-BE49-F238E27FC236}">
                          <a16:creationId xmlns:a16="http://schemas.microsoft.com/office/drawing/2014/main" id="{AEC22912-1865-2EFC-97AD-E7878E4251A7}"/>
                        </a:ext>
                      </a:extLst>
                    </p:cNvPr>
                    <p:cNvSpPr txBox="1"/>
                    <p:nvPr/>
                  </p:nvSpPr>
                  <p:spPr>
                    <a:xfrm>
                      <a:off x="1301241" y="4738226"/>
                      <a:ext cx="514912" cy="3804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5EB8">
                              <a:lumMod val="75000"/>
                            </a:srgbClr>
                          </a:solidFill>
                          <a:effectLst/>
                          <a:uLnTx/>
                          <a:uFillTx/>
                          <a:latin typeface="Univers for KPMG" panose="020B0603020202020204" pitchFamily="34" charset="0"/>
                          <a:ea typeface="Cambria Math" panose="02040503050406030204" pitchFamily="18" charset="0"/>
                          <a:cs typeface="Arial" panose="020B0604020202020204" pitchFamily="34" charset="0"/>
                        </a:rPr>
                        <a:t>04</a:t>
                      </a:r>
                    </a:p>
                  </p:txBody>
                </p:sp>
              </p:grpSp>
            </p:grpSp>
          </p:grpSp>
        </p:grpSp>
        <p:grpSp>
          <p:nvGrpSpPr>
            <p:cNvPr id="8" name="Group 7">
              <a:extLst>
                <a:ext uri="{FF2B5EF4-FFF2-40B4-BE49-F238E27FC236}">
                  <a16:creationId xmlns:a16="http://schemas.microsoft.com/office/drawing/2014/main" id="{16145A7A-F6B6-1B12-8710-EC202156CB0B}"/>
                </a:ext>
              </a:extLst>
            </p:cNvPr>
            <p:cNvGrpSpPr/>
            <p:nvPr/>
          </p:nvGrpSpPr>
          <p:grpSpPr>
            <a:xfrm>
              <a:off x="1285274" y="688003"/>
              <a:ext cx="6524237" cy="6134922"/>
              <a:chOff x="1285274" y="688003"/>
              <a:chExt cx="6524237" cy="6134922"/>
            </a:xfrm>
          </p:grpSpPr>
          <p:sp>
            <p:nvSpPr>
              <p:cNvPr id="9" name="TextBox 81">
                <a:extLst>
                  <a:ext uri="{FF2B5EF4-FFF2-40B4-BE49-F238E27FC236}">
                    <a16:creationId xmlns:a16="http://schemas.microsoft.com/office/drawing/2014/main" id="{E6F0D2FF-76FD-BF60-85CE-0436FAA9EE01}"/>
                  </a:ext>
                </a:extLst>
              </p:cNvPr>
              <p:cNvSpPr txBox="1"/>
              <p:nvPr/>
            </p:nvSpPr>
            <p:spPr>
              <a:xfrm flipH="1">
                <a:off x="1980201" y="688003"/>
                <a:ext cx="4275411" cy="50729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00338D"/>
                    </a:solidFill>
                    <a:effectLst/>
                    <a:uLnTx/>
                    <a:uFillTx/>
                    <a:latin typeface="Calibri" panose="020F0502020204030204"/>
                    <a:ea typeface="+mn-ea"/>
                    <a:cs typeface="Arial" panose="020B0604020202020204" pitchFamily="34" charset="0"/>
                  </a:rPr>
                  <a:t>Applicant Experience</a:t>
                </a:r>
              </a:p>
            </p:txBody>
          </p:sp>
          <p:grpSp>
            <p:nvGrpSpPr>
              <p:cNvPr id="10" name="Group 9">
                <a:extLst>
                  <a:ext uri="{FF2B5EF4-FFF2-40B4-BE49-F238E27FC236}">
                    <a16:creationId xmlns:a16="http://schemas.microsoft.com/office/drawing/2014/main" id="{6B263A6E-251E-A0C9-F790-70865DECB9D0}"/>
                  </a:ext>
                </a:extLst>
              </p:cNvPr>
              <p:cNvGrpSpPr/>
              <p:nvPr/>
            </p:nvGrpSpPr>
            <p:grpSpPr>
              <a:xfrm>
                <a:off x="1285274" y="5482691"/>
                <a:ext cx="6524237" cy="1340234"/>
                <a:chOff x="1285274" y="5482691"/>
                <a:chExt cx="6524237" cy="1340234"/>
              </a:xfrm>
            </p:grpSpPr>
            <p:cxnSp>
              <p:nvCxnSpPr>
                <p:cNvPr id="11" name="Straight Connector 10">
                  <a:extLst>
                    <a:ext uri="{FF2B5EF4-FFF2-40B4-BE49-F238E27FC236}">
                      <a16:creationId xmlns:a16="http://schemas.microsoft.com/office/drawing/2014/main" id="{5C4494D5-CCB8-9F5C-A045-B2B5AACBA210}"/>
                    </a:ext>
                  </a:extLst>
                </p:cNvPr>
                <p:cNvCxnSpPr/>
                <p:nvPr/>
              </p:nvCxnSpPr>
              <p:spPr>
                <a:xfrm>
                  <a:off x="1601588" y="6179110"/>
                  <a:ext cx="4937761" cy="0"/>
                </a:xfrm>
                <a:prstGeom prst="line">
                  <a:avLst/>
                </a:prstGeom>
                <a:noFill/>
                <a:ln w="6350" cap="flat" cmpd="sng" algn="ctr">
                  <a:solidFill>
                    <a:srgbClr val="00A3A1"/>
                  </a:solidFill>
                  <a:prstDash val="solid"/>
                  <a:miter lim="800000"/>
                </a:ln>
                <a:effectLst/>
              </p:spPr>
            </p:cxnSp>
            <p:sp>
              <p:nvSpPr>
                <p:cNvPr id="12" name="Freeform 29">
                  <a:extLst>
                    <a:ext uri="{FF2B5EF4-FFF2-40B4-BE49-F238E27FC236}">
                      <a16:creationId xmlns:a16="http://schemas.microsoft.com/office/drawing/2014/main" id="{7AD30F2E-9196-9ED8-B983-C1593AE5579D}"/>
                    </a:ext>
                  </a:extLst>
                </p:cNvPr>
                <p:cNvSpPr>
                  <a:spLocks/>
                </p:cNvSpPr>
                <p:nvPr/>
              </p:nvSpPr>
              <p:spPr bwMode="auto">
                <a:xfrm flipH="1">
                  <a:off x="6265925" y="5482691"/>
                  <a:ext cx="1543586" cy="700952"/>
                </a:xfrm>
                <a:custGeom>
                  <a:avLst/>
                  <a:gdLst>
                    <a:gd name="T0" fmla="*/ 873 w 873"/>
                    <a:gd name="T1" fmla="*/ 396 h 396"/>
                    <a:gd name="T2" fmla="*/ 571 w 873"/>
                    <a:gd name="T3" fmla="*/ 149 h 396"/>
                    <a:gd name="T4" fmla="*/ 122 w 873"/>
                    <a:gd name="T5" fmla="*/ 114 h 396"/>
                    <a:gd name="T6" fmla="*/ 13 w 873"/>
                    <a:gd name="T7" fmla="*/ 396 h 396"/>
                    <a:gd name="T8" fmla="*/ 873 w 873"/>
                    <a:gd name="T9" fmla="*/ 396 h 396"/>
                  </a:gdLst>
                  <a:ahLst/>
                  <a:cxnLst>
                    <a:cxn ang="0">
                      <a:pos x="T0" y="T1"/>
                    </a:cxn>
                    <a:cxn ang="0">
                      <a:pos x="T2" y="T3"/>
                    </a:cxn>
                    <a:cxn ang="0">
                      <a:pos x="T4" y="T5"/>
                    </a:cxn>
                    <a:cxn ang="0">
                      <a:pos x="T6" y="T7"/>
                    </a:cxn>
                    <a:cxn ang="0">
                      <a:pos x="T8" y="T9"/>
                    </a:cxn>
                  </a:cxnLst>
                  <a:rect l="0" t="0" r="r" b="b"/>
                  <a:pathLst>
                    <a:path w="873" h="396">
                      <a:moveTo>
                        <a:pt x="873" y="396"/>
                      </a:moveTo>
                      <a:cubicBezTo>
                        <a:pt x="755" y="329"/>
                        <a:pt x="654" y="246"/>
                        <a:pt x="571" y="149"/>
                      </a:cubicBezTo>
                      <a:cubicBezTo>
                        <a:pt x="457" y="15"/>
                        <a:pt x="255" y="0"/>
                        <a:pt x="122" y="114"/>
                      </a:cubicBezTo>
                      <a:cubicBezTo>
                        <a:pt x="37" y="186"/>
                        <a:pt x="0" y="293"/>
                        <a:pt x="13" y="396"/>
                      </a:cubicBezTo>
                      <a:lnTo>
                        <a:pt x="873" y="396"/>
                      </a:lnTo>
                      <a:close/>
                    </a:path>
                  </a:pathLst>
                </a:custGeom>
                <a:solidFill>
                  <a:sysClr val="window" lastClr="FFFFFF">
                    <a:alpha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Univers for KPMG" panose="020B0603020202020204" pitchFamily="34" charset="0"/>
                    <a:ea typeface="+mn-ea"/>
                    <a:cs typeface="Arial" panose="020B0604020202020204" pitchFamily="34" charset="0"/>
                  </a:endParaRPr>
                </a:p>
              </p:txBody>
            </p:sp>
            <p:grpSp>
              <p:nvGrpSpPr>
                <p:cNvPr id="13" name="Group 12">
                  <a:extLst>
                    <a:ext uri="{FF2B5EF4-FFF2-40B4-BE49-F238E27FC236}">
                      <a16:creationId xmlns:a16="http://schemas.microsoft.com/office/drawing/2014/main" id="{73D3E543-CB40-9CE2-73CB-7A9FD3A93823}"/>
                    </a:ext>
                  </a:extLst>
                </p:cNvPr>
                <p:cNvGrpSpPr/>
                <p:nvPr/>
              </p:nvGrpSpPr>
              <p:grpSpPr>
                <a:xfrm>
                  <a:off x="1285274" y="5561053"/>
                  <a:ext cx="548288" cy="1261872"/>
                  <a:chOff x="1285274" y="5561053"/>
                  <a:chExt cx="548288" cy="1261872"/>
                </a:xfrm>
              </p:grpSpPr>
              <p:sp>
                <p:nvSpPr>
                  <p:cNvPr id="14" name="Freeform 13">
                    <a:extLst>
                      <a:ext uri="{FF2B5EF4-FFF2-40B4-BE49-F238E27FC236}">
                        <a16:creationId xmlns:a16="http://schemas.microsoft.com/office/drawing/2014/main" id="{DB7A489B-2A85-EFB2-EFE4-C1DC38FADEA1}"/>
                      </a:ext>
                    </a:extLst>
                  </p:cNvPr>
                  <p:cNvSpPr/>
                  <p:nvPr/>
                </p:nvSpPr>
                <p:spPr>
                  <a:xfrm>
                    <a:off x="1465289" y="5561053"/>
                    <a:ext cx="188259" cy="1261872"/>
                  </a:xfrm>
                  <a:custGeom>
                    <a:avLst/>
                    <a:gdLst>
                      <a:gd name="connsiteX0" fmla="*/ 0 w 188259"/>
                      <a:gd name="connsiteY0" fmla="*/ 0 h 1261872"/>
                      <a:gd name="connsiteX1" fmla="*/ 188259 w 188259"/>
                      <a:gd name="connsiteY1" fmla="*/ 0 h 1261872"/>
                      <a:gd name="connsiteX2" fmla="*/ 188259 w 188259"/>
                      <a:gd name="connsiteY2" fmla="*/ 1167743 h 1261872"/>
                      <a:gd name="connsiteX3" fmla="*/ 130769 w 188259"/>
                      <a:gd name="connsiteY3" fmla="*/ 1254476 h 1261872"/>
                      <a:gd name="connsiteX4" fmla="*/ 94134 w 188259"/>
                      <a:gd name="connsiteY4" fmla="*/ 1261872 h 1261872"/>
                      <a:gd name="connsiteX5" fmla="*/ 94130 w 188259"/>
                      <a:gd name="connsiteY5" fmla="*/ 1261872 h 1261872"/>
                      <a:gd name="connsiteX6" fmla="*/ 0 w 188259"/>
                      <a:gd name="connsiteY6" fmla="*/ 1167742 h 1261872"/>
                      <a:gd name="connsiteX7" fmla="*/ 0 w 188259"/>
                      <a:gd name="connsiteY7" fmla="*/ 0 h 1261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259" h="1261872">
                        <a:moveTo>
                          <a:pt x="0" y="0"/>
                        </a:moveTo>
                        <a:lnTo>
                          <a:pt x="188259" y="0"/>
                        </a:lnTo>
                        <a:lnTo>
                          <a:pt x="188259" y="1167743"/>
                        </a:lnTo>
                        <a:cubicBezTo>
                          <a:pt x="188259" y="1206733"/>
                          <a:pt x="164554" y="1240186"/>
                          <a:pt x="130769" y="1254476"/>
                        </a:cubicBezTo>
                        <a:lnTo>
                          <a:pt x="94134" y="1261872"/>
                        </a:lnTo>
                        <a:lnTo>
                          <a:pt x="94130" y="1261872"/>
                        </a:lnTo>
                        <a:cubicBezTo>
                          <a:pt x="42143" y="1261872"/>
                          <a:pt x="0" y="1219729"/>
                          <a:pt x="0" y="1167742"/>
                        </a:cubicBezTo>
                        <a:lnTo>
                          <a:pt x="0" y="0"/>
                        </a:lnTo>
                        <a:close/>
                      </a:path>
                    </a:pathLst>
                  </a:custGeom>
                  <a:solidFill>
                    <a:srgbClr val="00A3A1"/>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nvGrpSpPr>
                  <p:cNvPr id="15" name="Group 14">
                    <a:extLst>
                      <a:ext uri="{FF2B5EF4-FFF2-40B4-BE49-F238E27FC236}">
                        <a16:creationId xmlns:a16="http://schemas.microsoft.com/office/drawing/2014/main" id="{5FC8F984-4CD3-6AE5-CC02-455A2696949B}"/>
                      </a:ext>
                    </a:extLst>
                  </p:cNvPr>
                  <p:cNvGrpSpPr/>
                  <p:nvPr/>
                </p:nvGrpSpPr>
                <p:grpSpPr>
                  <a:xfrm>
                    <a:off x="1285274" y="5917845"/>
                    <a:ext cx="548288" cy="548288"/>
                    <a:chOff x="1285274" y="5917845"/>
                    <a:chExt cx="548288" cy="548288"/>
                  </a:xfrm>
                </p:grpSpPr>
                <p:grpSp>
                  <p:nvGrpSpPr>
                    <p:cNvPr id="16" name="Group 15">
                      <a:extLst>
                        <a:ext uri="{FF2B5EF4-FFF2-40B4-BE49-F238E27FC236}">
                          <a16:creationId xmlns:a16="http://schemas.microsoft.com/office/drawing/2014/main" id="{C3B59F6F-F217-509B-2E43-C57C5A53D193}"/>
                        </a:ext>
                      </a:extLst>
                    </p:cNvPr>
                    <p:cNvGrpSpPr/>
                    <p:nvPr/>
                  </p:nvGrpSpPr>
                  <p:grpSpPr>
                    <a:xfrm>
                      <a:off x="1285274" y="5917845"/>
                      <a:ext cx="548288" cy="548288"/>
                      <a:chOff x="4114891" y="1309087"/>
                      <a:chExt cx="548288" cy="548288"/>
                    </a:xfrm>
                  </p:grpSpPr>
                  <p:sp>
                    <p:nvSpPr>
                      <p:cNvPr id="18" name="Oval 17">
                        <a:extLst>
                          <a:ext uri="{FF2B5EF4-FFF2-40B4-BE49-F238E27FC236}">
                            <a16:creationId xmlns:a16="http://schemas.microsoft.com/office/drawing/2014/main" id="{BAE985DE-D5E2-65DD-FA2B-DE485928AEFC}"/>
                          </a:ext>
                        </a:extLst>
                      </p:cNvPr>
                      <p:cNvSpPr/>
                      <p:nvPr/>
                    </p:nvSpPr>
                    <p:spPr>
                      <a:xfrm>
                        <a:off x="4114891" y="1309087"/>
                        <a:ext cx="548288" cy="548288"/>
                      </a:xfrm>
                      <a:prstGeom prst="ellipse">
                        <a:avLst/>
                      </a:prstGeom>
                      <a:solidFill>
                        <a:srgbClr val="00A3A1">
                          <a:lumMod val="75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sp>
                    <p:nvSpPr>
                      <p:cNvPr id="19" name="Oval 18">
                        <a:extLst>
                          <a:ext uri="{FF2B5EF4-FFF2-40B4-BE49-F238E27FC236}">
                            <a16:creationId xmlns:a16="http://schemas.microsoft.com/office/drawing/2014/main" id="{8C8BA985-E8FE-B11A-9960-797664BE8AA4}"/>
                          </a:ext>
                        </a:extLst>
                      </p:cNvPr>
                      <p:cNvSpPr/>
                      <p:nvPr/>
                    </p:nvSpPr>
                    <p:spPr>
                      <a:xfrm>
                        <a:off x="4187020" y="1381216"/>
                        <a:ext cx="404030" cy="404030"/>
                      </a:xfrm>
                      <a:prstGeom prst="ellipse">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sp>
                  <p:nvSpPr>
                    <p:cNvPr id="17" name="TextBox 115">
                      <a:extLst>
                        <a:ext uri="{FF2B5EF4-FFF2-40B4-BE49-F238E27FC236}">
                          <a16:creationId xmlns:a16="http://schemas.microsoft.com/office/drawing/2014/main" id="{736D3308-6838-3A02-2556-F016FB19AA4C}"/>
                        </a:ext>
                      </a:extLst>
                    </p:cNvPr>
                    <p:cNvSpPr txBox="1"/>
                    <p:nvPr/>
                  </p:nvSpPr>
                  <p:spPr>
                    <a:xfrm>
                      <a:off x="1301241" y="5993149"/>
                      <a:ext cx="514912" cy="3804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A3A1">
                              <a:lumMod val="75000"/>
                            </a:srgbClr>
                          </a:solidFill>
                          <a:effectLst/>
                          <a:uLnTx/>
                          <a:uFillTx/>
                          <a:latin typeface="Univers for KPMG" panose="020B0603020202020204" pitchFamily="34" charset="0"/>
                          <a:ea typeface="Cambria Math" panose="02040503050406030204" pitchFamily="18" charset="0"/>
                          <a:cs typeface="Arial" panose="020B0604020202020204" pitchFamily="34" charset="0"/>
                        </a:rPr>
                        <a:t>05</a:t>
                      </a:r>
                    </a:p>
                  </p:txBody>
                </p:sp>
              </p:grpSp>
            </p:grpSp>
          </p:grpSp>
        </p:grpSp>
      </p:grpSp>
      <p:sp>
        <p:nvSpPr>
          <p:cNvPr id="66" name="Arrow: Right 65">
            <a:extLst>
              <a:ext uri="{FF2B5EF4-FFF2-40B4-BE49-F238E27FC236}">
                <a16:creationId xmlns:a16="http://schemas.microsoft.com/office/drawing/2014/main" id="{F463279C-820E-EFBA-8474-A9C69E31D9BF}"/>
              </a:ext>
            </a:extLst>
          </p:cNvPr>
          <p:cNvSpPr/>
          <p:nvPr/>
        </p:nvSpPr>
        <p:spPr>
          <a:xfrm>
            <a:off x="2470234" y="2018446"/>
            <a:ext cx="2286000" cy="67865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itle 67">
            <a:extLst>
              <a:ext uri="{FF2B5EF4-FFF2-40B4-BE49-F238E27FC236}">
                <a16:creationId xmlns:a16="http://schemas.microsoft.com/office/drawing/2014/main" id="{1CEC8CB3-CDF9-74FA-1C5C-769DFE1EE063}"/>
              </a:ext>
            </a:extLst>
          </p:cNvPr>
          <p:cNvSpPr>
            <a:spLocks noGrp="1"/>
          </p:cNvSpPr>
          <p:nvPr>
            <p:ph type="title"/>
          </p:nvPr>
        </p:nvSpPr>
        <p:spPr/>
        <p:txBody>
          <a:bodyPr/>
          <a:lstStyle/>
          <a:p>
            <a:r>
              <a:rPr lang="en-US"/>
              <a:t>Applicant Experience</a:t>
            </a:r>
          </a:p>
        </p:txBody>
      </p:sp>
    </p:spTree>
    <p:custDataLst>
      <p:tags r:id="rId1"/>
    </p:custDataLst>
    <p:extLst>
      <p:ext uri="{BB962C8B-B14F-4D97-AF65-F5344CB8AC3E}">
        <p14:creationId xmlns:p14="http://schemas.microsoft.com/office/powerpoint/2010/main" val="214018554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71583E-DC95-B6AB-1041-9650CD8A8D7F}"/>
              </a:ext>
            </a:extLst>
          </p:cNvPr>
          <p:cNvSpPr>
            <a:spLocks noGrp="1"/>
          </p:cNvSpPr>
          <p:nvPr>
            <p:ph type="title"/>
          </p:nvPr>
        </p:nvSpPr>
        <p:spPr/>
        <p:txBody>
          <a:bodyPr>
            <a:normAutofit/>
          </a:bodyPr>
          <a:lstStyle/>
          <a:p>
            <a:r>
              <a:rPr lang="en-US" sz="4000">
                <a:latin typeface="+mn-lt"/>
              </a:rPr>
              <a:t>DRA Questionnaire – Applicant Experience</a:t>
            </a:r>
          </a:p>
        </p:txBody>
      </p:sp>
      <p:sp>
        <p:nvSpPr>
          <p:cNvPr id="73" name="TextBox 72">
            <a:extLst>
              <a:ext uri="{FF2B5EF4-FFF2-40B4-BE49-F238E27FC236}">
                <a16:creationId xmlns:a16="http://schemas.microsoft.com/office/drawing/2014/main" id="{56D65FF2-E045-9AFC-F538-635E7F1E4BEB}"/>
              </a:ext>
            </a:extLst>
          </p:cNvPr>
          <p:cNvSpPr txBox="1"/>
          <p:nvPr/>
        </p:nvSpPr>
        <p:spPr>
          <a:xfrm>
            <a:off x="3166310" y="6627168"/>
            <a:ext cx="5859379" cy="253916"/>
          </a:xfrm>
          <a:prstGeom prst="rect">
            <a:avLst/>
          </a:prstGeom>
          <a:noFill/>
        </p:spPr>
        <p:txBody>
          <a:bodyPr wrap="square" rtlCol="0">
            <a:spAutoFit/>
          </a:bodyPr>
          <a:lstStyle/>
          <a:p>
            <a:pPr algn="ctr"/>
            <a:r>
              <a:rPr lang="en-US" sz="1050" b="1" u="sng"/>
              <a:t>Applicant Experience</a:t>
            </a:r>
            <a:r>
              <a:rPr lang="en-US" sz="1050" b="1"/>
              <a:t> </a:t>
            </a:r>
            <a:r>
              <a:rPr lang="en-US" sz="1050">
                <a:solidFill>
                  <a:schemeClr val="bg2">
                    <a:lumMod val="90000"/>
                  </a:schemeClr>
                </a:solidFill>
              </a:rPr>
              <a:t>– Policy and Procedure – Documentation – Procurement – Contract Administration</a:t>
            </a:r>
          </a:p>
        </p:txBody>
      </p:sp>
      <p:sp>
        <p:nvSpPr>
          <p:cNvPr id="8" name="Text Placeholder 4">
            <a:extLst>
              <a:ext uri="{FF2B5EF4-FFF2-40B4-BE49-F238E27FC236}">
                <a16:creationId xmlns:a16="http://schemas.microsoft.com/office/drawing/2014/main" id="{FE0E2835-35E3-8346-6D88-D41220C9EF87}"/>
              </a:ext>
            </a:extLst>
          </p:cNvPr>
          <p:cNvSpPr>
            <a:spLocks noGrp="1"/>
          </p:cNvSpPr>
          <p:nvPr>
            <p:ph type="body" sz="quarter" idx="10"/>
          </p:nvPr>
        </p:nvSpPr>
        <p:spPr>
          <a:xfrm>
            <a:off x="415504" y="1582903"/>
            <a:ext cx="10515600" cy="4546800"/>
          </a:xfrm>
        </p:spPr>
        <p:txBody>
          <a:bodyPr>
            <a:normAutofit/>
          </a:bodyPr>
          <a:lstStyle/>
          <a:p>
            <a:pPr marL="0" indent="0">
              <a:buNone/>
            </a:pPr>
            <a:r>
              <a:rPr lang="en-US" sz="2400" b="1">
                <a:latin typeface="+mn-lt"/>
              </a:rPr>
              <a:t>Instructions:</a:t>
            </a:r>
          </a:p>
          <a:p>
            <a:pPr marL="971550" lvl="1" indent="-514350">
              <a:buFont typeface="+mj-lt"/>
              <a:buAutoNum type="arabicPeriod"/>
            </a:pPr>
            <a:r>
              <a:rPr lang="en-US">
                <a:latin typeface="+mn-lt"/>
              </a:rPr>
              <a:t>In your group, review the Applicant Experience questions (1 – 3).</a:t>
            </a:r>
          </a:p>
          <a:p>
            <a:pPr marL="971550" lvl="1" indent="-514350">
              <a:buFont typeface="+mj-lt"/>
              <a:buAutoNum type="arabicPeriod"/>
            </a:pPr>
            <a:r>
              <a:rPr lang="en-US">
                <a:latin typeface="+mn-lt"/>
              </a:rPr>
              <a:t>Discuss the following questions in your group:</a:t>
            </a:r>
          </a:p>
          <a:p>
            <a:pPr marL="1428750" lvl="2" indent="-514350">
              <a:buFont typeface="+mj-lt"/>
              <a:buAutoNum type="arabicPeriod"/>
            </a:pPr>
            <a:r>
              <a:rPr lang="en-US" sz="2400">
                <a:latin typeface="+mn-lt"/>
              </a:rPr>
              <a:t>Which questions will be the easiest to find answers for?</a:t>
            </a:r>
          </a:p>
          <a:p>
            <a:pPr marL="1428750" lvl="2" indent="-514350">
              <a:buFont typeface="+mj-lt"/>
              <a:buAutoNum type="arabicPeriod"/>
            </a:pPr>
            <a:r>
              <a:rPr lang="en-US" sz="2400">
                <a:latin typeface="+mn-lt"/>
              </a:rPr>
              <a:t>Which questions will be the most difficult to find answers for?</a:t>
            </a:r>
          </a:p>
          <a:p>
            <a:pPr marL="1428750" lvl="2" indent="-514350">
              <a:buFont typeface="+mj-lt"/>
              <a:buAutoNum type="arabicPeriod"/>
            </a:pPr>
            <a:r>
              <a:rPr lang="en-US" sz="2400">
                <a:latin typeface="+mn-lt"/>
              </a:rPr>
              <a:t>Do you know who you will reach out to in your organization for additional information or feedback?</a:t>
            </a:r>
          </a:p>
          <a:p>
            <a:pPr marL="1428750" lvl="2" indent="-514350">
              <a:buFont typeface="+mj-lt"/>
              <a:buAutoNum type="arabicPeriod"/>
            </a:pPr>
            <a:r>
              <a:rPr lang="en-US" sz="2400">
                <a:latin typeface="+mn-lt"/>
              </a:rPr>
              <a:t>Are there any questions that are unclear and could use more context?</a:t>
            </a:r>
          </a:p>
          <a:p>
            <a:pPr marL="971550" lvl="1" indent="-514350">
              <a:buFont typeface="+mj-lt"/>
              <a:buAutoNum type="arabicPeriod"/>
            </a:pPr>
            <a:r>
              <a:rPr lang="en-US">
                <a:latin typeface="+mn-lt"/>
              </a:rPr>
              <a:t>Designate one of your teammates to report back to the class.</a:t>
            </a:r>
          </a:p>
          <a:p>
            <a:pPr marL="1428750" lvl="2" indent="-514350">
              <a:buFont typeface="+mj-lt"/>
              <a:buAutoNum type="arabicPeriod"/>
            </a:pPr>
            <a:endParaRPr lang="en-US" sz="2400"/>
          </a:p>
        </p:txBody>
      </p:sp>
      <p:pic>
        <p:nvPicPr>
          <p:cNvPr id="10" name="Picture 9">
            <a:extLst>
              <a:ext uri="{FF2B5EF4-FFF2-40B4-BE49-F238E27FC236}">
                <a16:creationId xmlns:a16="http://schemas.microsoft.com/office/drawing/2014/main" id="{72FB0051-02D6-B6FF-BADE-71993F1A6CB3}"/>
              </a:ext>
            </a:extLst>
          </p:cNvPr>
          <p:cNvPicPr>
            <a:picLocks noChangeAspect="1"/>
          </p:cNvPicPr>
          <p:nvPr/>
        </p:nvPicPr>
        <p:blipFill>
          <a:blip r:embed="rId3"/>
          <a:stretch>
            <a:fillRect/>
          </a:stretch>
        </p:blipFill>
        <p:spPr>
          <a:xfrm>
            <a:off x="9629055" y="4933315"/>
            <a:ext cx="2417114" cy="1809269"/>
          </a:xfrm>
          <a:prstGeom prst="rect">
            <a:avLst/>
          </a:prstGeom>
        </p:spPr>
      </p:pic>
    </p:spTree>
    <p:custDataLst>
      <p:tags r:id="rId1"/>
    </p:custDataLst>
    <p:extLst>
      <p:ext uri="{BB962C8B-B14F-4D97-AF65-F5344CB8AC3E}">
        <p14:creationId xmlns:p14="http://schemas.microsoft.com/office/powerpoint/2010/main" val="17496137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A1AA09C-F596-1BA4-FB1F-0CB3EB6D642C}"/>
              </a:ext>
            </a:extLst>
          </p:cNvPr>
          <p:cNvGrpSpPr>
            <a:grpSpLocks noChangeAspect="1"/>
          </p:cNvGrpSpPr>
          <p:nvPr/>
        </p:nvGrpSpPr>
        <p:grpSpPr>
          <a:xfrm>
            <a:off x="4962808" y="1853610"/>
            <a:ext cx="4749955" cy="4601348"/>
            <a:chOff x="1285274" y="502807"/>
            <a:chExt cx="6524237" cy="6320118"/>
          </a:xfrm>
        </p:grpSpPr>
        <p:grpSp>
          <p:nvGrpSpPr>
            <p:cNvPr id="3" name="Group 2">
              <a:extLst>
                <a:ext uri="{FF2B5EF4-FFF2-40B4-BE49-F238E27FC236}">
                  <a16:creationId xmlns:a16="http://schemas.microsoft.com/office/drawing/2014/main" id="{64AAC912-B75F-6974-378C-260AACEA3B46}"/>
                </a:ext>
              </a:extLst>
            </p:cNvPr>
            <p:cNvGrpSpPr/>
            <p:nvPr/>
          </p:nvGrpSpPr>
          <p:grpSpPr>
            <a:xfrm>
              <a:off x="1285274" y="502807"/>
              <a:ext cx="5254075" cy="5729174"/>
              <a:chOff x="1285274" y="502807"/>
              <a:chExt cx="5254075" cy="5729174"/>
            </a:xfrm>
          </p:grpSpPr>
          <p:grpSp>
            <p:nvGrpSpPr>
              <p:cNvPr id="54" name="Group 53">
                <a:extLst>
                  <a:ext uri="{FF2B5EF4-FFF2-40B4-BE49-F238E27FC236}">
                    <a16:creationId xmlns:a16="http://schemas.microsoft.com/office/drawing/2014/main" id="{0AF673A8-C98D-1D86-C84B-3A819763DA60}"/>
                  </a:ext>
                </a:extLst>
              </p:cNvPr>
              <p:cNvGrpSpPr/>
              <p:nvPr/>
            </p:nvGrpSpPr>
            <p:grpSpPr>
              <a:xfrm>
                <a:off x="1952452" y="1136154"/>
                <a:ext cx="4397102" cy="5095827"/>
                <a:chOff x="-4990" y="1221012"/>
                <a:chExt cx="4397102" cy="5095827"/>
              </a:xfrm>
            </p:grpSpPr>
            <p:sp>
              <p:nvSpPr>
                <p:cNvPr id="64" name="Rectangle 63">
                  <a:extLst>
                    <a:ext uri="{FF2B5EF4-FFF2-40B4-BE49-F238E27FC236}">
                      <a16:creationId xmlns:a16="http://schemas.microsoft.com/office/drawing/2014/main" id="{1B95D792-0153-CC8A-7FA3-929A822E54A1}"/>
                    </a:ext>
                  </a:extLst>
                </p:cNvPr>
                <p:cNvSpPr/>
                <p:nvPr/>
              </p:nvSpPr>
              <p:spPr>
                <a:xfrm flipH="1">
                  <a:off x="73927" y="1221012"/>
                  <a:ext cx="4318185" cy="33819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a:ln>
                      <a:noFill/>
                    </a:ln>
                    <a:solidFill>
                      <a:srgbClr val="7F7F7F"/>
                    </a:solidFill>
                    <a:effectLst/>
                    <a:uLnTx/>
                    <a:uFillTx/>
                    <a:latin typeface="Univers for KPMG" panose="020B0603020202020204" pitchFamily="34" charset="0"/>
                    <a:ea typeface="+mn-ea"/>
                    <a:cs typeface="Arial" panose="020B0604020202020204" pitchFamily="34" charset="0"/>
                  </a:endParaRPr>
                </a:p>
              </p:txBody>
            </p:sp>
            <p:sp>
              <p:nvSpPr>
                <p:cNvPr id="65" name="TextBox 81">
                  <a:extLst>
                    <a:ext uri="{FF2B5EF4-FFF2-40B4-BE49-F238E27FC236}">
                      <a16:creationId xmlns:a16="http://schemas.microsoft.com/office/drawing/2014/main" id="{F842A082-3D9E-A620-20C0-FEACD97DD6C3}"/>
                    </a:ext>
                  </a:extLst>
                </p:cNvPr>
                <p:cNvSpPr txBox="1"/>
                <p:nvPr/>
              </p:nvSpPr>
              <p:spPr>
                <a:xfrm flipH="1">
                  <a:off x="-4990" y="5809548"/>
                  <a:ext cx="4275412" cy="50729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00A3A1"/>
                      </a:solidFill>
                      <a:effectLst/>
                      <a:uLnTx/>
                      <a:uFillTx/>
                      <a:latin typeface="Calibri" panose="020F0502020204030204"/>
                      <a:ea typeface="+mn-ea"/>
                      <a:cs typeface="Arial" panose="020B0604020202020204" pitchFamily="34" charset="0"/>
                    </a:rPr>
                    <a:t>Contract Administration </a:t>
                  </a:r>
                </a:p>
              </p:txBody>
            </p:sp>
          </p:grpSp>
          <p:grpSp>
            <p:nvGrpSpPr>
              <p:cNvPr id="55" name="Group 54">
                <a:extLst>
                  <a:ext uri="{FF2B5EF4-FFF2-40B4-BE49-F238E27FC236}">
                    <a16:creationId xmlns:a16="http://schemas.microsoft.com/office/drawing/2014/main" id="{4F6B750D-1FA1-A60E-11EB-9677331A6A20}"/>
                  </a:ext>
                </a:extLst>
              </p:cNvPr>
              <p:cNvGrpSpPr/>
              <p:nvPr/>
            </p:nvGrpSpPr>
            <p:grpSpPr>
              <a:xfrm>
                <a:off x="1285274" y="502807"/>
                <a:ext cx="5254075" cy="1261872"/>
                <a:chOff x="1285274" y="502807"/>
                <a:chExt cx="5254075" cy="1261872"/>
              </a:xfrm>
            </p:grpSpPr>
            <p:cxnSp>
              <p:nvCxnSpPr>
                <p:cNvPr id="56" name="Straight Connector 55">
                  <a:extLst>
                    <a:ext uri="{FF2B5EF4-FFF2-40B4-BE49-F238E27FC236}">
                      <a16:creationId xmlns:a16="http://schemas.microsoft.com/office/drawing/2014/main" id="{5EBB59EC-C088-8A96-D6B6-2404D2CF6D76}"/>
                    </a:ext>
                  </a:extLst>
                </p:cNvPr>
                <p:cNvCxnSpPr/>
                <p:nvPr/>
              </p:nvCxnSpPr>
              <p:spPr>
                <a:xfrm>
                  <a:off x="1601589" y="1127393"/>
                  <a:ext cx="4937760" cy="0"/>
                </a:xfrm>
                <a:prstGeom prst="line">
                  <a:avLst/>
                </a:prstGeom>
                <a:noFill/>
                <a:ln w="6350" cap="flat" cmpd="sng" algn="ctr">
                  <a:solidFill>
                    <a:srgbClr val="00338D"/>
                  </a:solidFill>
                  <a:prstDash val="solid"/>
                  <a:miter lim="800000"/>
                </a:ln>
                <a:effectLst/>
              </p:spPr>
            </p:cxnSp>
            <p:grpSp>
              <p:nvGrpSpPr>
                <p:cNvPr id="57" name="Group 56">
                  <a:extLst>
                    <a:ext uri="{FF2B5EF4-FFF2-40B4-BE49-F238E27FC236}">
                      <a16:creationId xmlns:a16="http://schemas.microsoft.com/office/drawing/2014/main" id="{B6219ED4-6CF6-C724-F690-444633C32C5D}"/>
                    </a:ext>
                  </a:extLst>
                </p:cNvPr>
                <p:cNvGrpSpPr/>
                <p:nvPr/>
              </p:nvGrpSpPr>
              <p:grpSpPr>
                <a:xfrm>
                  <a:off x="1285274" y="502807"/>
                  <a:ext cx="548288" cy="1261872"/>
                  <a:chOff x="1285274" y="502807"/>
                  <a:chExt cx="548288" cy="1261872"/>
                </a:xfrm>
              </p:grpSpPr>
              <p:sp>
                <p:nvSpPr>
                  <p:cNvPr id="58" name="Freeform 109">
                    <a:extLst>
                      <a:ext uri="{FF2B5EF4-FFF2-40B4-BE49-F238E27FC236}">
                        <a16:creationId xmlns:a16="http://schemas.microsoft.com/office/drawing/2014/main" id="{D0D52C29-6887-EF52-9614-706F967030E9}"/>
                      </a:ext>
                    </a:extLst>
                  </p:cNvPr>
                  <p:cNvSpPr/>
                  <p:nvPr/>
                </p:nvSpPr>
                <p:spPr>
                  <a:xfrm>
                    <a:off x="1465288" y="502807"/>
                    <a:ext cx="188260" cy="1261872"/>
                  </a:xfrm>
                  <a:custGeom>
                    <a:avLst/>
                    <a:gdLst>
                      <a:gd name="connsiteX0" fmla="*/ 94130 w 188260"/>
                      <a:gd name="connsiteY0" fmla="*/ 0 h 1261872"/>
                      <a:gd name="connsiteX1" fmla="*/ 188260 w 188260"/>
                      <a:gd name="connsiteY1" fmla="*/ 94130 h 1261872"/>
                      <a:gd name="connsiteX2" fmla="*/ 188260 w 188260"/>
                      <a:gd name="connsiteY2" fmla="*/ 1261872 h 1261872"/>
                      <a:gd name="connsiteX3" fmla="*/ 0 w 188260"/>
                      <a:gd name="connsiteY3" fmla="*/ 1261872 h 1261872"/>
                      <a:gd name="connsiteX4" fmla="*/ 0 w 188260"/>
                      <a:gd name="connsiteY4" fmla="*/ 94130 h 1261872"/>
                      <a:gd name="connsiteX5" fmla="*/ 94130 w 188260"/>
                      <a:gd name="connsiteY5" fmla="*/ 0 h 1261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260" h="1261872">
                        <a:moveTo>
                          <a:pt x="94130" y="0"/>
                        </a:moveTo>
                        <a:cubicBezTo>
                          <a:pt x="146117" y="0"/>
                          <a:pt x="188260" y="42143"/>
                          <a:pt x="188260" y="94130"/>
                        </a:cubicBezTo>
                        <a:lnTo>
                          <a:pt x="188260" y="1261872"/>
                        </a:lnTo>
                        <a:lnTo>
                          <a:pt x="0" y="1261872"/>
                        </a:lnTo>
                        <a:lnTo>
                          <a:pt x="0" y="94130"/>
                        </a:lnTo>
                        <a:cubicBezTo>
                          <a:pt x="0" y="42143"/>
                          <a:pt x="42143" y="0"/>
                          <a:pt x="94130" y="0"/>
                        </a:cubicBezTo>
                        <a:close/>
                      </a:path>
                    </a:pathLst>
                  </a:custGeom>
                  <a:solidFill>
                    <a:srgbClr val="00338D"/>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nvGrpSpPr>
                  <p:cNvPr id="59" name="Group 58">
                    <a:extLst>
                      <a:ext uri="{FF2B5EF4-FFF2-40B4-BE49-F238E27FC236}">
                        <a16:creationId xmlns:a16="http://schemas.microsoft.com/office/drawing/2014/main" id="{04C916B6-F923-7597-84E5-8EE64441F1EB}"/>
                      </a:ext>
                    </a:extLst>
                  </p:cNvPr>
                  <p:cNvGrpSpPr/>
                  <p:nvPr/>
                </p:nvGrpSpPr>
                <p:grpSpPr>
                  <a:xfrm>
                    <a:off x="1285274" y="859599"/>
                    <a:ext cx="548288" cy="548288"/>
                    <a:chOff x="1285274" y="859599"/>
                    <a:chExt cx="548288" cy="548288"/>
                  </a:xfrm>
                </p:grpSpPr>
                <p:grpSp>
                  <p:nvGrpSpPr>
                    <p:cNvPr id="60" name="Group 59">
                      <a:extLst>
                        <a:ext uri="{FF2B5EF4-FFF2-40B4-BE49-F238E27FC236}">
                          <a16:creationId xmlns:a16="http://schemas.microsoft.com/office/drawing/2014/main" id="{125B1425-3D7F-5CBA-1894-E367782204DA}"/>
                        </a:ext>
                      </a:extLst>
                    </p:cNvPr>
                    <p:cNvGrpSpPr/>
                    <p:nvPr/>
                  </p:nvGrpSpPr>
                  <p:grpSpPr>
                    <a:xfrm>
                      <a:off x="1285274" y="859599"/>
                      <a:ext cx="548288" cy="548288"/>
                      <a:chOff x="4114891" y="1309087"/>
                      <a:chExt cx="548288" cy="548288"/>
                    </a:xfrm>
                  </p:grpSpPr>
                  <p:sp>
                    <p:nvSpPr>
                      <p:cNvPr id="62" name="Oval 61">
                        <a:extLst>
                          <a:ext uri="{FF2B5EF4-FFF2-40B4-BE49-F238E27FC236}">
                            <a16:creationId xmlns:a16="http://schemas.microsoft.com/office/drawing/2014/main" id="{E1F27165-5C4B-BA66-6308-3C0306B28FF0}"/>
                          </a:ext>
                        </a:extLst>
                      </p:cNvPr>
                      <p:cNvSpPr/>
                      <p:nvPr/>
                    </p:nvSpPr>
                    <p:spPr>
                      <a:xfrm>
                        <a:off x="4114891" y="1309087"/>
                        <a:ext cx="548288" cy="548288"/>
                      </a:xfrm>
                      <a:prstGeom prst="ellipse">
                        <a:avLst/>
                      </a:prstGeom>
                      <a:solidFill>
                        <a:srgbClr val="00338D">
                          <a:lumMod val="75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338D"/>
                          </a:solidFill>
                          <a:effectLst/>
                          <a:uLnTx/>
                          <a:uFillTx/>
                          <a:latin typeface="Univers for KPMG" panose="020B0603020202020204" pitchFamily="34" charset="0"/>
                          <a:ea typeface="+mn-ea"/>
                          <a:cs typeface="Arial" panose="020B0604020202020204" pitchFamily="34" charset="0"/>
                        </a:endParaRPr>
                      </a:p>
                    </p:txBody>
                  </p:sp>
                  <p:sp>
                    <p:nvSpPr>
                      <p:cNvPr id="63" name="Oval 62">
                        <a:extLst>
                          <a:ext uri="{FF2B5EF4-FFF2-40B4-BE49-F238E27FC236}">
                            <a16:creationId xmlns:a16="http://schemas.microsoft.com/office/drawing/2014/main" id="{669400FB-7F93-7811-70B8-33E3A88B2458}"/>
                          </a:ext>
                        </a:extLst>
                      </p:cNvPr>
                      <p:cNvSpPr/>
                      <p:nvPr/>
                    </p:nvSpPr>
                    <p:spPr>
                      <a:xfrm>
                        <a:off x="4187020" y="1381216"/>
                        <a:ext cx="404030" cy="404030"/>
                      </a:xfrm>
                      <a:prstGeom prst="ellipse">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sp>
                  <p:nvSpPr>
                    <p:cNvPr id="61" name="TextBox 111">
                      <a:extLst>
                        <a:ext uri="{FF2B5EF4-FFF2-40B4-BE49-F238E27FC236}">
                          <a16:creationId xmlns:a16="http://schemas.microsoft.com/office/drawing/2014/main" id="{9929BA44-C61D-C587-CFDC-A80D3B3880BC}"/>
                        </a:ext>
                      </a:extLst>
                    </p:cNvPr>
                    <p:cNvSpPr txBox="1"/>
                    <p:nvPr/>
                  </p:nvSpPr>
                  <p:spPr>
                    <a:xfrm>
                      <a:off x="1301241" y="938840"/>
                      <a:ext cx="514912" cy="3804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338D"/>
                          </a:solidFill>
                          <a:effectLst/>
                          <a:uLnTx/>
                          <a:uFillTx/>
                          <a:latin typeface="Univers for KPMG" panose="020B0603020202020204" pitchFamily="34" charset="0"/>
                          <a:ea typeface="Cambria Math" panose="02040503050406030204" pitchFamily="18" charset="0"/>
                          <a:cs typeface="Arial" panose="020B0604020202020204" pitchFamily="34" charset="0"/>
                        </a:rPr>
                        <a:t>01</a:t>
                      </a:r>
                    </a:p>
                  </p:txBody>
                </p:sp>
              </p:grpSp>
            </p:grpSp>
          </p:grpSp>
        </p:grpSp>
        <p:grpSp>
          <p:nvGrpSpPr>
            <p:cNvPr id="5" name="Group 4">
              <a:extLst>
                <a:ext uri="{FF2B5EF4-FFF2-40B4-BE49-F238E27FC236}">
                  <a16:creationId xmlns:a16="http://schemas.microsoft.com/office/drawing/2014/main" id="{B4CB40F8-5EDB-C08E-60A3-33E231D14CE7}"/>
                </a:ext>
              </a:extLst>
            </p:cNvPr>
            <p:cNvGrpSpPr/>
            <p:nvPr/>
          </p:nvGrpSpPr>
          <p:grpSpPr>
            <a:xfrm>
              <a:off x="1285274" y="1764679"/>
              <a:ext cx="5254075" cy="3217068"/>
              <a:chOff x="1285274" y="1764679"/>
              <a:chExt cx="5254075" cy="3217068"/>
            </a:xfrm>
          </p:grpSpPr>
          <p:sp>
            <p:nvSpPr>
              <p:cNvPr id="44" name="TextBox 81">
                <a:extLst>
                  <a:ext uri="{FF2B5EF4-FFF2-40B4-BE49-F238E27FC236}">
                    <a16:creationId xmlns:a16="http://schemas.microsoft.com/office/drawing/2014/main" id="{2422E1B1-C5A0-D64F-A838-389074722B24}"/>
                  </a:ext>
                </a:extLst>
              </p:cNvPr>
              <p:cNvSpPr txBox="1"/>
              <p:nvPr/>
            </p:nvSpPr>
            <p:spPr>
              <a:xfrm flipH="1">
                <a:off x="1952453" y="4474456"/>
                <a:ext cx="4275411" cy="50729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005EB8"/>
                    </a:solidFill>
                    <a:effectLst/>
                    <a:uLnTx/>
                    <a:uFillTx/>
                    <a:latin typeface="Calibri" panose="020F0502020204030204"/>
                    <a:ea typeface="+mn-ea"/>
                    <a:cs typeface="Arial" panose="020B0604020202020204" pitchFamily="34" charset="0"/>
                  </a:rPr>
                  <a:t>Procurement</a:t>
                </a:r>
              </a:p>
            </p:txBody>
          </p:sp>
          <p:grpSp>
            <p:nvGrpSpPr>
              <p:cNvPr id="45" name="Group 44">
                <a:extLst>
                  <a:ext uri="{FF2B5EF4-FFF2-40B4-BE49-F238E27FC236}">
                    <a16:creationId xmlns:a16="http://schemas.microsoft.com/office/drawing/2014/main" id="{C2342CDB-40D9-D0E8-4077-4382A47361EA}"/>
                  </a:ext>
                </a:extLst>
              </p:cNvPr>
              <p:cNvGrpSpPr/>
              <p:nvPr/>
            </p:nvGrpSpPr>
            <p:grpSpPr>
              <a:xfrm>
                <a:off x="1285274" y="1764679"/>
                <a:ext cx="5254075" cy="1272628"/>
                <a:chOff x="1285274" y="1764679"/>
                <a:chExt cx="5254075" cy="1272628"/>
              </a:xfrm>
            </p:grpSpPr>
            <p:cxnSp>
              <p:nvCxnSpPr>
                <p:cNvPr id="46" name="Straight Connector 45">
                  <a:extLst>
                    <a:ext uri="{FF2B5EF4-FFF2-40B4-BE49-F238E27FC236}">
                      <a16:creationId xmlns:a16="http://schemas.microsoft.com/office/drawing/2014/main" id="{61F618B1-E8B1-21E5-307F-11A7D56D7EA1}"/>
                    </a:ext>
                  </a:extLst>
                </p:cNvPr>
                <p:cNvCxnSpPr>
                  <a:cxnSpLocks/>
                </p:cNvCxnSpPr>
                <p:nvPr/>
              </p:nvCxnSpPr>
              <p:spPr>
                <a:xfrm>
                  <a:off x="1601589" y="2397818"/>
                  <a:ext cx="4937760" cy="0"/>
                </a:xfrm>
                <a:prstGeom prst="line">
                  <a:avLst/>
                </a:prstGeom>
                <a:noFill/>
                <a:ln w="6350" cap="flat" cmpd="sng" algn="ctr">
                  <a:solidFill>
                    <a:srgbClr val="0091DA"/>
                  </a:solidFill>
                  <a:prstDash val="solid"/>
                  <a:miter lim="800000"/>
                </a:ln>
                <a:effectLst/>
              </p:spPr>
            </p:cxnSp>
            <p:grpSp>
              <p:nvGrpSpPr>
                <p:cNvPr id="47" name="Group 46">
                  <a:extLst>
                    <a:ext uri="{FF2B5EF4-FFF2-40B4-BE49-F238E27FC236}">
                      <a16:creationId xmlns:a16="http://schemas.microsoft.com/office/drawing/2014/main" id="{4ACDC5A8-A6AC-C44F-8795-F1039F44E817}"/>
                    </a:ext>
                  </a:extLst>
                </p:cNvPr>
                <p:cNvGrpSpPr/>
                <p:nvPr/>
              </p:nvGrpSpPr>
              <p:grpSpPr>
                <a:xfrm>
                  <a:off x="1285274" y="1764679"/>
                  <a:ext cx="548288" cy="1272628"/>
                  <a:chOff x="1285274" y="1764679"/>
                  <a:chExt cx="548288" cy="1272628"/>
                </a:xfrm>
              </p:grpSpPr>
              <p:sp>
                <p:nvSpPr>
                  <p:cNvPr id="48" name="Freeform 84">
                    <a:extLst>
                      <a:ext uri="{FF2B5EF4-FFF2-40B4-BE49-F238E27FC236}">
                        <a16:creationId xmlns:a16="http://schemas.microsoft.com/office/drawing/2014/main" id="{9014E2EE-7EC6-A486-E3CE-EE39D42B4864}"/>
                      </a:ext>
                    </a:extLst>
                  </p:cNvPr>
                  <p:cNvSpPr/>
                  <p:nvPr/>
                </p:nvSpPr>
                <p:spPr>
                  <a:xfrm>
                    <a:off x="1465288" y="1764679"/>
                    <a:ext cx="188260" cy="1272628"/>
                  </a:xfrm>
                  <a:custGeom>
                    <a:avLst/>
                    <a:gdLst>
                      <a:gd name="connsiteX0" fmla="*/ 0 w 188260"/>
                      <a:gd name="connsiteY0" fmla="*/ 0 h 1272628"/>
                      <a:gd name="connsiteX1" fmla="*/ 188260 w 188260"/>
                      <a:gd name="connsiteY1" fmla="*/ 0 h 1272628"/>
                      <a:gd name="connsiteX2" fmla="*/ 188260 w 188260"/>
                      <a:gd name="connsiteY2" fmla="*/ 1272628 h 1272628"/>
                      <a:gd name="connsiteX3" fmla="*/ 0 w 188260"/>
                      <a:gd name="connsiteY3" fmla="*/ 1272628 h 1272628"/>
                      <a:gd name="connsiteX4" fmla="*/ 0 w 188260"/>
                      <a:gd name="connsiteY4" fmla="*/ 0 h 12726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260" h="1272628">
                        <a:moveTo>
                          <a:pt x="0" y="0"/>
                        </a:moveTo>
                        <a:lnTo>
                          <a:pt x="188260" y="0"/>
                        </a:lnTo>
                        <a:lnTo>
                          <a:pt x="188260" y="1272628"/>
                        </a:lnTo>
                        <a:lnTo>
                          <a:pt x="0" y="1272628"/>
                        </a:lnTo>
                        <a:lnTo>
                          <a:pt x="0" y="0"/>
                        </a:lnTo>
                        <a:close/>
                      </a:path>
                    </a:pathLst>
                  </a:custGeom>
                  <a:solidFill>
                    <a:srgbClr val="0099D5"/>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91DA"/>
                      </a:solidFill>
                      <a:effectLst/>
                      <a:uLnTx/>
                      <a:uFillTx/>
                      <a:latin typeface="Univers for KPMG" panose="020B0603020202020204" pitchFamily="34" charset="0"/>
                      <a:ea typeface="+mn-ea"/>
                      <a:cs typeface="Arial" panose="020B0604020202020204" pitchFamily="34" charset="0"/>
                    </a:endParaRPr>
                  </a:p>
                </p:txBody>
              </p:sp>
              <p:grpSp>
                <p:nvGrpSpPr>
                  <p:cNvPr id="49" name="Group 48">
                    <a:extLst>
                      <a:ext uri="{FF2B5EF4-FFF2-40B4-BE49-F238E27FC236}">
                        <a16:creationId xmlns:a16="http://schemas.microsoft.com/office/drawing/2014/main" id="{6ECA9A74-0F0C-FF4A-7046-876954E9988B}"/>
                      </a:ext>
                    </a:extLst>
                  </p:cNvPr>
                  <p:cNvGrpSpPr/>
                  <p:nvPr/>
                </p:nvGrpSpPr>
                <p:grpSpPr>
                  <a:xfrm>
                    <a:off x="1285274" y="2126849"/>
                    <a:ext cx="548288" cy="548288"/>
                    <a:chOff x="1285274" y="2126849"/>
                    <a:chExt cx="548288" cy="548288"/>
                  </a:xfrm>
                </p:grpSpPr>
                <p:grpSp>
                  <p:nvGrpSpPr>
                    <p:cNvPr id="50" name="Group 49">
                      <a:extLst>
                        <a:ext uri="{FF2B5EF4-FFF2-40B4-BE49-F238E27FC236}">
                          <a16:creationId xmlns:a16="http://schemas.microsoft.com/office/drawing/2014/main" id="{2D22DC9A-3A59-8B64-B3CF-39287CD56AEF}"/>
                        </a:ext>
                      </a:extLst>
                    </p:cNvPr>
                    <p:cNvGrpSpPr/>
                    <p:nvPr/>
                  </p:nvGrpSpPr>
                  <p:grpSpPr>
                    <a:xfrm>
                      <a:off x="1285274" y="2126849"/>
                      <a:ext cx="548288" cy="548288"/>
                      <a:chOff x="4114891" y="1309087"/>
                      <a:chExt cx="548288" cy="548288"/>
                    </a:xfrm>
                  </p:grpSpPr>
                  <p:sp>
                    <p:nvSpPr>
                      <p:cNvPr id="52" name="Oval 51">
                        <a:extLst>
                          <a:ext uri="{FF2B5EF4-FFF2-40B4-BE49-F238E27FC236}">
                            <a16:creationId xmlns:a16="http://schemas.microsoft.com/office/drawing/2014/main" id="{037EB7CD-8290-ECEF-C9D2-70DA3A471DFA}"/>
                          </a:ext>
                        </a:extLst>
                      </p:cNvPr>
                      <p:cNvSpPr/>
                      <p:nvPr/>
                    </p:nvSpPr>
                    <p:spPr>
                      <a:xfrm>
                        <a:off x="4114891" y="1309087"/>
                        <a:ext cx="548288" cy="548288"/>
                      </a:xfrm>
                      <a:prstGeom prst="ellipse">
                        <a:avLst/>
                      </a:prstGeom>
                      <a:solidFill>
                        <a:srgbClr val="0091DA">
                          <a:lumMod val="75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sp>
                    <p:nvSpPr>
                      <p:cNvPr id="53" name="Oval 52">
                        <a:extLst>
                          <a:ext uri="{FF2B5EF4-FFF2-40B4-BE49-F238E27FC236}">
                            <a16:creationId xmlns:a16="http://schemas.microsoft.com/office/drawing/2014/main" id="{50523C03-D640-0025-52CF-D6BD8DF6FA98}"/>
                          </a:ext>
                        </a:extLst>
                      </p:cNvPr>
                      <p:cNvSpPr/>
                      <p:nvPr/>
                    </p:nvSpPr>
                    <p:spPr>
                      <a:xfrm>
                        <a:off x="4187020" y="1381216"/>
                        <a:ext cx="404030" cy="404030"/>
                      </a:xfrm>
                      <a:prstGeom prst="ellipse">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sp>
                  <p:nvSpPr>
                    <p:cNvPr id="51" name="TextBox 112">
                      <a:extLst>
                        <a:ext uri="{FF2B5EF4-FFF2-40B4-BE49-F238E27FC236}">
                          <a16:creationId xmlns:a16="http://schemas.microsoft.com/office/drawing/2014/main" id="{FC64B2F8-70B9-4077-D92A-09C3E5DBB6B4}"/>
                        </a:ext>
                      </a:extLst>
                    </p:cNvPr>
                    <p:cNvSpPr txBox="1"/>
                    <p:nvPr/>
                  </p:nvSpPr>
                  <p:spPr>
                    <a:xfrm>
                      <a:off x="1301241" y="2217545"/>
                      <a:ext cx="514912" cy="3804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91DA">
                              <a:lumMod val="75000"/>
                            </a:srgbClr>
                          </a:solidFill>
                          <a:effectLst/>
                          <a:uLnTx/>
                          <a:uFillTx/>
                          <a:latin typeface="Univers for KPMG" panose="020B0603020202020204" pitchFamily="34" charset="0"/>
                          <a:ea typeface="Cambria Math" panose="02040503050406030204" pitchFamily="18" charset="0"/>
                          <a:cs typeface="Arial" panose="020B0604020202020204" pitchFamily="34" charset="0"/>
                        </a:rPr>
                        <a:t>02</a:t>
                      </a:r>
                    </a:p>
                  </p:txBody>
                </p:sp>
              </p:grpSp>
            </p:grpSp>
          </p:grpSp>
        </p:grpSp>
        <p:grpSp>
          <p:nvGrpSpPr>
            <p:cNvPr id="6" name="Group 5">
              <a:extLst>
                <a:ext uri="{FF2B5EF4-FFF2-40B4-BE49-F238E27FC236}">
                  <a16:creationId xmlns:a16="http://schemas.microsoft.com/office/drawing/2014/main" id="{855183AC-82EA-A6F5-262B-D9BCF6D97F21}"/>
                </a:ext>
              </a:extLst>
            </p:cNvPr>
            <p:cNvGrpSpPr/>
            <p:nvPr/>
          </p:nvGrpSpPr>
          <p:grpSpPr>
            <a:xfrm>
              <a:off x="1285274" y="1942658"/>
              <a:ext cx="6524237" cy="2356522"/>
              <a:chOff x="1285274" y="1942658"/>
              <a:chExt cx="6524237" cy="2356522"/>
            </a:xfrm>
          </p:grpSpPr>
          <p:sp>
            <p:nvSpPr>
              <p:cNvPr id="33" name="TextBox 81">
                <a:extLst>
                  <a:ext uri="{FF2B5EF4-FFF2-40B4-BE49-F238E27FC236}">
                    <a16:creationId xmlns:a16="http://schemas.microsoft.com/office/drawing/2014/main" id="{CA444DB0-8EFA-CEBE-A549-0D1E9CB3EBF8}"/>
                  </a:ext>
                </a:extLst>
              </p:cNvPr>
              <p:cNvSpPr txBox="1"/>
              <p:nvPr/>
            </p:nvSpPr>
            <p:spPr>
              <a:xfrm flipH="1">
                <a:off x="1952454" y="1942658"/>
                <a:ext cx="4275411" cy="50729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0099D5"/>
                    </a:solidFill>
                    <a:effectLst/>
                    <a:uLnTx/>
                    <a:uFillTx/>
                    <a:latin typeface="Calibri" panose="020F0502020204030204"/>
                    <a:ea typeface="+mn-ea"/>
                    <a:cs typeface="Arial" panose="020B0604020202020204" pitchFamily="34" charset="0"/>
                  </a:rPr>
                  <a:t>Policy and Procedure</a:t>
                </a:r>
              </a:p>
            </p:txBody>
          </p:sp>
          <p:grpSp>
            <p:nvGrpSpPr>
              <p:cNvPr id="34" name="Group 33">
                <a:extLst>
                  <a:ext uri="{FF2B5EF4-FFF2-40B4-BE49-F238E27FC236}">
                    <a16:creationId xmlns:a16="http://schemas.microsoft.com/office/drawing/2014/main" id="{D6880C1D-2FE5-FDE0-AF80-09AE440B31D9}"/>
                  </a:ext>
                </a:extLst>
              </p:cNvPr>
              <p:cNvGrpSpPr/>
              <p:nvPr/>
            </p:nvGrpSpPr>
            <p:grpSpPr>
              <a:xfrm>
                <a:off x="1285274" y="2957887"/>
                <a:ext cx="6524237" cy="1341293"/>
                <a:chOff x="1285274" y="2957887"/>
                <a:chExt cx="6524237" cy="1341293"/>
              </a:xfrm>
            </p:grpSpPr>
            <p:cxnSp>
              <p:nvCxnSpPr>
                <p:cNvPr id="35" name="Straight Connector 34">
                  <a:extLst>
                    <a:ext uri="{FF2B5EF4-FFF2-40B4-BE49-F238E27FC236}">
                      <a16:creationId xmlns:a16="http://schemas.microsoft.com/office/drawing/2014/main" id="{A0C5ACFC-26D9-BCFA-4AA9-E73B5C613230}"/>
                    </a:ext>
                  </a:extLst>
                </p:cNvPr>
                <p:cNvCxnSpPr/>
                <p:nvPr/>
              </p:nvCxnSpPr>
              <p:spPr>
                <a:xfrm>
                  <a:off x="1601589" y="3658718"/>
                  <a:ext cx="4937760" cy="0"/>
                </a:xfrm>
                <a:prstGeom prst="line">
                  <a:avLst/>
                </a:prstGeom>
                <a:noFill/>
                <a:ln w="6350" cap="flat" cmpd="sng" algn="ctr">
                  <a:solidFill>
                    <a:srgbClr val="6D2077"/>
                  </a:solidFill>
                  <a:prstDash val="solid"/>
                  <a:miter lim="800000"/>
                </a:ln>
                <a:effectLst/>
              </p:spPr>
            </p:cxnSp>
            <p:sp>
              <p:nvSpPr>
                <p:cNvPr id="36" name="Freeform 76">
                  <a:extLst>
                    <a:ext uri="{FF2B5EF4-FFF2-40B4-BE49-F238E27FC236}">
                      <a16:creationId xmlns:a16="http://schemas.microsoft.com/office/drawing/2014/main" id="{C996C5DF-E1D2-E6C6-DCE3-8CFE66B1F4AD}"/>
                    </a:ext>
                  </a:extLst>
                </p:cNvPr>
                <p:cNvSpPr>
                  <a:spLocks/>
                </p:cNvSpPr>
                <p:nvPr/>
              </p:nvSpPr>
              <p:spPr bwMode="auto">
                <a:xfrm flipH="1">
                  <a:off x="6265925" y="2957887"/>
                  <a:ext cx="1543586" cy="700952"/>
                </a:xfrm>
                <a:custGeom>
                  <a:avLst/>
                  <a:gdLst>
                    <a:gd name="T0" fmla="*/ 873 w 873"/>
                    <a:gd name="T1" fmla="*/ 396 h 396"/>
                    <a:gd name="T2" fmla="*/ 571 w 873"/>
                    <a:gd name="T3" fmla="*/ 149 h 396"/>
                    <a:gd name="T4" fmla="*/ 122 w 873"/>
                    <a:gd name="T5" fmla="*/ 114 h 396"/>
                    <a:gd name="T6" fmla="*/ 13 w 873"/>
                    <a:gd name="T7" fmla="*/ 396 h 396"/>
                    <a:gd name="T8" fmla="*/ 873 w 873"/>
                    <a:gd name="T9" fmla="*/ 396 h 396"/>
                  </a:gdLst>
                  <a:ahLst/>
                  <a:cxnLst>
                    <a:cxn ang="0">
                      <a:pos x="T0" y="T1"/>
                    </a:cxn>
                    <a:cxn ang="0">
                      <a:pos x="T2" y="T3"/>
                    </a:cxn>
                    <a:cxn ang="0">
                      <a:pos x="T4" y="T5"/>
                    </a:cxn>
                    <a:cxn ang="0">
                      <a:pos x="T6" y="T7"/>
                    </a:cxn>
                    <a:cxn ang="0">
                      <a:pos x="T8" y="T9"/>
                    </a:cxn>
                  </a:cxnLst>
                  <a:rect l="0" t="0" r="r" b="b"/>
                  <a:pathLst>
                    <a:path w="873" h="396">
                      <a:moveTo>
                        <a:pt x="873" y="396"/>
                      </a:moveTo>
                      <a:cubicBezTo>
                        <a:pt x="755" y="329"/>
                        <a:pt x="654" y="246"/>
                        <a:pt x="571" y="149"/>
                      </a:cubicBezTo>
                      <a:cubicBezTo>
                        <a:pt x="457" y="15"/>
                        <a:pt x="255" y="0"/>
                        <a:pt x="122" y="114"/>
                      </a:cubicBezTo>
                      <a:cubicBezTo>
                        <a:pt x="37" y="186"/>
                        <a:pt x="0" y="293"/>
                        <a:pt x="13" y="396"/>
                      </a:cubicBezTo>
                      <a:lnTo>
                        <a:pt x="873" y="396"/>
                      </a:lnTo>
                      <a:close/>
                    </a:path>
                  </a:pathLst>
                </a:custGeom>
                <a:solidFill>
                  <a:sysClr val="window" lastClr="FFFFFF">
                    <a:alpha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Univers for KPMG" panose="020B0603020202020204" pitchFamily="34" charset="0"/>
                    <a:ea typeface="+mn-ea"/>
                    <a:cs typeface="Arial" panose="020B0604020202020204" pitchFamily="34" charset="0"/>
                  </a:endParaRPr>
                </a:p>
              </p:txBody>
            </p:sp>
            <p:grpSp>
              <p:nvGrpSpPr>
                <p:cNvPr id="37" name="Group 36">
                  <a:extLst>
                    <a:ext uri="{FF2B5EF4-FFF2-40B4-BE49-F238E27FC236}">
                      <a16:creationId xmlns:a16="http://schemas.microsoft.com/office/drawing/2014/main" id="{8F13DAB8-829B-07FC-673B-4AF25C3B1F06}"/>
                    </a:ext>
                  </a:extLst>
                </p:cNvPr>
                <p:cNvGrpSpPr/>
                <p:nvPr/>
              </p:nvGrpSpPr>
              <p:grpSpPr>
                <a:xfrm>
                  <a:off x="1285274" y="3037307"/>
                  <a:ext cx="548288" cy="1261873"/>
                  <a:chOff x="1285274" y="3037307"/>
                  <a:chExt cx="548288" cy="1261873"/>
                </a:xfrm>
              </p:grpSpPr>
              <p:sp>
                <p:nvSpPr>
                  <p:cNvPr id="38" name="Freeform 60">
                    <a:extLst>
                      <a:ext uri="{FF2B5EF4-FFF2-40B4-BE49-F238E27FC236}">
                        <a16:creationId xmlns:a16="http://schemas.microsoft.com/office/drawing/2014/main" id="{11354E91-1768-132E-A7F9-95B472659EDE}"/>
                      </a:ext>
                    </a:extLst>
                  </p:cNvPr>
                  <p:cNvSpPr/>
                  <p:nvPr/>
                </p:nvSpPr>
                <p:spPr>
                  <a:xfrm>
                    <a:off x="1465288" y="3037307"/>
                    <a:ext cx="188260" cy="1261873"/>
                  </a:xfrm>
                  <a:custGeom>
                    <a:avLst/>
                    <a:gdLst>
                      <a:gd name="connsiteX0" fmla="*/ 0 w 188260"/>
                      <a:gd name="connsiteY0" fmla="*/ 0 h 1261873"/>
                      <a:gd name="connsiteX1" fmla="*/ 188260 w 188260"/>
                      <a:gd name="connsiteY1" fmla="*/ 0 h 1261873"/>
                      <a:gd name="connsiteX2" fmla="*/ 188259 w 188260"/>
                      <a:gd name="connsiteY2" fmla="*/ 1261873 h 1261873"/>
                      <a:gd name="connsiteX3" fmla="*/ 0 w 188260"/>
                      <a:gd name="connsiteY3" fmla="*/ 1261873 h 1261873"/>
                      <a:gd name="connsiteX4" fmla="*/ 0 w 188260"/>
                      <a:gd name="connsiteY4" fmla="*/ 0 h 126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260" h="1261873">
                        <a:moveTo>
                          <a:pt x="0" y="0"/>
                        </a:moveTo>
                        <a:lnTo>
                          <a:pt x="188260" y="0"/>
                        </a:lnTo>
                        <a:lnTo>
                          <a:pt x="188259" y="1261873"/>
                        </a:lnTo>
                        <a:lnTo>
                          <a:pt x="0" y="1261873"/>
                        </a:lnTo>
                        <a:lnTo>
                          <a:pt x="0" y="0"/>
                        </a:lnTo>
                        <a:close/>
                      </a:path>
                    </a:pathLst>
                  </a:custGeom>
                  <a:solidFill>
                    <a:srgbClr val="6D2077"/>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nvGrpSpPr>
                  <p:cNvPr id="39" name="Group 38">
                    <a:extLst>
                      <a:ext uri="{FF2B5EF4-FFF2-40B4-BE49-F238E27FC236}">
                        <a16:creationId xmlns:a16="http://schemas.microsoft.com/office/drawing/2014/main" id="{A93FC269-657B-94F4-AC07-FF67613D6C2F}"/>
                      </a:ext>
                    </a:extLst>
                  </p:cNvPr>
                  <p:cNvGrpSpPr/>
                  <p:nvPr/>
                </p:nvGrpSpPr>
                <p:grpSpPr>
                  <a:xfrm>
                    <a:off x="1285274" y="3394099"/>
                    <a:ext cx="548288" cy="548288"/>
                    <a:chOff x="1285274" y="3394099"/>
                    <a:chExt cx="548288" cy="548288"/>
                  </a:xfrm>
                </p:grpSpPr>
                <p:grpSp>
                  <p:nvGrpSpPr>
                    <p:cNvPr id="40" name="Group 39">
                      <a:extLst>
                        <a:ext uri="{FF2B5EF4-FFF2-40B4-BE49-F238E27FC236}">
                          <a16:creationId xmlns:a16="http://schemas.microsoft.com/office/drawing/2014/main" id="{977B1DC9-33C8-B1E0-FA8B-0077B0E307CF}"/>
                        </a:ext>
                      </a:extLst>
                    </p:cNvPr>
                    <p:cNvGrpSpPr/>
                    <p:nvPr/>
                  </p:nvGrpSpPr>
                  <p:grpSpPr>
                    <a:xfrm>
                      <a:off x="1285274" y="3394099"/>
                      <a:ext cx="548288" cy="548288"/>
                      <a:chOff x="4114891" y="1309087"/>
                      <a:chExt cx="548288" cy="548288"/>
                    </a:xfrm>
                  </p:grpSpPr>
                  <p:sp>
                    <p:nvSpPr>
                      <p:cNvPr id="42" name="Oval 41">
                        <a:extLst>
                          <a:ext uri="{FF2B5EF4-FFF2-40B4-BE49-F238E27FC236}">
                            <a16:creationId xmlns:a16="http://schemas.microsoft.com/office/drawing/2014/main" id="{8F410592-9633-5C99-5EE8-38036D854C70}"/>
                          </a:ext>
                        </a:extLst>
                      </p:cNvPr>
                      <p:cNvSpPr/>
                      <p:nvPr/>
                    </p:nvSpPr>
                    <p:spPr>
                      <a:xfrm>
                        <a:off x="4114891" y="1309087"/>
                        <a:ext cx="548288" cy="548288"/>
                      </a:xfrm>
                      <a:prstGeom prst="ellipse">
                        <a:avLst/>
                      </a:prstGeom>
                      <a:solidFill>
                        <a:srgbClr val="6D2077">
                          <a:lumMod val="75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sp>
                    <p:nvSpPr>
                      <p:cNvPr id="43" name="Oval 42">
                        <a:extLst>
                          <a:ext uri="{FF2B5EF4-FFF2-40B4-BE49-F238E27FC236}">
                            <a16:creationId xmlns:a16="http://schemas.microsoft.com/office/drawing/2014/main" id="{9EDB97EB-C1C4-6627-6F15-419868B72AC5}"/>
                          </a:ext>
                        </a:extLst>
                      </p:cNvPr>
                      <p:cNvSpPr/>
                      <p:nvPr/>
                    </p:nvSpPr>
                    <p:spPr>
                      <a:xfrm>
                        <a:off x="4187020" y="1381216"/>
                        <a:ext cx="404030" cy="404030"/>
                      </a:xfrm>
                      <a:prstGeom prst="ellipse">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sp>
                  <p:nvSpPr>
                    <p:cNvPr id="41" name="TextBox 113">
                      <a:extLst>
                        <a:ext uri="{FF2B5EF4-FFF2-40B4-BE49-F238E27FC236}">
                          <a16:creationId xmlns:a16="http://schemas.microsoft.com/office/drawing/2014/main" id="{0FF132D9-73A0-1B00-2062-A5070647C762}"/>
                        </a:ext>
                      </a:extLst>
                    </p:cNvPr>
                    <p:cNvSpPr txBox="1"/>
                    <p:nvPr/>
                  </p:nvSpPr>
                  <p:spPr>
                    <a:xfrm>
                      <a:off x="1301241" y="3476627"/>
                      <a:ext cx="514912" cy="3804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6D2077">
                              <a:lumMod val="75000"/>
                            </a:srgbClr>
                          </a:solidFill>
                          <a:effectLst/>
                          <a:uLnTx/>
                          <a:uFillTx/>
                          <a:latin typeface="Univers for KPMG" panose="020B0603020202020204" pitchFamily="34" charset="0"/>
                          <a:ea typeface="Cambria Math" panose="02040503050406030204" pitchFamily="18" charset="0"/>
                          <a:cs typeface="Arial" panose="020B0604020202020204" pitchFamily="34" charset="0"/>
                        </a:rPr>
                        <a:t>03</a:t>
                      </a:r>
                    </a:p>
                  </p:txBody>
                </p:sp>
              </p:grpSp>
            </p:grpSp>
          </p:grpSp>
        </p:grpSp>
        <p:grpSp>
          <p:nvGrpSpPr>
            <p:cNvPr id="7" name="Group 6">
              <a:extLst>
                <a:ext uri="{FF2B5EF4-FFF2-40B4-BE49-F238E27FC236}">
                  <a16:creationId xmlns:a16="http://schemas.microsoft.com/office/drawing/2014/main" id="{DB3232C2-6795-33C4-3BCD-135619E66C17}"/>
                </a:ext>
              </a:extLst>
            </p:cNvPr>
            <p:cNvGrpSpPr/>
            <p:nvPr/>
          </p:nvGrpSpPr>
          <p:grpSpPr>
            <a:xfrm>
              <a:off x="1285274" y="3224222"/>
              <a:ext cx="6524237" cy="2336831"/>
              <a:chOff x="1285274" y="3224222"/>
              <a:chExt cx="6524237" cy="2336831"/>
            </a:xfrm>
          </p:grpSpPr>
          <p:sp>
            <p:nvSpPr>
              <p:cNvPr id="20" name="TextBox 81">
                <a:extLst>
                  <a:ext uri="{FF2B5EF4-FFF2-40B4-BE49-F238E27FC236}">
                    <a16:creationId xmlns:a16="http://schemas.microsoft.com/office/drawing/2014/main" id="{F4AF5B22-C6E3-A87B-0A9B-C79786B74C3D}"/>
                  </a:ext>
                </a:extLst>
              </p:cNvPr>
              <p:cNvSpPr txBox="1"/>
              <p:nvPr/>
            </p:nvSpPr>
            <p:spPr>
              <a:xfrm flipH="1">
                <a:off x="1952454" y="3224222"/>
                <a:ext cx="4275413" cy="50729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6D2077"/>
                    </a:solidFill>
                    <a:effectLst/>
                    <a:uLnTx/>
                    <a:uFillTx/>
                    <a:latin typeface="Calibri" panose="020F0502020204030204"/>
                    <a:ea typeface="+mn-ea"/>
                    <a:cs typeface="Arial" panose="020B0604020202020204" pitchFamily="34" charset="0"/>
                  </a:rPr>
                  <a:t>Documentation</a:t>
                </a:r>
              </a:p>
            </p:txBody>
          </p:sp>
          <p:grpSp>
            <p:nvGrpSpPr>
              <p:cNvPr id="21" name="Group 20">
                <a:extLst>
                  <a:ext uri="{FF2B5EF4-FFF2-40B4-BE49-F238E27FC236}">
                    <a16:creationId xmlns:a16="http://schemas.microsoft.com/office/drawing/2014/main" id="{CF423E2E-8D52-3845-ADCB-DC0A62AC31B4}"/>
                  </a:ext>
                </a:extLst>
              </p:cNvPr>
              <p:cNvGrpSpPr/>
              <p:nvPr/>
            </p:nvGrpSpPr>
            <p:grpSpPr>
              <a:xfrm>
                <a:off x="1285274" y="4221779"/>
                <a:ext cx="6524237" cy="1339274"/>
                <a:chOff x="1285274" y="4221779"/>
                <a:chExt cx="6524237" cy="1339274"/>
              </a:xfrm>
            </p:grpSpPr>
            <p:cxnSp>
              <p:nvCxnSpPr>
                <p:cNvPr id="22" name="Straight Connector 21">
                  <a:extLst>
                    <a:ext uri="{FF2B5EF4-FFF2-40B4-BE49-F238E27FC236}">
                      <a16:creationId xmlns:a16="http://schemas.microsoft.com/office/drawing/2014/main" id="{FB371C1F-792E-A96B-F52C-3C789C7702ED}"/>
                    </a:ext>
                  </a:extLst>
                </p:cNvPr>
                <p:cNvCxnSpPr/>
                <p:nvPr/>
              </p:nvCxnSpPr>
              <p:spPr>
                <a:xfrm>
                  <a:off x="1601589" y="4917237"/>
                  <a:ext cx="4937760" cy="0"/>
                </a:xfrm>
                <a:prstGeom prst="line">
                  <a:avLst/>
                </a:prstGeom>
                <a:noFill/>
                <a:ln w="6350" cap="flat" cmpd="sng" algn="ctr">
                  <a:solidFill>
                    <a:srgbClr val="005EB8"/>
                  </a:solidFill>
                  <a:prstDash val="solid"/>
                  <a:miter lim="800000"/>
                </a:ln>
                <a:effectLst/>
              </p:spPr>
            </p:cxnSp>
            <p:grpSp>
              <p:nvGrpSpPr>
                <p:cNvPr id="23" name="Group 22">
                  <a:extLst>
                    <a:ext uri="{FF2B5EF4-FFF2-40B4-BE49-F238E27FC236}">
                      <a16:creationId xmlns:a16="http://schemas.microsoft.com/office/drawing/2014/main" id="{4F482217-DBE4-9341-41B1-69A54CEE42C7}"/>
                    </a:ext>
                  </a:extLst>
                </p:cNvPr>
                <p:cNvGrpSpPr/>
                <p:nvPr/>
              </p:nvGrpSpPr>
              <p:grpSpPr>
                <a:xfrm>
                  <a:off x="6265925" y="4221779"/>
                  <a:ext cx="1543586" cy="979097"/>
                  <a:chOff x="6265925" y="4221779"/>
                  <a:chExt cx="1543586" cy="979097"/>
                </a:xfrm>
              </p:grpSpPr>
              <p:sp>
                <p:nvSpPr>
                  <p:cNvPr id="31" name="Freeform 52">
                    <a:extLst>
                      <a:ext uri="{FF2B5EF4-FFF2-40B4-BE49-F238E27FC236}">
                        <a16:creationId xmlns:a16="http://schemas.microsoft.com/office/drawing/2014/main" id="{BE48F75E-1EF8-D80B-E1D2-ACD74F2BE65A}"/>
                      </a:ext>
                    </a:extLst>
                  </p:cNvPr>
                  <p:cNvSpPr>
                    <a:spLocks/>
                  </p:cNvSpPr>
                  <p:nvPr/>
                </p:nvSpPr>
                <p:spPr bwMode="auto">
                  <a:xfrm flipH="1">
                    <a:off x="6265925" y="4221779"/>
                    <a:ext cx="1543586" cy="700952"/>
                  </a:xfrm>
                  <a:custGeom>
                    <a:avLst/>
                    <a:gdLst>
                      <a:gd name="T0" fmla="*/ 873 w 873"/>
                      <a:gd name="T1" fmla="*/ 396 h 396"/>
                      <a:gd name="T2" fmla="*/ 571 w 873"/>
                      <a:gd name="T3" fmla="*/ 149 h 396"/>
                      <a:gd name="T4" fmla="*/ 122 w 873"/>
                      <a:gd name="T5" fmla="*/ 114 h 396"/>
                      <a:gd name="T6" fmla="*/ 13 w 873"/>
                      <a:gd name="T7" fmla="*/ 396 h 396"/>
                      <a:gd name="T8" fmla="*/ 873 w 873"/>
                      <a:gd name="T9" fmla="*/ 396 h 396"/>
                    </a:gdLst>
                    <a:ahLst/>
                    <a:cxnLst>
                      <a:cxn ang="0">
                        <a:pos x="T0" y="T1"/>
                      </a:cxn>
                      <a:cxn ang="0">
                        <a:pos x="T2" y="T3"/>
                      </a:cxn>
                      <a:cxn ang="0">
                        <a:pos x="T4" y="T5"/>
                      </a:cxn>
                      <a:cxn ang="0">
                        <a:pos x="T6" y="T7"/>
                      </a:cxn>
                      <a:cxn ang="0">
                        <a:pos x="T8" y="T9"/>
                      </a:cxn>
                    </a:cxnLst>
                    <a:rect l="0" t="0" r="r" b="b"/>
                    <a:pathLst>
                      <a:path w="873" h="396">
                        <a:moveTo>
                          <a:pt x="873" y="396"/>
                        </a:moveTo>
                        <a:cubicBezTo>
                          <a:pt x="755" y="329"/>
                          <a:pt x="654" y="246"/>
                          <a:pt x="571" y="149"/>
                        </a:cubicBezTo>
                        <a:cubicBezTo>
                          <a:pt x="457" y="15"/>
                          <a:pt x="255" y="0"/>
                          <a:pt x="122" y="114"/>
                        </a:cubicBezTo>
                        <a:cubicBezTo>
                          <a:pt x="37" y="186"/>
                          <a:pt x="0" y="293"/>
                          <a:pt x="13" y="396"/>
                        </a:cubicBezTo>
                        <a:lnTo>
                          <a:pt x="873" y="396"/>
                        </a:lnTo>
                        <a:close/>
                      </a:path>
                    </a:pathLst>
                  </a:custGeom>
                  <a:solidFill>
                    <a:sysClr val="window" lastClr="FFFFFF">
                      <a:alpha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Univers for KPMG" panose="020B0603020202020204" pitchFamily="34" charset="0"/>
                      <a:ea typeface="+mn-ea"/>
                      <a:cs typeface="Arial" panose="020B0604020202020204" pitchFamily="34" charset="0"/>
                    </a:endParaRPr>
                  </a:p>
                </p:txBody>
              </p:sp>
              <p:sp>
                <p:nvSpPr>
                  <p:cNvPr id="32" name="Freeform 50">
                    <a:extLst>
                      <a:ext uri="{FF2B5EF4-FFF2-40B4-BE49-F238E27FC236}">
                        <a16:creationId xmlns:a16="http://schemas.microsoft.com/office/drawing/2014/main" id="{242E24E3-886F-E456-4206-4FA77252C4C9}"/>
                      </a:ext>
                    </a:extLst>
                  </p:cNvPr>
                  <p:cNvSpPr>
                    <a:spLocks/>
                  </p:cNvSpPr>
                  <p:nvPr/>
                </p:nvSpPr>
                <p:spPr bwMode="auto">
                  <a:xfrm flipH="1">
                    <a:off x="6891562" y="4505144"/>
                    <a:ext cx="694986" cy="695732"/>
                  </a:xfrm>
                  <a:custGeom>
                    <a:avLst/>
                    <a:gdLst>
                      <a:gd name="T0" fmla="*/ 82 w 393"/>
                      <a:gd name="T1" fmla="*/ 63 h 393"/>
                      <a:gd name="T2" fmla="*/ 330 w 393"/>
                      <a:gd name="T3" fmla="*/ 82 h 393"/>
                      <a:gd name="T4" fmla="*/ 311 w 393"/>
                      <a:gd name="T5" fmla="*/ 330 h 393"/>
                      <a:gd name="T6" fmla="*/ 63 w 393"/>
                      <a:gd name="T7" fmla="*/ 311 h 393"/>
                      <a:gd name="T8" fmla="*/ 82 w 393"/>
                      <a:gd name="T9" fmla="*/ 63 h 393"/>
                    </a:gdLst>
                    <a:ahLst/>
                    <a:cxnLst>
                      <a:cxn ang="0">
                        <a:pos x="T0" y="T1"/>
                      </a:cxn>
                      <a:cxn ang="0">
                        <a:pos x="T2" y="T3"/>
                      </a:cxn>
                      <a:cxn ang="0">
                        <a:pos x="T4" y="T5"/>
                      </a:cxn>
                      <a:cxn ang="0">
                        <a:pos x="T6" y="T7"/>
                      </a:cxn>
                      <a:cxn ang="0">
                        <a:pos x="T8" y="T9"/>
                      </a:cxn>
                    </a:cxnLst>
                    <a:rect l="0" t="0" r="r" b="b"/>
                    <a:pathLst>
                      <a:path w="393" h="393">
                        <a:moveTo>
                          <a:pt x="82" y="63"/>
                        </a:moveTo>
                        <a:cubicBezTo>
                          <a:pt x="156" y="0"/>
                          <a:pt x="267" y="8"/>
                          <a:pt x="330" y="82"/>
                        </a:cubicBezTo>
                        <a:cubicBezTo>
                          <a:pt x="393" y="156"/>
                          <a:pt x="385" y="267"/>
                          <a:pt x="311" y="330"/>
                        </a:cubicBezTo>
                        <a:cubicBezTo>
                          <a:pt x="237" y="393"/>
                          <a:pt x="126" y="384"/>
                          <a:pt x="63" y="311"/>
                        </a:cubicBezTo>
                        <a:cubicBezTo>
                          <a:pt x="0" y="237"/>
                          <a:pt x="9" y="126"/>
                          <a:pt x="82"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Univers for KPMG" panose="020B0603020202020204" pitchFamily="34" charset="0"/>
                      <a:ea typeface="+mn-ea"/>
                      <a:cs typeface="Arial" panose="020B0604020202020204" pitchFamily="34" charset="0"/>
                    </a:endParaRPr>
                  </a:p>
                </p:txBody>
              </p:sp>
            </p:grpSp>
            <p:grpSp>
              <p:nvGrpSpPr>
                <p:cNvPr id="24" name="Group 23">
                  <a:extLst>
                    <a:ext uri="{FF2B5EF4-FFF2-40B4-BE49-F238E27FC236}">
                      <a16:creationId xmlns:a16="http://schemas.microsoft.com/office/drawing/2014/main" id="{0D8004E7-FC37-A14A-9C4B-0462FE701A12}"/>
                    </a:ext>
                  </a:extLst>
                </p:cNvPr>
                <p:cNvGrpSpPr/>
                <p:nvPr/>
              </p:nvGrpSpPr>
              <p:grpSpPr>
                <a:xfrm>
                  <a:off x="1285274" y="4299180"/>
                  <a:ext cx="548288" cy="1261873"/>
                  <a:chOff x="1285274" y="4299180"/>
                  <a:chExt cx="548288" cy="1261873"/>
                </a:xfrm>
              </p:grpSpPr>
              <p:sp>
                <p:nvSpPr>
                  <p:cNvPr id="25" name="Freeform 37">
                    <a:extLst>
                      <a:ext uri="{FF2B5EF4-FFF2-40B4-BE49-F238E27FC236}">
                        <a16:creationId xmlns:a16="http://schemas.microsoft.com/office/drawing/2014/main" id="{2A9F8B18-8EAF-59BA-93CE-1C25E6C96F6D}"/>
                      </a:ext>
                    </a:extLst>
                  </p:cNvPr>
                  <p:cNvSpPr/>
                  <p:nvPr/>
                </p:nvSpPr>
                <p:spPr>
                  <a:xfrm>
                    <a:off x="1465289" y="4299180"/>
                    <a:ext cx="188259" cy="1261873"/>
                  </a:xfrm>
                  <a:custGeom>
                    <a:avLst/>
                    <a:gdLst>
                      <a:gd name="connsiteX0" fmla="*/ 0 w 188259"/>
                      <a:gd name="connsiteY0" fmla="*/ 0 h 1261873"/>
                      <a:gd name="connsiteX1" fmla="*/ 188259 w 188259"/>
                      <a:gd name="connsiteY1" fmla="*/ 0 h 1261873"/>
                      <a:gd name="connsiteX2" fmla="*/ 188259 w 188259"/>
                      <a:gd name="connsiteY2" fmla="*/ 1261873 h 1261873"/>
                      <a:gd name="connsiteX3" fmla="*/ 0 w 188259"/>
                      <a:gd name="connsiteY3" fmla="*/ 1261873 h 1261873"/>
                      <a:gd name="connsiteX4" fmla="*/ 0 w 188259"/>
                      <a:gd name="connsiteY4" fmla="*/ 0 h 126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259" h="1261873">
                        <a:moveTo>
                          <a:pt x="0" y="0"/>
                        </a:moveTo>
                        <a:lnTo>
                          <a:pt x="188259" y="0"/>
                        </a:lnTo>
                        <a:lnTo>
                          <a:pt x="188259" y="1261873"/>
                        </a:lnTo>
                        <a:lnTo>
                          <a:pt x="0" y="1261873"/>
                        </a:lnTo>
                        <a:lnTo>
                          <a:pt x="0" y="0"/>
                        </a:lnTo>
                        <a:close/>
                      </a:path>
                    </a:pathLst>
                  </a:custGeom>
                  <a:solidFill>
                    <a:srgbClr val="005EB8"/>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nvGrpSpPr>
                  <p:cNvPr id="26" name="Group 25">
                    <a:extLst>
                      <a:ext uri="{FF2B5EF4-FFF2-40B4-BE49-F238E27FC236}">
                        <a16:creationId xmlns:a16="http://schemas.microsoft.com/office/drawing/2014/main" id="{5BA9BDD9-DFC6-5047-2489-01C434A96484}"/>
                      </a:ext>
                    </a:extLst>
                  </p:cNvPr>
                  <p:cNvGrpSpPr/>
                  <p:nvPr/>
                </p:nvGrpSpPr>
                <p:grpSpPr>
                  <a:xfrm>
                    <a:off x="1285274" y="4655972"/>
                    <a:ext cx="548288" cy="548288"/>
                    <a:chOff x="1285274" y="4655972"/>
                    <a:chExt cx="548288" cy="548288"/>
                  </a:xfrm>
                </p:grpSpPr>
                <p:grpSp>
                  <p:nvGrpSpPr>
                    <p:cNvPr id="27" name="Group 26">
                      <a:extLst>
                        <a:ext uri="{FF2B5EF4-FFF2-40B4-BE49-F238E27FC236}">
                          <a16:creationId xmlns:a16="http://schemas.microsoft.com/office/drawing/2014/main" id="{A0E756B1-B06B-0C65-3D67-2EA46DFB81FB}"/>
                        </a:ext>
                      </a:extLst>
                    </p:cNvPr>
                    <p:cNvGrpSpPr/>
                    <p:nvPr/>
                  </p:nvGrpSpPr>
                  <p:grpSpPr>
                    <a:xfrm>
                      <a:off x="1285274" y="4655972"/>
                      <a:ext cx="548288" cy="548288"/>
                      <a:chOff x="4114891" y="1309087"/>
                      <a:chExt cx="548288" cy="548288"/>
                    </a:xfrm>
                  </p:grpSpPr>
                  <p:sp>
                    <p:nvSpPr>
                      <p:cNvPr id="29" name="Oval 28">
                        <a:extLst>
                          <a:ext uri="{FF2B5EF4-FFF2-40B4-BE49-F238E27FC236}">
                            <a16:creationId xmlns:a16="http://schemas.microsoft.com/office/drawing/2014/main" id="{5ABC8B83-D1C2-6BF6-4CFB-3F4895F06D44}"/>
                          </a:ext>
                        </a:extLst>
                      </p:cNvPr>
                      <p:cNvSpPr/>
                      <p:nvPr/>
                    </p:nvSpPr>
                    <p:spPr>
                      <a:xfrm>
                        <a:off x="4114891" y="1309087"/>
                        <a:ext cx="548288" cy="548288"/>
                      </a:xfrm>
                      <a:prstGeom prst="ellipse">
                        <a:avLst/>
                      </a:prstGeom>
                      <a:solidFill>
                        <a:srgbClr val="005EB8">
                          <a:lumMod val="75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sp>
                    <p:nvSpPr>
                      <p:cNvPr id="30" name="Oval 29">
                        <a:extLst>
                          <a:ext uri="{FF2B5EF4-FFF2-40B4-BE49-F238E27FC236}">
                            <a16:creationId xmlns:a16="http://schemas.microsoft.com/office/drawing/2014/main" id="{3371A4E3-ECDA-25DD-97F7-5A3610258DEB}"/>
                          </a:ext>
                        </a:extLst>
                      </p:cNvPr>
                      <p:cNvSpPr/>
                      <p:nvPr/>
                    </p:nvSpPr>
                    <p:spPr>
                      <a:xfrm>
                        <a:off x="4187020" y="1381216"/>
                        <a:ext cx="404030" cy="404030"/>
                      </a:xfrm>
                      <a:prstGeom prst="ellipse">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sp>
                  <p:nvSpPr>
                    <p:cNvPr id="28" name="TextBox 114">
                      <a:extLst>
                        <a:ext uri="{FF2B5EF4-FFF2-40B4-BE49-F238E27FC236}">
                          <a16:creationId xmlns:a16="http://schemas.microsoft.com/office/drawing/2014/main" id="{AEC22912-1865-2EFC-97AD-E7878E4251A7}"/>
                        </a:ext>
                      </a:extLst>
                    </p:cNvPr>
                    <p:cNvSpPr txBox="1"/>
                    <p:nvPr/>
                  </p:nvSpPr>
                  <p:spPr>
                    <a:xfrm>
                      <a:off x="1301241" y="4738226"/>
                      <a:ext cx="514912" cy="3804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5EB8">
                              <a:lumMod val="75000"/>
                            </a:srgbClr>
                          </a:solidFill>
                          <a:effectLst/>
                          <a:uLnTx/>
                          <a:uFillTx/>
                          <a:latin typeface="Univers for KPMG" panose="020B0603020202020204" pitchFamily="34" charset="0"/>
                          <a:ea typeface="Cambria Math" panose="02040503050406030204" pitchFamily="18" charset="0"/>
                          <a:cs typeface="Arial" panose="020B0604020202020204" pitchFamily="34" charset="0"/>
                        </a:rPr>
                        <a:t>04</a:t>
                      </a:r>
                    </a:p>
                  </p:txBody>
                </p:sp>
              </p:grpSp>
            </p:grpSp>
          </p:grpSp>
        </p:grpSp>
        <p:grpSp>
          <p:nvGrpSpPr>
            <p:cNvPr id="8" name="Group 7">
              <a:extLst>
                <a:ext uri="{FF2B5EF4-FFF2-40B4-BE49-F238E27FC236}">
                  <a16:creationId xmlns:a16="http://schemas.microsoft.com/office/drawing/2014/main" id="{16145A7A-F6B6-1B12-8710-EC202156CB0B}"/>
                </a:ext>
              </a:extLst>
            </p:cNvPr>
            <p:cNvGrpSpPr/>
            <p:nvPr/>
          </p:nvGrpSpPr>
          <p:grpSpPr>
            <a:xfrm>
              <a:off x="1285274" y="688003"/>
              <a:ext cx="6524237" cy="6134922"/>
              <a:chOff x="1285274" y="688003"/>
              <a:chExt cx="6524237" cy="6134922"/>
            </a:xfrm>
          </p:grpSpPr>
          <p:sp>
            <p:nvSpPr>
              <p:cNvPr id="9" name="TextBox 81">
                <a:extLst>
                  <a:ext uri="{FF2B5EF4-FFF2-40B4-BE49-F238E27FC236}">
                    <a16:creationId xmlns:a16="http://schemas.microsoft.com/office/drawing/2014/main" id="{E6F0D2FF-76FD-BF60-85CE-0436FAA9EE01}"/>
                  </a:ext>
                </a:extLst>
              </p:cNvPr>
              <p:cNvSpPr txBox="1"/>
              <p:nvPr/>
            </p:nvSpPr>
            <p:spPr>
              <a:xfrm flipH="1">
                <a:off x="1980201" y="688003"/>
                <a:ext cx="4275411" cy="50729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00338D"/>
                    </a:solidFill>
                    <a:effectLst/>
                    <a:uLnTx/>
                    <a:uFillTx/>
                    <a:latin typeface="Calibri" panose="020F0502020204030204"/>
                    <a:ea typeface="+mn-ea"/>
                    <a:cs typeface="Arial" panose="020B0604020202020204" pitchFamily="34" charset="0"/>
                  </a:rPr>
                  <a:t>Applicant Experience</a:t>
                </a:r>
              </a:p>
            </p:txBody>
          </p:sp>
          <p:grpSp>
            <p:nvGrpSpPr>
              <p:cNvPr id="10" name="Group 9">
                <a:extLst>
                  <a:ext uri="{FF2B5EF4-FFF2-40B4-BE49-F238E27FC236}">
                    <a16:creationId xmlns:a16="http://schemas.microsoft.com/office/drawing/2014/main" id="{6B263A6E-251E-A0C9-F790-70865DECB9D0}"/>
                  </a:ext>
                </a:extLst>
              </p:cNvPr>
              <p:cNvGrpSpPr/>
              <p:nvPr/>
            </p:nvGrpSpPr>
            <p:grpSpPr>
              <a:xfrm>
                <a:off x="1285274" y="5482691"/>
                <a:ext cx="6524237" cy="1340234"/>
                <a:chOff x="1285274" y="5482691"/>
                <a:chExt cx="6524237" cy="1340234"/>
              </a:xfrm>
            </p:grpSpPr>
            <p:cxnSp>
              <p:nvCxnSpPr>
                <p:cNvPr id="11" name="Straight Connector 10">
                  <a:extLst>
                    <a:ext uri="{FF2B5EF4-FFF2-40B4-BE49-F238E27FC236}">
                      <a16:creationId xmlns:a16="http://schemas.microsoft.com/office/drawing/2014/main" id="{5C4494D5-CCB8-9F5C-A045-B2B5AACBA210}"/>
                    </a:ext>
                  </a:extLst>
                </p:cNvPr>
                <p:cNvCxnSpPr/>
                <p:nvPr/>
              </p:nvCxnSpPr>
              <p:spPr>
                <a:xfrm>
                  <a:off x="1601588" y="6179110"/>
                  <a:ext cx="4937761" cy="0"/>
                </a:xfrm>
                <a:prstGeom prst="line">
                  <a:avLst/>
                </a:prstGeom>
                <a:noFill/>
                <a:ln w="6350" cap="flat" cmpd="sng" algn="ctr">
                  <a:solidFill>
                    <a:srgbClr val="00A3A1"/>
                  </a:solidFill>
                  <a:prstDash val="solid"/>
                  <a:miter lim="800000"/>
                </a:ln>
                <a:effectLst/>
              </p:spPr>
            </p:cxnSp>
            <p:sp>
              <p:nvSpPr>
                <p:cNvPr id="12" name="Freeform 29">
                  <a:extLst>
                    <a:ext uri="{FF2B5EF4-FFF2-40B4-BE49-F238E27FC236}">
                      <a16:creationId xmlns:a16="http://schemas.microsoft.com/office/drawing/2014/main" id="{7AD30F2E-9196-9ED8-B983-C1593AE5579D}"/>
                    </a:ext>
                  </a:extLst>
                </p:cNvPr>
                <p:cNvSpPr>
                  <a:spLocks/>
                </p:cNvSpPr>
                <p:nvPr/>
              </p:nvSpPr>
              <p:spPr bwMode="auto">
                <a:xfrm flipH="1">
                  <a:off x="6265925" y="5482691"/>
                  <a:ext cx="1543586" cy="700952"/>
                </a:xfrm>
                <a:custGeom>
                  <a:avLst/>
                  <a:gdLst>
                    <a:gd name="T0" fmla="*/ 873 w 873"/>
                    <a:gd name="T1" fmla="*/ 396 h 396"/>
                    <a:gd name="T2" fmla="*/ 571 w 873"/>
                    <a:gd name="T3" fmla="*/ 149 h 396"/>
                    <a:gd name="T4" fmla="*/ 122 w 873"/>
                    <a:gd name="T5" fmla="*/ 114 h 396"/>
                    <a:gd name="T6" fmla="*/ 13 w 873"/>
                    <a:gd name="T7" fmla="*/ 396 h 396"/>
                    <a:gd name="T8" fmla="*/ 873 w 873"/>
                    <a:gd name="T9" fmla="*/ 396 h 396"/>
                  </a:gdLst>
                  <a:ahLst/>
                  <a:cxnLst>
                    <a:cxn ang="0">
                      <a:pos x="T0" y="T1"/>
                    </a:cxn>
                    <a:cxn ang="0">
                      <a:pos x="T2" y="T3"/>
                    </a:cxn>
                    <a:cxn ang="0">
                      <a:pos x="T4" y="T5"/>
                    </a:cxn>
                    <a:cxn ang="0">
                      <a:pos x="T6" y="T7"/>
                    </a:cxn>
                    <a:cxn ang="0">
                      <a:pos x="T8" y="T9"/>
                    </a:cxn>
                  </a:cxnLst>
                  <a:rect l="0" t="0" r="r" b="b"/>
                  <a:pathLst>
                    <a:path w="873" h="396">
                      <a:moveTo>
                        <a:pt x="873" y="396"/>
                      </a:moveTo>
                      <a:cubicBezTo>
                        <a:pt x="755" y="329"/>
                        <a:pt x="654" y="246"/>
                        <a:pt x="571" y="149"/>
                      </a:cubicBezTo>
                      <a:cubicBezTo>
                        <a:pt x="457" y="15"/>
                        <a:pt x="255" y="0"/>
                        <a:pt x="122" y="114"/>
                      </a:cubicBezTo>
                      <a:cubicBezTo>
                        <a:pt x="37" y="186"/>
                        <a:pt x="0" y="293"/>
                        <a:pt x="13" y="396"/>
                      </a:cubicBezTo>
                      <a:lnTo>
                        <a:pt x="873" y="396"/>
                      </a:lnTo>
                      <a:close/>
                    </a:path>
                  </a:pathLst>
                </a:custGeom>
                <a:solidFill>
                  <a:sysClr val="window" lastClr="FFFFFF">
                    <a:alpha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Univers for KPMG" panose="020B0603020202020204" pitchFamily="34" charset="0"/>
                    <a:ea typeface="+mn-ea"/>
                    <a:cs typeface="Arial" panose="020B0604020202020204" pitchFamily="34" charset="0"/>
                  </a:endParaRPr>
                </a:p>
              </p:txBody>
            </p:sp>
            <p:grpSp>
              <p:nvGrpSpPr>
                <p:cNvPr id="13" name="Group 12">
                  <a:extLst>
                    <a:ext uri="{FF2B5EF4-FFF2-40B4-BE49-F238E27FC236}">
                      <a16:creationId xmlns:a16="http://schemas.microsoft.com/office/drawing/2014/main" id="{73D3E543-CB40-9CE2-73CB-7A9FD3A93823}"/>
                    </a:ext>
                  </a:extLst>
                </p:cNvPr>
                <p:cNvGrpSpPr/>
                <p:nvPr/>
              </p:nvGrpSpPr>
              <p:grpSpPr>
                <a:xfrm>
                  <a:off x="1285274" y="5561053"/>
                  <a:ext cx="548288" cy="1261872"/>
                  <a:chOff x="1285274" y="5561053"/>
                  <a:chExt cx="548288" cy="1261872"/>
                </a:xfrm>
              </p:grpSpPr>
              <p:sp>
                <p:nvSpPr>
                  <p:cNvPr id="14" name="Freeform 13">
                    <a:extLst>
                      <a:ext uri="{FF2B5EF4-FFF2-40B4-BE49-F238E27FC236}">
                        <a16:creationId xmlns:a16="http://schemas.microsoft.com/office/drawing/2014/main" id="{DB7A489B-2A85-EFB2-EFE4-C1DC38FADEA1}"/>
                      </a:ext>
                    </a:extLst>
                  </p:cNvPr>
                  <p:cNvSpPr/>
                  <p:nvPr/>
                </p:nvSpPr>
                <p:spPr>
                  <a:xfrm>
                    <a:off x="1465289" y="5561053"/>
                    <a:ext cx="188259" cy="1261872"/>
                  </a:xfrm>
                  <a:custGeom>
                    <a:avLst/>
                    <a:gdLst>
                      <a:gd name="connsiteX0" fmla="*/ 0 w 188259"/>
                      <a:gd name="connsiteY0" fmla="*/ 0 h 1261872"/>
                      <a:gd name="connsiteX1" fmla="*/ 188259 w 188259"/>
                      <a:gd name="connsiteY1" fmla="*/ 0 h 1261872"/>
                      <a:gd name="connsiteX2" fmla="*/ 188259 w 188259"/>
                      <a:gd name="connsiteY2" fmla="*/ 1167743 h 1261872"/>
                      <a:gd name="connsiteX3" fmla="*/ 130769 w 188259"/>
                      <a:gd name="connsiteY3" fmla="*/ 1254476 h 1261872"/>
                      <a:gd name="connsiteX4" fmla="*/ 94134 w 188259"/>
                      <a:gd name="connsiteY4" fmla="*/ 1261872 h 1261872"/>
                      <a:gd name="connsiteX5" fmla="*/ 94130 w 188259"/>
                      <a:gd name="connsiteY5" fmla="*/ 1261872 h 1261872"/>
                      <a:gd name="connsiteX6" fmla="*/ 0 w 188259"/>
                      <a:gd name="connsiteY6" fmla="*/ 1167742 h 1261872"/>
                      <a:gd name="connsiteX7" fmla="*/ 0 w 188259"/>
                      <a:gd name="connsiteY7" fmla="*/ 0 h 1261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259" h="1261872">
                        <a:moveTo>
                          <a:pt x="0" y="0"/>
                        </a:moveTo>
                        <a:lnTo>
                          <a:pt x="188259" y="0"/>
                        </a:lnTo>
                        <a:lnTo>
                          <a:pt x="188259" y="1167743"/>
                        </a:lnTo>
                        <a:cubicBezTo>
                          <a:pt x="188259" y="1206733"/>
                          <a:pt x="164554" y="1240186"/>
                          <a:pt x="130769" y="1254476"/>
                        </a:cubicBezTo>
                        <a:lnTo>
                          <a:pt x="94134" y="1261872"/>
                        </a:lnTo>
                        <a:lnTo>
                          <a:pt x="94130" y="1261872"/>
                        </a:lnTo>
                        <a:cubicBezTo>
                          <a:pt x="42143" y="1261872"/>
                          <a:pt x="0" y="1219729"/>
                          <a:pt x="0" y="1167742"/>
                        </a:cubicBezTo>
                        <a:lnTo>
                          <a:pt x="0" y="0"/>
                        </a:lnTo>
                        <a:close/>
                      </a:path>
                    </a:pathLst>
                  </a:custGeom>
                  <a:solidFill>
                    <a:srgbClr val="00A3A1"/>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nvGrpSpPr>
                  <p:cNvPr id="15" name="Group 14">
                    <a:extLst>
                      <a:ext uri="{FF2B5EF4-FFF2-40B4-BE49-F238E27FC236}">
                        <a16:creationId xmlns:a16="http://schemas.microsoft.com/office/drawing/2014/main" id="{5FC8F984-4CD3-6AE5-CC02-455A2696949B}"/>
                      </a:ext>
                    </a:extLst>
                  </p:cNvPr>
                  <p:cNvGrpSpPr/>
                  <p:nvPr/>
                </p:nvGrpSpPr>
                <p:grpSpPr>
                  <a:xfrm>
                    <a:off x="1285274" y="5917845"/>
                    <a:ext cx="548288" cy="548288"/>
                    <a:chOff x="1285274" y="5917845"/>
                    <a:chExt cx="548288" cy="548288"/>
                  </a:xfrm>
                </p:grpSpPr>
                <p:grpSp>
                  <p:nvGrpSpPr>
                    <p:cNvPr id="16" name="Group 15">
                      <a:extLst>
                        <a:ext uri="{FF2B5EF4-FFF2-40B4-BE49-F238E27FC236}">
                          <a16:creationId xmlns:a16="http://schemas.microsoft.com/office/drawing/2014/main" id="{C3B59F6F-F217-509B-2E43-C57C5A53D193}"/>
                        </a:ext>
                      </a:extLst>
                    </p:cNvPr>
                    <p:cNvGrpSpPr/>
                    <p:nvPr/>
                  </p:nvGrpSpPr>
                  <p:grpSpPr>
                    <a:xfrm>
                      <a:off x="1285274" y="5917845"/>
                      <a:ext cx="548288" cy="548288"/>
                      <a:chOff x="4114891" y="1309087"/>
                      <a:chExt cx="548288" cy="548288"/>
                    </a:xfrm>
                  </p:grpSpPr>
                  <p:sp>
                    <p:nvSpPr>
                      <p:cNvPr id="18" name="Oval 17">
                        <a:extLst>
                          <a:ext uri="{FF2B5EF4-FFF2-40B4-BE49-F238E27FC236}">
                            <a16:creationId xmlns:a16="http://schemas.microsoft.com/office/drawing/2014/main" id="{BAE985DE-D5E2-65DD-FA2B-DE485928AEFC}"/>
                          </a:ext>
                        </a:extLst>
                      </p:cNvPr>
                      <p:cNvSpPr/>
                      <p:nvPr/>
                    </p:nvSpPr>
                    <p:spPr>
                      <a:xfrm>
                        <a:off x="4114891" y="1309087"/>
                        <a:ext cx="548288" cy="548288"/>
                      </a:xfrm>
                      <a:prstGeom prst="ellipse">
                        <a:avLst/>
                      </a:prstGeom>
                      <a:solidFill>
                        <a:srgbClr val="00A3A1">
                          <a:lumMod val="75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sp>
                    <p:nvSpPr>
                      <p:cNvPr id="19" name="Oval 18">
                        <a:extLst>
                          <a:ext uri="{FF2B5EF4-FFF2-40B4-BE49-F238E27FC236}">
                            <a16:creationId xmlns:a16="http://schemas.microsoft.com/office/drawing/2014/main" id="{8C8BA985-E8FE-B11A-9960-797664BE8AA4}"/>
                          </a:ext>
                        </a:extLst>
                      </p:cNvPr>
                      <p:cNvSpPr/>
                      <p:nvPr/>
                    </p:nvSpPr>
                    <p:spPr>
                      <a:xfrm>
                        <a:off x="4187020" y="1381216"/>
                        <a:ext cx="404030" cy="404030"/>
                      </a:xfrm>
                      <a:prstGeom prst="ellipse">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sp>
                  <p:nvSpPr>
                    <p:cNvPr id="17" name="TextBox 115">
                      <a:extLst>
                        <a:ext uri="{FF2B5EF4-FFF2-40B4-BE49-F238E27FC236}">
                          <a16:creationId xmlns:a16="http://schemas.microsoft.com/office/drawing/2014/main" id="{736D3308-6838-3A02-2556-F016FB19AA4C}"/>
                        </a:ext>
                      </a:extLst>
                    </p:cNvPr>
                    <p:cNvSpPr txBox="1"/>
                    <p:nvPr/>
                  </p:nvSpPr>
                  <p:spPr>
                    <a:xfrm>
                      <a:off x="1301241" y="5993149"/>
                      <a:ext cx="514912" cy="3804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A3A1">
                              <a:lumMod val="75000"/>
                            </a:srgbClr>
                          </a:solidFill>
                          <a:effectLst/>
                          <a:uLnTx/>
                          <a:uFillTx/>
                          <a:latin typeface="Univers for KPMG" panose="020B0603020202020204" pitchFamily="34" charset="0"/>
                          <a:ea typeface="Cambria Math" panose="02040503050406030204" pitchFamily="18" charset="0"/>
                          <a:cs typeface="Arial" panose="020B0604020202020204" pitchFamily="34" charset="0"/>
                        </a:rPr>
                        <a:t>05</a:t>
                      </a:r>
                    </a:p>
                  </p:txBody>
                </p:sp>
              </p:grpSp>
            </p:grpSp>
          </p:grpSp>
        </p:grpSp>
      </p:grpSp>
      <p:sp>
        <p:nvSpPr>
          <p:cNvPr id="66" name="Arrow: Right 65">
            <a:extLst>
              <a:ext uri="{FF2B5EF4-FFF2-40B4-BE49-F238E27FC236}">
                <a16:creationId xmlns:a16="http://schemas.microsoft.com/office/drawing/2014/main" id="{F463279C-820E-EFBA-8474-A9C69E31D9BF}"/>
              </a:ext>
            </a:extLst>
          </p:cNvPr>
          <p:cNvSpPr/>
          <p:nvPr/>
        </p:nvSpPr>
        <p:spPr>
          <a:xfrm>
            <a:off x="2468880" y="2901192"/>
            <a:ext cx="2286000" cy="67865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itle 67">
            <a:extLst>
              <a:ext uri="{FF2B5EF4-FFF2-40B4-BE49-F238E27FC236}">
                <a16:creationId xmlns:a16="http://schemas.microsoft.com/office/drawing/2014/main" id="{1CEC8CB3-CDF9-74FA-1C5C-769DFE1EE063}"/>
              </a:ext>
            </a:extLst>
          </p:cNvPr>
          <p:cNvSpPr>
            <a:spLocks noGrp="1"/>
          </p:cNvSpPr>
          <p:nvPr>
            <p:ph type="title"/>
          </p:nvPr>
        </p:nvSpPr>
        <p:spPr/>
        <p:txBody>
          <a:bodyPr/>
          <a:lstStyle/>
          <a:p>
            <a:r>
              <a:rPr lang="en-US"/>
              <a:t>Policy and Procedure</a:t>
            </a:r>
          </a:p>
        </p:txBody>
      </p:sp>
    </p:spTree>
    <p:custDataLst>
      <p:tags r:id="rId1"/>
    </p:custDataLst>
    <p:extLst>
      <p:ext uri="{BB962C8B-B14F-4D97-AF65-F5344CB8AC3E}">
        <p14:creationId xmlns:p14="http://schemas.microsoft.com/office/powerpoint/2010/main" val="355783413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F5B5F26-F220-A340-36BD-BE624B97269C}"/>
              </a:ext>
            </a:extLst>
          </p:cNvPr>
          <p:cNvSpPr>
            <a:spLocks noGrp="1"/>
          </p:cNvSpPr>
          <p:nvPr>
            <p:ph type="body" sz="quarter" idx="10"/>
          </p:nvPr>
        </p:nvSpPr>
        <p:spPr>
          <a:xfrm>
            <a:off x="415504" y="1582903"/>
            <a:ext cx="9213551" cy="4546800"/>
          </a:xfrm>
        </p:spPr>
        <p:txBody>
          <a:bodyPr>
            <a:normAutofit/>
          </a:bodyPr>
          <a:lstStyle/>
          <a:p>
            <a:pPr marL="0" indent="0">
              <a:buNone/>
            </a:pPr>
            <a:r>
              <a:rPr lang="en-US" sz="2400" b="1">
                <a:latin typeface="+mn-lt"/>
              </a:rPr>
              <a:t>Instructions:</a:t>
            </a:r>
          </a:p>
          <a:p>
            <a:pPr marL="971550" lvl="1" indent="-514350">
              <a:buFont typeface="+mj-lt"/>
              <a:buAutoNum type="arabicPeriod"/>
            </a:pPr>
            <a:r>
              <a:rPr lang="en-US">
                <a:latin typeface="+mn-lt"/>
              </a:rPr>
              <a:t>In your group, review the Policy and Procedure questions (4 – 16).</a:t>
            </a:r>
          </a:p>
          <a:p>
            <a:pPr marL="971550" lvl="1" indent="-514350">
              <a:buFont typeface="+mj-lt"/>
              <a:buAutoNum type="arabicPeriod"/>
            </a:pPr>
            <a:r>
              <a:rPr lang="en-US">
                <a:latin typeface="+mn-lt"/>
              </a:rPr>
              <a:t>Discuss the following questions in your group:</a:t>
            </a:r>
          </a:p>
          <a:p>
            <a:pPr marL="1428750" lvl="2" indent="-514350">
              <a:buFont typeface="+mj-lt"/>
              <a:buAutoNum type="arabicPeriod"/>
            </a:pPr>
            <a:r>
              <a:rPr lang="en-US" sz="2400">
                <a:latin typeface="+mn-lt"/>
              </a:rPr>
              <a:t>Which questions will be the easiest to find answers for?</a:t>
            </a:r>
          </a:p>
          <a:p>
            <a:pPr marL="1428750" lvl="2" indent="-514350">
              <a:buFont typeface="+mj-lt"/>
              <a:buAutoNum type="arabicPeriod"/>
            </a:pPr>
            <a:r>
              <a:rPr lang="en-US" sz="2400">
                <a:latin typeface="+mn-lt"/>
              </a:rPr>
              <a:t>Which questions will be the most difficult to find answers for?</a:t>
            </a:r>
          </a:p>
          <a:p>
            <a:pPr marL="1428750" lvl="2" indent="-514350">
              <a:buFont typeface="+mj-lt"/>
              <a:buAutoNum type="arabicPeriod"/>
            </a:pPr>
            <a:r>
              <a:rPr lang="en-US" sz="2400">
                <a:latin typeface="+mn-lt"/>
              </a:rPr>
              <a:t>Do you know who you will reach out to in your organization for additional information or feedback?</a:t>
            </a:r>
          </a:p>
          <a:p>
            <a:pPr marL="1428750" lvl="2" indent="-514350">
              <a:buFont typeface="+mj-lt"/>
              <a:buAutoNum type="arabicPeriod"/>
            </a:pPr>
            <a:r>
              <a:rPr lang="en-US" sz="2400">
                <a:latin typeface="+mn-lt"/>
              </a:rPr>
              <a:t>Are there any questions that are unclear and could use more context?</a:t>
            </a:r>
          </a:p>
          <a:p>
            <a:pPr marL="971550" lvl="1" indent="-514350">
              <a:buFont typeface="+mj-lt"/>
              <a:buAutoNum type="arabicPeriod"/>
            </a:pPr>
            <a:r>
              <a:rPr lang="en-US">
                <a:latin typeface="+mn-lt"/>
              </a:rPr>
              <a:t>Designate one of your teammates to report back to the class.</a:t>
            </a:r>
          </a:p>
          <a:p>
            <a:pPr marL="1428750" lvl="2" indent="-514350">
              <a:buFont typeface="+mj-lt"/>
              <a:buAutoNum type="arabicPeriod"/>
            </a:pPr>
            <a:endParaRPr lang="en-US" sz="2400"/>
          </a:p>
        </p:txBody>
      </p:sp>
      <p:sp>
        <p:nvSpPr>
          <p:cNvPr id="4" name="Title 3">
            <a:extLst>
              <a:ext uri="{FF2B5EF4-FFF2-40B4-BE49-F238E27FC236}">
                <a16:creationId xmlns:a16="http://schemas.microsoft.com/office/drawing/2014/main" id="{8BC6139F-0358-9B79-4E35-1C01CFDFEE4B}"/>
              </a:ext>
            </a:extLst>
          </p:cNvPr>
          <p:cNvSpPr>
            <a:spLocks noGrp="1"/>
          </p:cNvSpPr>
          <p:nvPr>
            <p:ph type="title"/>
          </p:nvPr>
        </p:nvSpPr>
        <p:spPr/>
        <p:txBody>
          <a:bodyPr/>
          <a:lstStyle/>
          <a:p>
            <a:r>
              <a:rPr lang="en-US">
                <a:latin typeface="+mn-lt"/>
              </a:rPr>
              <a:t>Group Activity – Policy and Procedure</a:t>
            </a:r>
          </a:p>
        </p:txBody>
      </p:sp>
      <p:sp>
        <p:nvSpPr>
          <p:cNvPr id="86" name="TextBox 85">
            <a:extLst>
              <a:ext uri="{FF2B5EF4-FFF2-40B4-BE49-F238E27FC236}">
                <a16:creationId xmlns:a16="http://schemas.microsoft.com/office/drawing/2014/main" id="{AFDDA0A7-9E24-46C2-64B3-60BDDB137974}"/>
              </a:ext>
            </a:extLst>
          </p:cNvPr>
          <p:cNvSpPr txBox="1"/>
          <p:nvPr/>
        </p:nvSpPr>
        <p:spPr>
          <a:xfrm>
            <a:off x="3166310" y="6627168"/>
            <a:ext cx="5859379" cy="253916"/>
          </a:xfrm>
          <a:prstGeom prst="rect">
            <a:avLst/>
          </a:prstGeom>
          <a:noFill/>
        </p:spPr>
        <p:txBody>
          <a:bodyPr wrap="square" rtlCol="0">
            <a:spAutoFit/>
          </a:bodyPr>
          <a:lstStyle/>
          <a:p>
            <a:pPr algn="ctr"/>
            <a:r>
              <a:rPr lang="en-US" sz="1050">
                <a:solidFill>
                  <a:schemeClr val="bg2">
                    <a:lumMod val="90000"/>
                  </a:schemeClr>
                </a:solidFill>
              </a:rPr>
              <a:t>Applicant Experience – </a:t>
            </a:r>
            <a:r>
              <a:rPr lang="en-US" sz="1050" b="1" u="sng"/>
              <a:t>Policy and Procedure</a:t>
            </a:r>
            <a:r>
              <a:rPr lang="en-US" sz="1050" b="1"/>
              <a:t> </a:t>
            </a:r>
            <a:r>
              <a:rPr lang="en-US" sz="1050">
                <a:solidFill>
                  <a:schemeClr val="bg2">
                    <a:lumMod val="90000"/>
                  </a:schemeClr>
                </a:solidFill>
              </a:rPr>
              <a:t>– Documentation – Procurement – Contract Administration</a:t>
            </a:r>
          </a:p>
        </p:txBody>
      </p:sp>
      <p:pic>
        <p:nvPicPr>
          <p:cNvPr id="6" name="Picture 5">
            <a:extLst>
              <a:ext uri="{FF2B5EF4-FFF2-40B4-BE49-F238E27FC236}">
                <a16:creationId xmlns:a16="http://schemas.microsoft.com/office/drawing/2014/main" id="{5F9E6AD4-E22A-4D6F-308F-4FD3AAB94179}"/>
              </a:ext>
            </a:extLst>
          </p:cNvPr>
          <p:cNvPicPr>
            <a:picLocks noChangeAspect="1"/>
          </p:cNvPicPr>
          <p:nvPr/>
        </p:nvPicPr>
        <p:blipFill>
          <a:blip r:embed="rId3"/>
          <a:stretch>
            <a:fillRect/>
          </a:stretch>
        </p:blipFill>
        <p:spPr>
          <a:xfrm>
            <a:off x="9629055" y="4933315"/>
            <a:ext cx="2417114" cy="1809269"/>
          </a:xfrm>
          <a:prstGeom prst="rect">
            <a:avLst/>
          </a:prstGeom>
        </p:spPr>
      </p:pic>
    </p:spTree>
    <p:custDataLst>
      <p:tags r:id="rId1"/>
    </p:custDataLst>
    <p:extLst>
      <p:ext uri="{BB962C8B-B14F-4D97-AF65-F5344CB8AC3E}">
        <p14:creationId xmlns:p14="http://schemas.microsoft.com/office/powerpoint/2010/main" val="110024852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A1AA09C-F596-1BA4-FB1F-0CB3EB6D642C}"/>
              </a:ext>
            </a:extLst>
          </p:cNvPr>
          <p:cNvGrpSpPr>
            <a:grpSpLocks noChangeAspect="1"/>
          </p:cNvGrpSpPr>
          <p:nvPr/>
        </p:nvGrpSpPr>
        <p:grpSpPr>
          <a:xfrm>
            <a:off x="4962808" y="1853610"/>
            <a:ext cx="4749955" cy="4601348"/>
            <a:chOff x="1285274" y="502807"/>
            <a:chExt cx="6524237" cy="6320118"/>
          </a:xfrm>
        </p:grpSpPr>
        <p:grpSp>
          <p:nvGrpSpPr>
            <p:cNvPr id="3" name="Group 2">
              <a:extLst>
                <a:ext uri="{FF2B5EF4-FFF2-40B4-BE49-F238E27FC236}">
                  <a16:creationId xmlns:a16="http://schemas.microsoft.com/office/drawing/2014/main" id="{64AAC912-B75F-6974-378C-260AACEA3B46}"/>
                </a:ext>
              </a:extLst>
            </p:cNvPr>
            <p:cNvGrpSpPr/>
            <p:nvPr/>
          </p:nvGrpSpPr>
          <p:grpSpPr>
            <a:xfrm>
              <a:off x="1285274" y="502807"/>
              <a:ext cx="5254075" cy="5729174"/>
              <a:chOff x="1285274" y="502807"/>
              <a:chExt cx="5254075" cy="5729174"/>
            </a:xfrm>
          </p:grpSpPr>
          <p:grpSp>
            <p:nvGrpSpPr>
              <p:cNvPr id="54" name="Group 53">
                <a:extLst>
                  <a:ext uri="{FF2B5EF4-FFF2-40B4-BE49-F238E27FC236}">
                    <a16:creationId xmlns:a16="http://schemas.microsoft.com/office/drawing/2014/main" id="{0AF673A8-C98D-1D86-C84B-3A819763DA60}"/>
                  </a:ext>
                </a:extLst>
              </p:cNvPr>
              <p:cNvGrpSpPr/>
              <p:nvPr/>
            </p:nvGrpSpPr>
            <p:grpSpPr>
              <a:xfrm>
                <a:off x="1952452" y="1136154"/>
                <a:ext cx="4397102" cy="5095827"/>
                <a:chOff x="-4990" y="1221012"/>
                <a:chExt cx="4397102" cy="5095827"/>
              </a:xfrm>
            </p:grpSpPr>
            <p:sp>
              <p:nvSpPr>
                <p:cNvPr id="64" name="Rectangle 63">
                  <a:extLst>
                    <a:ext uri="{FF2B5EF4-FFF2-40B4-BE49-F238E27FC236}">
                      <a16:creationId xmlns:a16="http://schemas.microsoft.com/office/drawing/2014/main" id="{1B95D792-0153-CC8A-7FA3-929A822E54A1}"/>
                    </a:ext>
                  </a:extLst>
                </p:cNvPr>
                <p:cNvSpPr/>
                <p:nvPr/>
              </p:nvSpPr>
              <p:spPr>
                <a:xfrm flipH="1">
                  <a:off x="73927" y="1221012"/>
                  <a:ext cx="4318185" cy="33819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a:ln>
                      <a:noFill/>
                    </a:ln>
                    <a:solidFill>
                      <a:srgbClr val="7F7F7F"/>
                    </a:solidFill>
                    <a:effectLst/>
                    <a:uLnTx/>
                    <a:uFillTx/>
                    <a:latin typeface="Univers for KPMG" panose="020B0603020202020204" pitchFamily="34" charset="0"/>
                    <a:ea typeface="+mn-ea"/>
                    <a:cs typeface="Arial" panose="020B0604020202020204" pitchFamily="34" charset="0"/>
                  </a:endParaRPr>
                </a:p>
              </p:txBody>
            </p:sp>
            <p:sp>
              <p:nvSpPr>
                <p:cNvPr id="65" name="TextBox 81">
                  <a:extLst>
                    <a:ext uri="{FF2B5EF4-FFF2-40B4-BE49-F238E27FC236}">
                      <a16:creationId xmlns:a16="http://schemas.microsoft.com/office/drawing/2014/main" id="{F842A082-3D9E-A620-20C0-FEACD97DD6C3}"/>
                    </a:ext>
                  </a:extLst>
                </p:cNvPr>
                <p:cNvSpPr txBox="1"/>
                <p:nvPr/>
              </p:nvSpPr>
              <p:spPr>
                <a:xfrm flipH="1">
                  <a:off x="-4990" y="5809548"/>
                  <a:ext cx="4275412" cy="50729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00A3A1"/>
                      </a:solidFill>
                      <a:effectLst/>
                      <a:uLnTx/>
                      <a:uFillTx/>
                      <a:latin typeface="Calibri" panose="020F0502020204030204"/>
                      <a:ea typeface="+mn-ea"/>
                      <a:cs typeface="Arial" panose="020B0604020202020204" pitchFamily="34" charset="0"/>
                    </a:rPr>
                    <a:t>Contract Administration </a:t>
                  </a:r>
                </a:p>
              </p:txBody>
            </p:sp>
          </p:grpSp>
          <p:grpSp>
            <p:nvGrpSpPr>
              <p:cNvPr id="55" name="Group 54">
                <a:extLst>
                  <a:ext uri="{FF2B5EF4-FFF2-40B4-BE49-F238E27FC236}">
                    <a16:creationId xmlns:a16="http://schemas.microsoft.com/office/drawing/2014/main" id="{4F6B750D-1FA1-A60E-11EB-9677331A6A20}"/>
                  </a:ext>
                </a:extLst>
              </p:cNvPr>
              <p:cNvGrpSpPr/>
              <p:nvPr/>
            </p:nvGrpSpPr>
            <p:grpSpPr>
              <a:xfrm>
                <a:off x="1285274" y="502807"/>
                <a:ext cx="5254075" cy="1261872"/>
                <a:chOff x="1285274" y="502807"/>
                <a:chExt cx="5254075" cy="1261872"/>
              </a:xfrm>
            </p:grpSpPr>
            <p:cxnSp>
              <p:nvCxnSpPr>
                <p:cNvPr id="56" name="Straight Connector 55">
                  <a:extLst>
                    <a:ext uri="{FF2B5EF4-FFF2-40B4-BE49-F238E27FC236}">
                      <a16:creationId xmlns:a16="http://schemas.microsoft.com/office/drawing/2014/main" id="{5EBB59EC-C088-8A96-D6B6-2404D2CF6D76}"/>
                    </a:ext>
                  </a:extLst>
                </p:cNvPr>
                <p:cNvCxnSpPr/>
                <p:nvPr/>
              </p:nvCxnSpPr>
              <p:spPr>
                <a:xfrm>
                  <a:off x="1601589" y="1127393"/>
                  <a:ext cx="4937760" cy="0"/>
                </a:xfrm>
                <a:prstGeom prst="line">
                  <a:avLst/>
                </a:prstGeom>
                <a:noFill/>
                <a:ln w="6350" cap="flat" cmpd="sng" algn="ctr">
                  <a:solidFill>
                    <a:srgbClr val="00338D"/>
                  </a:solidFill>
                  <a:prstDash val="solid"/>
                  <a:miter lim="800000"/>
                </a:ln>
                <a:effectLst/>
              </p:spPr>
            </p:cxnSp>
            <p:grpSp>
              <p:nvGrpSpPr>
                <p:cNvPr id="57" name="Group 56">
                  <a:extLst>
                    <a:ext uri="{FF2B5EF4-FFF2-40B4-BE49-F238E27FC236}">
                      <a16:creationId xmlns:a16="http://schemas.microsoft.com/office/drawing/2014/main" id="{B6219ED4-6CF6-C724-F690-444633C32C5D}"/>
                    </a:ext>
                  </a:extLst>
                </p:cNvPr>
                <p:cNvGrpSpPr/>
                <p:nvPr/>
              </p:nvGrpSpPr>
              <p:grpSpPr>
                <a:xfrm>
                  <a:off x="1285274" y="502807"/>
                  <a:ext cx="548288" cy="1261872"/>
                  <a:chOff x="1285274" y="502807"/>
                  <a:chExt cx="548288" cy="1261872"/>
                </a:xfrm>
              </p:grpSpPr>
              <p:sp>
                <p:nvSpPr>
                  <p:cNvPr id="58" name="Freeform 109">
                    <a:extLst>
                      <a:ext uri="{FF2B5EF4-FFF2-40B4-BE49-F238E27FC236}">
                        <a16:creationId xmlns:a16="http://schemas.microsoft.com/office/drawing/2014/main" id="{D0D52C29-6887-EF52-9614-706F967030E9}"/>
                      </a:ext>
                    </a:extLst>
                  </p:cNvPr>
                  <p:cNvSpPr/>
                  <p:nvPr/>
                </p:nvSpPr>
                <p:spPr>
                  <a:xfrm>
                    <a:off x="1465288" y="502807"/>
                    <a:ext cx="188260" cy="1261872"/>
                  </a:xfrm>
                  <a:custGeom>
                    <a:avLst/>
                    <a:gdLst>
                      <a:gd name="connsiteX0" fmla="*/ 94130 w 188260"/>
                      <a:gd name="connsiteY0" fmla="*/ 0 h 1261872"/>
                      <a:gd name="connsiteX1" fmla="*/ 188260 w 188260"/>
                      <a:gd name="connsiteY1" fmla="*/ 94130 h 1261872"/>
                      <a:gd name="connsiteX2" fmla="*/ 188260 w 188260"/>
                      <a:gd name="connsiteY2" fmla="*/ 1261872 h 1261872"/>
                      <a:gd name="connsiteX3" fmla="*/ 0 w 188260"/>
                      <a:gd name="connsiteY3" fmla="*/ 1261872 h 1261872"/>
                      <a:gd name="connsiteX4" fmla="*/ 0 w 188260"/>
                      <a:gd name="connsiteY4" fmla="*/ 94130 h 1261872"/>
                      <a:gd name="connsiteX5" fmla="*/ 94130 w 188260"/>
                      <a:gd name="connsiteY5" fmla="*/ 0 h 1261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260" h="1261872">
                        <a:moveTo>
                          <a:pt x="94130" y="0"/>
                        </a:moveTo>
                        <a:cubicBezTo>
                          <a:pt x="146117" y="0"/>
                          <a:pt x="188260" y="42143"/>
                          <a:pt x="188260" y="94130"/>
                        </a:cubicBezTo>
                        <a:lnTo>
                          <a:pt x="188260" y="1261872"/>
                        </a:lnTo>
                        <a:lnTo>
                          <a:pt x="0" y="1261872"/>
                        </a:lnTo>
                        <a:lnTo>
                          <a:pt x="0" y="94130"/>
                        </a:lnTo>
                        <a:cubicBezTo>
                          <a:pt x="0" y="42143"/>
                          <a:pt x="42143" y="0"/>
                          <a:pt x="94130" y="0"/>
                        </a:cubicBezTo>
                        <a:close/>
                      </a:path>
                    </a:pathLst>
                  </a:custGeom>
                  <a:solidFill>
                    <a:srgbClr val="00338D"/>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nvGrpSpPr>
                  <p:cNvPr id="59" name="Group 58">
                    <a:extLst>
                      <a:ext uri="{FF2B5EF4-FFF2-40B4-BE49-F238E27FC236}">
                        <a16:creationId xmlns:a16="http://schemas.microsoft.com/office/drawing/2014/main" id="{04C916B6-F923-7597-84E5-8EE64441F1EB}"/>
                      </a:ext>
                    </a:extLst>
                  </p:cNvPr>
                  <p:cNvGrpSpPr/>
                  <p:nvPr/>
                </p:nvGrpSpPr>
                <p:grpSpPr>
                  <a:xfrm>
                    <a:off x="1285274" y="859599"/>
                    <a:ext cx="548288" cy="548288"/>
                    <a:chOff x="1285274" y="859599"/>
                    <a:chExt cx="548288" cy="548288"/>
                  </a:xfrm>
                </p:grpSpPr>
                <p:grpSp>
                  <p:nvGrpSpPr>
                    <p:cNvPr id="60" name="Group 59">
                      <a:extLst>
                        <a:ext uri="{FF2B5EF4-FFF2-40B4-BE49-F238E27FC236}">
                          <a16:creationId xmlns:a16="http://schemas.microsoft.com/office/drawing/2014/main" id="{125B1425-3D7F-5CBA-1894-E367782204DA}"/>
                        </a:ext>
                      </a:extLst>
                    </p:cNvPr>
                    <p:cNvGrpSpPr/>
                    <p:nvPr/>
                  </p:nvGrpSpPr>
                  <p:grpSpPr>
                    <a:xfrm>
                      <a:off x="1285274" y="859599"/>
                      <a:ext cx="548288" cy="548288"/>
                      <a:chOff x="4114891" y="1309087"/>
                      <a:chExt cx="548288" cy="548288"/>
                    </a:xfrm>
                  </p:grpSpPr>
                  <p:sp>
                    <p:nvSpPr>
                      <p:cNvPr id="62" name="Oval 61">
                        <a:extLst>
                          <a:ext uri="{FF2B5EF4-FFF2-40B4-BE49-F238E27FC236}">
                            <a16:creationId xmlns:a16="http://schemas.microsoft.com/office/drawing/2014/main" id="{E1F27165-5C4B-BA66-6308-3C0306B28FF0}"/>
                          </a:ext>
                        </a:extLst>
                      </p:cNvPr>
                      <p:cNvSpPr/>
                      <p:nvPr/>
                    </p:nvSpPr>
                    <p:spPr>
                      <a:xfrm>
                        <a:off x="4114891" y="1309087"/>
                        <a:ext cx="548288" cy="548288"/>
                      </a:xfrm>
                      <a:prstGeom prst="ellipse">
                        <a:avLst/>
                      </a:prstGeom>
                      <a:solidFill>
                        <a:srgbClr val="00338D">
                          <a:lumMod val="75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338D"/>
                          </a:solidFill>
                          <a:effectLst/>
                          <a:uLnTx/>
                          <a:uFillTx/>
                          <a:latin typeface="Univers for KPMG" panose="020B0603020202020204" pitchFamily="34" charset="0"/>
                          <a:ea typeface="+mn-ea"/>
                          <a:cs typeface="Arial" panose="020B0604020202020204" pitchFamily="34" charset="0"/>
                        </a:endParaRPr>
                      </a:p>
                    </p:txBody>
                  </p:sp>
                  <p:sp>
                    <p:nvSpPr>
                      <p:cNvPr id="63" name="Oval 62">
                        <a:extLst>
                          <a:ext uri="{FF2B5EF4-FFF2-40B4-BE49-F238E27FC236}">
                            <a16:creationId xmlns:a16="http://schemas.microsoft.com/office/drawing/2014/main" id="{669400FB-7F93-7811-70B8-33E3A88B2458}"/>
                          </a:ext>
                        </a:extLst>
                      </p:cNvPr>
                      <p:cNvSpPr/>
                      <p:nvPr/>
                    </p:nvSpPr>
                    <p:spPr>
                      <a:xfrm>
                        <a:off x="4187020" y="1381216"/>
                        <a:ext cx="404030" cy="404030"/>
                      </a:xfrm>
                      <a:prstGeom prst="ellipse">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sp>
                  <p:nvSpPr>
                    <p:cNvPr id="61" name="TextBox 111">
                      <a:extLst>
                        <a:ext uri="{FF2B5EF4-FFF2-40B4-BE49-F238E27FC236}">
                          <a16:creationId xmlns:a16="http://schemas.microsoft.com/office/drawing/2014/main" id="{9929BA44-C61D-C587-CFDC-A80D3B3880BC}"/>
                        </a:ext>
                      </a:extLst>
                    </p:cNvPr>
                    <p:cNvSpPr txBox="1"/>
                    <p:nvPr/>
                  </p:nvSpPr>
                  <p:spPr>
                    <a:xfrm>
                      <a:off x="1301241" y="938840"/>
                      <a:ext cx="514912" cy="3804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338D"/>
                          </a:solidFill>
                          <a:effectLst/>
                          <a:uLnTx/>
                          <a:uFillTx/>
                          <a:latin typeface="Univers for KPMG" panose="020B0603020202020204" pitchFamily="34" charset="0"/>
                          <a:ea typeface="Cambria Math" panose="02040503050406030204" pitchFamily="18" charset="0"/>
                          <a:cs typeface="Arial" panose="020B0604020202020204" pitchFamily="34" charset="0"/>
                        </a:rPr>
                        <a:t>01</a:t>
                      </a:r>
                    </a:p>
                  </p:txBody>
                </p:sp>
              </p:grpSp>
            </p:grpSp>
          </p:grpSp>
        </p:grpSp>
        <p:grpSp>
          <p:nvGrpSpPr>
            <p:cNvPr id="5" name="Group 4">
              <a:extLst>
                <a:ext uri="{FF2B5EF4-FFF2-40B4-BE49-F238E27FC236}">
                  <a16:creationId xmlns:a16="http://schemas.microsoft.com/office/drawing/2014/main" id="{B4CB40F8-5EDB-C08E-60A3-33E231D14CE7}"/>
                </a:ext>
              </a:extLst>
            </p:cNvPr>
            <p:cNvGrpSpPr/>
            <p:nvPr/>
          </p:nvGrpSpPr>
          <p:grpSpPr>
            <a:xfrm>
              <a:off x="1285274" y="1764679"/>
              <a:ext cx="5254075" cy="3217068"/>
              <a:chOff x="1285274" y="1764679"/>
              <a:chExt cx="5254075" cy="3217068"/>
            </a:xfrm>
          </p:grpSpPr>
          <p:sp>
            <p:nvSpPr>
              <p:cNvPr id="44" name="TextBox 81">
                <a:extLst>
                  <a:ext uri="{FF2B5EF4-FFF2-40B4-BE49-F238E27FC236}">
                    <a16:creationId xmlns:a16="http://schemas.microsoft.com/office/drawing/2014/main" id="{2422E1B1-C5A0-D64F-A838-389074722B24}"/>
                  </a:ext>
                </a:extLst>
              </p:cNvPr>
              <p:cNvSpPr txBox="1"/>
              <p:nvPr/>
            </p:nvSpPr>
            <p:spPr>
              <a:xfrm flipH="1">
                <a:off x="1952453" y="4474456"/>
                <a:ext cx="4275411" cy="50729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005EB8"/>
                    </a:solidFill>
                    <a:effectLst/>
                    <a:uLnTx/>
                    <a:uFillTx/>
                    <a:latin typeface="Calibri" panose="020F0502020204030204"/>
                    <a:ea typeface="+mn-ea"/>
                    <a:cs typeface="Arial" panose="020B0604020202020204" pitchFamily="34" charset="0"/>
                  </a:rPr>
                  <a:t>Procurement</a:t>
                </a:r>
              </a:p>
            </p:txBody>
          </p:sp>
          <p:grpSp>
            <p:nvGrpSpPr>
              <p:cNvPr id="45" name="Group 44">
                <a:extLst>
                  <a:ext uri="{FF2B5EF4-FFF2-40B4-BE49-F238E27FC236}">
                    <a16:creationId xmlns:a16="http://schemas.microsoft.com/office/drawing/2014/main" id="{C2342CDB-40D9-D0E8-4077-4382A47361EA}"/>
                  </a:ext>
                </a:extLst>
              </p:cNvPr>
              <p:cNvGrpSpPr/>
              <p:nvPr/>
            </p:nvGrpSpPr>
            <p:grpSpPr>
              <a:xfrm>
                <a:off x="1285274" y="1764679"/>
                <a:ext cx="5254075" cy="1272628"/>
                <a:chOff x="1285274" y="1764679"/>
                <a:chExt cx="5254075" cy="1272628"/>
              </a:xfrm>
            </p:grpSpPr>
            <p:cxnSp>
              <p:nvCxnSpPr>
                <p:cNvPr id="46" name="Straight Connector 45">
                  <a:extLst>
                    <a:ext uri="{FF2B5EF4-FFF2-40B4-BE49-F238E27FC236}">
                      <a16:creationId xmlns:a16="http://schemas.microsoft.com/office/drawing/2014/main" id="{61F618B1-E8B1-21E5-307F-11A7D56D7EA1}"/>
                    </a:ext>
                  </a:extLst>
                </p:cNvPr>
                <p:cNvCxnSpPr>
                  <a:cxnSpLocks/>
                </p:cNvCxnSpPr>
                <p:nvPr/>
              </p:nvCxnSpPr>
              <p:spPr>
                <a:xfrm>
                  <a:off x="1601589" y="2397818"/>
                  <a:ext cx="4937760" cy="0"/>
                </a:xfrm>
                <a:prstGeom prst="line">
                  <a:avLst/>
                </a:prstGeom>
                <a:noFill/>
                <a:ln w="6350" cap="flat" cmpd="sng" algn="ctr">
                  <a:solidFill>
                    <a:srgbClr val="0091DA"/>
                  </a:solidFill>
                  <a:prstDash val="solid"/>
                  <a:miter lim="800000"/>
                </a:ln>
                <a:effectLst/>
              </p:spPr>
            </p:cxnSp>
            <p:grpSp>
              <p:nvGrpSpPr>
                <p:cNvPr id="47" name="Group 46">
                  <a:extLst>
                    <a:ext uri="{FF2B5EF4-FFF2-40B4-BE49-F238E27FC236}">
                      <a16:creationId xmlns:a16="http://schemas.microsoft.com/office/drawing/2014/main" id="{4ACDC5A8-A6AC-C44F-8795-F1039F44E817}"/>
                    </a:ext>
                  </a:extLst>
                </p:cNvPr>
                <p:cNvGrpSpPr/>
                <p:nvPr/>
              </p:nvGrpSpPr>
              <p:grpSpPr>
                <a:xfrm>
                  <a:off x="1285274" y="1764679"/>
                  <a:ext cx="548288" cy="1272628"/>
                  <a:chOff x="1285274" y="1764679"/>
                  <a:chExt cx="548288" cy="1272628"/>
                </a:xfrm>
              </p:grpSpPr>
              <p:sp>
                <p:nvSpPr>
                  <p:cNvPr id="48" name="Freeform 84">
                    <a:extLst>
                      <a:ext uri="{FF2B5EF4-FFF2-40B4-BE49-F238E27FC236}">
                        <a16:creationId xmlns:a16="http://schemas.microsoft.com/office/drawing/2014/main" id="{9014E2EE-7EC6-A486-E3CE-EE39D42B4864}"/>
                      </a:ext>
                    </a:extLst>
                  </p:cNvPr>
                  <p:cNvSpPr/>
                  <p:nvPr/>
                </p:nvSpPr>
                <p:spPr>
                  <a:xfrm>
                    <a:off x="1465288" y="1764679"/>
                    <a:ext cx="188260" cy="1272628"/>
                  </a:xfrm>
                  <a:custGeom>
                    <a:avLst/>
                    <a:gdLst>
                      <a:gd name="connsiteX0" fmla="*/ 0 w 188260"/>
                      <a:gd name="connsiteY0" fmla="*/ 0 h 1272628"/>
                      <a:gd name="connsiteX1" fmla="*/ 188260 w 188260"/>
                      <a:gd name="connsiteY1" fmla="*/ 0 h 1272628"/>
                      <a:gd name="connsiteX2" fmla="*/ 188260 w 188260"/>
                      <a:gd name="connsiteY2" fmla="*/ 1272628 h 1272628"/>
                      <a:gd name="connsiteX3" fmla="*/ 0 w 188260"/>
                      <a:gd name="connsiteY3" fmla="*/ 1272628 h 1272628"/>
                      <a:gd name="connsiteX4" fmla="*/ 0 w 188260"/>
                      <a:gd name="connsiteY4" fmla="*/ 0 h 12726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260" h="1272628">
                        <a:moveTo>
                          <a:pt x="0" y="0"/>
                        </a:moveTo>
                        <a:lnTo>
                          <a:pt x="188260" y="0"/>
                        </a:lnTo>
                        <a:lnTo>
                          <a:pt x="188260" y="1272628"/>
                        </a:lnTo>
                        <a:lnTo>
                          <a:pt x="0" y="1272628"/>
                        </a:lnTo>
                        <a:lnTo>
                          <a:pt x="0" y="0"/>
                        </a:lnTo>
                        <a:close/>
                      </a:path>
                    </a:pathLst>
                  </a:custGeom>
                  <a:solidFill>
                    <a:srgbClr val="0099D5"/>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91DA"/>
                      </a:solidFill>
                      <a:effectLst/>
                      <a:uLnTx/>
                      <a:uFillTx/>
                      <a:latin typeface="Univers for KPMG" panose="020B0603020202020204" pitchFamily="34" charset="0"/>
                      <a:ea typeface="+mn-ea"/>
                      <a:cs typeface="Arial" panose="020B0604020202020204" pitchFamily="34" charset="0"/>
                    </a:endParaRPr>
                  </a:p>
                </p:txBody>
              </p:sp>
              <p:grpSp>
                <p:nvGrpSpPr>
                  <p:cNvPr id="49" name="Group 48">
                    <a:extLst>
                      <a:ext uri="{FF2B5EF4-FFF2-40B4-BE49-F238E27FC236}">
                        <a16:creationId xmlns:a16="http://schemas.microsoft.com/office/drawing/2014/main" id="{6ECA9A74-0F0C-FF4A-7046-876954E9988B}"/>
                      </a:ext>
                    </a:extLst>
                  </p:cNvPr>
                  <p:cNvGrpSpPr/>
                  <p:nvPr/>
                </p:nvGrpSpPr>
                <p:grpSpPr>
                  <a:xfrm>
                    <a:off x="1285274" y="2126849"/>
                    <a:ext cx="548288" cy="548288"/>
                    <a:chOff x="1285274" y="2126849"/>
                    <a:chExt cx="548288" cy="548288"/>
                  </a:xfrm>
                </p:grpSpPr>
                <p:grpSp>
                  <p:nvGrpSpPr>
                    <p:cNvPr id="50" name="Group 49">
                      <a:extLst>
                        <a:ext uri="{FF2B5EF4-FFF2-40B4-BE49-F238E27FC236}">
                          <a16:creationId xmlns:a16="http://schemas.microsoft.com/office/drawing/2014/main" id="{2D22DC9A-3A59-8B64-B3CF-39287CD56AEF}"/>
                        </a:ext>
                      </a:extLst>
                    </p:cNvPr>
                    <p:cNvGrpSpPr/>
                    <p:nvPr/>
                  </p:nvGrpSpPr>
                  <p:grpSpPr>
                    <a:xfrm>
                      <a:off x="1285274" y="2126849"/>
                      <a:ext cx="548288" cy="548288"/>
                      <a:chOff x="4114891" y="1309087"/>
                      <a:chExt cx="548288" cy="548288"/>
                    </a:xfrm>
                  </p:grpSpPr>
                  <p:sp>
                    <p:nvSpPr>
                      <p:cNvPr id="52" name="Oval 51">
                        <a:extLst>
                          <a:ext uri="{FF2B5EF4-FFF2-40B4-BE49-F238E27FC236}">
                            <a16:creationId xmlns:a16="http://schemas.microsoft.com/office/drawing/2014/main" id="{037EB7CD-8290-ECEF-C9D2-70DA3A471DFA}"/>
                          </a:ext>
                        </a:extLst>
                      </p:cNvPr>
                      <p:cNvSpPr/>
                      <p:nvPr/>
                    </p:nvSpPr>
                    <p:spPr>
                      <a:xfrm>
                        <a:off x="4114891" y="1309087"/>
                        <a:ext cx="548288" cy="548288"/>
                      </a:xfrm>
                      <a:prstGeom prst="ellipse">
                        <a:avLst/>
                      </a:prstGeom>
                      <a:solidFill>
                        <a:srgbClr val="0091DA">
                          <a:lumMod val="75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sp>
                    <p:nvSpPr>
                      <p:cNvPr id="53" name="Oval 52">
                        <a:extLst>
                          <a:ext uri="{FF2B5EF4-FFF2-40B4-BE49-F238E27FC236}">
                            <a16:creationId xmlns:a16="http://schemas.microsoft.com/office/drawing/2014/main" id="{50523C03-D640-0025-52CF-D6BD8DF6FA98}"/>
                          </a:ext>
                        </a:extLst>
                      </p:cNvPr>
                      <p:cNvSpPr/>
                      <p:nvPr/>
                    </p:nvSpPr>
                    <p:spPr>
                      <a:xfrm>
                        <a:off x="4187020" y="1381216"/>
                        <a:ext cx="404030" cy="404030"/>
                      </a:xfrm>
                      <a:prstGeom prst="ellipse">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sp>
                  <p:nvSpPr>
                    <p:cNvPr id="51" name="TextBox 112">
                      <a:extLst>
                        <a:ext uri="{FF2B5EF4-FFF2-40B4-BE49-F238E27FC236}">
                          <a16:creationId xmlns:a16="http://schemas.microsoft.com/office/drawing/2014/main" id="{FC64B2F8-70B9-4077-D92A-09C3E5DBB6B4}"/>
                        </a:ext>
                      </a:extLst>
                    </p:cNvPr>
                    <p:cNvSpPr txBox="1"/>
                    <p:nvPr/>
                  </p:nvSpPr>
                  <p:spPr>
                    <a:xfrm>
                      <a:off x="1301241" y="2217545"/>
                      <a:ext cx="514912" cy="3804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91DA">
                              <a:lumMod val="75000"/>
                            </a:srgbClr>
                          </a:solidFill>
                          <a:effectLst/>
                          <a:uLnTx/>
                          <a:uFillTx/>
                          <a:latin typeface="Univers for KPMG" panose="020B0603020202020204" pitchFamily="34" charset="0"/>
                          <a:ea typeface="Cambria Math" panose="02040503050406030204" pitchFamily="18" charset="0"/>
                          <a:cs typeface="Arial" panose="020B0604020202020204" pitchFamily="34" charset="0"/>
                        </a:rPr>
                        <a:t>02</a:t>
                      </a:r>
                    </a:p>
                  </p:txBody>
                </p:sp>
              </p:grpSp>
            </p:grpSp>
          </p:grpSp>
        </p:grpSp>
        <p:grpSp>
          <p:nvGrpSpPr>
            <p:cNvPr id="6" name="Group 5">
              <a:extLst>
                <a:ext uri="{FF2B5EF4-FFF2-40B4-BE49-F238E27FC236}">
                  <a16:creationId xmlns:a16="http://schemas.microsoft.com/office/drawing/2014/main" id="{855183AC-82EA-A6F5-262B-D9BCF6D97F21}"/>
                </a:ext>
              </a:extLst>
            </p:cNvPr>
            <p:cNvGrpSpPr/>
            <p:nvPr/>
          </p:nvGrpSpPr>
          <p:grpSpPr>
            <a:xfrm>
              <a:off x="1285274" y="1942658"/>
              <a:ext cx="6524237" cy="2356522"/>
              <a:chOff x="1285274" y="1942658"/>
              <a:chExt cx="6524237" cy="2356522"/>
            </a:xfrm>
          </p:grpSpPr>
          <p:sp>
            <p:nvSpPr>
              <p:cNvPr id="33" name="TextBox 81">
                <a:extLst>
                  <a:ext uri="{FF2B5EF4-FFF2-40B4-BE49-F238E27FC236}">
                    <a16:creationId xmlns:a16="http://schemas.microsoft.com/office/drawing/2014/main" id="{CA444DB0-8EFA-CEBE-A549-0D1E9CB3EBF8}"/>
                  </a:ext>
                </a:extLst>
              </p:cNvPr>
              <p:cNvSpPr txBox="1"/>
              <p:nvPr/>
            </p:nvSpPr>
            <p:spPr>
              <a:xfrm flipH="1">
                <a:off x="1952454" y="1942658"/>
                <a:ext cx="4275411" cy="50729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0099D5"/>
                    </a:solidFill>
                    <a:effectLst/>
                    <a:uLnTx/>
                    <a:uFillTx/>
                    <a:latin typeface="Calibri" panose="020F0502020204030204"/>
                    <a:ea typeface="+mn-ea"/>
                    <a:cs typeface="Arial" panose="020B0604020202020204" pitchFamily="34" charset="0"/>
                  </a:rPr>
                  <a:t>Policy and Procedure</a:t>
                </a:r>
              </a:p>
            </p:txBody>
          </p:sp>
          <p:grpSp>
            <p:nvGrpSpPr>
              <p:cNvPr id="34" name="Group 33">
                <a:extLst>
                  <a:ext uri="{FF2B5EF4-FFF2-40B4-BE49-F238E27FC236}">
                    <a16:creationId xmlns:a16="http://schemas.microsoft.com/office/drawing/2014/main" id="{D6880C1D-2FE5-FDE0-AF80-09AE440B31D9}"/>
                  </a:ext>
                </a:extLst>
              </p:cNvPr>
              <p:cNvGrpSpPr/>
              <p:nvPr/>
            </p:nvGrpSpPr>
            <p:grpSpPr>
              <a:xfrm>
                <a:off x="1285274" y="2957887"/>
                <a:ext cx="6524237" cy="1341293"/>
                <a:chOff x="1285274" y="2957887"/>
                <a:chExt cx="6524237" cy="1341293"/>
              </a:xfrm>
            </p:grpSpPr>
            <p:cxnSp>
              <p:nvCxnSpPr>
                <p:cNvPr id="35" name="Straight Connector 34">
                  <a:extLst>
                    <a:ext uri="{FF2B5EF4-FFF2-40B4-BE49-F238E27FC236}">
                      <a16:creationId xmlns:a16="http://schemas.microsoft.com/office/drawing/2014/main" id="{A0C5ACFC-26D9-BCFA-4AA9-E73B5C613230}"/>
                    </a:ext>
                  </a:extLst>
                </p:cNvPr>
                <p:cNvCxnSpPr/>
                <p:nvPr/>
              </p:nvCxnSpPr>
              <p:spPr>
                <a:xfrm>
                  <a:off x="1601589" y="3658718"/>
                  <a:ext cx="4937760" cy="0"/>
                </a:xfrm>
                <a:prstGeom prst="line">
                  <a:avLst/>
                </a:prstGeom>
                <a:noFill/>
                <a:ln w="6350" cap="flat" cmpd="sng" algn="ctr">
                  <a:solidFill>
                    <a:srgbClr val="6D2077"/>
                  </a:solidFill>
                  <a:prstDash val="solid"/>
                  <a:miter lim="800000"/>
                </a:ln>
                <a:effectLst/>
              </p:spPr>
            </p:cxnSp>
            <p:sp>
              <p:nvSpPr>
                <p:cNvPr id="36" name="Freeform 76">
                  <a:extLst>
                    <a:ext uri="{FF2B5EF4-FFF2-40B4-BE49-F238E27FC236}">
                      <a16:creationId xmlns:a16="http://schemas.microsoft.com/office/drawing/2014/main" id="{C996C5DF-E1D2-E6C6-DCE3-8CFE66B1F4AD}"/>
                    </a:ext>
                  </a:extLst>
                </p:cNvPr>
                <p:cNvSpPr>
                  <a:spLocks/>
                </p:cNvSpPr>
                <p:nvPr/>
              </p:nvSpPr>
              <p:spPr bwMode="auto">
                <a:xfrm flipH="1">
                  <a:off x="6265925" y="2957887"/>
                  <a:ext cx="1543586" cy="700952"/>
                </a:xfrm>
                <a:custGeom>
                  <a:avLst/>
                  <a:gdLst>
                    <a:gd name="T0" fmla="*/ 873 w 873"/>
                    <a:gd name="T1" fmla="*/ 396 h 396"/>
                    <a:gd name="T2" fmla="*/ 571 w 873"/>
                    <a:gd name="T3" fmla="*/ 149 h 396"/>
                    <a:gd name="T4" fmla="*/ 122 w 873"/>
                    <a:gd name="T5" fmla="*/ 114 h 396"/>
                    <a:gd name="T6" fmla="*/ 13 w 873"/>
                    <a:gd name="T7" fmla="*/ 396 h 396"/>
                    <a:gd name="T8" fmla="*/ 873 w 873"/>
                    <a:gd name="T9" fmla="*/ 396 h 396"/>
                  </a:gdLst>
                  <a:ahLst/>
                  <a:cxnLst>
                    <a:cxn ang="0">
                      <a:pos x="T0" y="T1"/>
                    </a:cxn>
                    <a:cxn ang="0">
                      <a:pos x="T2" y="T3"/>
                    </a:cxn>
                    <a:cxn ang="0">
                      <a:pos x="T4" y="T5"/>
                    </a:cxn>
                    <a:cxn ang="0">
                      <a:pos x="T6" y="T7"/>
                    </a:cxn>
                    <a:cxn ang="0">
                      <a:pos x="T8" y="T9"/>
                    </a:cxn>
                  </a:cxnLst>
                  <a:rect l="0" t="0" r="r" b="b"/>
                  <a:pathLst>
                    <a:path w="873" h="396">
                      <a:moveTo>
                        <a:pt x="873" y="396"/>
                      </a:moveTo>
                      <a:cubicBezTo>
                        <a:pt x="755" y="329"/>
                        <a:pt x="654" y="246"/>
                        <a:pt x="571" y="149"/>
                      </a:cubicBezTo>
                      <a:cubicBezTo>
                        <a:pt x="457" y="15"/>
                        <a:pt x="255" y="0"/>
                        <a:pt x="122" y="114"/>
                      </a:cubicBezTo>
                      <a:cubicBezTo>
                        <a:pt x="37" y="186"/>
                        <a:pt x="0" y="293"/>
                        <a:pt x="13" y="396"/>
                      </a:cubicBezTo>
                      <a:lnTo>
                        <a:pt x="873" y="396"/>
                      </a:lnTo>
                      <a:close/>
                    </a:path>
                  </a:pathLst>
                </a:custGeom>
                <a:solidFill>
                  <a:sysClr val="window" lastClr="FFFFFF">
                    <a:alpha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Univers for KPMG" panose="020B0603020202020204" pitchFamily="34" charset="0"/>
                    <a:ea typeface="+mn-ea"/>
                    <a:cs typeface="Arial" panose="020B0604020202020204" pitchFamily="34" charset="0"/>
                  </a:endParaRPr>
                </a:p>
              </p:txBody>
            </p:sp>
            <p:grpSp>
              <p:nvGrpSpPr>
                <p:cNvPr id="37" name="Group 36">
                  <a:extLst>
                    <a:ext uri="{FF2B5EF4-FFF2-40B4-BE49-F238E27FC236}">
                      <a16:creationId xmlns:a16="http://schemas.microsoft.com/office/drawing/2014/main" id="{8F13DAB8-829B-07FC-673B-4AF25C3B1F06}"/>
                    </a:ext>
                  </a:extLst>
                </p:cNvPr>
                <p:cNvGrpSpPr/>
                <p:nvPr/>
              </p:nvGrpSpPr>
              <p:grpSpPr>
                <a:xfrm>
                  <a:off x="1285274" y="3037307"/>
                  <a:ext cx="548288" cy="1261873"/>
                  <a:chOff x="1285274" y="3037307"/>
                  <a:chExt cx="548288" cy="1261873"/>
                </a:xfrm>
              </p:grpSpPr>
              <p:sp>
                <p:nvSpPr>
                  <p:cNvPr id="38" name="Freeform 60">
                    <a:extLst>
                      <a:ext uri="{FF2B5EF4-FFF2-40B4-BE49-F238E27FC236}">
                        <a16:creationId xmlns:a16="http://schemas.microsoft.com/office/drawing/2014/main" id="{11354E91-1768-132E-A7F9-95B472659EDE}"/>
                      </a:ext>
                    </a:extLst>
                  </p:cNvPr>
                  <p:cNvSpPr/>
                  <p:nvPr/>
                </p:nvSpPr>
                <p:spPr>
                  <a:xfrm>
                    <a:off x="1465288" y="3037307"/>
                    <a:ext cx="188260" cy="1261873"/>
                  </a:xfrm>
                  <a:custGeom>
                    <a:avLst/>
                    <a:gdLst>
                      <a:gd name="connsiteX0" fmla="*/ 0 w 188260"/>
                      <a:gd name="connsiteY0" fmla="*/ 0 h 1261873"/>
                      <a:gd name="connsiteX1" fmla="*/ 188260 w 188260"/>
                      <a:gd name="connsiteY1" fmla="*/ 0 h 1261873"/>
                      <a:gd name="connsiteX2" fmla="*/ 188259 w 188260"/>
                      <a:gd name="connsiteY2" fmla="*/ 1261873 h 1261873"/>
                      <a:gd name="connsiteX3" fmla="*/ 0 w 188260"/>
                      <a:gd name="connsiteY3" fmla="*/ 1261873 h 1261873"/>
                      <a:gd name="connsiteX4" fmla="*/ 0 w 188260"/>
                      <a:gd name="connsiteY4" fmla="*/ 0 h 126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260" h="1261873">
                        <a:moveTo>
                          <a:pt x="0" y="0"/>
                        </a:moveTo>
                        <a:lnTo>
                          <a:pt x="188260" y="0"/>
                        </a:lnTo>
                        <a:lnTo>
                          <a:pt x="188259" y="1261873"/>
                        </a:lnTo>
                        <a:lnTo>
                          <a:pt x="0" y="1261873"/>
                        </a:lnTo>
                        <a:lnTo>
                          <a:pt x="0" y="0"/>
                        </a:lnTo>
                        <a:close/>
                      </a:path>
                    </a:pathLst>
                  </a:custGeom>
                  <a:solidFill>
                    <a:srgbClr val="6D2077"/>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nvGrpSpPr>
                  <p:cNvPr id="39" name="Group 38">
                    <a:extLst>
                      <a:ext uri="{FF2B5EF4-FFF2-40B4-BE49-F238E27FC236}">
                        <a16:creationId xmlns:a16="http://schemas.microsoft.com/office/drawing/2014/main" id="{A93FC269-657B-94F4-AC07-FF67613D6C2F}"/>
                      </a:ext>
                    </a:extLst>
                  </p:cNvPr>
                  <p:cNvGrpSpPr/>
                  <p:nvPr/>
                </p:nvGrpSpPr>
                <p:grpSpPr>
                  <a:xfrm>
                    <a:off x="1285274" y="3394099"/>
                    <a:ext cx="548288" cy="548288"/>
                    <a:chOff x="1285274" y="3394099"/>
                    <a:chExt cx="548288" cy="548288"/>
                  </a:xfrm>
                </p:grpSpPr>
                <p:grpSp>
                  <p:nvGrpSpPr>
                    <p:cNvPr id="40" name="Group 39">
                      <a:extLst>
                        <a:ext uri="{FF2B5EF4-FFF2-40B4-BE49-F238E27FC236}">
                          <a16:creationId xmlns:a16="http://schemas.microsoft.com/office/drawing/2014/main" id="{977B1DC9-33C8-B1E0-FA8B-0077B0E307CF}"/>
                        </a:ext>
                      </a:extLst>
                    </p:cNvPr>
                    <p:cNvGrpSpPr/>
                    <p:nvPr/>
                  </p:nvGrpSpPr>
                  <p:grpSpPr>
                    <a:xfrm>
                      <a:off x="1285274" y="3394099"/>
                      <a:ext cx="548288" cy="548288"/>
                      <a:chOff x="4114891" y="1309087"/>
                      <a:chExt cx="548288" cy="548288"/>
                    </a:xfrm>
                  </p:grpSpPr>
                  <p:sp>
                    <p:nvSpPr>
                      <p:cNvPr id="42" name="Oval 41">
                        <a:extLst>
                          <a:ext uri="{FF2B5EF4-FFF2-40B4-BE49-F238E27FC236}">
                            <a16:creationId xmlns:a16="http://schemas.microsoft.com/office/drawing/2014/main" id="{8F410592-9633-5C99-5EE8-38036D854C70}"/>
                          </a:ext>
                        </a:extLst>
                      </p:cNvPr>
                      <p:cNvSpPr/>
                      <p:nvPr/>
                    </p:nvSpPr>
                    <p:spPr>
                      <a:xfrm>
                        <a:off x="4114891" y="1309087"/>
                        <a:ext cx="548288" cy="548288"/>
                      </a:xfrm>
                      <a:prstGeom prst="ellipse">
                        <a:avLst/>
                      </a:prstGeom>
                      <a:solidFill>
                        <a:srgbClr val="6D2077">
                          <a:lumMod val="75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sp>
                    <p:nvSpPr>
                      <p:cNvPr id="43" name="Oval 42">
                        <a:extLst>
                          <a:ext uri="{FF2B5EF4-FFF2-40B4-BE49-F238E27FC236}">
                            <a16:creationId xmlns:a16="http://schemas.microsoft.com/office/drawing/2014/main" id="{9EDB97EB-C1C4-6627-6F15-419868B72AC5}"/>
                          </a:ext>
                        </a:extLst>
                      </p:cNvPr>
                      <p:cNvSpPr/>
                      <p:nvPr/>
                    </p:nvSpPr>
                    <p:spPr>
                      <a:xfrm>
                        <a:off x="4187020" y="1381216"/>
                        <a:ext cx="404030" cy="404030"/>
                      </a:xfrm>
                      <a:prstGeom prst="ellipse">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sp>
                  <p:nvSpPr>
                    <p:cNvPr id="41" name="TextBox 113">
                      <a:extLst>
                        <a:ext uri="{FF2B5EF4-FFF2-40B4-BE49-F238E27FC236}">
                          <a16:creationId xmlns:a16="http://schemas.microsoft.com/office/drawing/2014/main" id="{0FF132D9-73A0-1B00-2062-A5070647C762}"/>
                        </a:ext>
                      </a:extLst>
                    </p:cNvPr>
                    <p:cNvSpPr txBox="1"/>
                    <p:nvPr/>
                  </p:nvSpPr>
                  <p:spPr>
                    <a:xfrm>
                      <a:off x="1301241" y="3476627"/>
                      <a:ext cx="514912" cy="3804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6D2077">
                              <a:lumMod val="75000"/>
                            </a:srgbClr>
                          </a:solidFill>
                          <a:effectLst/>
                          <a:uLnTx/>
                          <a:uFillTx/>
                          <a:latin typeface="Univers for KPMG" panose="020B0603020202020204" pitchFamily="34" charset="0"/>
                          <a:ea typeface="Cambria Math" panose="02040503050406030204" pitchFamily="18" charset="0"/>
                          <a:cs typeface="Arial" panose="020B0604020202020204" pitchFamily="34" charset="0"/>
                        </a:rPr>
                        <a:t>03</a:t>
                      </a:r>
                    </a:p>
                  </p:txBody>
                </p:sp>
              </p:grpSp>
            </p:grpSp>
          </p:grpSp>
        </p:grpSp>
        <p:grpSp>
          <p:nvGrpSpPr>
            <p:cNvPr id="7" name="Group 6">
              <a:extLst>
                <a:ext uri="{FF2B5EF4-FFF2-40B4-BE49-F238E27FC236}">
                  <a16:creationId xmlns:a16="http://schemas.microsoft.com/office/drawing/2014/main" id="{DB3232C2-6795-33C4-3BCD-135619E66C17}"/>
                </a:ext>
              </a:extLst>
            </p:cNvPr>
            <p:cNvGrpSpPr/>
            <p:nvPr/>
          </p:nvGrpSpPr>
          <p:grpSpPr>
            <a:xfrm>
              <a:off x="1285274" y="3224222"/>
              <a:ext cx="6524237" cy="2336831"/>
              <a:chOff x="1285274" y="3224222"/>
              <a:chExt cx="6524237" cy="2336831"/>
            </a:xfrm>
          </p:grpSpPr>
          <p:sp>
            <p:nvSpPr>
              <p:cNvPr id="20" name="TextBox 81">
                <a:extLst>
                  <a:ext uri="{FF2B5EF4-FFF2-40B4-BE49-F238E27FC236}">
                    <a16:creationId xmlns:a16="http://schemas.microsoft.com/office/drawing/2014/main" id="{F4AF5B22-C6E3-A87B-0A9B-C79786B74C3D}"/>
                  </a:ext>
                </a:extLst>
              </p:cNvPr>
              <p:cNvSpPr txBox="1"/>
              <p:nvPr/>
            </p:nvSpPr>
            <p:spPr>
              <a:xfrm flipH="1">
                <a:off x="1952454" y="3224222"/>
                <a:ext cx="4275413" cy="50729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6D2077"/>
                    </a:solidFill>
                    <a:effectLst/>
                    <a:uLnTx/>
                    <a:uFillTx/>
                    <a:latin typeface="Calibri" panose="020F0502020204030204"/>
                    <a:ea typeface="+mn-ea"/>
                    <a:cs typeface="Arial" panose="020B0604020202020204" pitchFamily="34" charset="0"/>
                  </a:rPr>
                  <a:t>Documentation</a:t>
                </a:r>
              </a:p>
            </p:txBody>
          </p:sp>
          <p:grpSp>
            <p:nvGrpSpPr>
              <p:cNvPr id="21" name="Group 20">
                <a:extLst>
                  <a:ext uri="{FF2B5EF4-FFF2-40B4-BE49-F238E27FC236}">
                    <a16:creationId xmlns:a16="http://schemas.microsoft.com/office/drawing/2014/main" id="{CF423E2E-8D52-3845-ADCB-DC0A62AC31B4}"/>
                  </a:ext>
                </a:extLst>
              </p:cNvPr>
              <p:cNvGrpSpPr/>
              <p:nvPr/>
            </p:nvGrpSpPr>
            <p:grpSpPr>
              <a:xfrm>
                <a:off x="1285274" y="4221779"/>
                <a:ext cx="6524237" cy="1339274"/>
                <a:chOff x="1285274" y="4221779"/>
                <a:chExt cx="6524237" cy="1339274"/>
              </a:xfrm>
            </p:grpSpPr>
            <p:cxnSp>
              <p:nvCxnSpPr>
                <p:cNvPr id="22" name="Straight Connector 21">
                  <a:extLst>
                    <a:ext uri="{FF2B5EF4-FFF2-40B4-BE49-F238E27FC236}">
                      <a16:creationId xmlns:a16="http://schemas.microsoft.com/office/drawing/2014/main" id="{FB371C1F-792E-A96B-F52C-3C789C7702ED}"/>
                    </a:ext>
                  </a:extLst>
                </p:cNvPr>
                <p:cNvCxnSpPr/>
                <p:nvPr/>
              </p:nvCxnSpPr>
              <p:spPr>
                <a:xfrm>
                  <a:off x="1601589" y="4917237"/>
                  <a:ext cx="4937760" cy="0"/>
                </a:xfrm>
                <a:prstGeom prst="line">
                  <a:avLst/>
                </a:prstGeom>
                <a:noFill/>
                <a:ln w="6350" cap="flat" cmpd="sng" algn="ctr">
                  <a:solidFill>
                    <a:srgbClr val="005EB8"/>
                  </a:solidFill>
                  <a:prstDash val="solid"/>
                  <a:miter lim="800000"/>
                </a:ln>
                <a:effectLst/>
              </p:spPr>
            </p:cxnSp>
            <p:grpSp>
              <p:nvGrpSpPr>
                <p:cNvPr id="23" name="Group 22">
                  <a:extLst>
                    <a:ext uri="{FF2B5EF4-FFF2-40B4-BE49-F238E27FC236}">
                      <a16:creationId xmlns:a16="http://schemas.microsoft.com/office/drawing/2014/main" id="{4F482217-DBE4-9341-41B1-69A54CEE42C7}"/>
                    </a:ext>
                  </a:extLst>
                </p:cNvPr>
                <p:cNvGrpSpPr/>
                <p:nvPr/>
              </p:nvGrpSpPr>
              <p:grpSpPr>
                <a:xfrm>
                  <a:off x="6265925" y="4221779"/>
                  <a:ext cx="1543586" cy="979097"/>
                  <a:chOff x="6265925" y="4221779"/>
                  <a:chExt cx="1543586" cy="979097"/>
                </a:xfrm>
              </p:grpSpPr>
              <p:sp>
                <p:nvSpPr>
                  <p:cNvPr id="31" name="Freeform 52">
                    <a:extLst>
                      <a:ext uri="{FF2B5EF4-FFF2-40B4-BE49-F238E27FC236}">
                        <a16:creationId xmlns:a16="http://schemas.microsoft.com/office/drawing/2014/main" id="{BE48F75E-1EF8-D80B-E1D2-ACD74F2BE65A}"/>
                      </a:ext>
                    </a:extLst>
                  </p:cNvPr>
                  <p:cNvSpPr>
                    <a:spLocks/>
                  </p:cNvSpPr>
                  <p:nvPr/>
                </p:nvSpPr>
                <p:spPr bwMode="auto">
                  <a:xfrm flipH="1">
                    <a:off x="6265925" y="4221779"/>
                    <a:ext cx="1543586" cy="700952"/>
                  </a:xfrm>
                  <a:custGeom>
                    <a:avLst/>
                    <a:gdLst>
                      <a:gd name="T0" fmla="*/ 873 w 873"/>
                      <a:gd name="T1" fmla="*/ 396 h 396"/>
                      <a:gd name="T2" fmla="*/ 571 w 873"/>
                      <a:gd name="T3" fmla="*/ 149 h 396"/>
                      <a:gd name="T4" fmla="*/ 122 w 873"/>
                      <a:gd name="T5" fmla="*/ 114 h 396"/>
                      <a:gd name="T6" fmla="*/ 13 w 873"/>
                      <a:gd name="T7" fmla="*/ 396 h 396"/>
                      <a:gd name="T8" fmla="*/ 873 w 873"/>
                      <a:gd name="T9" fmla="*/ 396 h 396"/>
                    </a:gdLst>
                    <a:ahLst/>
                    <a:cxnLst>
                      <a:cxn ang="0">
                        <a:pos x="T0" y="T1"/>
                      </a:cxn>
                      <a:cxn ang="0">
                        <a:pos x="T2" y="T3"/>
                      </a:cxn>
                      <a:cxn ang="0">
                        <a:pos x="T4" y="T5"/>
                      </a:cxn>
                      <a:cxn ang="0">
                        <a:pos x="T6" y="T7"/>
                      </a:cxn>
                      <a:cxn ang="0">
                        <a:pos x="T8" y="T9"/>
                      </a:cxn>
                    </a:cxnLst>
                    <a:rect l="0" t="0" r="r" b="b"/>
                    <a:pathLst>
                      <a:path w="873" h="396">
                        <a:moveTo>
                          <a:pt x="873" y="396"/>
                        </a:moveTo>
                        <a:cubicBezTo>
                          <a:pt x="755" y="329"/>
                          <a:pt x="654" y="246"/>
                          <a:pt x="571" y="149"/>
                        </a:cubicBezTo>
                        <a:cubicBezTo>
                          <a:pt x="457" y="15"/>
                          <a:pt x="255" y="0"/>
                          <a:pt x="122" y="114"/>
                        </a:cubicBezTo>
                        <a:cubicBezTo>
                          <a:pt x="37" y="186"/>
                          <a:pt x="0" y="293"/>
                          <a:pt x="13" y="396"/>
                        </a:cubicBezTo>
                        <a:lnTo>
                          <a:pt x="873" y="396"/>
                        </a:lnTo>
                        <a:close/>
                      </a:path>
                    </a:pathLst>
                  </a:custGeom>
                  <a:solidFill>
                    <a:sysClr val="window" lastClr="FFFFFF">
                      <a:alpha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Univers for KPMG" panose="020B0603020202020204" pitchFamily="34" charset="0"/>
                      <a:ea typeface="+mn-ea"/>
                      <a:cs typeface="Arial" panose="020B0604020202020204" pitchFamily="34" charset="0"/>
                    </a:endParaRPr>
                  </a:p>
                </p:txBody>
              </p:sp>
              <p:sp>
                <p:nvSpPr>
                  <p:cNvPr id="32" name="Freeform 50">
                    <a:extLst>
                      <a:ext uri="{FF2B5EF4-FFF2-40B4-BE49-F238E27FC236}">
                        <a16:creationId xmlns:a16="http://schemas.microsoft.com/office/drawing/2014/main" id="{242E24E3-886F-E456-4206-4FA77252C4C9}"/>
                      </a:ext>
                    </a:extLst>
                  </p:cNvPr>
                  <p:cNvSpPr>
                    <a:spLocks/>
                  </p:cNvSpPr>
                  <p:nvPr/>
                </p:nvSpPr>
                <p:spPr bwMode="auto">
                  <a:xfrm flipH="1">
                    <a:off x="6891562" y="4505144"/>
                    <a:ext cx="694986" cy="695732"/>
                  </a:xfrm>
                  <a:custGeom>
                    <a:avLst/>
                    <a:gdLst>
                      <a:gd name="T0" fmla="*/ 82 w 393"/>
                      <a:gd name="T1" fmla="*/ 63 h 393"/>
                      <a:gd name="T2" fmla="*/ 330 w 393"/>
                      <a:gd name="T3" fmla="*/ 82 h 393"/>
                      <a:gd name="T4" fmla="*/ 311 w 393"/>
                      <a:gd name="T5" fmla="*/ 330 h 393"/>
                      <a:gd name="T6" fmla="*/ 63 w 393"/>
                      <a:gd name="T7" fmla="*/ 311 h 393"/>
                      <a:gd name="T8" fmla="*/ 82 w 393"/>
                      <a:gd name="T9" fmla="*/ 63 h 393"/>
                    </a:gdLst>
                    <a:ahLst/>
                    <a:cxnLst>
                      <a:cxn ang="0">
                        <a:pos x="T0" y="T1"/>
                      </a:cxn>
                      <a:cxn ang="0">
                        <a:pos x="T2" y="T3"/>
                      </a:cxn>
                      <a:cxn ang="0">
                        <a:pos x="T4" y="T5"/>
                      </a:cxn>
                      <a:cxn ang="0">
                        <a:pos x="T6" y="T7"/>
                      </a:cxn>
                      <a:cxn ang="0">
                        <a:pos x="T8" y="T9"/>
                      </a:cxn>
                    </a:cxnLst>
                    <a:rect l="0" t="0" r="r" b="b"/>
                    <a:pathLst>
                      <a:path w="393" h="393">
                        <a:moveTo>
                          <a:pt x="82" y="63"/>
                        </a:moveTo>
                        <a:cubicBezTo>
                          <a:pt x="156" y="0"/>
                          <a:pt x="267" y="8"/>
                          <a:pt x="330" y="82"/>
                        </a:cubicBezTo>
                        <a:cubicBezTo>
                          <a:pt x="393" y="156"/>
                          <a:pt x="385" y="267"/>
                          <a:pt x="311" y="330"/>
                        </a:cubicBezTo>
                        <a:cubicBezTo>
                          <a:pt x="237" y="393"/>
                          <a:pt x="126" y="384"/>
                          <a:pt x="63" y="311"/>
                        </a:cubicBezTo>
                        <a:cubicBezTo>
                          <a:pt x="0" y="237"/>
                          <a:pt x="9" y="126"/>
                          <a:pt x="82"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Univers for KPMG" panose="020B0603020202020204" pitchFamily="34" charset="0"/>
                      <a:ea typeface="+mn-ea"/>
                      <a:cs typeface="Arial" panose="020B0604020202020204" pitchFamily="34" charset="0"/>
                    </a:endParaRPr>
                  </a:p>
                </p:txBody>
              </p:sp>
            </p:grpSp>
            <p:grpSp>
              <p:nvGrpSpPr>
                <p:cNvPr id="24" name="Group 23">
                  <a:extLst>
                    <a:ext uri="{FF2B5EF4-FFF2-40B4-BE49-F238E27FC236}">
                      <a16:creationId xmlns:a16="http://schemas.microsoft.com/office/drawing/2014/main" id="{0D8004E7-FC37-A14A-9C4B-0462FE701A12}"/>
                    </a:ext>
                  </a:extLst>
                </p:cNvPr>
                <p:cNvGrpSpPr/>
                <p:nvPr/>
              </p:nvGrpSpPr>
              <p:grpSpPr>
                <a:xfrm>
                  <a:off x="1285274" y="4299180"/>
                  <a:ext cx="548288" cy="1261873"/>
                  <a:chOff x="1285274" y="4299180"/>
                  <a:chExt cx="548288" cy="1261873"/>
                </a:xfrm>
              </p:grpSpPr>
              <p:sp>
                <p:nvSpPr>
                  <p:cNvPr id="25" name="Freeform 37">
                    <a:extLst>
                      <a:ext uri="{FF2B5EF4-FFF2-40B4-BE49-F238E27FC236}">
                        <a16:creationId xmlns:a16="http://schemas.microsoft.com/office/drawing/2014/main" id="{2A9F8B18-8EAF-59BA-93CE-1C25E6C96F6D}"/>
                      </a:ext>
                    </a:extLst>
                  </p:cNvPr>
                  <p:cNvSpPr/>
                  <p:nvPr/>
                </p:nvSpPr>
                <p:spPr>
                  <a:xfrm>
                    <a:off x="1465289" y="4299180"/>
                    <a:ext cx="188259" cy="1261873"/>
                  </a:xfrm>
                  <a:custGeom>
                    <a:avLst/>
                    <a:gdLst>
                      <a:gd name="connsiteX0" fmla="*/ 0 w 188259"/>
                      <a:gd name="connsiteY0" fmla="*/ 0 h 1261873"/>
                      <a:gd name="connsiteX1" fmla="*/ 188259 w 188259"/>
                      <a:gd name="connsiteY1" fmla="*/ 0 h 1261873"/>
                      <a:gd name="connsiteX2" fmla="*/ 188259 w 188259"/>
                      <a:gd name="connsiteY2" fmla="*/ 1261873 h 1261873"/>
                      <a:gd name="connsiteX3" fmla="*/ 0 w 188259"/>
                      <a:gd name="connsiteY3" fmla="*/ 1261873 h 1261873"/>
                      <a:gd name="connsiteX4" fmla="*/ 0 w 188259"/>
                      <a:gd name="connsiteY4" fmla="*/ 0 h 126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259" h="1261873">
                        <a:moveTo>
                          <a:pt x="0" y="0"/>
                        </a:moveTo>
                        <a:lnTo>
                          <a:pt x="188259" y="0"/>
                        </a:lnTo>
                        <a:lnTo>
                          <a:pt x="188259" y="1261873"/>
                        </a:lnTo>
                        <a:lnTo>
                          <a:pt x="0" y="1261873"/>
                        </a:lnTo>
                        <a:lnTo>
                          <a:pt x="0" y="0"/>
                        </a:lnTo>
                        <a:close/>
                      </a:path>
                    </a:pathLst>
                  </a:custGeom>
                  <a:solidFill>
                    <a:srgbClr val="005EB8"/>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nvGrpSpPr>
                  <p:cNvPr id="26" name="Group 25">
                    <a:extLst>
                      <a:ext uri="{FF2B5EF4-FFF2-40B4-BE49-F238E27FC236}">
                        <a16:creationId xmlns:a16="http://schemas.microsoft.com/office/drawing/2014/main" id="{5BA9BDD9-DFC6-5047-2489-01C434A96484}"/>
                      </a:ext>
                    </a:extLst>
                  </p:cNvPr>
                  <p:cNvGrpSpPr/>
                  <p:nvPr/>
                </p:nvGrpSpPr>
                <p:grpSpPr>
                  <a:xfrm>
                    <a:off x="1285274" y="4655972"/>
                    <a:ext cx="548288" cy="548288"/>
                    <a:chOff x="1285274" y="4655972"/>
                    <a:chExt cx="548288" cy="548288"/>
                  </a:xfrm>
                </p:grpSpPr>
                <p:grpSp>
                  <p:nvGrpSpPr>
                    <p:cNvPr id="27" name="Group 26">
                      <a:extLst>
                        <a:ext uri="{FF2B5EF4-FFF2-40B4-BE49-F238E27FC236}">
                          <a16:creationId xmlns:a16="http://schemas.microsoft.com/office/drawing/2014/main" id="{A0E756B1-B06B-0C65-3D67-2EA46DFB81FB}"/>
                        </a:ext>
                      </a:extLst>
                    </p:cNvPr>
                    <p:cNvGrpSpPr/>
                    <p:nvPr/>
                  </p:nvGrpSpPr>
                  <p:grpSpPr>
                    <a:xfrm>
                      <a:off x="1285274" y="4655972"/>
                      <a:ext cx="548288" cy="548288"/>
                      <a:chOff x="4114891" y="1309087"/>
                      <a:chExt cx="548288" cy="548288"/>
                    </a:xfrm>
                  </p:grpSpPr>
                  <p:sp>
                    <p:nvSpPr>
                      <p:cNvPr id="29" name="Oval 28">
                        <a:extLst>
                          <a:ext uri="{FF2B5EF4-FFF2-40B4-BE49-F238E27FC236}">
                            <a16:creationId xmlns:a16="http://schemas.microsoft.com/office/drawing/2014/main" id="{5ABC8B83-D1C2-6BF6-4CFB-3F4895F06D44}"/>
                          </a:ext>
                        </a:extLst>
                      </p:cNvPr>
                      <p:cNvSpPr/>
                      <p:nvPr/>
                    </p:nvSpPr>
                    <p:spPr>
                      <a:xfrm>
                        <a:off x="4114891" y="1309087"/>
                        <a:ext cx="548288" cy="548288"/>
                      </a:xfrm>
                      <a:prstGeom prst="ellipse">
                        <a:avLst/>
                      </a:prstGeom>
                      <a:solidFill>
                        <a:srgbClr val="005EB8">
                          <a:lumMod val="75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sp>
                    <p:nvSpPr>
                      <p:cNvPr id="30" name="Oval 29">
                        <a:extLst>
                          <a:ext uri="{FF2B5EF4-FFF2-40B4-BE49-F238E27FC236}">
                            <a16:creationId xmlns:a16="http://schemas.microsoft.com/office/drawing/2014/main" id="{3371A4E3-ECDA-25DD-97F7-5A3610258DEB}"/>
                          </a:ext>
                        </a:extLst>
                      </p:cNvPr>
                      <p:cNvSpPr/>
                      <p:nvPr/>
                    </p:nvSpPr>
                    <p:spPr>
                      <a:xfrm>
                        <a:off x="4187020" y="1381216"/>
                        <a:ext cx="404030" cy="404030"/>
                      </a:xfrm>
                      <a:prstGeom prst="ellipse">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sp>
                  <p:nvSpPr>
                    <p:cNvPr id="28" name="TextBox 114">
                      <a:extLst>
                        <a:ext uri="{FF2B5EF4-FFF2-40B4-BE49-F238E27FC236}">
                          <a16:creationId xmlns:a16="http://schemas.microsoft.com/office/drawing/2014/main" id="{AEC22912-1865-2EFC-97AD-E7878E4251A7}"/>
                        </a:ext>
                      </a:extLst>
                    </p:cNvPr>
                    <p:cNvSpPr txBox="1"/>
                    <p:nvPr/>
                  </p:nvSpPr>
                  <p:spPr>
                    <a:xfrm>
                      <a:off x="1301241" y="4738226"/>
                      <a:ext cx="514912" cy="3804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5EB8">
                              <a:lumMod val="75000"/>
                            </a:srgbClr>
                          </a:solidFill>
                          <a:effectLst/>
                          <a:uLnTx/>
                          <a:uFillTx/>
                          <a:latin typeface="Univers for KPMG" panose="020B0603020202020204" pitchFamily="34" charset="0"/>
                          <a:ea typeface="Cambria Math" panose="02040503050406030204" pitchFamily="18" charset="0"/>
                          <a:cs typeface="Arial" panose="020B0604020202020204" pitchFamily="34" charset="0"/>
                        </a:rPr>
                        <a:t>04</a:t>
                      </a:r>
                    </a:p>
                  </p:txBody>
                </p:sp>
              </p:grpSp>
            </p:grpSp>
          </p:grpSp>
        </p:grpSp>
        <p:grpSp>
          <p:nvGrpSpPr>
            <p:cNvPr id="8" name="Group 7">
              <a:extLst>
                <a:ext uri="{FF2B5EF4-FFF2-40B4-BE49-F238E27FC236}">
                  <a16:creationId xmlns:a16="http://schemas.microsoft.com/office/drawing/2014/main" id="{16145A7A-F6B6-1B12-8710-EC202156CB0B}"/>
                </a:ext>
              </a:extLst>
            </p:cNvPr>
            <p:cNvGrpSpPr/>
            <p:nvPr/>
          </p:nvGrpSpPr>
          <p:grpSpPr>
            <a:xfrm>
              <a:off x="1285274" y="688003"/>
              <a:ext cx="6524237" cy="6134922"/>
              <a:chOff x="1285274" y="688003"/>
              <a:chExt cx="6524237" cy="6134922"/>
            </a:xfrm>
          </p:grpSpPr>
          <p:sp>
            <p:nvSpPr>
              <p:cNvPr id="9" name="TextBox 81">
                <a:extLst>
                  <a:ext uri="{FF2B5EF4-FFF2-40B4-BE49-F238E27FC236}">
                    <a16:creationId xmlns:a16="http://schemas.microsoft.com/office/drawing/2014/main" id="{E6F0D2FF-76FD-BF60-85CE-0436FAA9EE01}"/>
                  </a:ext>
                </a:extLst>
              </p:cNvPr>
              <p:cNvSpPr txBox="1"/>
              <p:nvPr/>
            </p:nvSpPr>
            <p:spPr>
              <a:xfrm flipH="1">
                <a:off x="1980201" y="688003"/>
                <a:ext cx="4275411" cy="50729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00338D"/>
                    </a:solidFill>
                    <a:effectLst/>
                    <a:uLnTx/>
                    <a:uFillTx/>
                    <a:latin typeface="Calibri" panose="020F0502020204030204"/>
                    <a:ea typeface="+mn-ea"/>
                    <a:cs typeface="Arial" panose="020B0604020202020204" pitchFamily="34" charset="0"/>
                  </a:rPr>
                  <a:t>Applicant Experience</a:t>
                </a:r>
              </a:p>
            </p:txBody>
          </p:sp>
          <p:grpSp>
            <p:nvGrpSpPr>
              <p:cNvPr id="10" name="Group 9">
                <a:extLst>
                  <a:ext uri="{FF2B5EF4-FFF2-40B4-BE49-F238E27FC236}">
                    <a16:creationId xmlns:a16="http://schemas.microsoft.com/office/drawing/2014/main" id="{6B263A6E-251E-A0C9-F790-70865DECB9D0}"/>
                  </a:ext>
                </a:extLst>
              </p:cNvPr>
              <p:cNvGrpSpPr/>
              <p:nvPr/>
            </p:nvGrpSpPr>
            <p:grpSpPr>
              <a:xfrm>
                <a:off x="1285274" y="5482691"/>
                <a:ext cx="6524237" cy="1340234"/>
                <a:chOff x="1285274" y="5482691"/>
                <a:chExt cx="6524237" cy="1340234"/>
              </a:xfrm>
            </p:grpSpPr>
            <p:cxnSp>
              <p:nvCxnSpPr>
                <p:cNvPr id="11" name="Straight Connector 10">
                  <a:extLst>
                    <a:ext uri="{FF2B5EF4-FFF2-40B4-BE49-F238E27FC236}">
                      <a16:creationId xmlns:a16="http://schemas.microsoft.com/office/drawing/2014/main" id="{5C4494D5-CCB8-9F5C-A045-B2B5AACBA210}"/>
                    </a:ext>
                  </a:extLst>
                </p:cNvPr>
                <p:cNvCxnSpPr/>
                <p:nvPr/>
              </p:nvCxnSpPr>
              <p:spPr>
                <a:xfrm>
                  <a:off x="1601588" y="6179110"/>
                  <a:ext cx="4937761" cy="0"/>
                </a:xfrm>
                <a:prstGeom prst="line">
                  <a:avLst/>
                </a:prstGeom>
                <a:noFill/>
                <a:ln w="6350" cap="flat" cmpd="sng" algn="ctr">
                  <a:solidFill>
                    <a:srgbClr val="00A3A1"/>
                  </a:solidFill>
                  <a:prstDash val="solid"/>
                  <a:miter lim="800000"/>
                </a:ln>
                <a:effectLst/>
              </p:spPr>
            </p:cxnSp>
            <p:sp>
              <p:nvSpPr>
                <p:cNvPr id="12" name="Freeform 29">
                  <a:extLst>
                    <a:ext uri="{FF2B5EF4-FFF2-40B4-BE49-F238E27FC236}">
                      <a16:creationId xmlns:a16="http://schemas.microsoft.com/office/drawing/2014/main" id="{7AD30F2E-9196-9ED8-B983-C1593AE5579D}"/>
                    </a:ext>
                  </a:extLst>
                </p:cNvPr>
                <p:cNvSpPr>
                  <a:spLocks/>
                </p:cNvSpPr>
                <p:nvPr/>
              </p:nvSpPr>
              <p:spPr bwMode="auto">
                <a:xfrm flipH="1">
                  <a:off x="6265925" y="5482691"/>
                  <a:ext cx="1543586" cy="700952"/>
                </a:xfrm>
                <a:custGeom>
                  <a:avLst/>
                  <a:gdLst>
                    <a:gd name="T0" fmla="*/ 873 w 873"/>
                    <a:gd name="T1" fmla="*/ 396 h 396"/>
                    <a:gd name="T2" fmla="*/ 571 w 873"/>
                    <a:gd name="T3" fmla="*/ 149 h 396"/>
                    <a:gd name="T4" fmla="*/ 122 w 873"/>
                    <a:gd name="T5" fmla="*/ 114 h 396"/>
                    <a:gd name="T6" fmla="*/ 13 w 873"/>
                    <a:gd name="T7" fmla="*/ 396 h 396"/>
                    <a:gd name="T8" fmla="*/ 873 w 873"/>
                    <a:gd name="T9" fmla="*/ 396 h 396"/>
                  </a:gdLst>
                  <a:ahLst/>
                  <a:cxnLst>
                    <a:cxn ang="0">
                      <a:pos x="T0" y="T1"/>
                    </a:cxn>
                    <a:cxn ang="0">
                      <a:pos x="T2" y="T3"/>
                    </a:cxn>
                    <a:cxn ang="0">
                      <a:pos x="T4" y="T5"/>
                    </a:cxn>
                    <a:cxn ang="0">
                      <a:pos x="T6" y="T7"/>
                    </a:cxn>
                    <a:cxn ang="0">
                      <a:pos x="T8" y="T9"/>
                    </a:cxn>
                  </a:cxnLst>
                  <a:rect l="0" t="0" r="r" b="b"/>
                  <a:pathLst>
                    <a:path w="873" h="396">
                      <a:moveTo>
                        <a:pt x="873" y="396"/>
                      </a:moveTo>
                      <a:cubicBezTo>
                        <a:pt x="755" y="329"/>
                        <a:pt x="654" y="246"/>
                        <a:pt x="571" y="149"/>
                      </a:cubicBezTo>
                      <a:cubicBezTo>
                        <a:pt x="457" y="15"/>
                        <a:pt x="255" y="0"/>
                        <a:pt x="122" y="114"/>
                      </a:cubicBezTo>
                      <a:cubicBezTo>
                        <a:pt x="37" y="186"/>
                        <a:pt x="0" y="293"/>
                        <a:pt x="13" y="396"/>
                      </a:cubicBezTo>
                      <a:lnTo>
                        <a:pt x="873" y="396"/>
                      </a:lnTo>
                      <a:close/>
                    </a:path>
                  </a:pathLst>
                </a:custGeom>
                <a:solidFill>
                  <a:sysClr val="window" lastClr="FFFFFF">
                    <a:alpha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Univers for KPMG" panose="020B0603020202020204" pitchFamily="34" charset="0"/>
                    <a:ea typeface="+mn-ea"/>
                    <a:cs typeface="Arial" panose="020B0604020202020204" pitchFamily="34" charset="0"/>
                  </a:endParaRPr>
                </a:p>
              </p:txBody>
            </p:sp>
            <p:grpSp>
              <p:nvGrpSpPr>
                <p:cNvPr id="13" name="Group 12">
                  <a:extLst>
                    <a:ext uri="{FF2B5EF4-FFF2-40B4-BE49-F238E27FC236}">
                      <a16:creationId xmlns:a16="http://schemas.microsoft.com/office/drawing/2014/main" id="{73D3E543-CB40-9CE2-73CB-7A9FD3A93823}"/>
                    </a:ext>
                  </a:extLst>
                </p:cNvPr>
                <p:cNvGrpSpPr/>
                <p:nvPr/>
              </p:nvGrpSpPr>
              <p:grpSpPr>
                <a:xfrm>
                  <a:off x="1285274" y="5561053"/>
                  <a:ext cx="548288" cy="1261872"/>
                  <a:chOff x="1285274" y="5561053"/>
                  <a:chExt cx="548288" cy="1261872"/>
                </a:xfrm>
              </p:grpSpPr>
              <p:sp>
                <p:nvSpPr>
                  <p:cNvPr id="14" name="Freeform 13">
                    <a:extLst>
                      <a:ext uri="{FF2B5EF4-FFF2-40B4-BE49-F238E27FC236}">
                        <a16:creationId xmlns:a16="http://schemas.microsoft.com/office/drawing/2014/main" id="{DB7A489B-2A85-EFB2-EFE4-C1DC38FADEA1}"/>
                      </a:ext>
                    </a:extLst>
                  </p:cNvPr>
                  <p:cNvSpPr/>
                  <p:nvPr/>
                </p:nvSpPr>
                <p:spPr>
                  <a:xfrm>
                    <a:off x="1465289" y="5561053"/>
                    <a:ext cx="188259" cy="1261872"/>
                  </a:xfrm>
                  <a:custGeom>
                    <a:avLst/>
                    <a:gdLst>
                      <a:gd name="connsiteX0" fmla="*/ 0 w 188259"/>
                      <a:gd name="connsiteY0" fmla="*/ 0 h 1261872"/>
                      <a:gd name="connsiteX1" fmla="*/ 188259 w 188259"/>
                      <a:gd name="connsiteY1" fmla="*/ 0 h 1261872"/>
                      <a:gd name="connsiteX2" fmla="*/ 188259 w 188259"/>
                      <a:gd name="connsiteY2" fmla="*/ 1167743 h 1261872"/>
                      <a:gd name="connsiteX3" fmla="*/ 130769 w 188259"/>
                      <a:gd name="connsiteY3" fmla="*/ 1254476 h 1261872"/>
                      <a:gd name="connsiteX4" fmla="*/ 94134 w 188259"/>
                      <a:gd name="connsiteY4" fmla="*/ 1261872 h 1261872"/>
                      <a:gd name="connsiteX5" fmla="*/ 94130 w 188259"/>
                      <a:gd name="connsiteY5" fmla="*/ 1261872 h 1261872"/>
                      <a:gd name="connsiteX6" fmla="*/ 0 w 188259"/>
                      <a:gd name="connsiteY6" fmla="*/ 1167742 h 1261872"/>
                      <a:gd name="connsiteX7" fmla="*/ 0 w 188259"/>
                      <a:gd name="connsiteY7" fmla="*/ 0 h 1261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259" h="1261872">
                        <a:moveTo>
                          <a:pt x="0" y="0"/>
                        </a:moveTo>
                        <a:lnTo>
                          <a:pt x="188259" y="0"/>
                        </a:lnTo>
                        <a:lnTo>
                          <a:pt x="188259" y="1167743"/>
                        </a:lnTo>
                        <a:cubicBezTo>
                          <a:pt x="188259" y="1206733"/>
                          <a:pt x="164554" y="1240186"/>
                          <a:pt x="130769" y="1254476"/>
                        </a:cubicBezTo>
                        <a:lnTo>
                          <a:pt x="94134" y="1261872"/>
                        </a:lnTo>
                        <a:lnTo>
                          <a:pt x="94130" y="1261872"/>
                        </a:lnTo>
                        <a:cubicBezTo>
                          <a:pt x="42143" y="1261872"/>
                          <a:pt x="0" y="1219729"/>
                          <a:pt x="0" y="1167742"/>
                        </a:cubicBezTo>
                        <a:lnTo>
                          <a:pt x="0" y="0"/>
                        </a:lnTo>
                        <a:close/>
                      </a:path>
                    </a:pathLst>
                  </a:custGeom>
                  <a:solidFill>
                    <a:srgbClr val="00A3A1"/>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nvGrpSpPr>
                  <p:cNvPr id="15" name="Group 14">
                    <a:extLst>
                      <a:ext uri="{FF2B5EF4-FFF2-40B4-BE49-F238E27FC236}">
                        <a16:creationId xmlns:a16="http://schemas.microsoft.com/office/drawing/2014/main" id="{5FC8F984-4CD3-6AE5-CC02-455A2696949B}"/>
                      </a:ext>
                    </a:extLst>
                  </p:cNvPr>
                  <p:cNvGrpSpPr/>
                  <p:nvPr/>
                </p:nvGrpSpPr>
                <p:grpSpPr>
                  <a:xfrm>
                    <a:off x="1285274" y="5917845"/>
                    <a:ext cx="548288" cy="548288"/>
                    <a:chOff x="1285274" y="5917845"/>
                    <a:chExt cx="548288" cy="548288"/>
                  </a:xfrm>
                </p:grpSpPr>
                <p:grpSp>
                  <p:nvGrpSpPr>
                    <p:cNvPr id="16" name="Group 15">
                      <a:extLst>
                        <a:ext uri="{FF2B5EF4-FFF2-40B4-BE49-F238E27FC236}">
                          <a16:creationId xmlns:a16="http://schemas.microsoft.com/office/drawing/2014/main" id="{C3B59F6F-F217-509B-2E43-C57C5A53D193}"/>
                        </a:ext>
                      </a:extLst>
                    </p:cNvPr>
                    <p:cNvGrpSpPr/>
                    <p:nvPr/>
                  </p:nvGrpSpPr>
                  <p:grpSpPr>
                    <a:xfrm>
                      <a:off x="1285274" y="5917845"/>
                      <a:ext cx="548288" cy="548288"/>
                      <a:chOff x="4114891" y="1309087"/>
                      <a:chExt cx="548288" cy="548288"/>
                    </a:xfrm>
                  </p:grpSpPr>
                  <p:sp>
                    <p:nvSpPr>
                      <p:cNvPr id="18" name="Oval 17">
                        <a:extLst>
                          <a:ext uri="{FF2B5EF4-FFF2-40B4-BE49-F238E27FC236}">
                            <a16:creationId xmlns:a16="http://schemas.microsoft.com/office/drawing/2014/main" id="{BAE985DE-D5E2-65DD-FA2B-DE485928AEFC}"/>
                          </a:ext>
                        </a:extLst>
                      </p:cNvPr>
                      <p:cNvSpPr/>
                      <p:nvPr/>
                    </p:nvSpPr>
                    <p:spPr>
                      <a:xfrm>
                        <a:off x="4114891" y="1309087"/>
                        <a:ext cx="548288" cy="548288"/>
                      </a:xfrm>
                      <a:prstGeom prst="ellipse">
                        <a:avLst/>
                      </a:prstGeom>
                      <a:solidFill>
                        <a:srgbClr val="00A3A1">
                          <a:lumMod val="75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sp>
                    <p:nvSpPr>
                      <p:cNvPr id="19" name="Oval 18">
                        <a:extLst>
                          <a:ext uri="{FF2B5EF4-FFF2-40B4-BE49-F238E27FC236}">
                            <a16:creationId xmlns:a16="http://schemas.microsoft.com/office/drawing/2014/main" id="{8C8BA985-E8FE-B11A-9960-797664BE8AA4}"/>
                          </a:ext>
                        </a:extLst>
                      </p:cNvPr>
                      <p:cNvSpPr/>
                      <p:nvPr/>
                    </p:nvSpPr>
                    <p:spPr>
                      <a:xfrm>
                        <a:off x="4187020" y="1381216"/>
                        <a:ext cx="404030" cy="404030"/>
                      </a:xfrm>
                      <a:prstGeom prst="ellipse">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sp>
                  <p:nvSpPr>
                    <p:cNvPr id="17" name="TextBox 115">
                      <a:extLst>
                        <a:ext uri="{FF2B5EF4-FFF2-40B4-BE49-F238E27FC236}">
                          <a16:creationId xmlns:a16="http://schemas.microsoft.com/office/drawing/2014/main" id="{736D3308-6838-3A02-2556-F016FB19AA4C}"/>
                        </a:ext>
                      </a:extLst>
                    </p:cNvPr>
                    <p:cNvSpPr txBox="1"/>
                    <p:nvPr/>
                  </p:nvSpPr>
                  <p:spPr>
                    <a:xfrm>
                      <a:off x="1301241" y="5993149"/>
                      <a:ext cx="514912" cy="3804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A3A1">
                              <a:lumMod val="75000"/>
                            </a:srgbClr>
                          </a:solidFill>
                          <a:effectLst/>
                          <a:uLnTx/>
                          <a:uFillTx/>
                          <a:latin typeface="Univers for KPMG" panose="020B0603020202020204" pitchFamily="34" charset="0"/>
                          <a:ea typeface="Cambria Math" panose="02040503050406030204" pitchFamily="18" charset="0"/>
                          <a:cs typeface="Arial" panose="020B0604020202020204" pitchFamily="34" charset="0"/>
                        </a:rPr>
                        <a:t>05</a:t>
                      </a:r>
                    </a:p>
                  </p:txBody>
                </p:sp>
              </p:grpSp>
            </p:grpSp>
          </p:grpSp>
        </p:grpSp>
      </p:grpSp>
      <p:sp>
        <p:nvSpPr>
          <p:cNvPr id="66" name="Arrow: Right 65">
            <a:extLst>
              <a:ext uri="{FF2B5EF4-FFF2-40B4-BE49-F238E27FC236}">
                <a16:creationId xmlns:a16="http://schemas.microsoft.com/office/drawing/2014/main" id="{F463279C-820E-EFBA-8474-A9C69E31D9BF}"/>
              </a:ext>
            </a:extLst>
          </p:cNvPr>
          <p:cNvSpPr/>
          <p:nvPr/>
        </p:nvSpPr>
        <p:spPr>
          <a:xfrm>
            <a:off x="2468880" y="3818870"/>
            <a:ext cx="2286000" cy="67865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itle 67">
            <a:extLst>
              <a:ext uri="{FF2B5EF4-FFF2-40B4-BE49-F238E27FC236}">
                <a16:creationId xmlns:a16="http://schemas.microsoft.com/office/drawing/2014/main" id="{1CEC8CB3-CDF9-74FA-1C5C-769DFE1EE063}"/>
              </a:ext>
            </a:extLst>
          </p:cNvPr>
          <p:cNvSpPr>
            <a:spLocks noGrp="1"/>
          </p:cNvSpPr>
          <p:nvPr>
            <p:ph type="title"/>
          </p:nvPr>
        </p:nvSpPr>
        <p:spPr/>
        <p:txBody>
          <a:bodyPr/>
          <a:lstStyle/>
          <a:p>
            <a:r>
              <a:rPr lang="en-US"/>
              <a:t>Documentation</a:t>
            </a:r>
          </a:p>
        </p:txBody>
      </p:sp>
    </p:spTree>
    <p:custDataLst>
      <p:tags r:id="rId1"/>
    </p:custDataLst>
    <p:extLst>
      <p:ext uri="{BB962C8B-B14F-4D97-AF65-F5344CB8AC3E}">
        <p14:creationId xmlns:p14="http://schemas.microsoft.com/office/powerpoint/2010/main" val="236076549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F5B5F26-F220-A340-36BD-BE624B97269C}"/>
              </a:ext>
            </a:extLst>
          </p:cNvPr>
          <p:cNvSpPr>
            <a:spLocks noGrp="1"/>
          </p:cNvSpPr>
          <p:nvPr>
            <p:ph type="body" sz="quarter" idx="10"/>
          </p:nvPr>
        </p:nvSpPr>
        <p:spPr>
          <a:xfrm>
            <a:off x="415504" y="1582903"/>
            <a:ext cx="9213551" cy="4546800"/>
          </a:xfrm>
        </p:spPr>
        <p:txBody>
          <a:bodyPr>
            <a:normAutofit/>
          </a:bodyPr>
          <a:lstStyle/>
          <a:p>
            <a:pPr marL="0" indent="0">
              <a:buNone/>
            </a:pPr>
            <a:r>
              <a:rPr lang="en-US" sz="2400" b="1">
                <a:latin typeface="+mn-lt"/>
              </a:rPr>
              <a:t>Instructions:</a:t>
            </a:r>
          </a:p>
          <a:p>
            <a:pPr marL="971550" lvl="1" indent="-514350">
              <a:buFont typeface="+mj-lt"/>
              <a:buAutoNum type="arabicPeriod"/>
            </a:pPr>
            <a:r>
              <a:rPr lang="en-US">
                <a:latin typeface="+mn-lt"/>
              </a:rPr>
              <a:t>In your group, review the Documentation questions (17 – 21).</a:t>
            </a:r>
          </a:p>
          <a:p>
            <a:pPr marL="971550" lvl="1" indent="-514350">
              <a:buFont typeface="+mj-lt"/>
              <a:buAutoNum type="arabicPeriod"/>
            </a:pPr>
            <a:r>
              <a:rPr lang="en-US">
                <a:latin typeface="+mn-lt"/>
              </a:rPr>
              <a:t>Discuss the following questions in your group:</a:t>
            </a:r>
          </a:p>
          <a:p>
            <a:pPr marL="1428750" lvl="2" indent="-514350">
              <a:buFont typeface="+mj-lt"/>
              <a:buAutoNum type="arabicPeriod"/>
            </a:pPr>
            <a:r>
              <a:rPr lang="en-US" sz="2400">
                <a:latin typeface="+mn-lt"/>
              </a:rPr>
              <a:t>Which questions will be the easiest to find answers for?</a:t>
            </a:r>
          </a:p>
          <a:p>
            <a:pPr marL="1428750" lvl="2" indent="-514350">
              <a:buFont typeface="+mj-lt"/>
              <a:buAutoNum type="arabicPeriod"/>
            </a:pPr>
            <a:r>
              <a:rPr lang="en-US" sz="2400">
                <a:latin typeface="+mn-lt"/>
              </a:rPr>
              <a:t>Which questions will be the most difficult to find answers for?</a:t>
            </a:r>
          </a:p>
          <a:p>
            <a:pPr marL="1428750" lvl="2" indent="-514350">
              <a:buFont typeface="+mj-lt"/>
              <a:buAutoNum type="arabicPeriod"/>
            </a:pPr>
            <a:r>
              <a:rPr lang="en-US" sz="2400">
                <a:latin typeface="+mn-lt"/>
              </a:rPr>
              <a:t>Do you know who you will reach out to in your organization for additional information or feedback?</a:t>
            </a:r>
          </a:p>
          <a:p>
            <a:pPr marL="1428750" lvl="2" indent="-514350">
              <a:buFont typeface="+mj-lt"/>
              <a:buAutoNum type="arabicPeriod"/>
            </a:pPr>
            <a:r>
              <a:rPr lang="en-US" sz="2400">
                <a:latin typeface="+mn-lt"/>
              </a:rPr>
              <a:t>Are there any questions that are unclear and could use more context?</a:t>
            </a:r>
          </a:p>
          <a:p>
            <a:pPr marL="971550" lvl="1" indent="-514350">
              <a:buFont typeface="+mj-lt"/>
              <a:buAutoNum type="arabicPeriod"/>
            </a:pPr>
            <a:r>
              <a:rPr lang="en-US">
                <a:latin typeface="+mn-lt"/>
              </a:rPr>
              <a:t>Designate one of your teammates to report back to the class.</a:t>
            </a:r>
          </a:p>
          <a:p>
            <a:pPr marL="1428750" lvl="2" indent="-514350">
              <a:buFont typeface="+mj-lt"/>
              <a:buAutoNum type="arabicPeriod"/>
            </a:pPr>
            <a:endParaRPr lang="en-US" sz="2400"/>
          </a:p>
        </p:txBody>
      </p:sp>
      <p:sp>
        <p:nvSpPr>
          <p:cNvPr id="4" name="Title 3">
            <a:extLst>
              <a:ext uri="{FF2B5EF4-FFF2-40B4-BE49-F238E27FC236}">
                <a16:creationId xmlns:a16="http://schemas.microsoft.com/office/drawing/2014/main" id="{8BC6139F-0358-9B79-4E35-1C01CFDFEE4B}"/>
              </a:ext>
            </a:extLst>
          </p:cNvPr>
          <p:cNvSpPr>
            <a:spLocks noGrp="1"/>
          </p:cNvSpPr>
          <p:nvPr>
            <p:ph type="title"/>
          </p:nvPr>
        </p:nvSpPr>
        <p:spPr/>
        <p:txBody>
          <a:bodyPr/>
          <a:lstStyle/>
          <a:p>
            <a:r>
              <a:rPr lang="en-US">
                <a:latin typeface="+mn-lt"/>
              </a:rPr>
              <a:t>Group Activity – Documentation</a:t>
            </a:r>
          </a:p>
        </p:txBody>
      </p:sp>
      <p:sp>
        <p:nvSpPr>
          <p:cNvPr id="86" name="TextBox 85">
            <a:extLst>
              <a:ext uri="{FF2B5EF4-FFF2-40B4-BE49-F238E27FC236}">
                <a16:creationId xmlns:a16="http://schemas.microsoft.com/office/drawing/2014/main" id="{AFDDA0A7-9E24-46C2-64B3-60BDDB137974}"/>
              </a:ext>
            </a:extLst>
          </p:cNvPr>
          <p:cNvSpPr txBox="1"/>
          <p:nvPr/>
        </p:nvSpPr>
        <p:spPr>
          <a:xfrm>
            <a:off x="3166310" y="6627168"/>
            <a:ext cx="5859379" cy="253916"/>
          </a:xfrm>
          <a:prstGeom prst="rect">
            <a:avLst/>
          </a:prstGeom>
          <a:noFill/>
        </p:spPr>
        <p:txBody>
          <a:bodyPr wrap="square" rtlCol="0">
            <a:spAutoFit/>
          </a:bodyPr>
          <a:lstStyle/>
          <a:p>
            <a:pPr algn="ctr"/>
            <a:r>
              <a:rPr lang="en-US" sz="1050">
                <a:solidFill>
                  <a:schemeClr val="bg2">
                    <a:lumMod val="90000"/>
                  </a:schemeClr>
                </a:solidFill>
              </a:rPr>
              <a:t>Applicant Experience – </a:t>
            </a:r>
            <a:r>
              <a:rPr lang="en-US" sz="1050" b="1" u="sng"/>
              <a:t>Policy and Procedure</a:t>
            </a:r>
            <a:r>
              <a:rPr lang="en-US" sz="1050" b="1"/>
              <a:t> </a:t>
            </a:r>
            <a:r>
              <a:rPr lang="en-US" sz="1050">
                <a:solidFill>
                  <a:schemeClr val="bg2">
                    <a:lumMod val="90000"/>
                  </a:schemeClr>
                </a:solidFill>
              </a:rPr>
              <a:t>– Documentation – Procurement – Contract Administration</a:t>
            </a:r>
          </a:p>
        </p:txBody>
      </p:sp>
      <p:pic>
        <p:nvPicPr>
          <p:cNvPr id="6" name="Picture 5">
            <a:extLst>
              <a:ext uri="{FF2B5EF4-FFF2-40B4-BE49-F238E27FC236}">
                <a16:creationId xmlns:a16="http://schemas.microsoft.com/office/drawing/2014/main" id="{5F9E6AD4-E22A-4D6F-308F-4FD3AAB94179}"/>
              </a:ext>
            </a:extLst>
          </p:cNvPr>
          <p:cNvPicPr>
            <a:picLocks noChangeAspect="1"/>
          </p:cNvPicPr>
          <p:nvPr/>
        </p:nvPicPr>
        <p:blipFill>
          <a:blip r:embed="rId3"/>
          <a:stretch>
            <a:fillRect/>
          </a:stretch>
        </p:blipFill>
        <p:spPr>
          <a:xfrm>
            <a:off x="9629055" y="4933315"/>
            <a:ext cx="2417114" cy="1809269"/>
          </a:xfrm>
          <a:prstGeom prst="rect">
            <a:avLst/>
          </a:prstGeom>
        </p:spPr>
      </p:pic>
    </p:spTree>
    <p:custDataLst>
      <p:tags r:id="rId1"/>
    </p:custDataLst>
    <p:extLst>
      <p:ext uri="{BB962C8B-B14F-4D97-AF65-F5344CB8AC3E}">
        <p14:creationId xmlns:p14="http://schemas.microsoft.com/office/powerpoint/2010/main" val="27715057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A1AA09C-F596-1BA4-FB1F-0CB3EB6D642C}"/>
              </a:ext>
            </a:extLst>
          </p:cNvPr>
          <p:cNvGrpSpPr>
            <a:grpSpLocks noChangeAspect="1"/>
          </p:cNvGrpSpPr>
          <p:nvPr/>
        </p:nvGrpSpPr>
        <p:grpSpPr>
          <a:xfrm>
            <a:off x="4962808" y="1853610"/>
            <a:ext cx="4749955" cy="4601348"/>
            <a:chOff x="1285274" y="502807"/>
            <a:chExt cx="6524237" cy="6320118"/>
          </a:xfrm>
        </p:grpSpPr>
        <p:grpSp>
          <p:nvGrpSpPr>
            <p:cNvPr id="3" name="Group 2">
              <a:extLst>
                <a:ext uri="{FF2B5EF4-FFF2-40B4-BE49-F238E27FC236}">
                  <a16:creationId xmlns:a16="http://schemas.microsoft.com/office/drawing/2014/main" id="{64AAC912-B75F-6974-378C-260AACEA3B46}"/>
                </a:ext>
              </a:extLst>
            </p:cNvPr>
            <p:cNvGrpSpPr/>
            <p:nvPr/>
          </p:nvGrpSpPr>
          <p:grpSpPr>
            <a:xfrm>
              <a:off x="1285274" y="502807"/>
              <a:ext cx="5254075" cy="5729174"/>
              <a:chOff x="1285274" y="502807"/>
              <a:chExt cx="5254075" cy="5729174"/>
            </a:xfrm>
          </p:grpSpPr>
          <p:grpSp>
            <p:nvGrpSpPr>
              <p:cNvPr id="54" name="Group 53">
                <a:extLst>
                  <a:ext uri="{FF2B5EF4-FFF2-40B4-BE49-F238E27FC236}">
                    <a16:creationId xmlns:a16="http://schemas.microsoft.com/office/drawing/2014/main" id="{0AF673A8-C98D-1D86-C84B-3A819763DA60}"/>
                  </a:ext>
                </a:extLst>
              </p:cNvPr>
              <p:cNvGrpSpPr/>
              <p:nvPr/>
            </p:nvGrpSpPr>
            <p:grpSpPr>
              <a:xfrm>
                <a:off x="1952452" y="1136154"/>
                <a:ext cx="4397102" cy="5095827"/>
                <a:chOff x="-4990" y="1221012"/>
                <a:chExt cx="4397102" cy="5095827"/>
              </a:xfrm>
            </p:grpSpPr>
            <p:sp>
              <p:nvSpPr>
                <p:cNvPr id="64" name="Rectangle 63">
                  <a:extLst>
                    <a:ext uri="{FF2B5EF4-FFF2-40B4-BE49-F238E27FC236}">
                      <a16:creationId xmlns:a16="http://schemas.microsoft.com/office/drawing/2014/main" id="{1B95D792-0153-CC8A-7FA3-929A822E54A1}"/>
                    </a:ext>
                  </a:extLst>
                </p:cNvPr>
                <p:cNvSpPr/>
                <p:nvPr/>
              </p:nvSpPr>
              <p:spPr>
                <a:xfrm flipH="1">
                  <a:off x="73927" y="1221012"/>
                  <a:ext cx="4318185" cy="33819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a:ln>
                      <a:noFill/>
                    </a:ln>
                    <a:solidFill>
                      <a:srgbClr val="7F7F7F"/>
                    </a:solidFill>
                    <a:effectLst/>
                    <a:uLnTx/>
                    <a:uFillTx/>
                    <a:latin typeface="Univers for KPMG" panose="020B0603020202020204" pitchFamily="34" charset="0"/>
                    <a:ea typeface="+mn-ea"/>
                    <a:cs typeface="Arial" panose="020B0604020202020204" pitchFamily="34" charset="0"/>
                  </a:endParaRPr>
                </a:p>
              </p:txBody>
            </p:sp>
            <p:sp>
              <p:nvSpPr>
                <p:cNvPr id="65" name="TextBox 81">
                  <a:extLst>
                    <a:ext uri="{FF2B5EF4-FFF2-40B4-BE49-F238E27FC236}">
                      <a16:creationId xmlns:a16="http://schemas.microsoft.com/office/drawing/2014/main" id="{F842A082-3D9E-A620-20C0-FEACD97DD6C3}"/>
                    </a:ext>
                  </a:extLst>
                </p:cNvPr>
                <p:cNvSpPr txBox="1"/>
                <p:nvPr/>
              </p:nvSpPr>
              <p:spPr>
                <a:xfrm flipH="1">
                  <a:off x="-4990" y="5809548"/>
                  <a:ext cx="4275412" cy="50729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00A3A1"/>
                      </a:solidFill>
                      <a:effectLst/>
                      <a:uLnTx/>
                      <a:uFillTx/>
                      <a:latin typeface="Calibri" panose="020F0502020204030204"/>
                      <a:ea typeface="+mn-ea"/>
                      <a:cs typeface="Arial" panose="020B0604020202020204" pitchFamily="34" charset="0"/>
                    </a:rPr>
                    <a:t>Contract Administration </a:t>
                  </a:r>
                </a:p>
              </p:txBody>
            </p:sp>
          </p:grpSp>
          <p:grpSp>
            <p:nvGrpSpPr>
              <p:cNvPr id="55" name="Group 54">
                <a:extLst>
                  <a:ext uri="{FF2B5EF4-FFF2-40B4-BE49-F238E27FC236}">
                    <a16:creationId xmlns:a16="http://schemas.microsoft.com/office/drawing/2014/main" id="{4F6B750D-1FA1-A60E-11EB-9677331A6A20}"/>
                  </a:ext>
                </a:extLst>
              </p:cNvPr>
              <p:cNvGrpSpPr/>
              <p:nvPr/>
            </p:nvGrpSpPr>
            <p:grpSpPr>
              <a:xfrm>
                <a:off x="1285274" y="502807"/>
                <a:ext cx="5254075" cy="1261872"/>
                <a:chOff x="1285274" y="502807"/>
                <a:chExt cx="5254075" cy="1261872"/>
              </a:xfrm>
            </p:grpSpPr>
            <p:cxnSp>
              <p:nvCxnSpPr>
                <p:cNvPr id="56" name="Straight Connector 55">
                  <a:extLst>
                    <a:ext uri="{FF2B5EF4-FFF2-40B4-BE49-F238E27FC236}">
                      <a16:creationId xmlns:a16="http://schemas.microsoft.com/office/drawing/2014/main" id="{5EBB59EC-C088-8A96-D6B6-2404D2CF6D76}"/>
                    </a:ext>
                  </a:extLst>
                </p:cNvPr>
                <p:cNvCxnSpPr/>
                <p:nvPr/>
              </p:nvCxnSpPr>
              <p:spPr>
                <a:xfrm>
                  <a:off x="1601589" y="1127393"/>
                  <a:ext cx="4937760" cy="0"/>
                </a:xfrm>
                <a:prstGeom prst="line">
                  <a:avLst/>
                </a:prstGeom>
                <a:noFill/>
                <a:ln w="6350" cap="flat" cmpd="sng" algn="ctr">
                  <a:solidFill>
                    <a:srgbClr val="00338D"/>
                  </a:solidFill>
                  <a:prstDash val="solid"/>
                  <a:miter lim="800000"/>
                </a:ln>
                <a:effectLst/>
              </p:spPr>
            </p:cxnSp>
            <p:grpSp>
              <p:nvGrpSpPr>
                <p:cNvPr id="57" name="Group 56">
                  <a:extLst>
                    <a:ext uri="{FF2B5EF4-FFF2-40B4-BE49-F238E27FC236}">
                      <a16:creationId xmlns:a16="http://schemas.microsoft.com/office/drawing/2014/main" id="{B6219ED4-6CF6-C724-F690-444633C32C5D}"/>
                    </a:ext>
                  </a:extLst>
                </p:cNvPr>
                <p:cNvGrpSpPr/>
                <p:nvPr/>
              </p:nvGrpSpPr>
              <p:grpSpPr>
                <a:xfrm>
                  <a:off x="1285274" y="502807"/>
                  <a:ext cx="548288" cy="1261872"/>
                  <a:chOff x="1285274" y="502807"/>
                  <a:chExt cx="548288" cy="1261872"/>
                </a:xfrm>
              </p:grpSpPr>
              <p:sp>
                <p:nvSpPr>
                  <p:cNvPr id="58" name="Freeform 109">
                    <a:extLst>
                      <a:ext uri="{FF2B5EF4-FFF2-40B4-BE49-F238E27FC236}">
                        <a16:creationId xmlns:a16="http://schemas.microsoft.com/office/drawing/2014/main" id="{D0D52C29-6887-EF52-9614-706F967030E9}"/>
                      </a:ext>
                    </a:extLst>
                  </p:cNvPr>
                  <p:cNvSpPr/>
                  <p:nvPr/>
                </p:nvSpPr>
                <p:spPr>
                  <a:xfrm>
                    <a:off x="1465288" y="502807"/>
                    <a:ext cx="188260" cy="1261872"/>
                  </a:xfrm>
                  <a:custGeom>
                    <a:avLst/>
                    <a:gdLst>
                      <a:gd name="connsiteX0" fmla="*/ 94130 w 188260"/>
                      <a:gd name="connsiteY0" fmla="*/ 0 h 1261872"/>
                      <a:gd name="connsiteX1" fmla="*/ 188260 w 188260"/>
                      <a:gd name="connsiteY1" fmla="*/ 94130 h 1261872"/>
                      <a:gd name="connsiteX2" fmla="*/ 188260 w 188260"/>
                      <a:gd name="connsiteY2" fmla="*/ 1261872 h 1261872"/>
                      <a:gd name="connsiteX3" fmla="*/ 0 w 188260"/>
                      <a:gd name="connsiteY3" fmla="*/ 1261872 h 1261872"/>
                      <a:gd name="connsiteX4" fmla="*/ 0 w 188260"/>
                      <a:gd name="connsiteY4" fmla="*/ 94130 h 1261872"/>
                      <a:gd name="connsiteX5" fmla="*/ 94130 w 188260"/>
                      <a:gd name="connsiteY5" fmla="*/ 0 h 1261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260" h="1261872">
                        <a:moveTo>
                          <a:pt x="94130" y="0"/>
                        </a:moveTo>
                        <a:cubicBezTo>
                          <a:pt x="146117" y="0"/>
                          <a:pt x="188260" y="42143"/>
                          <a:pt x="188260" y="94130"/>
                        </a:cubicBezTo>
                        <a:lnTo>
                          <a:pt x="188260" y="1261872"/>
                        </a:lnTo>
                        <a:lnTo>
                          <a:pt x="0" y="1261872"/>
                        </a:lnTo>
                        <a:lnTo>
                          <a:pt x="0" y="94130"/>
                        </a:lnTo>
                        <a:cubicBezTo>
                          <a:pt x="0" y="42143"/>
                          <a:pt x="42143" y="0"/>
                          <a:pt x="94130" y="0"/>
                        </a:cubicBezTo>
                        <a:close/>
                      </a:path>
                    </a:pathLst>
                  </a:custGeom>
                  <a:solidFill>
                    <a:srgbClr val="00338D"/>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nvGrpSpPr>
                  <p:cNvPr id="59" name="Group 58">
                    <a:extLst>
                      <a:ext uri="{FF2B5EF4-FFF2-40B4-BE49-F238E27FC236}">
                        <a16:creationId xmlns:a16="http://schemas.microsoft.com/office/drawing/2014/main" id="{04C916B6-F923-7597-84E5-8EE64441F1EB}"/>
                      </a:ext>
                    </a:extLst>
                  </p:cNvPr>
                  <p:cNvGrpSpPr/>
                  <p:nvPr/>
                </p:nvGrpSpPr>
                <p:grpSpPr>
                  <a:xfrm>
                    <a:off x="1285274" y="859599"/>
                    <a:ext cx="548288" cy="548288"/>
                    <a:chOff x="1285274" y="859599"/>
                    <a:chExt cx="548288" cy="548288"/>
                  </a:xfrm>
                </p:grpSpPr>
                <p:grpSp>
                  <p:nvGrpSpPr>
                    <p:cNvPr id="60" name="Group 59">
                      <a:extLst>
                        <a:ext uri="{FF2B5EF4-FFF2-40B4-BE49-F238E27FC236}">
                          <a16:creationId xmlns:a16="http://schemas.microsoft.com/office/drawing/2014/main" id="{125B1425-3D7F-5CBA-1894-E367782204DA}"/>
                        </a:ext>
                      </a:extLst>
                    </p:cNvPr>
                    <p:cNvGrpSpPr/>
                    <p:nvPr/>
                  </p:nvGrpSpPr>
                  <p:grpSpPr>
                    <a:xfrm>
                      <a:off x="1285274" y="859599"/>
                      <a:ext cx="548288" cy="548288"/>
                      <a:chOff x="4114891" y="1309087"/>
                      <a:chExt cx="548288" cy="548288"/>
                    </a:xfrm>
                  </p:grpSpPr>
                  <p:sp>
                    <p:nvSpPr>
                      <p:cNvPr id="62" name="Oval 61">
                        <a:extLst>
                          <a:ext uri="{FF2B5EF4-FFF2-40B4-BE49-F238E27FC236}">
                            <a16:creationId xmlns:a16="http://schemas.microsoft.com/office/drawing/2014/main" id="{E1F27165-5C4B-BA66-6308-3C0306B28FF0}"/>
                          </a:ext>
                        </a:extLst>
                      </p:cNvPr>
                      <p:cNvSpPr/>
                      <p:nvPr/>
                    </p:nvSpPr>
                    <p:spPr>
                      <a:xfrm>
                        <a:off x="4114891" y="1309087"/>
                        <a:ext cx="548288" cy="548288"/>
                      </a:xfrm>
                      <a:prstGeom prst="ellipse">
                        <a:avLst/>
                      </a:prstGeom>
                      <a:solidFill>
                        <a:srgbClr val="00338D">
                          <a:lumMod val="75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338D"/>
                          </a:solidFill>
                          <a:effectLst/>
                          <a:uLnTx/>
                          <a:uFillTx/>
                          <a:latin typeface="Univers for KPMG" panose="020B0603020202020204" pitchFamily="34" charset="0"/>
                          <a:ea typeface="+mn-ea"/>
                          <a:cs typeface="Arial" panose="020B0604020202020204" pitchFamily="34" charset="0"/>
                        </a:endParaRPr>
                      </a:p>
                    </p:txBody>
                  </p:sp>
                  <p:sp>
                    <p:nvSpPr>
                      <p:cNvPr id="63" name="Oval 62">
                        <a:extLst>
                          <a:ext uri="{FF2B5EF4-FFF2-40B4-BE49-F238E27FC236}">
                            <a16:creationId xmlns:a16="http://schemas.microsoft.com/office/drawing/2014/main" id="{669400FB-7F93-7811-70B8-33E3A88B2458}"/>
                          </a:ext>
                        </a:extLst>
                      </p:cNvPr>
                      <p:cNvSpPr/>
                      <p:nvPr/>
                    </p:nvSpPr>
                    <p:spPr>
                      <a:xfrm>
                        <a:off x="4187020" y="1381216"/>
                        <a:ext cx="404030" cy="404030"/>
                      </a:xfrm>
                      <a:prstGeom prst="ellipse">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sp>
                  <p:nvSpPr>
                    <p:cNvPr id="61" name="TextBox 111">
                      <a:extLst>
                        <a:ext uri="{FF2B5EF4-FFF2-40B4-BE49-F238E27FC236}">
                          <a16:creationId xmlns:a16="http://schemas.microsoft.com/office/drawing/2014/main" id="{9929BA44-C61D-C587-CFDC-A80D3B3880BC}"/>
                        </a:ext>
                      </a:extLst>
                    </p:cNvPr>
                    <p:cNvSpPr txBox="1"/>
                    <p:nvPr/>
                  </p:nvSpPr>
                  <p:spPr>
                    <a:xfrm>
                      <a:off x="1301241" y="938840"/>
                      <a:ext cx="514912" cy="3804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338D"/>
                          </a:solidFill>
                          <a:effectLst/>
                          <a:uLnTx/>
                          <a:uFillTx/>
                          <a:latin typeface="Univers for KPMG" panose="020B0603020202020204" pitchFamily="34" charset="0"/>
                          <a:ea typeface="Cambria Math" panose="02040503050406030204" pitchFamily="18" charset="0"/>
                          <a:cs typeface="Arial" panose="020B0604020202020204" pitchFamily="34" charset="0"/>
                        </a:rPr>
                        <a:t>01</a:t>
                      </a:r>
                    </a:p>
                  </p:txBody>
                </p:sp>
              </p:grpSp>
            </p:grpSp>
          </p:grpSp>
        </p:grpSp>
        <p:grpSp>
          <p:nvGrpSpPr>
            <p:cNvPr id="5" name="Group 4">
              <a:extLst>
                <a:ext uri="{FF2B5EF4-FFF2-40B4-BE49-F238E27FC236}">
                  <a16:creationId xmlns:a16="http://schemas.microsoft.com/office/drawing/2014/main" id="{B4CB40F8-5EDB-C08E-60A3-33E231D14CE7}"/>
                </a:ext>
              </a:extLst>
            </p:cNvPr>
            <p:cNvGrpSpPr/>
            <p:nvPr/>
          </p:nvGrpSpPr>
          <p:grpSpPr>
            <a:xfrm>
              <a:off x="1285274" y="1764679"/>
              <a:ext cx="5254075" cy="3217068"/>
              <a:chOff x="1285274" y="1764679"/>
              <a:chExt cx="5254075" cy="3217068"/>
            </a:xfrm>
          </p:grpSpPr>
          <p:sp>
            <p:nvSpPr>
              <p:cNvPr id="44" name="TextBox 81">
                <a:extLst>
                  <a:ext uri="{FF2B5EF4-FFF2-40B4-BE49-F238E27FC236}">
                    <a16:creationId xmlns:a16="http://schemas.microsoft.com/office/drawing/2014/main" id="{2422E1B1-C5A0-D64F-A838-389074722B24}"/>
                  </a:ext>
                </a:extLst>
              </p:cNvPr>
              <p:cNvSpPr txBox="1"/>
              <p:nvPr/>
            </p:nvSpPr>
            <p:spPr>
              <a:xfrm flipH="1">
                <a:off x="1952453" y="4474456"/>
                <a:ext cx="4275411" cy="50729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005EB8"/>
                    </a:solidFill>
                    <a:effectLst/>
                    <a:uLnTx/>
                    <a:uFillTx/>
                    <a:latin typeface="Calibri" panose="020F0502020204030204"/>
                    <a:ea typeface="+mn-ea"/>
                    <a:cs typeface="Arial" panose="020B0604020202020204" pitchFamily="34" charset="0"/>
                  </a:rPr>
                  <a:t>Procurement</a:t>
                </a:r>
              </a:p>
            </p:txBody>
          </p:sp>
          <p:grpSp>
            <p:nvGrpSpPr>
              <p:cNvPr id="45" name="Group 44">
                <a:extLst>
                  <a:ext uri="{FF2B5EF4-FFF2-40B4-BE49-F238E27FC236}">
                    <a16:creationId xmlns:a16="http://schemas.microsoft.com/office/drawing/2014/main" id="{C2342CDB-40D9-D0E8-4077-4382A47361EA}"/>
                  </a:ext>
                </a:extLst>
              </p:cNvPr>
              <p:cNvGrpSpPr/>
              <p:nvPr/>
            </p:nvGrpSpPr>
            <p:grpSpPr>
              <a:xfrm>
                <a:off x="1285274" y="1764679"/>
                <a:ext cx="5254075" cy="1272628"/>
                <a:chOff x="1285274" y="1764679"/>
                <a:chExt cx="5254075" cy="1272628"/>
              </a:xfrm>
            </p:grpSpPr>
            <p:cxnSp>
              <p:nvCxnSpPr>
                <p:cNvPr id="46" name="Straight Connector 45">
                  <a:extLst>
                    <a:ext uri="{FF2B5EF4-FFF2-40B4-BE49-F238E27FC236}">
                      <a16:creationId xmlns:a16="http://schemas.microsoft.com/office/drawing/2014/main" id="{61F618B1-E8B1-21E5-307F-11A7D56D7EA1}"/>
                    </a:ext>
                  </a:extLst>
                </p:cNvPr>
                <p:cNvCxnSpPr>
                  <a:cxnSpLocks/>
                </p:cNvCxnSpPr>
                <p:nvPr/>
              </p:nvCxnSpPr>
              <p:spPr>
                <a:xfrm>
                  <a:off x="1601589" y="2397818"/>
                  <a:ext cx="4937760" cy="0"/>
                </a:xfrm>
                <a:prstGeom prst="line">
                  <a:avLst/>
                </a:prstGeom>
                <a:noFill/>
                <a:ln w="6350" cap="flat" cmpd="sng" algn="ctr">
                  <a:solidFill>
                    <a:srgbClr val="0091DA"/>
                  </a:solidFill>
                  <a:prstDash val="solid"/>
                  <a:miter lim="800000"/>
                </a:ln>
                <a:effectLst/>
              </p:spPr>
            </p:cxnSp>
            <p:grpSp>
              <p:nvGrpSpPr>
                <p:cNvPr id="47" name="Group 46">
                  <a:extLst>
                    <a:ext uri="{FF2B5EF4-FFF2-40B4-BE49-F238E27FC236}">
                      <a16:creationId xmlns:a16="http://schemas.microsoft.com/office/drawing/2014/main" id="{4ACDC5A8-A6AC-C44F-8795-F1039F44E817}"/>
                    </a:ext>
                  </a:extLst>
                </p:cNvPr>
                <p:cNvGrpSpPr/>
                <p:nvPr/>
              </p:nvGrpSpPr>
              <p:grpSpPr>
                <a:xfrm>
                  <a:off x="1285274" y="1764679"/>
                  <a:ext cx="548288" cy="1272628"/>
                  <a:chOff x="1285274" y="1764679"/>
                  <a:chExt cx="548288" cy="1272628"/>
                </a:xfrm>
              </p:grpSpPr>
              <p:sp>
                <p:nvSpPr>
                  <p:cNvPr id="48" name="Freeform 84">
                    <a:extLst>
                      <a:ext uri="{FF2B5EF4-FFF2-40B4-BE49-F238E27FC236}">
                        <a16:creationId xmlns:a16="http://schemas.microsoft.com/office/drawing/2014/main" id="{9014E2EE-7EC6-A486-E3CE-EE39D42B4864}"/>
                      </a:ext>
                    </a:extLst>
                  </p:cNvPr>
                  <p:cNvSpPr/>
                  <p:nvPr/>
                </p:nvSpPr>
                <p:spPr>
                  <a:xfrm>
                    <a:off x="1465288" y="1764679"/>
                    <a:ext cx="188260" cy="1272628"/>
                  </a:xfrm>
                  <a:custGeom>
                    <a:avLst/>
                    <a:gdLst>
                      <a:gd name="connsiteX0" fmla="*/ 0 w 188260"/>
                      <a:gd name="connsiteY0" fmla="*/ 0 h 1272628"/>
                      <a:gd name="connsiteX1" fmla="*/ 188260 w 188260"/>
                      <a:gd name="connsiteY1" fmla="*/ 0 h 1272628"/>
                      <a:gd name="connsiteX2" fmla="*/ 188260 w 188260"/>
                      <a:gd name="connsiteY2" fmla="*/ 1272628 h 1272628"/>
                      <a:gd name="connsiteX3" fmla="*/ 0 w 188260"/>
                      <a:gd name="connsiteY3" fmla="*/ 1272628 h 1272628"/>
                      <a:gd name="connsiteX4" fmla="*/ 0 w 188260"/>
                      <a:gd name="connsiteY4" fmla="*/ 0 h 12726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260" h="1272628">
                        <a:moveTo>
                          <a:pt x="0" y="0"/>
                        </a:moveTo>
                        <a:lnTo>
                          <a:pt x="188260" y="0"/>
                        </a:lnTo>
                        <a:lnTo>
                          <a:pt x="188260" y="1272628"/>
                        </a:lnTo>
                        <a:lnTo>
                          <a:pt x="0" y="1272628"/>
                        </a:lnTo>
                        <a:lnTo>
                          <a:pt x="0" y="0"/>
                        </a:lnTo>
                        <a:close/>
                      </a:path>
                    </a:pathLst>
                  </a:custGeom>
                  <a:solidFill>
                    <a:srgbClr val="0099D5"/>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91DA"/>
                      </a:solidFill>
                      <a:effectLst/>
                      <a:uLnTx/>
                      <a:uFillTx/>
                      <a:latin typeface="Univers for KPMG" panose="020B0603020202020204" pitchFamily="34" charset="0"/>
                      <a:ea typeface="+mn-ea"/>
                      <a:cs typeface="Arial" panose="020B0604020202020204" pitchFamily="34" charset="0"/>
                    </a:endParaRPr>
                  </a:p>
                </p:txBody>
              </p:sp>
              <p:grpSp>
                <p:nvGrpSpPr>
                  <p:cNvPr id="49" name="Group 48">
                    <a:extLst>
                      <a:ext uri="{FF2B5EF4-FFF2-40B4-BE49-F238E27FC236}">
                        <a16:creationId xmlns:a16="http://schemas.microsoft.com/office/drawing/2014/main" id="{6ECA9A74-0F0C-FF4A-7046-876954E9988B}"/>
                      </a:ext>
                    </a:extLst>
                  </p:cNvPr>
                  <p:cNvGrpSpPr/>
                  <p:nvPr/>
                </p:nvGrpSpPr>
                <p:grpSpPr>
                  <a:xfrm>
                    <a:off x="1285274" y="2126849"/>
                    <a:ext cx="548288" cy="548288"/>
                    <a:chOff x="1285274" y="2126849"/>
                    <a:chExt cx="548288" cy="548288"/>
                  </a:xfrm>
                </p:grpSpPr>
                <p:grpSp>
                  <p:nvGrpSpPr>
                    <p:cNvPr id="50" name="Group 49">
                      <a:extLst>
                        <a:ext uri="{FF2B5EF4-FFF2-40B4-BE49-F238E27FC236}">
                          <a16:creationId xmlns:a16="http://schemas.microsoft.com/office/drawing/2014/main" id="{2D22DC9A-3A59-8B64-B3CF-39287CD56AEF}"/>
                        </a:ext>
                      </a:extLst>
                    </p:cNvPr>
                    <p:cNvGrpSpPr/>
                    <p:nvPr/>
                  </p:nvGrpSpPr>
                  <p:grpSpPr>
                    <a:xfrm>
                      <a:off x="1285274" y="2126849"/>
                      <a:ext cx="548288" cy="548288"/>
                      <a:chOff x="4114891" y="1309087"/>
                      <a:chExt cx="548288" cy="548288"/>
                    </a:xfrm>
                  </p:grpSpPr>
                  <p:sp>
                    <p:nvSpPr>
                      <p:cNvPr id="52" name="Oval 51">
                        <a:extLst>
                          <a:ext uri="{FF2B5EF4-FFF2-40B4-BE49-F238E27FC236}">
                            <a16:creationId xmlns:a16="http://schemas.microsoft.com/office/drawing/2014/main" id="{037EB7CD-8290-ECEF-C9D2-70DA3A471DFA}"/>
                          </a:ext>
                        </a:extLst>
                      </p:cNvPr>
                      <p:cNvSpPr/>
                      <p:nvPr/>
                    </p:nvSpPr>
                    <p:spPr>
                      <a:xfrm>
                        <a:off x="4114891" y="1309087"/>
                        <a:ext cx="548288" cy="548288"/>
                      </a:xfrm>
                      <a:prstGeom prst="ellipse">
                        <a:avLst/>
                      </a:prstGeom>
                      <a:solidFill>
                        <a:srgbClr val="0091DA">
                          <a:lumMod val="75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sp>
                    <p:nvSpPr>
                      <p:cNvPr id="53" name="Oval 52">
                        <a:extLst>
                          <a:ext uri="{FF2B5EF4-FFF2-40B4-BE49-F238E27FC236}">
                            <a16:creationId xmlns:a16="http://schemas.microsoft.com/office/drawing/2014/main" id="{50523C03-D640-0025-52CF-D6BD8DF6FA98}"/>
                          </a:ext>
                        </a:extLst>
                      </p:cNvPr>
                      <p:cNvSpPr/>
                      <p:nvPr/>
                    </p:nvSpPr>
                    <p:spPr>
                      <a:xfrm>
                        <a:off x="4187020" y="1381216"/>
                        <a:ext cx="404030" cy="404030"/>
                      </a:xfrm>
                      <a:prstGeom prst="ellipse">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sp>
                  <p:nvSpPr>
                    <p:cNvPr id="51" name="TextBox 112">
                      <a:extLst>
                        <a:ext uri="{FF2B5EF4-FFF2-40B4-BE49-F238E27FC236}">
                          <a16:creationId xmlns:a16="http://schemas.microsoft.com/office/drawing/2014/main" id="{FC64B2F8-70B9-4077-D92A-09C3E5DBB6B4}"/>
                        </a:ext>
                      </a:extLst>
                    </p:cNvPr>
                    <p:cNvSpPr txBox="1"/>
                    <p:nvPr/>
                  </p:nvSpPr>
                  <p:spPr>
                    <a:xfrm>
                      <a:off x="1301241" y="2217545"/>
                      <a:ext cx="514912" cy="3804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91DA">
                              <a:lumMod val="75000"/>
                            </a:srgbClr>
                          </a:solidFill>
                          <a:effectLst/>
                          <a:uLnTx/>
                          <a:uFillTx/>
                          <a:latin typeface="Univers for KPMG" panose="020B0603020202020204" pitchFamily="34" charset="0"/>
                          <a:ea typeface="Cambria Math" panose="02040503050406030204" pitchFamily="18" charset="0"/>
                          <a:cs typeface="Arial" panose="020B0604020202020204" pitchFamily="34" charset="0"/>
                        </a:rPr>
                        <a:t>02</a:t>
                      </a:r>
                    </a:p>
                  </p:txBody>
                </p:sp>
              </p:grpSp>
            </p:grpSp>
          </p:grpSp>
        </p:grpSp>
        <p:grpSp>
          <p:nvGrpSpPr>
            <p:cNvPr id="6" name="Group 5">
              <a:extLst>
                <a:ext uri="{FF2B5EF4-FFF2-40B4-BE49-F238E27FC236}">
                  <a16:creationId xmlns:a16="http://schemas.microsoft.com/office/drawing/2014/main" id="{855183AC-82EA-A6F5-262B-D9BCF6D97F21}"/>
                </a:ext>
              </a:extLst>
            </p:cNvPr>
            <p:cNvGrpSpPr/>
            <p:nvPr/>
          </p:nvGrpSpPr>
          <p:grpSpPr>
            <a:xfrm>
              <a:off x="1285274" y="1942658"/>
              <a:ext cx="6524237" cy="2356522"/>
              <a:chOff x="1285274" y="1942658"/>
              <a:chExt cx="6524237" cy="2356522"/>
            </a:xfrm>
          </p:grpSpPr>
          <p:sp>
            <p:nvSpPr>
              <p:cNvPr id="33" name="TextBox 81">
                <a:extLst>
                  <a:ext uri="{FF2B5EF4-FFF2-40B4-BE49-F238E27FC236}">
                    <a16:creationId xmlns:a16="http://schemas.microsoft.com/office/drawing/2014/main" id="{CA444DB0-8EFA-CEBE-A549-0D1E9CB3EBF8}"/>
                  </a:ext>
                </a:extLst>
              </p:cNvPr>
              <p:cNvSpPr txBox="1"/>
              <p:nvPr/>
            </p:nvSpPr>
            <p:spPr>
              <a:xfrm flipH="1">
                <a:off x="1952454" y="1942658"/>
                <a:ext cx="4275411" cy="50729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0099D5"/>
                    </a:solidFill>
                    <a:effectLst/>
                    <a:uLnTx/>
                    <a:uFillTx/>
                    <a:latin typeface="Calibri" panose="020F0502020204030204"/>
                    <a:ea typeface="+mn-ea"/>
                    <a:cs typeface="Arial" panose="020B0604020202020204" pitchFamily="34" charset="0"/>
                  </a:rPr>
                  <a:t>Policy and Procedure</a:t>
                </a:r>
              </a:p>
            </p:txBody>
          </p:sp>
          <p:grpSp>
            <p:nvGrpSpPr>
              <p:cNvPr id="34" name="Group 33">
                <a:extLst>
                  <a:ext uri="{FF2B5EF4-FFF2-40B4-BE49-F238E27FC236}">
                    <a16:creationId xmlns:a16="http://schemas.microsoft.com/office/drawing/2014/main" id="{D6880C1D-2FE5-FDE0-AF80-09AE440B31D9}"/>
                  </a:ext>
                </a:extLst>
              </p:cNvPr>
              <p:cNvGrpSpPr/>
              <p:nvPr/>
            </p:nvGrpSpPr>
            <p:grpSpPr>
              <a:xfrm>
                <a:off x="1285274" y="2957887"/>
                <a:ext cx="6524237" cy="1341293"/>
                <a:chOff x="1285274" y="2957887"/>
                <a:chExt cx="6524237" cy="1341293"/>
              </a:xfrm>
            </p:grpSpPr>
            <p:cxnSp>
              <p:nvCxnSpPr>
                <p:cNvPr id="35" name="Straight Connector 34">
                  <a:extLst>
                    <a:ext uri="{FF2B5EF4-FFF2-40B4-BE49-F238E27FC236}">
                      <a16:creationId xmlns:a16="http://schemas.microsoft.com/office/drawing/2014/main" id="{A0C5ACFC-26D9-BCFA-4AA9-E73B5C613230}"/>
                    </a:ext>
                  </a:extLst>
                </p:cNvPr>
                <p:cNvCxnSpPr/>
                <p:nvPr/>
              </p:nvCxnSpPr>
              <p:spPr>
                <a:xfrm>
                  <a:off x="1601589" y="3658718"/>
                  <a:ext cx="4937760" cy="0"/>
                </a:xfrm>
                <a:prstGeom prst="line">
                  <a:avLst/>
                </a:prstGeom>
                <a:noFill/>
                <a:ln w="6350" cap="flat" cmpd="sng" algn="ctr">
                  <a:solidFill>
                    <a:srgbClr val="6D2077"/>
                  </a:solidFill>
                  <a:prstDash val="solid"/>
                  <a:miter lim="800000"/>
                </a:ln>
                <a:effectLst/>
              </p:spPr>
            </p:cxnSp>
            <p:sp>
              <p:nvSpPr>
                <p:cNvPr id="36" name="Freeform 76">
                  <a:extLst>
                    <a:ext uri="{FF2B5EF4-FFF2-40B4-BE49-F238E27FC236}">
                      <a16:creationId xmlns:a16="http://schemas.microsoft.com/office/drawing/2014/main" id="{C996C5DF-E1D2-E6C6-DCE3-8CFE66B1F4AD}"/>
                    </a:ext>
                  </a:extLst>
                </p:cNvPr>
                <p:cNvSpPr>
                  <a:spLocks/>
                </p:cNvSpPr>
                <p:nvPr/>
              </p:nvSpPr>
              <p:spPr bwMode="auto">
                <a:xfrm flipH="1">
                  <a:off x="6265925" y="2957887"/>
                  <a:ext cx="1543586" cy="700952"/>
                </a:xfrm>
                <a:custGeom>
                  <a:avLst/>
                  <a:gdLst>
                    <a:gd name="T0" fmla="*/ 873 w 873"/>
                    <a:gd name="T1" fmla="*/ 396 h 396"/>
                    <a:gd name="T2" fmla="*/ 571 w 873"/>
                    <a:gd name="T3" fmla="*/ 149 h 396"/>
                    <a:gd name="T4" fmla="*/ 122 w 873"/>
                    <a:gd name="T5" fmla="*/ 114 h 396"/>
                    <a:gd name="T6" fmla="*/ 13 w 873"/>
                    <a:gd name="T7" fmla="*/ 396 h 396"/>
                    <a:gd name="T8" fmla="*/ 873 w 873"/>
                    <a:gd name="T9" fmla="*/ 396 h 396"/>
                  </a:gdLst>
                  <a:ahLst/>
                  <a:cxnLst>
                    <a:cxn ang="0">
                      <a:pos x="T0" y="T1"/>
                    </a:cxn>
                    <a:cxn ang="0">
                      <a:pos x="T2" y="T3"/>
                    </a:cxn>
                    <a:cxn ang="0">
                      <a:pos x="T4" y="T5"/>
                    </a:cxn>
                    <a:cxn ang="0">
                      <a:pos x="T6" y="T7"/>
                    </a:cxn>
                    <a:cxn ang="0">
                      <a:pos x="T8" y="T9"/>
                    </a:cxn>
                  </a:cxnLst>
                  <a:rect l="0" t="0" r="r" b="b"/>
                  <a:pathLst>
                    <a:path w="873" h="396">
                      <a:moveTo>
                        <a:pt x="873" y="396"/>
                      </a:moveTo>
                      <a:cubicBezTo>
                        <a:pt x="755" y="329"/>
                        <a:pt x="654" y="246"/>
                        <a:pt x="571" y="149"/>
                      </a:cubicBezTo>
                      <a:cubicBezTo>
                        <a:pt x="457" y="15"/>
                        <a:pt x="255" y="0"/>
                        <a:pt x="122" y="114"/>
                      </a:cubicBezTo>
                      <a:cubicBezTo>
                        <a:pt x="37" y="186"/>
                        <a:pt x="0" y="293"/>
                        <a:pt x="13" y="396"/>
                      </a:cubicBezTo>
                      <a:lnTo>
                        <a:pt x="873" y="396"/>
                      </a:lnTo>
                      <a:close/>
                    </a:path>
                  </a:pathLst>
                </a:custGeom>
                <a:solidFill>
                  <a:sysClr val="window" lastClr="FFFFFF">
                    <a:alpha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Univers for KPMG" panose="020B0603020202020204" pitchFamily="34" charset="0"/>
                    <a:ea typeface="+mn-ea"/>
                    <a:cs typeface="Arial" panose="020B0604020202020204" pitchFamily="34" charset="0"/>
                  </a:endParaRPr>
                </a:p>
              </p:txBody>
            </p:sp>
            <p:grpSp>
              <p:nvGrpSpPr>
                <p:cNvPr id="37" name="Group 36">
                  <a:extLst>
                    <a:ext uri="{FF2B5EF4-FFF2-40B4-BE49-F238E27FC236}">
                      <a16:creationId xmlns:a16="http://schemas.microsoft.com/office/drawing/2014/main" id="{8F13DAB8-829B-07FC-673B-4AF25C3B1F06}"/>
                    </a:ext>
                  </a:extLst>
                </p:cNvPr>
                <p:cNvGrpSpPr/>
                <p:nvPr/>
              </p:nvGrpSpPr>
              <p:grpSpPr>
                <a:xfrm>
                  <a:off x="1285274" y="3037307"/>
                  <a:ext cx="548288" cy="1261873"/>
                  <a:chOff x="1285274" y="3037307"/>
                  <a:chExt cx="548288" cy="1261873"/>
                </a:xfrm>
              </p:grpSpPr>
              <p:sp>
                <p:nvSpPr>
                  <p:cNvPr id="38" name="Freeform 60">
                    <a:extLst>
                      <a:ext uri="{FF2B5EF4-FFF2-40B4-BE49-F238E27FC236}">
                        <a16:creationId xmlns:a16="http://schemas.microsoft.com/office/drawing/2014/main" id="{11354E91-1768-132E-A7F9-95B472659EDE}"/>
                      </a:ext>
                    </a:extLst>
                  </p:cNvPr>
                  <p:cNvSpPr/>
                  <p:nvPr/>
                </p:nvSpPr>
                <p:spPr>
                  <a:xfrm>
                    <a:off x="1465288" y="3037307"/>
                    <a:ext cx="188260" cy="1261873"/>
                  </a:xfrm>
                  <a:custGeom>
                    <a:avLst/>
                    <a:gdLst>
                      <a:gd name="connsiteX0" fmla="*/ 0 w 188260"/>
                      <a:gd name="connsiteY0" fmla="*/ 0 h 1261873"/>
                      <a:gd name="connsiteX1" fmla="*/ 188260 w 188260"/>
                      <a:gd name="connsiteY1" fmla="*/ 0 h 1261873"/>
                      <a:gd name="connsiteX2" fmla="*/ 188259 w 188260"/>
                      <a:gd name="connsiteY2" fmla="*/ 1261873 h 1261873"/>
                      <a:gd name="connsiteX3" fmla="*/ 0 w 188260"/>
                      <a:gd name="connsiteY3" fmla="*/ 1261873 h 1261873"/>
                      <a:gd name="connsiteX4" fmla="*/ 0 w 188260"/>
                      <a:gd name="connsiteY4" fmla="*/ 0 h 126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260" h="1261873">
                        <a:moveTo>
                          <a:pt x="0" y="0"/>
                        </a:moveTo>
                        <a:lnTo>
                          <a:pt x="188260" y="0"/>
                        </a:lnTo>
                        <a:lnTo>
                          <a:pt x="188259" y="1261873"/>
                        </a:lnTo>
                        <a:lnTo>
                          <a:pt x="0" y="1261873"/>
                        </a:lnTo>
                        <a:lnTo>
                          <a:pt x="0" y="0"/>
                        </a:lnTo>
                        <a:close/>
                      </a:path>
                    </a:pathLst>
                  </a:custGeom>
                  <a:solidFill>
                    <a:srgbClr val="6D2077"/>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nvGrpSpPr>
                  <p:cNvPr id="39" name="Group 38">
                    <a:extLst>
                      <a:ext uri="{FF2B5EF4-FFF2-40B4-BE49-F238E27FC236}">
                        <a16:creationId xmlns:a16="http://schemas.microsoft.com/office/drawing/2014/main" id="{A93FC269-657B-94F4-AC07-FF67613D6C2F}"/>
                      </a:ext>
                    </a:extLst>
                  </p:cNvPr>
                  <p:cNvGrpSpPr/>
                  <p:nvPr/>
                </p:nvGrpSpPr>
                <p:grpSpPr>
                  <a:xfrm>
                    <a:off x="1285274" y="3394099"/>
                    <a:ext cx="548288" cy="548288"/>
                    <a:chOff x="1285274" y="3394099"/>
                    <a:chExt cx="548288" cy="548288"/>
                  </a:xfrm>
                </p:grpSpPr>
                <p:grpSp>
                  <p:nvGrpSpPr>
                    <p:cNvPr id="40" name="Group 39">
                      <a:extLst>
                        <a:ext uri="{FF2B5EF4-FFF2-40B4-BE49-F238E27FC236}">
                          <a16:creationId xmlns:a16="http://schemas.microsoft.com/office/drawing/2014/main" id="{977B1DC9-33C8-B1E0-FA8B-0077B0E307CF}"/>
                        </a:ext>
                      </a:extLst>
                    </p:cNvPr>
                    <p:cNvGrpSpPr/>
                    <p:nvPr/>
                  </p:nvGrpSpPr>
                  <p:grpSpPr>
                    <a:xfrm>
                      <a:off x="1285274" y="3394099"/>
                      <a:ext cx="548288" cy="548288"/>
                      <a:chOff x="4114891" y="1309087"/>
                      <a:chExt cx="548288" cy="548288"/>
                    </a:xfrm>
                  </p:grpSpPr>
                  <p:sp>
                    <p:nvSpPr>
                      <p:cNvPr id="42" name="Oval 41">
                        <a:extLst>
                          <a:ext uri="{FF2B5EF4-FFF2-40B4-BE49-F238E27FC236}">
                            <a16:creationId xmlns:a16="http://schemas.microsoft.com/office/drawing/2014/main" id="{8F410592-9633-5C99-5EE8-38036D854C70}"/>
                          </a:ext>
                        </a:extLst>
                      </p:cNvPr>
                      <p:cNvSpPr/>
                      <p:nvPr/>
                    </p:nvSpPr>
                    <p:spPr>
                      <a:xfrm>
                        <a:off x="4114891" y="1309087"/>
                        <a:ext cx="548288" cy="548288"/>
                      </a:xfrm>
                      <a:prstGeom prst="ellipse">
                        <a:avLst/>
                      </a:prstGeom>
                      <a:solidFill>
                        <a:srgbClr val="6D2077">
                          <a:lumMod val="75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sp>
                    <p:nvSpPr>
                      <p:cNvPr id="43" name="Oval 42">
                        <a:extLst>
                          <a:ext uri="{FF2B5EF4-FFF2-40B4-BE49-F238E27FC236}">
                            <a16:creationId xmlns:a16="http://schemas.microsoft.com/office/drawing/2014/main" id="{9EDB97EB-C1C4-6627-6F15-419868B72AC5}"/>
                          </a:ext>
                        </a:extLst>
                      </p:cNvPr>
                      <p:cNvSpPr/>
                      <p:nvPr/>
                    </p:nvSpPr>
                    <p:spPr>
                      <a:xfrm>
                        <a:off x="4187020" y="1381216"/>
                        <a:ext cx="404030" cy="404030"/>
                      </a:xfrm>
                      <a:prstGeom prst="ellipse">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sp>
                  <p:nvSpPr>
                    <p:cNvPr id="41" name="TextBox 113">
                      <a:extLst>
                        <a:ext uri="{FF2B5EF4-FFF2-40B4-BE49-F238E27FC236}">
                          <a16:creationId xmlns:a16="http://schemas.microsoft.com/office/drawing/2014/main" id="{0FF132D9-73A0-1B00-2062-A5070647C762}"/>
                        </a:ext>
                      </a:extLst>
                    </p:cNvPr>
                    <p:cNvSpPr txBox="1"/>
                    <p:nvPr/>
                  </p:nvSpPr>
                  <p:spPr>
                    <a:xfrm>
                      <a:off x="1301241" y="3476627"/>
                      <a:ext cx="514912" cy="3804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6D2077">
                              <a:lumMod val="75000"/>
                            </a:srgbClr>
                          </a:solidFill>
                          <a:effectLst/>
                          <a:uLnTx/>
                          <a:uFillTx/>
                          <a:latin typeface="Univers for KPMG" panose="020B0603020202020204" pitchFamily="34" charset="0"/>
                          <a:ea typeface="Cambria Math" panose="02040503050406030204" pitchFamily="18" charset="0"/>
                          <a:cs typeface="Arial" panose="020B0604020202020204" pitchFamily="34" charset="0"/>
                        </a:rPr>
                        <a:t>03</a:t>
                      </a:r>
                    </a:p>
                  </p:txBody>
                </p:sp>
              </p:grpSp>
            </p:grpSp>
          </p:grpSp>
        </p:grpSp>
        <p:grpSp>
          <p:nvGrpSpPr>
            <p:cNvPr id="7" name="Group 6">
              <a:extLst>
                <a:ext uri="{FF2B5EF4-FFF2-40B4-BE49-F238E27FC236}">
                  <a16:creationId xmlns:a16="http://schemas.microsoft.com/office/drawing/2014/main" id="{DB3232C2-6795-33C4-3BCD-135619E66C17}"/>
                </a:ext>
              </a:extLst>
            </p:cNvPr>
            <p:cNvGrpSpPr/>
            <p:nvPr/>
          </p:nvGrpSpPr>
          <p:grpSpPr>
            <a:xfrm>
              <a:off x="1285274" y="3224222"/>
              <a:ext cx="6524237" cy="2336831"/>
              <a:chOff x="1285274" y="3224222"/>
              <a:chExt cx="6524237" cy="2336831"/>
            </a:xfrm>
          </p:grpSpPr>
          <p:sp>
            <p:nvSpPr>
              <p:cNvPr id="20" name="TextBox 81">
                <a:extLst>
                  <a:ext uri="{FF2B5EF4-FFF2-40B4-BE49-F238E27FC236}">
                    <a16:creationId xmlns:a16="http://schemas.microsoft.com/office/drawing/2014/main" id="{F4AF5B22-C6E3-A87B-0A9B-C79786B74C3D}"/>
                  </a:ext>
                </a:extLst>
              </p:cNvPr>
              <p:cNvSpPr txBox="1"/>
              <p:nvPr/>
            </p:nvSpPr>
            <p:spPr>
              <a:xfrm flipH="1">
                <a:off x="1952454" y="3224222"/>
                <a:ext cx="4275413" cy="50729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6D2077"/>
                    </a:solidFill>
                    <a:effectLst/>
                    <a:uLnTx/>
                    <a:uFillTx/>
                    <a:latin typeface="Calibri" panose="020F0502020204030204"/>
                    <a:ea typeface="+mn-ea"/>
                    <a:cs typeface="Arial" panose="020B0604020202020204" pitchFamily="34" charset="0"/>
                  </a:rPr>
                  <a:t>Documentation</a:t>
                </a:r>
              </a:p>
            </p:txBody>
          </p:sp>
          <p:grpSp>
            <p:nvGrpSpPr>
              <p:cNvPr id="21" name="Group 20">
                <a:extLst>
                  <a:ext uri="{FF2B5EF4-FFF2-40B4-BE49-F238E27FC236}">
                    <a16:creationId xmlns:a16="http://schemas.microsoft.com/office/drawing/2014/main" id="{CF423E2E-8D52-3845-ADCB-DC0A62AC31B4}"/>
                  </a:ext>
                </a:extLst>
              </p:cNvPr>
              <p:cNvGrpSpPr/>
              <p:nvPr/>
            </p:nvGrpSpPr>
            <p:grpSpPr>
              <a:xfrm>
                <a:off x="1285274" y="4221779"/>
                <a:ext cx="6524237" cy="1339274"/>
                <a:chOff x="1285274" y="4221779"/>
                <a:chExt cx="6524237" cy="1339274"/>
              </a:xfrm>
            </p:grpSpPr>
            <p:cxnSp>
              <p:nvCxnSpPr>
                <p:cNvPr id="22" name="Straight Connector 21">
                  <a:extLst>
                    <a:ext uri="{FF2B5EF4-FFF2-40B4-BE49-F238E27FC236}">
                      <a16:creationId xmlns:a16="http://schemas.microsoft.com/office/drawing/2014/main" id="{FB371C1F-792E-A96B-F52C-3C789C7702ED}"/>
                    </a:ext>
                  </a:extLst>
                </p:cNvPr>
                <p:cNvCxnSpPr/>
                <p:nvPr/>
              </p:nvCxnSpPr>
              <p:spPr>
                <a:xfrm>
                  <a:off x="1601589" y="4917237"/>
                  <a:ext cx="4937760" cy="0"/>
                </a:xfrm>
                <a:prstGeom prst="line">
                  <a:avLst/>
                </a:prstGeom>
                <a:noFill/>
                <a:ln w="6350" cap="flat" cmpd="sng" algn="ctr">
                  <a:solidFill>
                    <a:srgbClr val="005EB8"/>
                  </a:solidFill>
                  <a:prstDash val="solid"/>
                  <a:miter lim="800000"/>
                </a:ln>
                <a:effectLst/>
              </p:spPr>
            </p:cxnSp>
            <p:grpSp>
              <p:nvGrpSpPr>
                <p:cNvPr id="23" name="Group 22">
                  <a:extLst>
                    <a:ext uri="{FF2B5EF4-FFF2-40B4-BE49-F238E27FC236}">
                      <a16:creationId xmlns:a16="http://schemas.microsoft.com/office/drawing/2014/main" id="{4F482217-DBE4-9341-41B1-69A54CEE42C7}"/>
                    </a:ext>
                  </a:extLst>
                </p:cNvPr>
                <p:cNvGrpSpPr/>
                <p:nvPr/>
              </p:nvGrpSpPr>
              <p:grpSpPr>
                <a:xfrm>
                  <a:off x="6265925" y="4221779"/>
                  <a:ext cx="1543586" cy="979097"/>
                  <a:chOff x="6265925" y="4221779"/>
                  <a:chExt cx="1543586" cy="979097"/>
                </a:xfrm>
              </p:grpSpPr>
              <p:sp>
                <p:nvSpPr>
                  <p:cNvPr id="31" name="Freeform 52">
                    <a:extLst>
                      <a:ext uri="{FF2B5EF4-FFF2-40B4-BE49-F238E27FC236}">
                        <a16:creationId xmlns:a16="http://schemas.microsoft.com/office/drawing/2014/main" id="{BE48F75E-1EF8-D80B-E1D2-ACD74F2BE65A}"/>
                      </a:ext>
                    </a:extLst>
                  </p:cNvPr>
                  <p:cNvSpPr>
                    <a:spLocks/>
                  </p:cNvSpPr>
                  <p:nvPr/>
                </p:nvSpPr>
                <p:spPr bwMode="auto">
                  <a:xfrm flipH="1">
                    <a:off x="6265925" y="4221779"/>
                    <a:ext cx="1543586" cy="700952"/>
                  </a:xfrm>
                  <a:custGeom>
                    <a:avLst/>
                    <a:gdLst>
                      <a:gd name="T0" fmla="*/ 873 w 873"/>
                      <a:gd name="T1" fmla="*/ 396 h 396"/>
                      <a:gd name="T2" fmla="*/ 571 w 873"/>
                      <a:gd name="T3" fmla="*/ 149 h 396"/>
                      <a:gd name="T4" fmla="*/ 122 w 873"/>
                      <a:gd name="T5" fmla="*/ 114 h 396"/>
                      <a:gd name="T6" fmla="*/ 13 w 873"/>
                      <a:gd name="T7" fmla="*/ 396 h 396"/>
                      <a:gd name="T8" fmla="*/ 873 w 873"/>
                      <a:gd name="T9" fmla="*/ 396 h 396"/>
                    </a:gdLst>
                    <a:ahLst/>
                    <a:cxnLst>
                      <a:cxn ang="0">
                        <a:pos x="T0" y="T1"/>
                      </a:cxn>
                      <a:cxn ang="0">
                        <a:pos x="T2" y="T3"/>
                      </a:cxn>
                      <a:cxn ang="0">
                        <a:pos x="T4" y="T5"/>
                      </a:cxn>
                      <a:cxn ang="0">
                        <a:pos x="T6" y="T7"/>
                      </a:cxn>
                      <a:cxn ang="0">
                        <a:pos x="T8" y="T9"/>
                      </a:cxn>
                    </a:cxnLst>
                    <a:rect l="0" t="0" r="r" b="b"/>
                    <a:pathLst>
                      <a:path w="873" h="396">
                        <a:moveTo>
                          <a:pt x="873" y="396"/>
                        </a:moveTo>
                        <a:cubicBezTo>
                          <a:pt x="755" y="329"/>
                          <a:pt x="654" y="246"/>
                          <a:pt x="571" y="149"/>
                        </a:cubicBezTo>
                        <a:cubicBezTo>
                          <a:pt x="457" y="15"/>
                          <a:pt x="255" y="0"/>
                          <a:pt x="122" y="114"/>
                        </a:cubicBezTo>
                        <a:cubicBezTo>
                          <a:pt x="37" y="186"/>
                          <a:pt x="0" y="293"/>
                          <a:pt x="13" y="396"/>
                        </a:cubicBezTo>
                        <a:lnTo>
                          <a:pt x="873" y="396"/>
                        </a:lnTo>
                        <a:close/>
                      </a:path>
                    </a:pathLst>
                  </a:custGeom>
                  <a:solidFill>
                    <a:sysClr val="window" lastClr="FFFFFF">
                      <a:alpha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Univers for KPMG" panose="020B0603020202020204" pitchFamily="34" charset="0"/>
                      <a:ea typeface="+mn-ea"/>
                      <a:cs typeface="Arial" panose="020B0604020202020204" pitchFamily="34" charset="0"/>
                    </a:endParaRPr>
                  </a:p>
                </p:txBody>
              </p:sp>
              <p:sp>
                <p:nvSpPr>
                  <p:cNvPr id="32" name="Freeform 50">
                    <a:extLst>
                      <a:ext uri="{FF2B5EF4-FFF2-40B4-BE49-F238E27FC236}">
                        <a16:creationId xmlns:a16="http://schemas.microsoft.com/office/drawing/2014/main" id="{242E24E3-886F-E456-4206-4FA77252C4C9}"/>
                      </a:ext>
                    </a:extLst>
                  </p:cNvPr>
                  <p:cNvSpPr>
                    <a:spLocks/>
                  </p:cNvSpPr>
                  <p:nvPr/>
                </p:nvSpPr>
                <p:spPr bwMode="auto">
                  <a:xfrm flipH="1">
                    <a:off x="6891562" y="4505144"/>
                    <a:ext cx="694986" cy="695732"/>
                  </a:xfrm>
                  <a:custGeom>
                    <a:avLst/>
                    <a:gdLst>
                      <a:gd name="T0" fmla="*/ 82 w 393"/>
                      <a:gd name="T1" fmla="*/ 63 h 393"/>
                      <a:gd name="T2" fmla="*/ 330 w 393"/>
                      <a:gd name="T3" fmla="*/ 82 h 393"/>
                      <a:gd name="T4" fmla="*/ 311 w 393"/>
                      <a:gd name="T5" fmla="*/ 330 h 393"/>
                      <a:gd name="T6" fmla="*/ 63 w 393"/>
                      <a:gd name="T7" fmla="*/ 311 h 393"/>
                      <a:gd name="T8" fmla="*/ 82 w 393"/>
                      <a:gd name="T9" fmla="*/ 63 h 393"/>
                    </a:gdLst>
                    <a:ahLst/>
                    <a:cxnLst>
                      <a:cxn ang="0">
                        <a:pos x="T0" y="T1"/>
                      </a:cxn>
                      <a:cxn ang="0">
                        <a:pos x="T2" y="T3"/>
                      </a:cxn>
                      <a:cxn ang="0">
                        <a:pos x="T4" y="T5"/>
                      </a:cxn>
                      <a:cxn ang="0">
                        <a:pos x="T6" y="T7"/>
                      </a:cxn>
                      <a:cxn ang="0">
                        <a:pos x="T8" y="T9"/>
                      </a:cxn>
                    </a:cxnLst>
                    <a:rect l="0" t="0" r="r" b="b"/>
                    <a:pathLst>
                      <a:path w="393" h="393">
                        <a:moveTo>
                          <a:pt x="82" y="63"/>
                        </a:moveTo>
                        <a:cubicBezTo>
                          <a:pt x="156" y="0"/>
                          <a:pt x="267" y="8"/>
                          <a:pt x="330" y="82"/>
                        </a:cubicBezTo>
                        <a:cubicBezTo>
                          <a:pt x="393" y="156"/>
                          <a:pt x="385" y="267"/>
                          <a:pt x="311" y="330"/>
                        </a:cubicBezTo>
                        <a:cubicBezTo>
                          <a:pt x="237" y="393"/>
                          <a:pt x="126" y="384"/>
                          <a:pt x="63" y="311"/>
                        </a:cubicBezTo>
                        <a:cubicBezTo>
                          <a:pt x="0" y="237"/>
                          <a:pt x="9" y="126"/>
                          <a:pt x="82"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Univers for KPMG" panose="020B0603020202020204" pitchFamily="34" charset="0"/>
                      <a:ea typeface="+mn-ea"/>
                      <a:cs typeface="Arial" panose="020B0604020202020204" pitchFamily="34" charset="0"/>
                    </a:endParaRPr>
                  </a:p>
                </p:txBody>
              </p:sp>
            </p:grpSp>
            <p:grpSp>
              <p:nvGrpSpPr>
                <p:cNvPr id="24" name="Group 23">
                  <a:extLst>
                    <a:ext uri="{FF2B5EF4-FFF2-40B4-BE49-F238E27FC236}">
                      <a16:creationId xmlns:a16="http://schemas.microsoft.com/office/drawing/2014/main" id="{0D8004E7-FC37-A14A-9C4B-0462FE701A12}"/>
                    </a:ext>
                  </a:extLst>
                </p:cNvPr>
                <p:cNvGrpSpPr/>
                <p:nvPr/>
              </p:nvGrpSpPr>
              <p:grpSpPr>
                <a:xfrm>
                  <a:off x="1285274" y="4299180"/>
                  <a:ext cx="548288" cy="1261873"/>
                  <a:chOff x="1285274" y="4299180"/>
                  <a:chExt cx="548288" cy="1261873"/>
                </a:xfrm>
              </p:grpSpPr>
              <p:sp>
                <p:nvSpPr>
                  <p:cNvPr id="25" name="Freeform 37">
                    <a:extLst>
                      <a:ext uri="{FF2B5EF4-FFF2-40B4-BE49-F238E27FC236}">
                        <a16:creationId xmlns:a16="http://schemas.microsoft.com/office/drawing/2014/main" id="{2A9F8B18-8EAF-59BA-93CE-1C25E6C96F6D}"/>
                      </a:ext>
                    </a:extLst>
                  </p:cNvPr>
                  <p:cNvSpPr/>
                  <p:nvPr/>
                </p:nvSpPr>
                <p:spPr>
                  <a:xfrm>
                    <a:off x="1465289" y="4299180"/>
                    <a:ext cx="188259" cy="1261873"/>
                  </a:xfrm>
                  <a:custGeom>
                    <a:avLst/>
                    <a:gdLst>
                      <a:gd name="connsiteX0" fmla="*/ 0 w 188259"/>
                      <a:gd name="connsiteY0" fmla="*/ 0 h 1261873"/>
                      <a:gd name="connsiteX1" fmla="*/ 188259 w 188259"/>
                      <a:gd name="connsiteY1" fmla="*/ 0 h 1261873"/>
                      <a:gd name="connsiteX2" fmla="*/ 188259 w 188259"/>
                      <a:gd name="connsiteY2" fmla="*/ 1261873 h 1261873"/>
                      <a:gd name="connsiteX3" fmla="*/ 0 w 188259"/>
                      <a:gd name="connsiteY3" fmla="*/ 1261873 h 1261873"/>
                      <a:gd name="connsiteX4" fmla="*/ 0 w 188259"/>
                      <a:gd name="connsiteY4" fmla="*/ 0 h 126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259" h="1261873">
                        <a:moveTo>
                          <a:pt x="0" y="0"/>
                        </a:moveTo>
                        <a:lnTo>
                          <a:pt x="188259" y="0"/>
                        </a:lnTo>
                        <a:lnTo>
                          <a:pt x="188259" y="1261873"/>
                        </a:lnTo>
                        <a:lnTo>
                          <a:pt x="0" y="1261873"/>
                        </a:lnTo>
                        <a:lnTo>
                          <a:pt x="0" y="0"/>
                        </a:lnTo>
                        <a:close/>
                      </a:path>
                    </a:pathLst>
                  </a:custGeom>
                  <a:solidFill>
                    <a:srgbClr val="005EB8"/>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nvGrpSpPr>
                  <p:cNvPr id="26" name="Group 25">
                    <a:extLst>
                      <a:ext uri="{FF2B5EF4-FFF2-40B4-BE49-F238E27FC236}">
                        <a16:creationId xmlns:a16="http://schemas.microsoft.com/office/drawing/2014/main" id="{5BA9BDD9-DFC6-5047-2489-01C434A96484}"/>
                      </a:ext>
                    </a:extLst>
                  </p:cNvPr>
                  <p:cNvGrpSpPr/>
                  <p:nvPr/>
                </p:nvGrpSpPr>
                <p:grpSpPr>
                  <a:xfrm>
                    <a:off x="1285274" y="4655972"/>
                    <a:ext cx="548288" cy="548288"/>
                    <a:chOff x="1285274" y="4655972"/>
                    <a:chExt cx="548288" cy="548288"/>
                  </a:xfrm>
                </p:grpSpPr>
                <p:grpSp>
                  <p:nvGrpSpPr>
                    <p:cNvPr id="27" name="Group 26">
                      <a:extLst>
                        <a:ext uri="{FF2B5EF4-FFF2-40B4-BE49-F238E27FC236}">
                          <a16:creationId xmlns:a16="http://schemas.microsoft.com/office/drawing/2014/main" id="{A0E756B1-B06B-0C65-3D67-2EA46DFB81FB}"/>
                        </a:ext>
                      </a:extLst>
                    </p:cNvPr>
                    <p:cNvGrpSpPr/>
                    <p:nvPr/>
                  </p:nvGrpSpPr>
                  <p:grpSpPr>
                    <a:xfrm>
                      <a:off x="1285274" y="4655972"/>
                      <a:ext cx="548288" cy="548288"/>
                      <a:chOff x="4114891" y="1309087"/>
                      <a:chExt cx="548288" cy="548288"/>
                    </a:xfrm>
                  </p:grpSpPr>
                  <p:sp>
                    <p:nvSpPr>
                      <p:cNvPr id="29" name="Oval 28">
                        <a:extLst>
                          <a:ext uri="{FF2B5EF4-FFF2-40B4-BE49-F238E27FC236}">
                            <a16:creationId xmlns:a16="http://schemas.microsoft.com/office/drawing/2014/main" id="{5ABC8B83-D1C2-6BF6-4CFB-3F4895F06D44}"/>
                          </a:ext>
                        </a:extLst>
                      </p:cNvPr>
                      <p:cNvSpPr/>
                      <p:nvPr/>
                    </p:nvSpPr>
                    <p:spPr>
                      <a:xfrm>
                        <a:off x="4114891" y="1309087"/>
                        <a:ext cx="548288" cy="548288"/>
                      </a:xfrm>
                      <a:prstGeom prst="ellipse">
                        <a:avLst/>
                      </a:prstGeom>
                      <a:solidFill>
                        <a:srgbClr val="005EB8">
                          <a:lumMod val="75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sp>
                    <p:nvSpPr>
                      <p:cNvPr id="30" name="Oval 29">
                        <a:extLst>
                          <a:ext uri="{FF2B5EF4-FFF2-40B4-BE49-F238E27FC236}">
                            <a16:creationId xmlns:a16="http://schemas.microsoft.com/office/drawing/2014/main" id="{3371A4E3-ECDA-25DD-97F7-5A3610258DEB}"/>
                          </a:ext>
                        </a:extLst>
                      </p:cNvPr>
                      <p:cNvSpPr/>
                      <p:nvPr/>
                    </p:nvSpPr>
                    <p:spPr>
                      <a:xfrm>
                        <a:off x="4187020" y="1381216"/>
                        <a:ext cx="404030" cy="404030"/>
                      </a:xfrm>
                      <a:prstGeom prst="ellipse">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sp>
                  <p:nvSpPr>
                    <p:cNvPr id="28" name="TextBox 114">
                      <a:extLst>
                        <a:ext uri="{FF2B5EF4-FFF2-40B4-BE49-F238E27FC236}">
                          <a16:creationId xmlns:a16="http://schemas.microsoft.com/office/drawing/2014/main" id="{AEC22912-1865-2EFC-97AD-E7878E4251A7}"/>
                        </a:ext>
                      </a:extLst>
                    </p:cNvPr>
                    <p:cNvSpPr txBox="1"/>
                    <p:nvPr/>
                  </p:nvSpPr>
                  <p:spPr>
                    <a:xfrm>
                      <a:off x="1301241" y="4738226"/>
                      <a:ext cx="514912" cy="3804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5EB8">
                              <a:lumMod val="75000"/>
                            </a:srgbClr>
                          </a:solidFill>
                          <a:effectLst/>
                          <a:uLnTx/>
                          <a:uFillTx/>
                          <a:latin typeface="Univers for KPMG" panose="020B0603020202020204" pitchFamily="34" charset="0"/>
                          <a:ea typeface="Cambria Math" panose="02040503050406030204" pitchFamily="18" charset="0"/>
                          <a:cs typeface="Arial" panose="020B0604020202020204" pitchFamily="34" charset="0"/>
                        </a:rPr>
                        <a:t>04</a:t>
                      </a:r>
                    </a:p>
                  </p:txBody>
                </p:sp>
              </p:grpSp>
            </p:grpSp>
          </p:grpSp>
        </p:grpSp>
        <p:grpSp>
          <p:nvGrpSpPr>
            <p:cNvPr id="8" name="Group 7">
              <a:extLst>
                <a:ext uri="{FF2B5EF4-FFF2-40B4-BE49-F238E27FC236}">
                  <a16:creationId xmlns:a16="http://schemas.microsoft.com/office/drawing/2014/main" id="{16145A7A-F6B6-1B12-8710-EC202156CB0B}"/>
                </a:ext>
              </a:extLst>
            </p:cNvPr>
            <p:cNvGrpSpPr/>
            <p:nvPr/>
          </p:nvGrpSpPr>
          <p:grpSpPr>
            <a:xfrm>
              <a:off x="1285274" y="688003"/>
              <a:ext cx="6524237" cy="6134922"/>
              <a:chOff x="1285274" y="688003"/>
              <a:chExt cx="6524237" cy="6134922"/>
            </a:xfrm>
          </p:grpSpPr>
          <p:sp>
            <p:nvSpPr>
              <p:cNvPr id="9" name="TextBox 81">
                <a:extLst>
                  <a:ext uri="{FF2B5EF4-FFF2-40B4-BE49-F238E27FC236}">
                    <a16:creationId xmlns:a16="http://schemas.microsoft.com/office/drawing/2014/main" id="{E6F0D2FF-76FD-BF60-85CE-0436FAA9EE01}"/>
                  </a:ext>
                </a:extLst>
              </p:cNvPr>
              <p:cNvSpPr txBox="1"/>
              <p:nvPr/>
            </p:nvSpPr>
            <p:spPr>
              <a:xfrm flipH="1">
                <a:off x="1980201" y="688003"/>
                <a:ext cx="4275411" cy="50729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00338D"/>
                    </a:solidFill>
                    <a:effectLst/>
                    <a:uLnTx/>
                    <a:uFillTx/>
                    <a:latin typeface="Calibri" panose="020F0502020204030204"/>
                    <a:ea typeface="+mn-ea"/>
                    <a:cs typeface="Arial" panose="020B0604020202020204" pitchFamily="34" charset="0"/>
                  </a:rPr>
                  <a:t>Applicant Experience</a:t>
                </a:r>
              </a:p>
            </p:txBody>
          </p:sp>
          <p:grpSp>
            <p:nvGrpSpPr>
              <p:cNvPr id="10" name="Group 9">
                <a:extLst>
                  <a:ext uri="{FF2B5EF4-FFF2-40B4-BE49-F238E27FC236}">
                    <a16:creationId xmlns:a16="http://schemas.microsoft.com/office/drawing/2014/main" id="{6B263A6E-251E-A0C9-F790-70865DECB9D0}"/>
                  </a:ext>
                </a:extLst>
              </p:cNvPr>
              <p:cNvGrpSpPr/>
              <p:nvPr/>
            </p:nvGrpSpPr>
            <p:grpSpPr>
              <a:xfrm>
                <a:off x="1285274" y="5482691"/>
                <a:ext cx="6524237" cy="1340234"/>
                <a:chOff x="1285274" y="5482691"/>
                <a:chExt cx="6524237" cy="1340234"/>
              </a:xfrm>
            </p:grpSpPr>
            <p:cxnSp>
              <p:nvCxnSpPr>
                <p:cNvPr id="11" name="Straight Connector 10">
                  <a:extLst>
                    <a:ext uri="{FF2B5EF4-FFF2-40B4-BE49-F238E27FC236}">
                      <a16:creationId xmlns:a16="http://schemas.microsoft.com/office/drawing/2014/main" id="{5C4494D5-CCB8-9F5C-A045-B2B5AACBA210}"/>
                    </a:ext>
                  </a:extLst>
                </p:cNvPr>
                <p:cNvCxnSpPr/>
                <p:nvPr/>
              </p:nvCxnSpPr>
              <p:spPr>
                <a:xfrm>
                  <a:off x="1601588" y="6179110"/>
                  <a:ext cx="4937761" cy="0"/>
                </a:xfrm>
                <a:prstGeom prst="line">
                  <a:avLst/>
                </a:prstGeom>
                <a:noFill/>
                <a:ln w="6350" cap="flat" cmpd="sng" algn="ctr">
                  <a:solidFill>
                    <a:srgbClr val="00A3A1"/>
                  </a:solidFill>
                  <a:prstDash val="solid"/>
                  <a:miter lim="800000"/>
                </a:ln>
                <a:effectLst/>
              </p:spPr>
            </p:cxnSp>
            <p:sp>
              <p:nvSpPr>
                <p:cNvPr id="12" name="Freeform 29">
                  <a:extLst>
                    <a:ext uri="{FF2B5EF4-FFF2-40B4-BE49-F238E27FC236}">
                      <a16:creationId xmlns:a16="http://schemas.microsoft.com/office/drawing/2014/main" id="{7AD30F2E-9196-9ED8-B983-C1593AE5579D}"/>
                    </a:ext>
                  </a:extLst>
                </p:cNvPr>
                <p:cNvSpPr>
                  <a:spLocks/>
                </p:cNvSpPr>
                <p:nvPr/>
              </p:nvSpPr>
              <p:spPr bwMode="auto">
                <a:xfrm flipH="1">
                  <a:off x="6265925" y="5482691"/>
                  <a:ext cx="1543586" cy="700952"/>
                </a:xfrm>
                <a:custGeom>
                  <a:avLst/>
                  <a:gdLst>
                    <a:gd name="T0" fmla="*/ 873 w 873"/>
                    <a:gd name="T1" fmla="*/ 396 h 396"/>
                    <a:gd name="T2" fmla="*/ 571 w 873"/>
                    <a:gd name="T3" fmla="*/ 149 h 396"/>
                    <a:gd name="T4" fmla="*/ 122 w 873"/>
                    <a:gd name="T5" fmla="*/ 114 h 396"/>
                    <a:gd name="T6" fmla="*/ 13 w 873"/>
                    <a:gd name="T7" fmla="*/ 396 h 396"/>
                    <a:gd name="T8" fmla="*/ 873 w 873"/>
                    <a:gd name="T9" fmla="*/ 396 h 396"/>
                  </a:gdLst>
                  <a:ahLst/>
                  <a:cxnLst>
                    <a:cxn ang="0">
                      <a:pos x="T0" y="T1"/>
                    </a:cxn>
                    <a:cxn ang="0">
                      <a:pos x="T2" y="T3"/>
                    </a:cxn>
                    <a:cxn ang="0">
                      <a:pos x="T4" y="T5"/>
                    </a:cxn>
                    <a:cxn ang="0">
                      <a:pos x="T6" y="T7"/>
                    </a:cxn>
                    <a:cxn ang="0">
                      <a:pos x="T8" y="T9"/>
                    </a:cxn>
                  </a:cxnLst>
                  <a:rect l="0" t="0" r="r" b="b"/>
                  <a:pathLst>
                    <a:path w="873" h="396">
                      <a:moveTo>
                        <a:pt x="873" y="396"/>
                      </a:moveTo>
                      <a:cubicBezTo>
                        <a:pt x="755" y="329"/>
                        <a:pt x="654" y="246"/>
                        <a:pt x="571" y="149"/>
                      </a:cubicBezTo>
                      <a:cubicBezTo>
                        <a:pt x="457" y="15"/>
                        <a:pt x="255" y="0"/>
                        <a:pt x="122" y="114"/>
                      </a:cubicBezTo>
                      <a:cubicBezTo>
                        <a:pt x="37" y="186"/>
                        <a:pt x="0" y="293"/>
                        <a:pt x="13" y="396"/>
                      </a:cubicBezTo>
                      <a:lnTo>
                        <a:pt x="873" y="396"/>
                      </a:lnTo>
                      <a:close/>
                    </a:path>
                  </a:pathLst>
                </a:custGeom>
                <a:solidFill>
                  <a:sysClr val="window" lastClr="FFFFFF">
                    <a:alpha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Univers for KPMG" panose="020B0603020202020204" pitchFamily="34" charset="0"/>
                    <a:ea typeface="+mn-ea"/>
                    <a:cs typeface="Arial" panose="020B0604020202020204" pitchFamily="34" charset="0"/>
                  </a:endParaRPr>
                </a:p>
              </p:txBody>
            </p:sp>
            <p:grpSp>
              <p:nvGrpSpPr>
                <p:cNvPr id="13" name="Group 12">
                  <a:extLst>
                    <a:ext uri="{FF2B5EF4-FFF2-40B4-BE49-F238E27FC236}">
                      <a16:creationId xmlns:a16="http://schemas.microsoft.com/office/drawing/2014/main" id="{73D3E543-CB40-9CE2-73CB-7A9FD3A93823}"/>
                    </a:ext>
                  </a:extLst>
                </p:cNvPr>
                <p:cNvGrpSpPr/>
                <p:nvPr/>
              </p:nvGrpSpPr>
              <p:grpSpPr>
                <a:xfrm>
                  <a:off x="1285274" y="5561053"/>
                  <a:ext cx="548288" cy="1261872"/>
                  <a:chOff x="1285274" y="5561053"/>
                  <a:chExt cx="548288" cy="1261872"/>
                </a:xfrm>
              </p:grpSpPr>
              <p:sp>
                <p:nvSpPr>
                  <p:cNvPr id="14" name="Freeform 13">
                    <a:extLst>
                      <a:ext uri="{FF2B5EF4-FFF2-40B4-BE49-F238E27FC236}">
                        <a16:creationId xmlns:a16="http://schemas.microsoft.com/office/drawing/2014/main" id="{DB7A489B-2A85-EFB2-EFE4-C1DC38FADEA1}"/>
                      </a:ext>
                    </a:extLst>
                  </p:cNvPr>
                  <p:cNvSpPr/>
                  <p:nvPr/>
                </p:nvSpPr>
                <p:spPr>
                  <a:xfrm>
                    <a:off x="1465289" y="5561053"/>
                    <a:ext cx="188259" cy="1261872"/>
                  </a:xfrm>
                  <a:custGeom>
                    <a:avLst/>
                    <a:gdLst>
                      <a:gd name="connsiteX0" fmla="*/ 0 w 188259"/>
                      <a:gd name="connsiteY0" fmla="*/ 0 h 1261872"/>
                      <a:gd name="connsiteX1" fmla="*/ 188259 w 188259"/>
                      <a:gd name="connsiteY1" fmla="*/ 0 h 1261872"/>
                      <a:gd name="connsiteX2" fmla="*/ 188259 w 188259"/>
                      <a:gd name="connsiteY2" fmla="*/ 1167743 h 1261872"/>
                      <a:gd name="connsiteX3" fmla="*/ 130769 w 188259"/>
                      <a:gd name="connsiteY3" fmla="*/ 1254476 h 1261872"/>
                      <a:gd name="connsiteX4" fmla="*/ 94134 w 188259"/>
                      <a:gd name="connsiteY4" fmla="*/ 1261872 h 1261872"/>
                      <a:gd name="connsiteX5" fmla="*/ 94130 w 188259"/>
                      <a:gd name="connsiteY5" fmla="*/ 1261872 h 1261872"/>
                      <a:gd name="connsiteX6" fmla="*/ 0 w 188259"/>
                      <a:gd name="connsiteY6" fmla="*/ 1167742 h 1261872"/>
                      <a:gd name="connsiteX7" fmla="*/ 0 w 188259"/>
                      <a:gd name="connsiteY7" fmla="*/ 0 h 1261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259" h="1261872">
                        <a:moveTo>
                          <a:pt x="0" y="0"/>
                        </a:moveTo>
                        <a:lnTo>
                          <a:pt x="188259" y="0"/>
                        </a:lnTo>
                        <a:lnTo>
                          <a:pt x="188259" y="1167743"/>
                        </a:lnTo>
                        <a:cubicBezTo>
                          <a:pt x="188259" y="1206733"/>
                          <a:pt x="164554" y="1240186"/>
                          <a:pt x="130769" y="1254476"/>
                        </a:cubicBezTo>
                        <a:lnTo>
                          <a:pt x="94134" y="1261872"/>
                        </a:lnTo>
                        <a:lnTo>
                          <a:pt x="94130" y="1261872"/>
                        </a:lnTo>
                        <a:cubicBezTo>
                          <a:pt x="42143" y="1261872"/>
                          <a:pt x="0" y="1219729"/>
                          <a:pt x="0" y="1167742"/>
                        </a:cubicBezTo>
                        <a:lnTo>
                          <a:pt x="0" y="0"/>
                        </a:lnTo>
                        <a:close/>
                      </a:path>
                    </a:pathLst>
                  </a:custGeom>
                  <a:solidFill>
                    <a:srgbClr val="00A3A1"/>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nvGrpSpPr>
                  <p:cNvPr id="15" name="Group 14">
                    <a:extLst>
                      <a:ext uri="{FF2B5EF4-FFF2-40B4-BE49-F238E27FC236}">
                        <a16:creationId xmlns:a16="http://schemas.microsoft.com/office/drawing/2014/main" id="{5FC8F984-4CD3-6AE5-CC02-455A2696949B}"/>
                      </a:ext>
                    </a:extLst>
                  </p:cNvPr>
                  <p:cNvGrpSpPr/>
                  <p:nvPr/>
                </p:nvGrpSpPr>
                <p:grpSpPr>
                  <a:xfrm>
                    <a:off x="1285274" y="5917845"/>
                    <a:ext cx="548288" cy="548288"/>
                    <a:chOff x="1285274" y="5917845"/>
                    <a:chExt cx="548288" cy="548288"/>
                  </a:xfrm>
                </p:grpSpPr>
                <p:grpSp>
                  <p:nvGrpSpPr>
                    <p:cNvPr id="16" name="Group 15">
                      <a:extLst>
                        <a:ext uri="{FF2B5EF4-FFF2-40B4-BE49-F238E27FC236}">
                          <a16:creationId xmlns:a16="http://schemas.microsoft.com/office/drawing/2014/main" id="{C3B59F6F-F217-509B-2E43-C57C5A53D193}"/>
                        </a:ext>
                      </a:extLst>
                    </p:cNvPr>
                    <p:cNvGrpSpPr/>
                    <p:nvPr/>
                  </p:nvGrpSpPr>
                  <p:grpSpPr>
                    <a:xfrm>
                      <a:off x="1285274" y="5917845"/>
                      <a:ext cx="548288" cy="548288"/>
                      <a:chOff x="4114891" y="1309087"/>
                      <a:chExt cx="548288" cy="548288"/>
                    </a:xfrm>
                  </p:grpSpPr>
                  <p:sp>
                    <p:nvSpPr>
                      <p:cNvPr id="18" name="Oval 17">
                        <a:extLst>
                          <a:ext uri="{FF2B5EF4-FFF2-40B4-BE49-F238E27FC236}">
                            <a16:creationId xmlns:a16="http://schemas.microsoft.com/office/drawing/2014/main" id="{BAE985DE-D5E2-65DD-FA2B-DE485928AEFC}"/>
                          </a:ext>
                        </a:extLst>
                      </p:cNvPr>
                      <p:cNvSpPr/>
                      <p:nvPr/>
                    </p:nvSpPr>
                    <p:spPr>
                      <a:xfrm>
                        <a:off x="4114891" y="1309087"/>
                        <a:ext cx="548288" cy="548288"/>
                      </a:xfrm>
                      <a:prstGeom prst="ellipse">
                        <a:avLst/>
                      </a:prstGeom>
                      <a:solidFill>
                        <a:srgbClr val="00A3A1">
                          <a:lumMod val="75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sp>
                    <p:nvSpPr>
                      <p:cNvPr id="19" name="Oval 18">
                        <a:extLst>
                          <a:ext uri="{FF2B5EF4-FFF2-40B4-BE49-F238E27FC236}">
                            <a16:creationId xmlns:a16="http://schemas.microsoft.com/office/drawing/2014/main" id="{8C8BA985-E8FE-B11A-9960-797664BE8AA4}"/>
                          </a:ext>
                        </a:extLst>
                      </p:cNvPr>
                      <p:cNvSpPr/>
                      <p:nvPr/>
                    </p:nvSpPr>
                    <p:spPr>
                      <a:xfrm>
                        <a:off x="4187020" y="1381216"/>
                        <a:ext cx="404030" cy="404030"/>
                      </a:xfrm>
                      <a:prstGeom prst="ellipse">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sp>
                  <p:nvSpPr>
                    <p:cNvPr id="17" name="TextBox 115">
                      <a:extLst>
                        <a:ext uri="{FF2B5EF4-FFF2-40B4-BE49-F238E27FC236}">
                          <a16:creationId xmlns:a16="http://schemas.microsoft.com/office/drawing/2014/main" id="{736D3308-6838-3A02-2556-F016FB19AA4C}"/>
                        </a:ext>
                      </a:extLst>
                    </p:cNvPr>
                    <p:cNvSpPr txBox="1"/>
                    <p:nvPr/>
                  </p:nvSpPr>
                  <p:spPr>
                    <a:xfrm>
                      <a:off x="1301241" y="5993149"/>
                      <a:ext cx="514912" cy="3804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A3A1">
                              <a:lumMod val="75000"/>
                            </a:srgbClr>
                          </a:solidFill>
                          <a:effectLst/>
                          <a:uLnTx/>
                          <a:uFillTx/>
                          <a:latin typeface="Univers for KPMG" panose="020B0603020202020204" pitchFamily="34" charset="0"/>
                          <a:ea typeface="Cambria Math" panose="02040503050406030204" pitchFamily="18" charset="0"/>
                          <a:cs typeface="Arial" panose="020B0604020202020204" pitchFamily="34" charset="0"/>
                        </a:rPr>
                        <a:t>05</a:t>
                      </a:r>
                    </a:p>
                  </p:txBody>
                </p:sp>
              </p:grpSp>
            </p:grpSp>
          </p:grpSp>
        </p:grpSp>
      </p:grpSp>
      <p:sp>
        <p:nvSpPr>
          <p:cNvPr id="66" name="Arrow: Right 65">
            <a:extLst>
              <a:ext uri="{FF2B5EF4-FFF2-40B4-BE49-F238E27FC236}">
                <a16:creationId xmlns:a16="http://schemas.microsoft.com/office/drawing/2014/main" id="{F463279C-820E-EFBA-8474-A9C69E31D9BF}"/>
              </a:ext>
            </a:extLst>
          </p:cNvPr>
          <p:cNvSpPr/>
          <p:nvPr/>
        </p:nvSpPr>
        <p:spPr>
          <a:xfrm>
            <a:off x="2468880" y="4728198"/>
            <a:ext cx="2286000" cy="67865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itle 67">
            <a:extLst>
              <a:ext uri="{FF2B5EF4-FFF2-40B4-BE49-F238E27FC236}">
                <a16:creationId xmlns:a16="http://schemas.microsoft.com/office/drawing/2014/main" id="{1CEC8CB3-CDF9-74FA-1C5C-769DFE1EE063}"/>
              </a:ext>
            </a:extLst>
          </p:cNvPr>
          <p:cNvSpPr>
            <a:spLocks noGrp="1"/>
          </p:cNvSpPr>
          <p:nvPr>
            <p:ph type="title"/>
          </p:nvPr>
        </p:nvSpPr>
        <p:spPr/>
        <p:txBody>
          <a:bodyPr/>
          <a:lstStyle/>
          <a:p>
            <a:r>
              <a:rPr lang="en-US"/>
              <a:t>Procurement</a:t>
            </a:r>
          </a:p>
        </p:txBody>
      </p:sp>
    </p:spTree>
    <p:custDataLst>
      <p:tags r:id="rId1"/>
    </p:custDataLst>
    <p:extLst>
      <p:ext uri="{BB962C8B-B14F-4D97-AF65-F5344CB8AC3E}">
        <p14:creationId xmlns:p14="http://schemas.microsoft.com/office/powerpoint/2010/main" val="14627899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8E91D56A-3AF5-E433-275F-400EF3BA0612}"/>
              </a:ext>
            </a:extLst>
          </p:cNvPr>
          <p:cNvSpPr>
            <a:spLocks noGrp="1"/>
          </p:cNvSpPr>
          <p:nvPr>
            <p:ph type="title"/>
          </p:nvPr>
        </p:nvSpPr>
        <p:spPr>
          <a:xfrm>
            <a:off x="1186855" y="66725"/>
            <a:ext cx="10515600" cy="1018714"/>
          </a:xfrm>
        </p:spPr>
        <p:txBody>
          <a:bodyPr/>
          <a:lstStyle/>
          <a:p>
            <a:r>
              <a:rPr lang="en-US">
                <a:latin typeface="+mn-lt"/>
              </a:rPr>
              <a:t>Group Activity – Procurement</a:t>
            </a:r>
          </a:p>
        </p:txBody>
      </p:sp>
      <p:sp>
        <p:nvSpPr>
          <p:cNvPr id="7" name="Text Placeholder 4">
            <a:extLst>
              <a:ext uri="{FF2B5EF4-FFF2-40B4-BE49-F238E27FC236}">
                <a16:creationId xmlns:a16="http://schemas.microsoft.com/office/drawing/2014/main" id="{F94C1A5D-E948-7825-DE85-4F49B98567AC}"/>
              </a:ext>
            </a:extLst>
          </p:cNvPr>
          <p:cNvSpPr>
            <a:spLocks noGrp="1"/>
          </p:cNvSpPr>
          <p:nvPr>
            <p:ph type="body" sz="quarter" idx="10"/>
          </p:nvPr>
        </p:nvSpPr>
        <p:spPr>
          <a:xfrm>
            <a:off x="642412" y="1358047"/>
            <a:ext cx="10195200" cy="4546800"/>
          </a:xfrm>
        </p:spPr>
        <p:txBody>
          <a:bodyPr>
            <a:normAutofit/>
          </a:bodyPr>
          <a:lstStyle/>
          <a:p>
            <a:pPr marL="0" indent="0">
              <a:buNone/>
            </a:pPr>
            <a:r>
              <a:rPr lang="en-US" b="1">
                <a:latin typeface="+mn-lt"/>
              </a:rPr>
              <a:t>Instructions:</a:t>
            </a:r>
          </a:p>
          <a:p>
            <a:pPr marL="971550" lvl="1" indent="-514350">
              <a:buFont typeface="+mj-lt"/>
              <a:buAutoNum type="arabicPeriod"/>
            </a:pPr>
            <a:r>
              <a:rPr lang="en-US">
                <a:latin typeface="+mn-lt"/>
              </a:rPr>
              <a:t>In your group, review the Procurement questions (22 – 33).</a:t>
            </a:r>
          </a:p>
          <a:p>
            <a:pPr marL="971550" lvl="1" indent="-514350">
              <a:buFont typeface="+mj-lt"/>
              <a:buAutoNum type="arabicPeriod"/>
            </a:pPr>
            <a:r>
              <a:rPr lang="en-US">
                <a:latin typeface="+mn-lt"/>
              </a:rPr>
              <a:t>Discuss the following questions in your group:</a:t>
            </a:r>
          </a:p>
          <a:p>
            <a:pPr marL="1428750" lvl="2" indent="-514350">
              <a:buFont typeface="+mj-lt"/>
              <a:buAutoNum type="arabicPeriod"/>
            </a:pPr>
            <a:r>
              <a:rPr lang="en-US" sz="2400">
                <a:latin typeface="+mn-lt"/>
              </a:rPr>
              <a:t>Which questions will be the easiest to find answers for?</a:t>
            </a:r>
          </a:p>
          <a:p>
            <a:pPr marL="1428750" lvl="2" indent="-514350">
              <a:buFont typeface="+mj-lt"/>
              <a:buAutoNum type="arabicPeriod"/>
            </a:pPr>
            <a:r>
              <a:rPr lang="en-US" sz="2400">
                <a:latin typeface="+mn-lt"/>
              </a:rPr>
              <a:t>Which questions will be the most difficult to find answers for?</a:t>
            </a:r>
          </a:p>
          <a:p>
            <a:pPr marL="1428750" lvl="2" indent="-514350">
              <a:buFont typeface="+mj-lt"/>
              <a:buAutoNum type="arabicPeriod"/>
            </a:pPr>
            <a:r>
              <a:rPr lang="en-US" sz="2400">
                <a:latin typeface="+mn-lt"/>
              </a:rPr>
              <a:t>Do you know who you will reach out to in your organization for additional information or feedback?</a:t>
            </a:r>
          </a:p>
          <a:p>
            <a:pPr marL="1428750" lvl="2" indent="-514350">
              <a:buFont typeface="+mj-lt"/>
              <a:buAutoNum type="arabicPeriod"/>
            </a:pPr>
            <a:r>
              <a:rPr lang="en-US" sz="2400">
                <a:latin typeface="+mn-lt"/>
              </a:rPr>
              <a:t>Are there any questions that are unclear and could use more context?</a:t>
            </a:r>
          </a:p>
          <a:p>
            <a:pPr marL="971550" lvl="1" indent="-514350">
              <a:buFont typeface="+mj-lt"/>
              <a:buAutoNum type="arabicPeriod"/>
            </a:pPr>
            <a:r>
              <a:rPr lang="en-US">
                <a:latin typeface="+mn-lt"/>
              </a:rPr>
              <a:t>Designate one of your teammates to report back to the class.</a:t>
            </a:r>
          </a:p>
          <a:p>
            <a:pPr marL="1428750" lvl="2" indent="-514350">
              <a:buFont typeface="+mj-lt"/>
              <a:buAutoNum type="arabicPeriod"/>
            </a:pPr>
            <a:endParaRPr lang="en-US" sz="2400"/>
          </a:p>
        </p:txBody>
      </p:sp>
      <p:sp>
        <p:nvSpPr>
          <p:cNvPr id="69" name="TextBox 68">
            <a:extLst>
              <a:ext uri="{FF2B5EF4-FFF2-40B4-BE49-F238E27FC236}">
                <a16:creationId xmlns:a16="http://schemas.microsoft.com/office/drawing/2014/main" id="{CB48182D-6FFF-F348-AE1E-B0EB7D339C89}"/>
              </a:ext>
            </a:extLst>
          </p:cNvPr>
          <p:cNvSpPr txBox="1"/>
          <p:nvPr/>
        </p:nvSpPr>
        <p:spPr>
          <a:xfrm>
            <a:off x="3166310" y="6627168"/>
            <a:ext cx="5859379" cy="253916"/>
          </a:xfrm>
          <a:prstGeom prst="rect">
            <a:avLst/>
          </a:prstGeom>
          <a:noFill/>
        </p:spPr>
        <p:txBody>
          <a:bodyPr wrap="square" rtlCol="0">
            <a:spAutoFit/>
          </a:bodyPr>
          <a:lstStyle/>
          <a:p>
            <a:pPr algn="ctr"/>
            <a:r>
              <a:rPr lang="en-US" sz="1050">
                <a:solidFill>
                  <a:schemeClr val="bg2">
                    <a:lumMod val="90000"/>
                  </a:schemeClr>
                </a:solidFill>
              </a:rPr>
              <a:t>Applicant Experience – Policy and Procedure – Documentation – </a:t>
            </a:r>
            <a:r>
              <a:rPr lang="en-US" sz="1050" b="1" u="sng"/>
              <a:t>Procurement</a:t>
            </a:r>
            <a:r>
              <a:rPr lang="en-US" sz="1050">
                <a:solidFill>
                  <a:schemeClr val="bg2">
                    <a:lumMod val="90000"/>
                  </a:schemeClr>
                </a:solidFill>
              </a:rPr>
              <a:t> – Contract Administration</a:t>
            </a:r>
          </a:p>
        </p:txBody>
      </p:sp>
      <p:pic>
        <p:nvPicPr>
          <p:cNvPr id="71" name="Picture 70">
            <a:extLst>
              <a:ext uri="{FF2B5EF4-FFF2-40B4-BE49-F238E27FC236}">
                <a16:creationId xmlns:a16="http://schemas.microsoft.com/office/drawing/2014/main" id="{CB914ADF-773B-37F8-D93B-D8E217F661EC}"/>
              </a:ext>
            </a:extLst>
          </p:cNvPr>
          <p:cNvPicPr>
            <a:picLocks noChangeAspect="1"/>
          </p:cNvPicPr>
          <p:nvPr/>
        </p:nvPicPr>
        <p:blipFill>
          <a:blip r:embed="rId3"/>
          <a:stretch>
            <a:fillRect/>
          </a:stretch>
        </p:blipFill>
        <p:spPr>
          <a:xfrm>
            <a:off x="9629055" y="4933315"/>
            <a:ext cx="2417114" cy="1809269"/>
          </a:xfrm>
          <a:prstGeom prst="rect">
            <a:avLst/>
          </a:prstGeom>
        </p:spPr>
      </p:pic>
    </p:spTree>
    <p:custDataLst>
      <p:tags r:id="rId1"/>
    </p:custDataLst>
    <p:extLst>
      <p:ext uri="{BB962C8B-B14F-4D97-AF65-F5344CB8AC3E}">
        <p14:creationId xmlns:p14="http://schemas.microsoft.com/office/powerpoint/2010/main" val="397187171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A1AA09C-F596-1BA4-FB1F-0CB3EB6D642C}"/>
              </a:ext>
            </a:extLst>
          </p:cNvPr>
          <p:cNvGrpSpPr>
            <a:grpSpLocks noChangeAspect="1"/>
          </p:cNvGrpSpPr>
          <p:nvPr/>
        </p:nvGrpSpPr>
        <p:grpSpPr>
          <a:xfrm>
            <a:off x="4962808" y="1853610"/>
            <a:ext cx="4749955" cy="4601348"/>
            <a:chOff x="1285274" y="502807"/>
            <a:chExt cx="6524237" cy="6320118"/>
          </a:xfrm>
        </p:grpSpPr>
        <p:grpSp>
          <p:nvGrpSpPr>
            <p:cNvPr id="3" name="Group 2">
              <a:extLst>
                <a:ext uri="{FF2B5EF4-FFF2-40B4-BE49-F238E27FC236}">
                  <a16:creationId xmlns:a16="http://schemas.microsoft.com/office/drawing/2014/main" id="{64AAC912-B75F-6974-378C-260AACEA3B46}"/>
                </a:ext>
              </a:extLst>
            </p:cNvPr>
            <p:cNvGrpSpPr/>
            <p:nvPr/>
          </p:nvGrpSpPr>
          <p:grpSpPr>
            <a:xfrm>
              <a:off x="1285274" y="502807"/>
              <a:ext cx="5254075" cy="5729174"/>
              <a:chOff x="1285274" y="502807"/>
              <a:chExt cx="5254075" cy="5729174"/>
            </a:xfrm>
          </p:grpSpPr>
          <p:grpSp>
            <p:nvGrpSpPr>
              <p:cNvPr id="54" name="Group 53">
                <a:extLst>
                  <a:ext uri="{FF2B5EF4-FFF2-40B4-BE49-F238E27FC236}">
                    <a16:creationId xmlns:a16="http://schemas.microsoft.com/office/drawing/2014/main" id="{0AF673A8-C98D-1D86-C84B-3A819763DA60}"/>
                  </a:ext>
                </a:extLst>
              </p:cNvPr>
              <p:cNvGrpSpPr/>
              <p:nvPr/>
            </p:nvGrpSpPr>
            <p:grpSpPr>
              <a:xfrm>
                <a:off x="1952452" y="1136154"/>
                <a:ext cx="4397102" cy="5095827"/>
                <a:chOff x="-4990" y="1221012"/>
                <a:chExt cx="4397102" cy="5095827"/>
              </a:xfrm>
            </p:grpSpPr>
            <p:sp>
              <p:nvSpPr>
                <p:cNvPr id="64" name="Rectangle 63">
                  <a:extLst>
                    <a:ext uri="{FF2B5EF4-FFF2-40B4-BE49-F238E27FC236}">
                      <a16:creationId xmlns:a16="http://schemas.microsoft.com/office/drawing/2014/main" id="{1B95D792-0153-CC8A-7FA3-929A822E54A1}"/>
                    </a:ext>
                  </a:extLst>
                </p:cNvPr>
                <p:cNvSpPr/>
                <p:nvPr/>
              </p:nvSpPr>
              <p:spPr>
                <a:xfrm flipH="1">
                  <a:off x="73927" y="1221012"/>
                  <a:ext cx="4318185" cy="33819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a:ln>
                      <a:noFill/>
                    </a:ln>
                    <a:solidFill>
                      <a:srgbClr val="7F7F7F"/>
                    </a:solidFill>
                    <a:effectLst/>
                    <a:uLnTx/>
                    <a:uFillTx/>
                    <a:latin typeface="Univers for KPMG" panose="020B0603020202020204" pitchFamily="34" charset="0"/>
                    <a:ea typeface="+mn-ea"/>
                    <a:cs typeface="Arial" panose="020B0604020202020204" pitchFamily="34" charset="0"/>
                  </a:endParaRPr>
                </a:p>
              </p:txBody>
            </p:sp>
            <p:sp>
              <p:nvSpPr>
                <p:cNvPr id="65" name="TextBox 81">
                  <a:extLst>
                    <a:ext uri="{FF2B5EF4-FFF2-40B4-BE49-F238E27FC236}">
                      <a16:creationId xmlns:a16="http://schemas.microsoft.com/office/drawing/2014/main" id="{F842A082-3D9E-A620-20C0-FEACD97DD6C3}"/>
                    </a:ext>
                  </a:extLst>
                </p:cNvPr>
                <p:cNvSpPr txBox="1"/>
                <p:nvPr/>
              </p:nvSpPr>
              <p:spPr>
                <a:xfrm flipH="1">
                  <a:off x="-4990" y="5809548"/>
                  <a:ext cx="4275412" cy="50729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00A3A1"/>
                      </a:solidFill>
                      <a:effectLst/>
                      <a:uLnTx/>
                      <a:uFillTx/>
                      <a:latin typeface="Calibri" panose="020F0502020204030204"/>
                      <a:ea typeface="+mn-ea"/>
                      <a:cs typeface="Arial" panose="020B0604020202020204" pitchFamily="34" charset="0"/>
                    </a:rPr>
                    <a:t>Contract Administration </a:t>
                  </a:r>
                </a:p>
              </p:txBody>
            </p:sp>
          </p:grpSp>
          <p:grpSp>
            <p:nvGrpSpPr>
              <p:cNvPr id="55" name="Group 54">
                <a:extLst>
                  <a:ext uri="{FF2B5EF4-FFF2-40B4-BE49-F238E27FC236}">
                    <a16:creationId xmlns:a16="http://schemas.microsoft.com/office/drawing/2014/main" id="{4F6B750D-1FA1-A60E-11EB-9677331A6A20}"/>
                  </a:ext>
                </a:extLst>
              </p:cNvPr>
              <p:cNvGrpSpPr/>
              <p:nvPr/>
            </p:nvGrpSpPr>
            <p:grpSpPr>
              <a:xfrm>
                <a:off x="1285274" y="502807"/>
                <a:ext cx="5254075" cy="1261872"/>
                <a:chOff x="1285274" y="502807"/>
                <a:chExt cx="5254075" cy="1261872"/>
              </a:xfrm>
            </p:grpSpPr>
            <p:cxnSp>
              <p:nvCxnSpPr>
                <p:cNvPr id="56" name="Straight Connector 55">
                  <a:extLst>
                    <a:ext uri="{FF2B5EF4-FFF2-40B4-BE49-F238E27FC236}">
                      <a16:creationId xmlns:a16="http://schemas.microsoft.com/office/drawing/2014/main" id="{5EBB59EC-C088-8A96-D6B6-2404D2CF6D76}"/>
                    </a:ext>
                  </a:extLst>
                </p:cNvPr>
                <p:cNvCxnSpPr/>
                <p:nvPr/>
              </p:nvCxnSpPr>
              <p:spPr>
                <a:xfrm>
                  <a:off x="1601589" y="1127393"/>
                  <a:ext cx="4937760" cy="0"/>
                </a:xfrm>
                <a:prstGeom prst="line">
                  <a:avLst/>
                </a:prstGeom>
                <a:noFill/>
                <a:ln w="6350" cap="flat" cmpd="sng" algn="ctr">
                  <a:solidFill>
                    <a:srgbClr val="00338D"/>
                  </a:solidFill>
                  <a:prstDash val="solid"/>
                  <a:miter lim="800000"/>
                </a:ln>
                <a:effectLst/>
              </p:spPr>
            </p:cxnSp>
            <p:grpSp>
              <p:nvGrpSpPr>
                <p:cNvPr id="57" name="Group 56">
                  <a:extLst>
                    <a:ext uri="{FF2B5EF4-FFF2-40B4-BE49-F238E27FC236}">
                      <a16:creationId xmlns:a16="http://schemas.microsoft.com/office/drawing/2014/main" id="{B6219ED4-6CF6-C724-F690-444633C32C5D}"/>
                    </a:ext>
                  </a:extLst>
                </p:cNvPr>
                <p:cNvGrpSpPr/>
                <p:nvPr/>
              </p:nvGrpSpPr>
              <p:grpSpPr>
                <a:xfrm>
                  <a:off x="1285274" y="502807"/>
                  <a:ext cx="548288" cy="1261872"/>
                  <a:chOff x="1285274" y="502807"/>
                  <a:chExt cx="548288" cy="1261872"/>
                </a:xfrm>
              </p:grpSpPr>
              <p:sp>
                <p:nvSpPr>
                  <p:cNvPr id="58" name="Freeform 109">
                    <a:extLst>
                      <a:ext uri="{FF2B5EF4-FFF2-40B4-BE49-F238E27FC236}">
                        <a16:creationId xmlns:a16="http://schemas.microsoft.com/office/drawing/2014/main" id="{D0D52C29-6887-EF52-9614-706F967030E9}"/>
                      </a:ext>
                    </a:extLst>
                  </p:cNvPr>
                  <p:cNvSpPr/>
                  <p:nvPr/>
                </p:nvSpPr>
                <p:spPr>
                  <a:xfrm>
                    <a:off x="1465288" y="502807"/>
                    <a:ext cx="188260" cy="1261872"/>
                  </a:xfrm>
                  <a:custGeom>
                    <a:avLst/>
                    <a:gdLst>
                      <a:gd name="connsiteX0" fmla="*/ 94130 w 188260"/>
                      <a:gd name="connsiteY0" fmla="*/ 0 h 1261872"/>
                      <a:gd name="connsiteX1" fmla="*/ 188260 w 188260"/>
                      <a:gd name="connsiteY1" fmla="*/ 94130 h 1261872"/>
                      <a:gd name="connsiteX2" fmla="*/ 188260 w 188260"/>
                      <a:gd name="connsiteY2" fmla="*/ 1261872 h 1261872"/>
                      <a:gd name="connsiteX3" fmla="*/ 0 w 188260"/>
                      <a:gd name="connsiteY3" fmla="*/ 1261872 h 1261872"/>
                      <a:gd name="connsiteX4" fmla="*/ 0 w 188260"/>
                      <a:gd name="connsiteY4" fmla="*/ 94130 h 1261872"/>
                      <a:gd name="connsiteX5" fmla="*/ 94130 w 188260"/>
                      <a:gd name="connsiteY5" fmla="*/ 0 h 1261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260" h="1261872">
                        <a:moveTo>
                          <a:pt x="94130" y="0"/>
                        </a:moveTo>
                        <a:cubicBezTo>
                          <a:pt x="146117" y="0"/>
                          <a:pt x="188260" y="42143"/>
                          <a:pt x="188260" y="94130"/>
                        </a:cubicBezTo>
                        <a:lnTo>
                          <a:pt x="188260" y="1261872"/>
                        </a:lnTo>
                        <a:lnTo>
                          <a:pt x="0" y="1261872"/>
                        </a:lnTo>
                        <a:lnTo>
                          <a:pt x="0" y="94130"/>
                        </a:lnTo>
                        <a:cubicBezTo>
                          <a:pt x="0" y="42143"/>
                          <a:pt x="42143" y="0"/>
                          <a:pt x="94130" y="0"/>
                        </a:cubicBezTo>
                        <a:close/>
                      </a:path>
                    </a:pathLst>
                  </a:custGeom>
                  <a:solidFill>
                    <a:srgbClr val="00338D"/>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nvGrpSpPr>
                  <p:cNvPr id="59" name="Group 58">
                    <a:extLst>
                      <a:ext uri="{FF2B5EF4-FFF2-40B4-BE49-F238E27FC236}">
                        <a16:creationId xmlns:a16="http://schemas.microsoft.com/office/drawing/2014/main" id="{04C916B6-F923-7597-84E5-8EE64441F1EB}"/>
                      </a:ext>
                    </a:extLst>
                  </p:cNvPr>
                  <p:cNvGrpSpPr/>
                  <p:nvPr/>
                </p:nvGrpSpPr>
                <p:grpSpPr>
                  <a:xfrm>
                    <a:off x="1285274" y="859599"/>
                    <a:ext cx="548288" cy="548288"/>
                    <a:chOff x="1285274" y="859599"/>
                    <a:chExt cx="548288" cy="548288"/>
                  </a:xfrm>
                </p:grpSpPr>
                <p:grpSp>
                  <p:nvGrpSpPr>
                    <p:cNvPr id="60" name="Group 59">
                      <a:extLst>
                        <a:ext uri="{FF2B5EF4-FFF2-40B4-BE49-F238E27FC236}">
                          <a16:creationId xmlns:a16="http://schemas.microsoft.com/office/drawing/2014/main" id="{125B1425-3D7F-5CBA-1894-E367782204DA}"/>
                        </a:ext>
                      </a:extLst>
                    </p:cNvPr>
                    <p:cNvGrpSpPr/>
                    <p:nvPr/>
                  </p:nvGrpSpPr>
                  <p:grpSpPr>
                    <a:xfrm>
                      <a:off x="1285274" y="859599"/>
                      <a:ext cx="548288" cy="548288"/>
                      <a:chOff x="4114891" y="1309087"/>
                      <a:chExt cx="548288" cy="548288"/>
                    </a:xfrm>
                  </p:grpSpPr>
                  <p:sp>
                    <p:nvSpPr>
                      <p:cNvPr id="62" name="Oval 61">
                        <a:extLst>
                          <a:ext uri="{FF2B5EF4-FFF2-40B4-BE49-F238E27FC236}">
                            <a16:creationId xmlns:a16="http://schemas.microsoft.com/office/drawing/2014/main" id="{E1F27165-5C4B-BA66-6308-3C0306B28FF0}"/>
                          </a:ext>
                        </a:extLst>
                      </p:cNvPr>
                      <p:cNvSpPr/>
                      <p:nvPr/>
                    </p:nvSpPr>
                    <p:spPr>
                      <a:xfrm>
                        <a:off x="4114891" y="1309087"/>
                        <a:ext cx="548288" cy="548288"/>
                      </a:xfrm>
                      <a:prstGeom prst="ellipse">
                        <a:avLst/>
                      </a:prstGeom>
                      <a:solidFill>
                        <a:srgbClr val="00338D">
                          <a:lumMod val="75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338D"/>
                          </a:solidFill>
                          <a:effectLst/>
                          <a:uLnTx/>
                          <a:uFillTx/>
                          <a:latin typeface="Univers for KPMG" panose="020B0603020202020204" pitchFamily="34" charset="0"/>
                          <a:ea typeface="+mn-ea"/>
                          <a:cs typeface="Arial" panose="020B0604020202020204" pitchFamily="34" charset="0"/>
                        </a:endParaRPr>
                      </a:p>
                    </p:txBody>
                  </p:sp>
                  <p:sp>
                    <p:nvSpPr>
                      <p:cNvPr id="63" name="Oval 62">
                        <a:extLst>
                          <a:ext uri="{FF2B5EF4-FFF2-40B4-BE49-F238E27FC236}">
                            <a16:creationId xmlns:a16="http://schemas.microsoft.com/office/drawing/2014/main" id="{669400FB-7F93-7811-70B8-33E3A88B2458}"/>
                          </a:ext>
                        </a:extLst>
                      </p:cNvPr>
                      <p:cNvSpPr/>
                      <p:nvPr/>
                    </p:nvSpPr>
                    <p:spPr>
                      <a:xfrm>
                        <a:off x="4187020" y="1381216"/>
                        <a:ext cx="404030" cy="404030"/>
                      </a:xfrm>
                      <a:prstGeom prst="ellipse">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sp>
                  <p:nvSpPr>
                    <p:cNvPr id="61" name="TextBox 111">
                      <a:extLst>
                        <a:ext uri="{FF2B5EF4-FFF2-40B4-BE49-F238E27FC236}">
                          <a16:creationId xmlns:a16="http://schemas.microsoft.com/office/drawing/2014/main" id="{9929BA44-C61D-C587-CFDC-A80D3B3880BC}"/>
                        </a:ext>
                      </a:extLst>
                    </p:cNvPr>
                    <p:cNvSpPr txBox="1"/>
                    <p:nvPr/>
                  </p:nvSpPr>
                  <p:spPr>
                    <a:xfrm>
                      <a:off x="1301241" y="938840"/>
                      <a:ext cx="514912" cy="3804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338D"/>
                          </a:solidFill>
                          <a:effectLst/>
                          <a:uLnTx/>
                          <a:uFillTx/>
                          <a:latin typeface="Univers for KPMG" panose="020B0603020202020204" pitchFamily="34" charset="0"/>
                          <a:ea typeface="Cambria Math" panose="02040503050406030204" pitchFamily="18" charset="0"/>
                          <a:cs typeface="Arial" panose="020B0604020202020204" pitchFamily="34" charset="0"/>
                        </a:rPr>
                        <a:t>01</a:t>
                      </a:r>
                    </a:p>
                  </p:txBody>
                </p:sp>
              </p:grpSp>
            </p:grpSp>
          </p:grpSp>
        </p:grpSp>
        <p:grpSp>
          <p:nvGrpSpPr>
            <p:cNvPr id="5" name="Group 4">
              <a:extLst>
                <a:ext uri="{FF2B5EF4-FFF2-40B4-BE49-F238E27FC236}">
                  <a16:creationId xmlns:a16="http://schemas.microsoft.com/office/drawing/2014/main" id="{B4CB40F8-5EDB-C08E-60A3-33E231D14CE7}"/>
                </a:ext>
              </a:extLst>
            </p:cNvPr>
            <p:cNvGrpSpPr/>
            <p:nvPr/>
          </p:nvGrpSpPr>
          <p:grpSpPr>
            <a:xfrm>
              <a:off x="1285274" y="1764679"/>
              <a:ext cx="5254075" cy="3217068"/>
              <a:chOff x="1285274" y="1764679"/>
              <a:chExt cx="5254075" cy="3217068"/>
            </a:xfrm>
          </p:grpSpPr>
          <p:sp>
            <p:nvSpPr>
              <p:cNvPr id="44" name="TextBox 81">
                <a:extLst>
                  <a:ext uri="{FF2B5EF4-FFF2-40B4-BE49-F238E27FC236}">
                    <a16:creationId xmlns:a16="http://schemas.microsoft.com/office/drawing/2014/main" id="{2422E1B1-C5A0-D64F-A838-389074722B24}"/>
                  </a:ext>
                </a:extLst>
              </p:cNvPr>
              <p:cNvSpPr txBox="1"/>
              <p:nvPr/>
            </p:nvSpPr>
            <p:spPr>
              <a:xfrm flipH="1">
                <a:off x="1952453" y="4474456"/>
                <a:ext cx="4275411" cy="50729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005EB8"/>
                    </a:solidFill>
                    <a:effectLst/>
                    <a:uLnTx/>
                    <a:uFillTx/>
                    <a:latin typeface="Calibri" panose="020F0502020204030204"/>
                    <a:ea typeface="+mn-ea"/>
                    <a:cs typeface="Arial" panose="020B0604020202020204" pitchFamily="34" charset="0"/>
                  </a:rPr>
                  <a:t>Procurement</a:t>
                </a:r>
              </a:p>
            </p:txBody>
          </p:sp>
          <p:grpSp>
            <p:nvGrpSpPr>
              <p:cNvPr id="45" name="Group 44">
                <a:extLst>
                  <a:ext uri="{FF2B5EF4-FFF2-40B4-BE49-F238E27FC236}">
                    <a16:creationId xmlns:a16="http://schemas.microsoft.com/office/drawing/2014/main" id="{C2342CDB-40D9-D0E8-4077-4382A47361EA}"/>
                  </a:ext>
                </a:extLst>
              </p:cNvPr>
              <p:cNvGrpSpPr/>
              <p:nvPr/>
            </p:nvGrpSpPr>
            <p:grpSpPr>
              <a:xfrm>
                <a:off x="1285274" y="1764679"/>
                <a:ext cx="5254075" cy="1272628"/>
                <a:chOff x="1285274" y="1764679"/>
                <a:chExt cx="5254075" cy="1272628"/>
              </a:xfrm>
            </p:grpSpPr>
            <p:cxnSp>
              <p:nvCxnSpPr>
                <p:cNvPr id="46" name="Straight Connector 45">
                  <a:extLst>
                    <a:ext uri="{FF2B5EF4-FFF2-40B4-BE49-F238E27FC236}">
                      <a16:creationId xmlns:a16="http://schemas.microsoft.com/office/drawing/2014/main" id="{61F618B1-E8B1-21E5-307F-11A7D56D7EA1}"/>
                    </a:ext>
                  </a:extLst>
                </p:cNvPr>
                <p:cNvCxnSpPr>
                  <a:cxnSpLocks/>
                </p:cNvCxnSpPr>
                <p:nvPr/>
              </p:nvCxnSpPr>
              <p:spPr>
                <a:xfrm>
                  <a:off x="1601589" y="2397818"/>
                  <a:ext cx="4937760" cy="0"/>
                </a:xfrm>
                <a:prstGeom prst="line">
                  <a:avLst/>
                </a:prstGeom>
                <a:noFill/>
                <a:ln w="6350" cap="flat" cmpd="sng" algn="ctr">
                  <a:solidFill>
                    <a:srgbClr val="0091DA"/>
                  </a:solidFill>
                  <a:prstDash val="solid"/>
                  <a:miter lim="800000"/>
                </a:ln>
                <a:effectLst/>
              </p:spPr>
            </p:cxnSp>
            <p:grpSp>
              <p:nvGrpSpPr>
                <p:cNvPr id="47" name="Group 46">
                  <a:extLst>
                    <a:ext uri="{FF2B5EF4-FFF2-40B4-BE49-F238E27FC236}">
                      <a16:creationId xmlns:a16="http://schemas.microsoft.com/office/drawing/2014/main" id="{4ACDC5A8-A6AC-C44F-8795-F1039F44E817}"/>
                    </a:ext>
                  </a:extLst>
                </p:cNvPr>
                <p:cNvGrpSpPr/>
                <p:nvPr/>
              </p:nvGrpSpPr>
              <p:grpSpPr>
                <a:xfrm>
                  <a:off x="1285274" y="1764679"/>
                  <a:ext cx="548288" cy="1272628"/>
                  <a:chOff x="1285274" y="1764679"/>
                  <a:chExt cx="548288" cy="1272628"/>
                </a:xfrm>
              </p:grpSpPr>
              <p:sp>
                <p:nvSpPr>
                  <p:cNvPr id="48" name="Freeform 84">
                    <a:extLst>
                      <a:ext uri="{FF2B5EF4-FFF2-40B4-BE49-F238E27FC236}">
                        <a16:creationId xmlns:a16="http://schemas.microsoft.com/office/drawing/2014/main" id="{9014E2EE-7EC6-A486-E3CE-EE39D42B4864}"/>
                      </a:ext>
                    </a:extLst>
                  </p:cNvPr>
                  <p:cNvSpPr/>
                  <p:nvPr/>
                </p:nvSpPr>
                <p:spPr>
                  <a:xfrm>
                    <a:off x="1465288" y="1764679"/>
                    <a:ext cx="188260" cy="1272628"/>
                  </a:xfrm>
                  <a:custGeom>
                    <a:avLst/>
                    <a:gdLst>
                      <a:gd name="connsiteX0" fmla="*/ 0 w 188260"/>
                      <a:gd name="connsiteY0" fmla="*/ 0 h 1272628"/>
                      <a:gd name="connsiteX1" fmla="*/ 188260 w 188260"/>
                      <a:gd name="connsiteY1" fmla="*/ 0 h 1272628"/>
                      <a:gd name="connsiteX2" fmla="*/ 188260 w 188260"/>
                      <a:gd name="connsiteY2" fmla="*/ 1272628 h 1272628"/>
                      <a:gd name="connsiteX3" fmla="*/ 0 w 188260"/>
                      <a:gd name="connsiteY3" fmla="*/ 1272628 h 1272628"/>
                      <a:gd name="connsiteX4" fmla="*/ 0 w 188260"/>
                      <a:gd name="connsiteY4" fmla="*/ 0 h 12726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260" h="1272628">
                        <a:moveTo>
                          <a:pt x="0" y="0"/>
                        </a:moveTo>
                        <a:lnTo>
                          <a:pt x="188260" y="0"/>
                        </a:lnTo>
                        <a:lnTo>
                          <a:pt x="188260" y="1272628"/>
                        </a:lnTo>
                        <a:lnTo>
                          <a:pt x="0" y="1272628"/>
                        </a:lnTo>
                        <a:lnTo>
                          <a:pt x="0" y="0"/>
                        </a:lnTo>
                        <a:close/>
                      </a:path>
                    </a:pathLst>
                  </a:custGeom>
                  <a:solidFill>
                    <a:srgbClr val="0099D5"/>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91DA"/>
                      </a:solidFill>
                      <a:effectLst/>
                      <a:uLnTx/>
                      <a:uFillTx/>
                      <a:latin typeface="Univers for KPMG" panose="020B0603020202020204" pitchFamily="34" charset="0"/>
                      <a:ea typeface="+mn-ea"/>
                      <a:cs typeface="Arial" panose="020B0604020202020204" pitchFamily="34" charset="0"/>
                    </a:endParaRPr>
                  </a:p>
                </p:txBody>
              </p:sp>
              <p:grpSp>
                <p:nvGrpSpPr>
                  <p:cNvPr id="49" name="Group 48">
                    <a:extLst>
                      <a:ext uri="{FF2B5EF4-FFF2-40B4-BE49-F238E27FC236}">
                        <a16:creationId xmlns:a16="http://schemas.microsoft.com/office/drawing/2014/main" id="{6ECA9A74-0F0C-FF4A-7046-876954E9988B}"/>
                      </a:ext>
                    </a:extLst>
                  </p:cNvPr>
                  <p:cNvGrpSpPr/>
                  <p:nvPr/>
                </p:nvGrpSpPr>
                <p:grpSpPr>
                  <a:xfrm>
                    <a:off x="1285274" y="2126849"/>
                    <a:ext cx="548288" cy="548288"/>
                    <a:chOff x="1285274" y="2126849"/>
                    <a:chExt cx="548288" cy="548288"/>
                  </a:xfrm>
                </p:grpSpPr>
                <p:grpSp>
                  <p:nvGrpSpPr>
                    <p:cNvPr id="50" name="Group 49">
                      <a:extLst>
                        <a:ext uri="{FF2B5EF4-FFF2-40B4-BE49-F238E27FC236}">
                          <a16:creationId xmlns:a16="http://schemas.microsoft.com/office/drawing/2014/main" id="{2D22DC9A-3A59-8B64-B3CF-39287CD56AEF}"/>
                        </a:ext>
                      </a:extLst>
                    </p:cNvPr>
                    <p:cNvGrpSpPr/>
                    <p:nvPr/>
                  </p:nvGrpSpPr>
                  <p:grpSpPr>
                    <a:xfrm>
                      <a:off x="1285274" y="2126849"/>
                      <a:ext cx="548288" cy="548288"/>
                      <a:chOff x="4114891" y="1309087"/>
                      <a:chExt cx="548288" cy="548288"/>
                    </a:xfrm>
                  </p:grpSpPr>
                  <p:sp>
                    <p:nvSpPr>
                      <p:cNvPr id="52" name="Oval 51">
                        <a:extLst>
                          <a:ext uri="{FF2B5EF4-FFF2-40B4-BE49-F238E27FC236}">
                            <a16:creationId xmlns:a16="http://schemas.microsoft.com/office/drawing/2014/main" id="{037EB7CD-8290-ECEF-C9D2-70DA3A471DFA}"/>
                          </a:ext>
                        </a:extLst>
                      </p:cNvPr>
                      <p:cNvSpPr/>
                      <p:nvPr/>
                    </p:nvSpPr>
                    <p:spPr>
                      <a:xfrm>
                        <a:off x="4114891" y="1309087"/>
                        <a:ext cx="548288" cy="548288"/>
                      </a:xfrm>
                      <a:prstGeom prst="ellipse">
                        <a:avLst/>
                      </a:prstGeom>
                      <a:solidFill>
                        <a:srgbClr val="0091DA">
                          <a:lumMod val="75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sp>
                    <p:nvSpPr>
                      <p:cNvPr id="53" name="Oval 52">
                        <a:extLst>
                          <a:ext uri="{FF2B5EF4-FFF2-40B4-BE49-F238E27FC236}">
                            <a16:creationId xmlns:a16="http://schemas.microsoft.com/office/drawing/2014/main" id="{50523C03-D640-0025-52CF-D6BD8DF6FA98}"/>
                          </a:ext>
                        </a:extLst>
                      </p:cNvPr>
                      <p:cNvSpPr/>
                      <p:nvPr/>
                    </p:nvSpPr>
                    <p:spPr>
                      <a:xfrm>
                        <a:off x="4187020" y="1381216"/>
                        <a:ext cx="404030" cy="404030"/>
                      </a:xfrm>
                      <a:prstGeom prst="ellipse">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sp>
                  <p:nvSpPr>
                    <p:cNvPr id="51" name="TextBox 112">
                      <a:extLst>
                        <a:ext uri="{FF2B5EF4-FFF2-40B4-BE49-F238E27FC236}">
                          <a16:creationId xmlns:a16="http://schemas.microsoft.com/office/drawing/2014/main" id="{FC64B2F8-70B9-4077-D92A-09C3E5DBB6B4}"/>
                        </a:ext>
                      </a:extLst>
                    </p:cNvPr>
                    <p:cNvSpPr txBox="1"/>
                    <p:nvPr/>
                  </p:nvSpPr>
                  <p:spPr>
                    <a:xfrm>
                      <a:off x="1301241" y="2217545"/>
                      <a:ext cx="514912" cy="3804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91DA">
                              <a:lumMod val="75000"/>
                            </a:srgbClr>
                          </a:solidFill>
                          <a:effectLst/>
                          <a:uLnTx/>
                          <a:uFillTx/>
                          <a:latin typeface="Univers for KPMG" panose="020B0603020202020204" pitchFamily="34" charset="0"/>
                          <a:ea typeface="Cambria Math" panose="02040503050406030204" pitchFamily="18" charset="0"/>
                          <a:cs typeface="Arial" panose="020B0604020202020204" pitchFamily="34" charset="0"/>
                        </a:rPr>
                        <a:t>02</a:t>
                      </a:r>
                    </a:p>
                  </p:txBody>
                </p:sp>
              </p:grpSp>
            </p:grpSp>
          </p:grpSp>
        </p:grpSp>
        <p:grpSp>
          <p:nvGrpSpPr>
            <p:cNvPr id="6" name="Group 5">
              <a:extLst>
                <a:ext uri="{FF2B5EF4-FFF2-40B4-BE49-F238E27FC236}">
                  <a16:creationId xmlns:a16="http://schemas.microsoft.com/office/drawing/2014/main" id="{855183AC-82EA-A6F5-262B-D9BCF6D97F21}"/>
                </a:ext>
              </a:extLst>
            </p:cNvPr>
            <p:cNvGrpSpPr/>
            <p:nvPr/>
          </p:nvGrpSpPr>
          <p:grpSpPr>
            <a:xfrm>
              <a:off x="1285274" y="1942658"/>
              <a:ext cx="6524237" cy="2356522"/>
              <a:chOff x="1285274" y="1942658"/>
              <a:chExt cx="6524237" cy="2356522"/>
            </a:xfrm>
          </p:grpSpPr>
          <p:sp>
            <p:nvSpPr>
              <p:cNvPr id="33" name="TextBox 81">
                <a:extLst>
                  <a:ext uri="{FF2B5EF4-FFF2-40B4-BE49-F238E27FC236}">
                    <a16:creationId xmlns:a16="http://schemas.microsoft.com/office/drawing/2014/main" id="{CA444DB0-8EFA-CEBE-A549-0D1E9CB3EBF8}"/>
                  </a:ext>
                </a:extLst>
              </p:cNvPr>
              <p:cNvSpPr txBox="1"/>
              <p:nvPr/>
            </p:nvSpPr>
            <p:spPr>
              <a:xfrm flipH="1">
                <a:off x="1952454" y="1942658"/>
                <a:ext cx="4275411" cy="50729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0099D5"/>
                    </a:solidFill>
                    <a:effectLst/>
                    <a:uLnTx/>
                    <a:uFillTx/>
                    <a:latin typeface="Calibri" panose="020F0502020204030204"/>
                    <a:ea typeface="+mn-ea"/>
                    <a:cs typeface="Arial" panose="020B0604020202020204" pitchFamily="34" charset="0"/>
                  </a:rPr>
                  <a:t>Policy and Procedure</a:t>
                </a:r>
              </a:p>
            </p:txBody>
          </p:sp>
          <p:grpSp>
            <p:nvGrpSpPr>
              <p:cNvPr id="34" name="Group 33">
                <a:extLst>
                  <a:ext uri="{FF2B5EF4-FFF2-40B4-BE49-F238E27FC236}">
                    <a16:creationId xmlns:a16="http://schemas.microsoft.com/office/drawing/2014/main" id="{D6880C1D-2FE5-FDE0-AF80-09AE440B31D9}"/>
                  </a:ext>
                </a:extLst>
              </p:cNvPr>
              <p:cNvGrpSpPr/>
              <p:nvPr/>
            </p:nvGrpSpPr>
            <p:grpSpPr>
              <a:xfrm>
                <a:off x="1285274" y="2957887"/>
                <a:ext cx="6524237" cy="1341293"/>
                <a:chOff x="1285274" y="2957887"/>
                <a:chExt cx="6524237" cy="1341293"/>
              </a:xfrm>
            </p:grpSpPr>
            <p:cxnSp>
              <p:nvCxnSpPr>
                <p:cNvPr id="35" name="Straight Connector 34">
                  <a:extLst>
                    <a:ext uri="{FF2B5EF4-FFF2-40B4-BE49-F238E27FC236}">
                      <a16:creationId xmlns:a16="http://schemas.microsoft.com/office/drawing/2014/main" id="{A0C5ACFC-26D9-BCFA-4AA9-E73B5C613230}"/>
                    </a:ext>
                  </a:extLst>
                </p:cNvPr>
                <p:cNvCxnSpPr/>
                <p:nvPr/>
              </p:nvCxnSpPr>
              <p:spPr>
                <a:xfrm>
                  <a:off x="1601589" y="3658718"/>
                  <a:ext cx="4937760" cy="0"/>
                </a:xfrm>
                <a:prstGeom prst="line">
                  <a:avLst/>
                </a:prstGeom>
                <a:noFill/>
                <a:ln w="6350" cap="flat" cmpd="sng" algn="ctr">
                  <a:solidFill>
                    <a:srgbClr val="6D2077"/>
                  </a:solidFill>
                  <a:prstDash val="solid"/>
                  <a:miter lim="800000"/>
                </a:ln>
                <a:effectLst/>
              </p:spPr>
            </p:cxnSp>
            <p:sp>
              <p:nvSpPr>
                <p:cNvPr id="36" name="Freeform 76">
                  <a:extLst>
                    <a:ext uri="{FF2B5EF4-FFF2-40B4-BE49-F238E27FC236}">
                      <a16:creationId xmlns:a16="http://schemas.microsoft.com/office/drawing/2014/main" id="{C996C5DF-E1D2-E6C6-DCE3-8CFE66B1F4AD}"/>
                    </a:ext>
                  </a:extLst>
                </p:cNvPr>
                <p:cNvSpPr>
                  <a:spLocks/>
                </p:cNvSpPr>
                <p:nvPr/>
              </p:nvSpPr>
              <p:spPr bwMode="auto">
                <a:xfrm flipH="1">
                  <a:off x="6265925" y="2957887"/>
                  <a:ext cx="1543586" cy="700952"/>
                </a:xfrm>
                <a:custGeom>
                  <a:avLst/>
                  <a:gdLst>
                    <a:gd name="T0" fmla="*/ 873 w 873"/>
                    <a:gd name="T1" fmla="*/ 396 h 396"/>
                    <a:gd name="T2" fmla="*/ 571 w 873"/>
                    <a:gd name="T3" fmla="*/ 149 h 396"/>
                    <a:gd name="T4" fmla="*/ 122 w 873"/>
                    <a:gd name="T5" fmla="*/ 114 h 396"/>
                    <a:gd name="T6" fmla="*/ 13 w 873"/>
                    <a:gd name="T7" fmla="*/ 396 h 396"/>
                    <a:gd name="T8" fmla="*/ 873 w 873"/>
                    <a:gd name="T9" fmla="*/ 396 h 396"/>
                  </a:gdLst>
                  <a:ahLst/>
                  <a:cxnLst>
                    <a:cxn ang="0">
                      <a:pos x="T0" y="T1"/>
                    </a:cxn>
                    <a:cxn ang="0">
                      <a:pos x="T2" y="T3"/>
                    </a:cxn>
                    <a:cxn ang="0">
                      <a:pos x="T4" y="T5"/>
                    </a:cxn>
                    <a:cxn ang="0">
                      <a:pos x="T6" y="T7"/>
                    </a:cxn>
                    <a:cxn ang="0">
                      <a:pos x="T8" y="T9"/>
                    </a:cxn>
                  </a:cxnLst>
                  <a:rect l="0" t="0" r="r" b="b"/>
                  <a:pathLst>
                    <a:path w="873" h="396">
                      <a:moveTo>
                        <a:pt x="873" y="396"/>
                      </a:moveTo>
                      <a:cubicBezTo>
                        <a:pt x="755" y="329"/>
                        <a:pt x="654" y="246"/>
                        <a:pt x="571" y="149"/>
                      </a:cubicBezTo>
                      <a:cubicBezTo>
                        <a:pt x="457" y="15"/>
                        <a:pt x="255" y="0"/>
                        <a:pt x="122" y="114"/>
                      </a:cubicBezTo>
                      <a:cubicBezTo>
                        <a:pt x="37" y="186"/>
                        <a:pt x="0" y="293"/>
                        <a:pt x="13" y="396"/>
                      </a:cubicBezTo>
                      <a:lnTo>
                        <a:pt x="873" y="396"/>
                      </a:lnTo>
                      <a:close/>
                    </a:path>
                  </a:pathLst>
                </a:custGeom>
                <a:solidFill>
                  <a:sysClr val="window" lastClr="FFFFFF">
                    <a:alpha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Univers for KPMG" panose="020B0603020202020204" pitchFamily="34" charset="0"/>
                    <a:ea typeface="+mn-ea"/>
                    <a:cs typeface="Arial" panose="020B0604020202020204" pitchFamily="34" charset="0"/>
                  </a:endParaRPr>
                </a:p>
              </p:txBody>
            </p:sp>
            <p:grpSp>
              <p:nvGrpSpPr>
                <p:cNvPr id="37" name="Group 36">
                  <a:extLst>
                    <a:ext uri="{FF2B5EF4-FFF2-40B4-BE49-F238E27FC236}">
                      <a16:creationId xmlns:a16="http://schemas.microsoft.com/office/drawing/2014/main" id="{8F13DAB8-829B-07FC-673B-4AF25C3B1F06}"/>
                    </a:ext>
                  </a:extLst>
                </p:cNvPr>
                <p:cNvGrpSpPr/>
                <p:nvPr/>
              </p:nvGrpSpPr>
              <p:grpSpPr>
                <a:xfrm>
                  <a:off x="1285274" y="3037307"/>
                  <a:ext cx="548288" cy="1261873"/>
                  <a:chOff x="1285274" y="3037307"/>
                  <a:chExt cx="548288" cy="1261873"/>
                </a:xfrm>
              </p:grpSpPr>
              <p:sp>
                <p:nvSpPr>
                  <p:cNvPr id="38" name="Freeform 60">
                    <a:extLst>
                      <a:ext uri="{FF2B5EF4-FFF2-40B4-BE49-F238E27FC236}">
                        <a16:creationId xmlns:a16="http://schemas.microsoft.com/office/drawing/2014/main" id="{11354E91-1768-132E-A7F9-95B472659EDE}"/>
                      </a:ext>
                    </a:extLst>
                  </p:cNvPr>
                  <p:cNvSpPr/>
                  <p:nvPr/>
                </p:nvSpPr>
                <p:spPr>
                  <a:xfrm>
                    <a:off x="1465288" y="3037307"/>
                    <a:ext cx="188260" cy="1261873"/>
                  </a:xfrm>
                  <a:custGeom>
                    <a:avLst/>
                    <a:gdLst>
                      <a:gd name="connsiteX0" fmla="*/ 0 w 188260"/>
                      <a:gd name="connsiteY0" fmla="*/ 0 h 1261873"/>
                      <a:gd name="connsiteX1" fmla="*/ 188260 w 188260"/>
                      <a:gd name="connsiteY1" fmla="*/ 0 h 1261873"/>
                      <a:gd name="connsiteX2" fmla="*/ 188259 w 188260"/>
                      <a:gd name="connsiteY2" fmla="*/ 1261873 h 1261873"/>
                      <a:gd name="connsiteX3" fmla="*/ 0 w 188260"/>
                      <a:gd name="connsiteY3" fmla="*/ 1261873 h 1261873"/>
                      <a:gd name="connsiteX4" fmla="*/ 0 w 188260"/>
                      <a:gd name="connsiteY4" fmla="*/ 0 h 126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260" h="1261873">
                        <a:moveTo>
                          <a:pt x="0" y="0"/>
                        </a:moveTo>
                        <a:lnTo>
                          <a:pt x="188260" y="0"/>
                        </a:lnTo>
                        <a:lnTo>
                          <a:pt x="188259" y="1261873"/>
                        </a:lnTo>
                        <a:lnTo>
                          <a:pt x="0" y="1261873"/>
                        </a:lnTo>
                        <a:lnTo>
                          <a:pt x="0" y="0"/>
                        </a:lnTo>
                        <a:close/>
                      </a:path>
                    </a:pathLst>
                  </a:custGeom>
                  <a:solidFill>
                    <a:srgbClr val="6D2077"/>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nvGrpSpPr>
                  <p:cNvPr id="39" name="Group 38">
                    <a:extLst>
                      <a:ext uri="{FF2B5EF4-FFF2-40B4-BE49-F238E27FC236}">
                        <a16:creationId xmlns:a16="http://schemas.microsoft.com/office/drawing/2014/main" id="{A93FC269-657B-94F4-AC07-FF67613D6C2F}"/>
                      </a:ext>
                    </a:extLst>
                  </p:cNvPr>
                  <p:cNvGrpSpPr/>
                  <p:nvPr/>
                </p:nvGrpSpPr>
                <p:grpSpPr>
                  <a:xfrm>
                    <a:off x="1285274" y="3394099"/>
                    <a:ext cx="548288" cy="548288"/>
                    <a:chOff x="1285274" y="3394099"/>
                    <a:chExt cx="548288" cy="548288"/>
                  </a:xfrm>
                </p:grpSpPr>
                <p:grpSp>
                  <p:nvGrpSpPr>
                    <p:cNvPr id="40" name="Group 39">
                      <a:extLst>
                        <a:ext uri="{FF2B5EF4-FFF2-40B4-BE49-F238E27FC236}">
                          <a16:creationId xmlns:a16="http://schemas.microsoft.com/office/drawing/2014/main" id="{977B1DC9-33C8-B1E0-FA8B-0077B0E307CF}"/>
                        </a:ext>
                      </a:extLst>
                    </p:cNvPr>
                    <p:cNvGrpSpPr/>
                    <p:nvPr/>
                  </p:nvGrpSpPr>
                  <p:grpSpPr>
                    <a:xfrm>
                      <a:off x="1285274" y="3394099"/>
                      <a:ext cx="548288" cy="548288"/>
                      <a:chOff x="4114891" y="1309087"/>
                      <a:chExt cx="548288" cy="548288"/>
                    </a:xfrm>
                  </p:grpSpPr>
                  <p:sp>
                    <p:nvSpPr>
                      <p:cNvPr id="42" name="Oval 41">
                        <a:extLst>
                          <a:ext uri="{FF2B5EF4-FFF2-40B4-BE49-F238E27FC236}">
                            <a16:creationId xmlns:a16="http://schemas.microsoft.com/office/drawing/2014/main" id="{8F410592-9633-5C99-5EE8-38036D854C70}"/>
                          </a:ext>
                        </a:extLst>
                      </p:cNvPr>
                      <p:cNvSpPr/>
                      <p:nvPr/>
                    </p:nvSpPr>
                    <p:spPr>
                      <a:xfrm>
                        <a:off x="4114891" y="1309087"/>
                        <a:ext cx="548288" cy="548288"/>
                      </a:xfrm>
                      <a:prstGeom prst="ellipse">
                        <a:avLst/>
                      </a:prstGeom>
                      <a:solidFill>
                        <a:srgbClr val="6D2077">
                          <a:lumMod val="75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sp>
                    <p:nvSpPr>
                      <p:cNvPr id="43" name="Oval 42">
                        <a:extLst>
                          <a:ext uri="{FF2B5EF4-FFF2-40B4-BE49-F238E27FC236}">
                            <a16:creationId xmlns:a16="http://schemas.microsoft.com/office/drawing/2014/main" id="{9EDB97EB-C1C4-6627-6F15-419868B72AC5}"/>
                          </a:ext>
                        </a:extLst>
                      </p:cNvPr>
                      <p:cNvSpPr/>
                      <p:nvPr/>
                    </p:nvSpPr>
                    <p:spPr>
                      <a:xfrm>
                        <a:off x="4187020" y="1381216"/>
                        <a:ext cx="404030" cy="404030"/>
                      </a:xfrm>
                      <a:prstGeom prst="ellipse">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sp>
                  <p:nvSpPr>
                    <p:cNvPr id="41" name="TextBox 113">
                      <a:extLst>
                        <a:ext uri="{FF2B5EF4-FFF2-40B4-BE49-F238E27FC236}">
                          <a16:creationId xmlns:a16="http://schemas.microsoft.com/office/drawing/2014/main" id="{0FF132D9-73A0-1B00-2062-A5070647C762}"/>
                        </a:ext>
                      </a:extLst>
                    </p:cNvPr>
                    <p:cNvSpPr txBox="1"/>
                    <p:nvPr/>
                  </p:nvSpPr>
                  <p:spPr>
                    <a:xfrm>
                      <a:off x="1301241" y="3476627"/>
                      <a:ext cx="514912" cy="3804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6D2077">
                              <a:lumMod val="75000"/>
                            </a:srgbClr>
                          </a:solidFill>
                          <a:effectLst/>
                          <a:uLnTx/>
                          <a:uFillTx/>
                          <a:latin typeface="Univers for KPMG" panose="020B0603020202020204" pitchFamily="34" charset="0"/>
                          <a:ea typeface="Cambria Math" panose="02040503050406030204" pitchFamily="18" charset="0"/>
                          <a:cs typeface="Arial" panose="020B0604020202020204" pitchFamily="34" charset="0"/>
                        </a:rPr>
                        <a:t>03</a:t>
                      </a:r>
                    </a:p>
                  </p:txBody>
                </p:sp>
              </p:grpSp>
            </p:grpSp>
          </p:grpSp>
        </p:grpSp>
        <p:grpSp>
          <p:nvGrpSpPr>
            <p:cNvPr id="7" name="Group 6">
              <a:extLst>
                <a:ext uri="{FF2B5EF4-FFF2-40B4-BE49-F238E27FC236}">
                  <a16:creationId xmlns:a16="http://schemas.microsoft.com/office/drawing/2014/main" id="{DB3232C2-6795-33C4-3BCD-135619E66C17}"/>
                </a:ext>
              </a:extLst>
            </p:cNvPr>
            <p:cNvGrpSpPr/>
            <p:nvPr/>
          </p:nvGrpSpPr>
          <p:grpSpPr>
            <a:xfrm>
              <a:off x="1285274" y="3224222"/>
              <a:ext cx="6524237" cy="2336831"/>
              <a:chOff x="1285274" y="3224222"/>
              <a:chExt cx="6524237" cy="2336831"/>
            </a:xfrm>
          </p:grpSpPr>
          <p:sp>
            <p:nvSpPr>
              <p:cNvPr id="20" name="TextBox 81">
                <a:extLst>
                  <a:ext uri="{FF2B5EF4-FFF2-40B4-BE49-F238E27FC236}">
                    <a16:creationId xmlns:a16="http://schemas.microsoft.com/office/drawing/2014/main" id="{F4AF5B22-C6E3-A87B-0A9B-C79786B74C3D}"/>
                  </a:ext>
                </a:extLst>
              </p:cNvPr>
              <p:cNvSpPr txBox="1"/>
              <p:nvPr/>
            </p:nvSpPr>
            <p:spPr>
              <a:xfrm flipH="1">
                <a:off x="1952454" y="3224222"/>
                <a:ext cx="4275413" cy="50729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6D2077"/>
                    </a:solidFill>
                    <a:effectLst/>
                    <a:uLnTx/>
                    <a:uFillTx/>
                    <a:latin typeface="Calibri" panose="020F0502020204030204"/>
                    <a:ea typeface="+mn-ea"/>
                    <a:cs typeface="Arial" panose="020B0604020202020204" pitchFamily="34" charset="0"/>
                  </a:rPr>
                  <a:t>Documentation</a:t>
                </a:r>
              </a:p>
            </p:txBody>
          </p:sp>
          <p:grpSp>
            <p:nvGrpSpPr>
              <p:cNvPr id="21" name="Group 20">
                <a:extLst>
                  <a:ext uri="{FF2B5EF4-FFF2-40B4-BE49-F238E27FC236}">
                    <a16:creationId xmlns:a16="http://schemas.microsoft.com/office/drawing/2014/main" id="{CF423E2E-8D52-3845-ADCB-DC0A62AC31B4}"/>
                  </a:ext>
                </a:extLst>
              </p:cNvPr>
              <p:cNvGrpSpPr/>
              <p:nvPr/>
            </p:nvGrpSpPr>
            <p:grpSpPr>
              <a:xfrm>
                <a:off x="1285274" y="4221779"/>
                <a:ext cx="6524237" cy="1339274"/>
                <a:chOff x="1285274" y="4221779"/>
                <a:chExt cx="6524237" cy="1339274"/>
              </a:xfrm>
            </p:grpSpPr>
            <p:cxnSp>
              <p:nvCxnSpPr>
                <p:cNvPr id="22" name="Straight Connector 21">
                  <a:extLst>
                    <a:ext uri="{FF2B5EF4-FFF2-40B4-BE49-F238E27FC236}">
                      <a16:creationId xmlns:a16="http://schemas.microsoft.com/office/drawing/2014/main" id="{FB371C1F-792E-A96B-F52C-3C789C7702ED}"/>
                    </a:ext>
                  </a:extLst>
                </p:cNvPr>
                <p:cNvCxnSpPr/>
                <p:nvPr/>
              </p:nvCxnSpPr>
              <p:spPr>
                <a:xfrm>
                  <a:off x="1601589" y="4917237"/>
                  <a:ext cx="4937760" cy="0"/>
                </a:xfrm>
                <a:prstGeom prst="line">
                  <a:avLst/>
                </a:prstGeom>
                <a:noFill/>
                <a:ln w="6350" cap="flat" cmpd="sng" algn="ctr">
                  <a:solidFill>
                    <a:srgbClr val="005EB8"/>
                  </a:solidFill>
                  <a:prstDash val="solid"/>
                  <a:miter lim="800000"/>
                </a:ln>
                <a:effectLst/>
              </p:spPr>
            </p:cxnSp>
            <p:grpSp>
              <p:nvGrpSpPr>
                <p:cNvPr id="23" name="Group 22">
                  <a:extLst>
                    <a:ext uri="{FF2B5EF4-FFF2-40B4-BE49-F238E27FC236}">
                      <a16:creationId xmlns:a16="http://schemas.microsoft.com/office/drawing/2014/main" id="{4F482217-DBE4-9341-41B1-69A54CEE42C7}"/>
                    </a:ext>
                  </a:extLst>
                </p:cNvPr>
                <p:cNvGrpSpPr/>
                <p:nvPr/>
              </p:nvGrpSpPr>
              <p:grpSpPr>
                <a:xfrm>
                  <a:off x="6265925" y="4221779"/>
                  <a:ext cx="1543586" cy="979097"/>
                  <a:chOff x="6265925" y="4221779"/>
                  <a:chExt cx="1543586" cy="979097"/>
                </a:xfrm>
              </p:grpSpPr>
              <p:sp>
                <p:nvSpPr>
                  <p:cNvPr id="31" name="Freeform 52">
                    <a:extLst>
                      <a:ext uri="{FF2B5EF4-FFF2-40B4-BE49-F238E27FC236}">
                        <a16:creationId xmlns:a16="http://schemas.microsoft.com/office/drawing/2014/main" id="{BE48F75E-1EF8-D80B-E1D2-ACD74F2BE65A}"/>
                      </a:ext>
                    </a:extLst>
                  </p:cNvPr>
                  <p:cNvSpPr>
                    <a:spLocks/>
                  </p:cNvSpPr>
                  <p:nvPr/>
                </p:nvSpPr>
                <p:spPr bwMode="auto">
                  <a:xfrm flipH="1">
                    <a:off x="6265925" y="4221779"/>
                    <a:ext cx="1543586" cy="700952"/>
                  </a:xfrm>
                  <a:custGeom>
                    <a:avLst/>
                    <a:gdLst>
                      <a:gd name="T0" fmla="*/ 873 w 873"/>
                      <a:gd name="T1" fmla="*/ 396 h 396"/>
                      <a:gd name="T2" fmla="*/ 571 w 873"/>
                      <a:gd name="T3" fmla="*/ 149 h 396"/>
                      <a:gd name="T4" fmla="*/ 122 w 873"/>
                      <a:gd name="T5" fmla="*/ 114 h 396"/>
                      <a:gd name="T6" fmla="*/ 13 w 873"/>
                      <a:gd name="T7" fmla="*/ 396 h 396"/>
                      <a:gd name="T8" fmla="*/ 873 w 873"/>
                      <a:gd name="T9" fmla="*/ 396 h 396"/>
                    </a:gdLst>
                    <a:ahLst/>
                    <a:cxnLst>
                      <a:cxn ang="0">
                        <a:pos x="T0" y="T1"/>
                      </a:cxn>
                      <a:cxn ang="0">
                        <a:pos x="T2" y="T3"/>
                      </a:cxn>
                      <a:cxn ang="0">
                        <a:pos x="T4" y="T5"/>
                      </a:cxn>
                      <a:cxn ang="0">
                        <a:pos x="T6" y="T7"/>
                      </a:cxn>
                      <a:cxn ang="0">
                        <a:pos x="T8" y="T9"/>
                      </a:cxn>
                    </a:cxnLst>
                    <a:rect l="0" t="0" r="r" b="b"/>
                    <a:pathLst>
                      <a:path w="873" h="396">
                        <a:moveTo>
                          <a:pt x="873" y="396"/>
                        </a:moveTo>
                        <a:cubicBezTo>
                          <a:pt x="755" y="329"/>
                          <a:pt x="654" y="246"/>
                          <a:pt x="571" y="149"/>
                        </a:cubicBezTo>
                        <a:cubicBezTo>
                          <a:pt x="457" y="15"/>
                          <a:pt x="255" y="0"/>
                          <a:pt x="122" y="114"/>
                        </a:cubicBezTo>
                        <a:cubicBezTo>
                          <a:pt x="37" y="186"/>
                          <a:pt x="0" y="293"/>
                          <a:pt x="13" y="396"/>
                        </a:cubicBezTo>
                        <a:lnTo>
                          <a:pt x="873" y="396"/>
                        </a:lnTo>
                        <a:close/>
                      </a:path>
                    </a:pathLst>
                  </a:custGeom>
                  <a:solidFill>
                    <a:sysClr val="window" lastClr="FFFFFF">
                      <a:alpha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Univers for KPMG" panose="020B0603020202020204" pitchFamily="34" charset="0"/>
                      <a:ea typeface="+mn-ea"/>
                      <a:cs typeface="Arial" panose="020B0604020202020204" pitchFamily="34" charset="0"/>
                    </a:endParaRPr>
                  </a:p>
                </p:txBody>
              </p:sp>
              <p:sp>
                <p:nvSpPr>
                  <p:cNvPr id="32" name="Freeform 50">
                    <a:extLst>
                      <a:ext uri="{FF2B5EF4-FFF2-40B4-BE49-F238E27FC236}">
                        <a16:creationId xmlns:a16="http://schemas.microsoft.com/office/drawing/2014/main" id="{242E24E3-886F-E456-4206-4FA77252C4C9}"/>
                      </a:ext>
                    </a:extLst>
                  </p:cNvPr>
                  <p:cNvSpPr>
                    <a:spLocks/>
                  </p:cNvSpPr>
                  <p:nvPr/>
                </p:nvSpPr>
                <p:spPr bwMode="auto">
                  <a:xfrm flipH="1">
                    <a:off x="6891562" y="4505144"/>
                    <a:ext cx="694986" cy="695732"/>
                  </a:xfrm>
                  <a:custGeom>
                    <a:avLst/>
                    <a:gdLst>
                      <a:gd name="T0" fmla="*/ 82 w 393"/>
                      <a:gd name="T1" fmla="*/ 63 h 393"/>
                      <a:gd name="T2" fmla="*/ 330 w 393"/>
                      <a:gd name="T3" fmla="*/ 82 h 393"/>
                      <a:gd name="T4" fmla="*/ 311 w 393"/>
                      <a:gd name="T5" fmla="*/ 330 h 393"/>
                      <a:gd name="T6" fmla="*/ 63 w 393"/>
                      <a:gd name="T7" fmla="*/ 311 h 393"/>
                      <a:gd name="T8" fmla="*/ 82 w 393"/>
                      <a:gd name="T9" fmla="*/ 63 h 393"/>
                    </a:gdLst>
                    <a:ahLst/>
                    <a:cxnLst>
                      <a:cxn ang="0">
                        <a:pos x="T0" y="T1"/>
                      </a:cxn>
                      <a:cxn ang="0">
                        <a:pos x="T2" y="T3"/>
                      </a:cxn>
                      <a:cxn ang="0">
                        <a:pos x="T4" y="T5"/>
                      </a:cxn>
                      <a:cxn ang="0">
                        <a:pos x="T6" y="T7"/>
                      </a:cxn>
                      <a:cxn ang="0">
                        <a:pos x="T8" y="T9"/>
                      </a:cxn>
                    </a:cxnLst>
                    <a:rect l="0" t="0" r="r" b="b"/>
                    <a:pathLst>
                      <a:path w="393" h="393">
                        <a:moveTo>
                          <a:pt x="82" y="63"/>
                        </a:moveTo>
                        <a:cubicBezTo>
                          <a:pt x="156" y="0"/>
                          <a:pt x="267" y="8"/>
                          <a:pt x="330" y="82"/>
                        </a:cubicBezTo>
                        <a:cubicBezTo>
                          <a:pt x="393" y="156"/>
                          <a:pt x="385" y="267"/>
                          <a:pt x="311" y="330"/>
                        </a:cubicBezTo>
                        <a:cubicBezTo>
                          <a:pt x="237" y="393"/>
                          <a:pt x="126" y="384"/>
                          <a:pt x="63" y="311"/>
                        </a:cubicBezTo>
                        <a:cubicBezTo>
                          <a:pt x="0" y="237"/>
                          <a:pt x="9" y="126"/>
                          <a:pt x="82"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Univers for KPMG" panose="020B0603020202020204" pitchFamily="34" charset="0"/>
                      <a:ea typeface="+mn-ea"/>
                      <a:cs typeface="Arial" panose="020B0604020202020204" pitchFamily="34" charset="0"/>
                    </a:endParaRPr>
                  </a:p>
                </p:txBody>
              </p:sp>
            </p:grpSp>
            <p:grpSp>
              <p:nvGrpSpPr>
                <p:cNvPr id="24" name="Group 23">
                  <a:extLst>
                    <a:ext uri="{FF2B5EF4-FFF2-40B4-BE49-F238E27FC236}">
                      <a16:creationId xmlns:a16="http://schemas.microsoft.com/office/drawing/2014/main" id="{0D8004E7-FC37-A14A-9C4B-0462FE701A12}"/>
                    </a:ext>
                  </a:extLst>
                </p:cNvPr>
                <p:cNvGrpSpPr/>
                <p:nvPr/>
              </p:nvGrpSpPr>
              <p:grpSpPr>
                <a:xfrm>
                  <a:off x="1285274" y="4299180"/>
                  <a:ext cx="548288" cy="1261873"/>
                  <a:chOff x="1285274" y="4299180"/>
                  <a:chExt cx="548288" cy="1261873"/>
                </a:xfrm>
              </p:grpSpPr>
              <p:sp>
                <p:nvSpPr>
                  <p:cNvPr id="25" name="Freeform 37">
                    <a:extLst>
                      <a:ext uri="{FF2B5EF4-FFF2-40B4-BE49-F238E27FC236}">
                        <a16:creationId xmlns:a16="http://schemas.microsoft.com/office/drawing/2014/main" id="{2A9F8B18-8EAF-59BA-93CE-1C25E6C96F6D}"/>
                      </a:ext>
                    </a:extLst>
                  </p:cNvPr>
                  <p:cNvSpPr/>
                  <p:nvPr/>
                </p:nvSpPr>
                <p:spPr>
                  <a:xfrm>
                    <a:off x="1465289" y="4299180"/>
                    <a:ext cx="188259" cy="1261873"/>
                  </a:xfrm>
                  <a:custGeom>
                    <a:avLst/>
                    <a:gdLst>
                      <a:gd name="connsiteX0" fmla="*/ 0 w 188259"/>
                      <a:gd name="connsiteY0" fmla="*/ 0 h 1261873"/>
                      <a:gd name="connsiteX1" fmla="*/ 188259 w 188259"/>
                      <a:gd name="connsiteY1" fmla="*/ 0 h 1261873"/>
                      <a:gd name="connsiteX2" fmla="*/ 188259 w 188259"/>
                      <a:gd name="connsiteY2" fmla="*/ 1261873 h 1261873"/>
                      <a:gd name="connsiteX3" fmla="*/ 0 w 188259"/>
                      <a:gd name="connsiteY3" fmla="*/ 1261873 h 1261873"/>
                      <a:gd name="connsiteX4" fmla="*/ 0 w 188259"/>
                      <a:gd name="connsiteY4" fmla="*/ 0 h 126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259" h="1261873">
                        <a:moveTo>
                          <a:pt x="0" y="0"/>
                        </a:moveTo>
                        <a:lnTo>
                          <a:pt x="188259" y="0"/>
                        </a:lnTo>
                        <a:lnTo>
                          <a:pt x="188259" y="1261873"/>
                        </a:lnTo>
                        <a:lnTo>
                          <a:pt x="0" y="1261873"/>
                        </a:lnTo>
                        <a:lnTo>
                          <a:pt x="0" y="0"/>
                        </a:lnTo>
                        <a:close/>
                      </a:path>
                    </a:pathLst>
                  </a:custGeom>
                  <a:solidFill>
                    <a:srgbClr val="005EB8"/>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nvGrpSpPr>
                  <p:cNvPr id="26" name="Group 25">
                    <a:extLst>
                      <a:ext uri="{FF2B5EF4-FFF2-40B4-BE49-F238E27FC236}">
                        <a16:creationId xmlns:a16="http://schemas.microsoft.com/office/drawing/2014/main" id="{5BA9BDD9-DFC6-5047-2489-01C434A96484}"/>
                      </a:ext>
                    </a:extLst>
                  </p:cNvPr>
                  <p:cNvGrpSpPr/>
                  <p:nvPr/>
                </p:nvGrpSpPr>
                <p:grpSpPr>
                  <a:xfrm>
                    <a:off x="1285274" y="4655972"/>
                    <a:ext cx="548288" cy="548288"/>
                    <a:chOff x="1285274" y="4655972"/>
                    <a:chExt cx="548288" cy="548288"/>
                  </a:xfrm>
                </p:grpSpPr>
                <p:grpSp>
                  <p:nvGrpSpPr>
                    <p:cNvPr id="27" name="Group 26">
                      <a:extLst>
                        <a:ext uri="{FF2B5EF4-FFF2-40B4-BE49-F238E27FC236}">
                          <a16:creationId xmlns:a16="http://schemas.microsoft.com/office/drawing/2014/main" id="{A0E756B1-B06B-0C65-3D67-2EA46DFB81FB}"/>
                        </a:ext>
                      </a:extLst>
                    </p:cNvPr>
                    <p:cNvGrpSpPr/>
                    <p:nvPr/>
                  </p:nvGrpSpPr>
                  <p:grpSpPr>
                    <a:xfrm>
                      <a:off x="1285274" y="4655972"/>
                      <a:ext cx="548288" cy="548288"/>
                      <a:chOff x="4114891" y="1309087"/>
                      <a:chExt cx="548288" cy="548288"/>
                    </a:xfrm>
                  </p:grpSpPr>
                  <p:sp>
                    <p:nvSpPr>
                      <p:cNvPr id="29" name="Oval 28">
                        <a:extLst>
                          <a:ext uri="{FF2B5EF4-FFF2-40B4-BE49-F238E27FC236}">
                            <a16:creationId xmlns:a16="http://schemas.microsoft.com/office/drawing/2014/main" id="{5ABC8B83-D1C2-6BF6-4CFB-3F4895F06D44}"/>
                          </a:ext>
                        </a:extLst>
                      </p:cNvPr>
                      <p:cNvSpPr/>
                      <p:nvPr/>
                    </p:nvSpPr>
                    <p:spPr>
                      <a:xfrm>
                        <a:off x="4114891" y="1309087"/>
                        <a:ext cx="548288" cy="548288"/>
                      </a:xfrm>
                      <a:prstGeom prst="ellipse">
                        <a:avLst/>
                      </a:prstGeom>
                      <a:solidFill>
                        <a:srgbClr val="005EB8">
                          <a:lumMod val="75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sp>
                    <p:nvSpPr>
                      <p:cNvPr id="30" name="Oval 29">
                        <a:extLst>
                          <a:ext uri="{FF2B5EF4-FFF2-40B4-BE49-F238E27FC236}">
                            <a16:creationId xmlns:a16="http://schemas.microsoft.com/office/drawing/2014/main" id="{3371A4E3-ECDA-25DD-97F7-5A3610258DEB}"/>
                          </a:ext>
                        </a:extLst>
                      </p:cNvPr>
                      <p:cNvSpPr/>
                      <p:nvPr/>
                    </p:nvSpPr>
                    <p:spPr>
                      <a:xfrm>
                        <a:off x="4187020" y="1381216"/>
                        <a:ext cx="404030" cy="404030"/>
                      </a:xfrm>
                      <a:prstGeom prst="ellipse">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sp>
                  <p:nvSpPr>
                    <p:cNvPr id="28" name="TextBox 114">
                      <a:extLst>
                        <a:ext uri="{FF2B5EF4-FFF2-40B4-BE49-F238E27FC236}">
                          <a16:creationId xmlns:a16="http://schemas.microsoft.com/office/drawing/2014/main" id="{AEC22912-1865-2EFC-97AD-E7878E4251A7}"/>
                        </a:ext>
                      </a:extLst>
                    </p:cNvPr>
                    <p:cNvSpPr txBox="1"/>
                    <p:nvPr/>
                  </p:nvSpPr>
                  <p:spPr>
                    <a:xfrm>
                      <a:off x="1301241" y="4738226"/>
                      <a:ext cx="514912" cy="3804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5EB8">
                              <a:lumMod val="75000"/>
                            </a:srgbClr>
                          </a:solidFill>
                          <a:effectLst/>
                          <a:uLnTx/>
                          <a:uFillTx/>
                          <a:latin typeface="Univers for KPMG" panose="020B0603020202020204" pitchFamily="34" charset="0"/>
                          <a:ea typeface="Cambria Math" panose="02040503050406030204" pitchFamily="18" charset="0"/>
                          <a:cs typeface="Arial" panose="020B0604020202020204" pitchFamily="34" charset="0"/>
                        </a:rPr>
                        <a:t>04</a:t>
                      </a:r>
                    </a:p>
                  </p:txBody>
                </p:sp>
              </p:grpSp>
            </p:grpSp>
          </p:grpSp>
        </p:grpSp>
        <p:grpSp>
          <p:nvGrpSpPr>
            <p:cNvPr id="8" name="Group 7">
              <a:extLst>
                <a:ext uri="{FF2B5EF4-FFF2-40B4-BE49-F238E27FC236}">
                  <a16:creationId xmlns:a16="http://schemas.microsoft.com/office/drawing/2014/main" id="{16145A7A-F6B6-1B12-8710-EC202156CB0B}"/>
                </a:ext>
              </a:extLst>
            </p:cNvPr>
            <p:cNvGrpSpPr/>
            <p:nvPr/>
          </p:nvGrpSpPr>
          <p:grpSpPr>
            <a:xfrm>
              <a:off x="1285274" y="688003"/>
              <a:ext cx="6524237" cy="6134922"/>
              <a:chOff x="1285274" y="688003"/>
              <a:chExt cx="6524237" cy="6134922"/>
            </a:xfrm>
          </p:grpSpPr>
          <p:sp>
            <p:nvSpPr>
              <p:cNvPr id="9" name="TextBox 81">
                <a:extLst>
                  <a:ext uri="{FF2B5EF4-FFF2-40B4-BE49-F238E27FC236}">
                    <a16:creationId xmlns:a16="http://schemas.microsoft.com/office/drawing/2014/main" id="{E6F0D2FF-76FD-BF60-85CE-0436FAA9EE01}"/>
                  </a:ext>
                </a:extLst>
              </p:cNvPr>
              <p:cNvSpPr txBox="1"/>
              <p:nvPr/>
            </p:nvSpPr>
            <p:spPr>
              <a:xfrm flipH="1">
                <a:off x="1980201" y="688003"/>
                <a:ext cx="4275411" cy="50729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a:ln>
                      <a:noFill/>
                    </a:ln>
                    <a:solidFill>
                      <a:srgbClr val="00338D"/>
                    </a:solidFill>
                    <a:effectLst/>
                    <a:uLnTx/>
                    <a:uFillTx/>
                    <a:latin typeface="Calibri" panose="020F0502020204030204"/>
                    <a:ea typeface="+mn-ea"/>
                    <a:cs typeface="Arial" panose="020B0604020202020204" pitchFamily="34" charset="0"/>
                  </a:rPr>
                  <a:t>Applicant Experience</a:t>
                </a:r>
              </a:p>
            </p:txBody>
          </p:sp>
          <p:grpSp>
            <p:nvGrpSpPr>
              <p:cNvPr id="10" name="Group 9">
                <a:extLst>
                  <a:ext uri="{FF2B5EF4-FFF2-40B4-BE49-F238E27FC236}">
                    <a16:creationId xmlns:a16="http://schemas.microsoft.com/office/drawing/2014/main" id="{6B263A6E-251E-A0C9-F790-70865DECB9D0}"/>
                  </a:ext>
                </a:extLst>
              </p:cNvPr>
              <p:cNvGrpSpPr/>
              <p:nvPr/>
            </p:nvGrpSpPr>
            <p:grpSpPr>
              <a:xfrm>
                <a:off x="1285274" y="5482691"/>
                <a:ext cx="6524237" cy="1340234"/>
                <a:chOff x="1285274" y="5482691"/>
                <a:chExt cx="6524237" cy="1340234"/>
              </a:xfrm>
            </p:grpSpPr>
            <p:cxnSp>
              <p:nvCxnSpPr>
                <p:cNvPr id="11" name="Straight Connector 10">
                  <a:extLst>
                    <a:ext uri="{FF2B5EF4-FFF2-40B4-BE49-F238E27FC236}">
                      <a16:creationId xmlns:a16="http://schemas.microsoft.com/office/drawing/2014/main" id="{5C4494D5-CCB8-9F5C-A045-B2B5AACBA210}"/>
                    </a:ext>
                  </a:extLst>
                </p:cNvPr>
                <p:cNvCxnSpPr/>
                <p:nvPr/>
              </p:nvCxnSpPr>
              <p:spPr>
                <a:xfrm>
                  <a:off x="1601588" y="6179110"/>
                  <a:ext cx="4937761" cy="0"/>
                </a:xfrm>
                <a:prstGeom prst="line">
                  <a:avLst/>
                </a:prstGeom>
                <a:noFill/>
                <a:ln w="6350" cap="flat" cmpd="sng" algn="ctr">
                  <a:solidFill>
                    <a:srgbClr val="00A3A1"/>
                  </a:solidFill>
                  <a:prstDash val="solid"/>
                  <a:miter lim="800000"/>
                </a:ln>
                <a:effectLst/>
              </p:spPr>
            </p:cxnSp>
            <p:sp>
              <p:nvSpPr>
                <p:cNvPr id="12" name="Freeform 29">
                  <a:extLst>
                    <a:ext uri="{FF2B5EF4-FFF2-40B4-BE49-F238E27FC236}">
                      <a16:creationId xmlns:a16="http://schemas.microsoft.com/office/drawing/2014/main" id="{7AD30F2E-9196-9ED8-B983-C1593AE5579D}"/>
                    </a:ext>
                  </a:extLst>
                </p:cNvPr>
                <p:cNvSpPr>
                  <a:spLocks/>
                </p:cNvSpPr>
                <p:nvPr/>
              </p:nvSpPr>
              <p:spPr bwMode="auto">
                <a:xfrm flipH="1">
                  <a:off x="6265925" y="5482691"/>
                  <a:ext cx="1543586" cy="700952"/>
                </a:xfrm>
                <a:custGeom>
                  <a:avLst/>
                  <a:gdLst>
                    <a:gd name="T0" fmla="*/ 873 w 873"/>
                    <a:gd name="T1" fmla="*/ 396 h 396"/>
                    <a:gd name="T2" fmla="*/ 571 w 873"/>
                    <a:gd name="T3" fmla="*/ 149 h 396"/>
                    <a:gd name="T4" fmla="*/ 122 w 873"/>
                    <a:gd name="T5" fmla="*/ 114 h 396"/>
                    <a:gd name="T6" fmla="*/ 13 w 873"/>
                    <a:gd name="T7" fmla="*/ 396 h 396"/>
                    <a:gd name="T8" fmla="*/ 873 w 873"/>
                    <a:gd name="T9" fmla="*/ 396 h 396"/>
                  </a:gdLst>
                  <a:ahLst/>
                  <a:cxnLst>
                    <a:cxn ang="0">
                      <a:pos x="T0" y="T1"/>
                    </a:cxn>
                    <a:cxn ang="0">
                      <a:pos x="T2" y="T3"/>
                    </a:cxn>
                    <a:cxn ang="0">
                      <a:pos x="T4" y="T5"/>
                    </a:cxn>
                    <a:cxn ang="0">
                      <a:pos x="T6" y="T7"/>
                    </a:cxn>
                    <a:cxn ang="0">
                      <a:pos x="T8" y="T9"/>
                    </a:cxn>
                  </a:cxnLst>
                  <a:rect l="0" t="0" r="r" b="b"/>
                  <a:pathLst>
                    <a:path w="873" h="396">
                      <a:moveTo>
                        <a:pt x="873" y="396"/>
                      </a:moveTo>
                      <a:cubicBezTo>
                        <a:pt x="755" y="329"/>
                        <a:pt x="654" y="246"/>
                        <a:pt x="571" y="149"/>
                      </a:cubicBezTo>
                      <a:cubicBezTo>
                        <a:pt x="457" y="15"/>
                        <a:pt x="255" y="0"/>
                        <a:pt x="122" y="114"/>
                      </a:cubicBezTo>
                      <a:cubicBezTo>
                        <a:pt x="37" y="186"/>
                        <a:pt x="0" y="293"/>
                        <a:pt x="13" y="396"/>
                      </a:cubicBezTo>
                      <a:lnTo>
                        <a:pt x="873" y="396"/>
                      </a:lnTo>
                      <a:close/>
                    </a:path>
                  </a:pathLst>
                </a:custGeom>
                <a:solidFill>
                  <a:sysClr val="window" lastClr="FFFFFF">
                    <a:alpha val="50000"/>
                  </a:sys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000000"/>
                    </a:solidFill>
                    <a:effectLst/>
                    <a:uLnTx/>
                    <a:uFillTx/>
                    <a:latin typeface="Univers for KPMG" panose="020B0603020202020204" pitchFamily="34" charset="0"/>
                    <a:ea typeface="+mn-ea"/>
                    <a:cs typeface="Arial" panose="020B0604020202020204" pitchFamily="34" charset="0"/>
                  </a:endParaRPr>
                </a:p>
              </p:txBody>
            </p:sp>
            <p:grpSp>
              <p:nvGrpSpPr>
                <p:cNvPr id="13" name="Group 12">
                  <a:extLst>
                    <a:ext uri="{FF2B5EF4-FFF2-40B4-BE49-F238E27FC236}">
                      <a16:creationId xmlns:a16="http://schemas.microsoft.com/office/drawing/2014/main" id="{73D3E543-CB40-9CE2-73CB-7A9FD3A93823}"/>
                    </a:ext>
                  </a:extLst>
                </p:cNvPr>
                <p:cNvGrpSpPr/>
                <p:nvPr/>
              </p:nvGrpSpPr>
              <p:grpSpPr>
                <a:xfrm>
                  <a:off x="1285274" y="5561053"/>
                  <a:ext cx="548288" cy="1261872"/>
                  <a:chOff x="1285274" y="5561053"/>
                  <a:chExt cx="548288" cy="1261872"/>
                </a:xfrm>
              </p:grpSpPr>
              <p:sp>
                <p:nvSpPr>
                  <p:cNvPr id="14" name="Freeform 13">
                    <a:extLst>
                      <a:ext uri="{FF2B5EF4-FFF2-40B4-BE49-F238E27FC236}">
                        <a16:creationId xmlns:a16="http://schemas.microsoft.com/office/drawing/2014/main" id="{DB7A489B-2A85-EFB2-EFE4-C1DC38FADEA1}"/>
                      </a:ext>
                    </a:extLst>
                  </p:cNvPr>
                  <p:cNvSpPr/>
                  <p:nvPr/>
                </p:nvSpPr>
                <p:spPr>
                  <a:xfrm>
                    <a:off x="1465289" y="5561053"/>
                    <a:ext cx="188259" cy="1261872"/>
                  </a:xfrm>
                  <a:custGeom>
                    <a:avLst/>
                    <a:gdLst>
                      <a:gd name="connsiteX0" fmla="*/ 0 w 188259"/>
                      <a:gd name="connsiteY0" fmla="*/ 0 h 1261872"/>
                      <a:gd name="connsiteX1" fmla="*/ 188259 w 188259"/>
                      <a:gd name="connsiteY1" fmla="*/ 0 h 1261872"/>
                      <a:gd name="connsiteX2" fmla="*/ 188259 w 188259"/>
                      <a:gd name="connsiteY2" fmla="*/ 1167743 h 1261872"/>
                      <a:gd name="connsiteX3" fmla="*/ 130769 w 188259"/>
                      <a:gd name="connsiteY3" fmla="*/ 1254476 h 1261872"/>
                      <a:gd name="connsiteX4" fmla="*/ 94134 w 188259"/>
                      <a:gd name="connsiteY4" fmla="*/ 1261872 h 1261872"/>
                      <a:gd name="connsiteX5" fmla="*/ 94130 w 188259"/>
                      <a:gd name="connsiteY5" fmla="*/ 1261872 h 1261872"/>
                      <a:gd name="connsiteX6" fmla="*/ 0 w 188259"/>
                      <a:gd name="connsiteY6" fmla="*/ 1167742 h 1261872"/>
                      <a:gd name="connsiteX7" fmla="*/ 0 w 188259"/>
                      <a:gd name="connsiteY7" fmla="*/ 0 h 1261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259" h="1261872">
                        <a:moveTo>
                          <a:pt x="0" y="0"/>
                        </a:moveTo>
                        <a:lnTo>
                          <a:pt x="188259" y="0"/>
                        </a:lnTo>
                        <a:lnTo>
                          <a:pt x="188259" y="1167743"/>
                        </a:lnTo>
                        <a:cubicBezTo>
                          <a:pt x="188259" y="1206733"/>
                          <a:pt x="164554" y="1240186"/>
                          <a:pt x="130769" y="1254476"/>
                        </a:cubicBezTo>
                        <a:lnTo>
                          <a:pt x="94134" y="1261872"/>
                        </a:lnTo>
                        <a:lnTo>
                          <a:pt x="94130" y="1261872"/>
                        </a:lnTo>
                        <a:cubicBezTo>
                          <a:pt x="42143" y="1261872"/>
                          <a:pt x="0" y="1219729"/>
                          <a:pt x="0" y="1167742"/>
                        </a:cubicBezTo>
                        <a:lnTo>
                          <a:pt x="0" y="0"/>
                        </a:lnTo>
                        <a:close/>
                      </a:path>
                    </a:pathLst>
                  </a:custGeom>
                  <a:solidFill>
                    <a:srgbClr val="00A3A1"/>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nvGrpSpPr>
                  <p:cNvPr id="15" name="Group 14">
                    <a:extLst>
                      <a:ext uri="{FF2B5EF4-FFF2-40B4-BE49-F238E27FC236}">
                        <a16:creationId xmlns:a16="http://schemas.microsoft.com/office/drawing/2014/main" id="{5FC8F984-4CD3-6AE5-CC02-455A2696949B}"/>
                      </a:ext>
                    </a:extLst>
                  </p:cNvPr>
                  <p:cNvGrpSpPr/>
                  <p:nvPr/>
                </p:nvGrpSpPr>
                <p:grpSpPr>
                  <a:xfrm>
                    <a:off x="1285274" y="5917845"/>
                    <a:ext cx="548288" cy="548288"/>
                    <a:chOff x="1285274" y="5917845"/>
                    <a:chExt cx="548288" cy="548288"/>
                  </a:xfrm>
                </p:grpSpPr>
                <p:grpSp>
                  <p:nvGrpSpPr>
                    <p:cNvPr id="16" name="Group 15">
                      <a:extLst>
                        <a:ext uri="{FF2B5EF4-FFF2-40B4-BE49-F238E27FC236}">
                          <a16:creationId xmlns:a16="http://schemas.microsoft.com/office/drawing/2014/main" id="{C3B59F6F-F217-509B-2E43-C57C5A53D193}"/>
                        </a:ext>
                      </a:extLst>
                    </p:cNvPr>
                    <p:cNvGrpSpPr/>
                    <p:nvPr/>
                  </p:nvGrpSpPr>
                  <p:grpSpPr>
                    <a:xfrm>
                      <a:off x="1285274" y="5917845"/>
                      <a:ext cx="548288" cy="548288"/>
                      <a:chOff x="4114891" y="1309087"/>
                      <a:chExt cx="548288" cy="548288"/>
                    </a:xfrm>
                  </p:grpSpPr>
                  <p:sp>
                    <p:nvSpPr>
                      <p:cNvPr id="18" name="Oval 17">
                        <a:extLst>
                          <a:ext uri="{FF2B5EF4-FFF2-40B4-BE49-F238E27FC236}">
                            <a16:creationId xmlns:a16="http://schemas.microsoft.com/office/drawing/2014/main" id="{BAE985DE-D5E2-65DD-FA2B-DE485928AEFC}"/>
                          </a:ext>
                        </a:extLst>
                      </p:cNvPr>
                      <p:cNvSpPr/>
                      <p:nvPr/>
                    </p:nvSpPr>
                    <p:spPr>
                      <a:xfrm>
                        <a:off x="4114891" y="1309087"/>
                        <a:ext cx="548288" cy="548288"/>
                      </a:xfrm>
                      <a:prstGeom prst="ellipse">
                        <a:avLst/>
                      </a:prstGeom>
                      <a:solidFill>
                        <a:srgbClr val="00A3A1">
                          <a:lumMod val="75000"/>
                        </a:srgbClr>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sp>
                    <p:nvSpPr>
                      <p:cNvPr id="19" name="Oval 18">
                        <a:extLst>
                          <a:ext uri="{FF2B5EF4-FFF2-40B4-BE49-F238E27FC236}">
                            <a16:creationId xmlns:a16="http://schemas.microsoft.com/office/drawing/2014/main" id="{8C8BA985-E8FE-B11A-9960-797664BE8AA4}"/>
                          </a:ext>
                        </a:extLst>
                      </p:cNvPr>
                      <p:cNvSpPr/>
                      <p:nvPr/>
                    </p:nvSpPr>
                    <p:spPr>
                      <a:xfrm>
                        <a:off x="4187020" y="1381216"/>
                        <a:ext cx="404030" cy="404030"/>
                      </a:xfrm>
                      <a:prstGeom prst="ellipse">
                        <a:avLst/>
                      </a:prstGeom>
                      <a:solidFill>
                        <a:srgbClr val="FFFFFF"/>
                      </a:solidFill>
                      <a:ln w="12700" cap="flat" cmpd="sng" algn="ctr">
                        <a:noFill/>
                        <a:prstDash val="solid"/>
                        <a:miter lim="800000"/>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sp>
                  <p:nvSpPr>
                    <p:cNvPr id="17" name="TextBox 115">
                      <a:extLst>
                        <a:ext uri="{FF2B5EF4-FFF2-40B4-BE49-F238E27FC236}">
                          <a16:creationId xmlns:a16="http://schemas.microsoft.com/office/drawing/2014/main" id="{736D3308-6838-3A02-2556-F016FB19AA4C}"/>
                        </a:ext>
                      </a:extLst>
                    </p:cNvPr>
                    <p:cNvSpPr txBox="1"/>
                    <p:nvPr/>
                  </p:nvSpPr>
                  <p:spPr>
                    <a:xfrm>
                      <a:off x="1301241" y="5993149"/>
                      <a:ext cx="514912" cy="3804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A3A1">
                              <a:lumMod val="75000"/>
                            </a:srgbClr>
                          </a:solidFill>
                          <a:effectLst/>
                          <a:uLnTx/>
                          <a:uFillTx/>
                          <a:latin typeface="Univers for KPMG" panose="020B0603020202020204" pitchFamily="34" charset="0"/>
                          <a:ea typeface="Cambria Math" panose="02040503050406030204" pitchFamily="18" charset="0"/>
                          <a:cs typeface="Arial" panose="020B0604020202020204" pitchFamily="34" charset="0"/>
                        </a:rPr>
                        <a:t>05</a:t>
                      </a:r>
                    </a:p>
                  </p:txBody>
                </p:sp>
              </p:grpSp>
            </p:grpSp>
          </p:grpSp>
        </p:grpSp>
      </p:grpSp>
      <p:sp>
        <p:nvSpPr>
          <p:cNvPr id="66" name="Arrow: Right 65">
            <a:extLst>
              <a:ext uri="{FF2B5EF4-FFF2-40B4-BE49-F238E27FC236}">
                <a16:creationId xmlns:a16="http://schemas.microsoft.com/office/drawing/2014/main" id="{F463279C-820E-EFBA-8474-A9C69E31D9BF}"/>
              </a:ext>
            </a:extLst>
          </p:cNvPr>
          <p:cNvSpPr/>
          <p:nvPr/>
        </p:nvSpPr>
        <p:spPr>
          <a:xfrm>
            <a:off x="2468880" y="5685395"/>
            <a:ext cx="2286000" cy="67865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itle 67">
            <a:extLst>
              <a:ext uri="{FF2B5EF4-FFF2-40B4-BE49-F238E27FC236}">
                <a16:creationId xmlns:a16="http://schemas.microsoft.com/office/drawing/2014/main" id="{1CEC8CB3-CDF9-74FA-1C5C-769DFE1EE063}"/>
              </a:ext>
            </a:extLst>
          </p:cNvPr>
          <p:cNvSpPr>
            <a:spLocks noGrp="1"/>
          </p:cNvSpPr>
          <p:nvPr>
            <p:ph type="title"/>
          </p:nvPr>
        </p:nvSpPr>
        <p:spPr/>
        <p:txBody>
          <a:bodyPr/>
          <a:lstStyle/>
          <a:p>
            <a:r>
              <a:rPr lang="en-US"/>
              <a:t>Contract Administration</a:t>
            </a:r>
          </a:p>
        </p:txBody>
      </p:sp>
    </p:spTree>
    <p:custDataLst>
      <p:tags r:id="rId1"/>
    </p:custDataLst>
    <p:extLst>
      <p:ext uri="{BB962C8B-B14F-4D97-AF65-F5344CB8AC3E}">
        <p14:creationId xmlns:p14="http://schemas.microsoft.com/office/powerpoint/2010/main" val="15519613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B56CC11-B191-4588-BD21-C0D9BCFDB09E}"/>
              </a:ext>
            </a:extLst>
          </p:cNvPr>
          <p:cNvGrpSpPr/>
          <p:nvPr/>
        </p:nvGrpSpPr>
        <p:grpSpPr>
          <a:xfrm rot="20832993">
            <a:off x="4341235" y="1438403"/>
            <a:ext cx="3691603" cy="5664246"/>
            <a:chOff x="3607647" y="2603342"/>
            <a:chExt cx="2230273" cy="3379124"/>
          </a:xfrm>
        </p:grpSpPr>
        <p:sp>
          <p:nvSpPr>
            <p:cNvPr id="7" name="Freeform 35">
              <a:extLst>
                <a:ext uri="{FF2B5EF4-FFF2-40B4-BE49-F238E27FC236}">
                  <a16:creationId xmlns:a16="http://schemas.microsoft.com/office/drawing/2014/main" id="{BBF5FB82-7623-4594-9AE1-AA2A58B7D077}"/>
                </a:ext>
              </a:extLst>
            </p:cNvPr>
            <p:cNvSpPr>
              <a:spLocks/>
            </p:cNvSpPr>
            <p:nvPr/>
          </p:nvSpPr>
          <p:spPr bwMode="auto">
            <a:xfrm rot="762855">
              <a:off x="5251363" y="3774372"/>
              <a:ext cx="235363" cy="274005"/>
            </a:xfrm>
            <a:custGeom>
              <a:avLst/>
              <a:gdLst>
                <a:gd name="T0" fmla="*/ 0 w 553"/>
                <a:gd name="T1" fmla="*/ 142 h 677"/>
                <a:gd name="T2" fmla="*/ 267 w 553"/>
                <a:gd name="T3" fmla="*/ 0 h 677"/>
                <a:gd name="T4" fmla="*/ 553 w 553"/>
                <a:gd name="T5" fmla="*/ 532 h 677"/>
                <a:gd name="T6" fmla="*/ 286 w 553"/>
                <a:gd name="T7" fmla="*/ 677 h 677"/>
                <a:gd name="T8" fmla="*/ 0 w 553"/>
                <a:gd name="T9" fmla="*/ 142 h 677"/>
              </a:gdLst>
              <a:ahLst/>
              <a:cxnLst>
                <a:cxn ang="0">
                  <a:pos x="T0" y="T1"/>
                </a:cxn>
                <a:cxn ang="0">
                  <a:pos x="T2" y="T3"/>
                </a:cxn>
                <a:cxn ang="0">
                  <a:pos x="T4" y="T5"/>
                </a:cxn>
                <a:cxn ang="0">
                  <a:pos x="T6" y="T7"/>
                </a:cxn>
                <a:cxn ang="0">
                  <a:pos x="T8" y="T9"/>
                </a:cxn>
              </a:cxnLst>
              <a:rect l="0" t="0" r="r" b="b"/>
              <a:pathLst>
                <a:path w="553" h="677">
                  <a:moveTo>
                    <a:pt x="0" y="142"/>
                  </a:moveTo>
                  <a:lnTo>
                    <a:pt x="267" y="0"/>
                  </a:lnTo>
                  <a:lnTo>
                    <a:pt x="553" y="532"/>
                  </a:lnTo>
                  <a:lnTo>
                    <a:pt x="286" y="677"/>
                  </a:lnTo>
                  <a:lnTo>
                    <a:pt x="0" y="142"/>
                  </a:lnTo>
                  <a:close/>
                </a:path>
              </a:pathLst>
            </a:custGeom>
            <a:solidFill>
              <a:srgbClr val="F2BB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8" name="Freeform 36">
              <a:extLst>
                <a:ext uri="{FF2B5EF4-FFF2-40B4-BE49-F238E27FC236}">
                  <a16:creationId xmlns:a16="http://schemas.microsoft.com/office/drawing/2014/main" id="{20D2E7AF-2D19-4171-98B6-74E76F77A621}"/>
                </a:ext>
              </a:extLst>
            </p:cNvPr>
            <p:cNvSpPr>
              <a:spLocks/>
            </p:cNvSpPr>
            <p:nvPr/>
          </p:nvSpPr>
          <p:spPr bwMode="auto">
            <a:xfrm rot="762855">
              <a:off x="5160032" y="3787066"/>
              <a:ext cx="294523" cy="279672"/>
            </a:xfrm>
            <a:custGeom>
              <a:avLst/>
              <a:gdLst>
                <a:gd name="T0" fmla="*/ 259 w 293"/>
                <a:gd name="T1" fmla="*/ 85 h 292"/>
                <a:gd name="T2" fmla="*/ 207 w 293"/>
                <a:gd name="T3" fmla="*/ 259 h 292"/>
                <a:gd name="T4" fmla="*/ 34 w 293"/>
                <a:gd name="T5" fmla="*/ 207 h 292"/>
                <a:gd name="T6" fmla="*/ 86 w 293"/>
                <a:gd name="T7" fmla="*/ 33 h 292"/>
                <a:gd name="T8" fmla="*/ 259 w 293"/>
                <a:gd name="T9" fmla="*/ 85 h 292"/>
              </a:gdLst>
              <a:ahLst/>
              <a:cxnLst>
                <a:cxn ang="0">
                  <a:pos x="T0" y="T1"/>
                </a:cxn>
                <a:cxn ang="0">
                  <a:pos x="T2" y="T3"/>
                </a:cxn>
                <a:cxn ang="0">
                  <a:pos x="T4" y="T5"/>
                </a:cxn>
                <a:cxn ang="0">
                  <a:pos x="T6" y="T7"/>
                </a:cxn>
                <a:cxn ang="0">
                  <a:pos x="T8" y="T9"/>
                </a:cxn>
              </a:cxnLst>
              <a:rect l="0" t="0" r="r" b="b"/>
              <a:pathLst>
                <a:path w="293" h="292">
                  <a:moveTo>
                    <a:pt x="259" y="85"/>
                  </a:moveTo>
                  <a:cubicBezTo>
                    <a:pt x="293" y="148"/>
                    <a:pt x="269" y="225"/>
                    <a:pt x="207" y="259"/>
                  </a:cubicBezTo>
                  <a:cubicBezTo>
                    <a:pt x="145" y="292"/>
                    <a:pt x="67" y="269"/>
                    <a:pt x="34" y="207"/>
                  </a:cubicBezTo>
                  <a:cubicBezTo>
                    <a:pt x="0" y="144"/>
                    <a:pt x="24" y="67"/>
                    <a:pt x="86" y="33"/>
                  </a:cubicBezTo>
                  <a:cubicBezTo>
                    <a:pt x="148" y="0"/>
                    <a:pt x="226" y="23"/>
                    <a:pt x="259" y="85"/>
                  </a:cubicBezTo>
                  <a:close/>
                </a:path>
              </a:pathLst>
            </a:custGeom>
            <a:solidFill>
              <a:srgbClr val="F2BB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9" name="Freeform 37">
              <a:extLst>
                <a:ext uri="{FF2B5EF4-FFF2-40B4-BE49-F238E27FC236}">
                  <a16:creationId xmlns:a16="http://schemas.microsoft.com/office/drawing/2014/main" id="{8E5621B5-08BD-4501-A8FF-42249C3130C2}"/>
                </a:ext>
              </a:extLst>
            </p:cNvPr>
            <p:cNvSpPr>
              <a:spLocks/>
            </p:cNvSpPr>
            <p:nvPr/>
          </p:nvSpPr>
          <p:spPr bwMode="auto">
            <a:xfrm rot="762855">
              <a:off x="5283622" y="3755213"/>
              <a:ext cx="294523" cy="280481"/>
            </a:xfrm>
            <a:custGeom>
              <a:avLst/>
              <a:gdLst>
                <a:gd name="T0" fmla="*/ 259 w 293"/>
                <a:gd name="T1" fmla="*/ 86 h 293"/>
                <a:gd name="T2" fmla="*/ 207 w 293"/>
                <a:gd name="T3" fmla="*/ 259 h 293"/>
                <a:gd name="T4" fmla="*/ 34 w 293"/>
                <a:gd name="T5" fmla="*/ 207 h 293"/>
                <a:gd name="T6" fmla="*/ 86 w 293"/>
                <a:gd name="T7" fmla="*/ 34 h 293"/>
                <a:gd name="T8" fmla="*/ 259 w 293"/>
                <a:gd name="T9" fmla="*/ 86 h 293"/>
              </a:gdLst>
              <a:ahLst/>
              <a:cxnLst>
                <a:cxn ang="0">
                  <a:pos x="T0" y="T1"/>
                </a:cxn>
                <a:cxn ang="0">
                  <a:pos x="T2" y="T3"/>
                </a:cxn>
                <a:cxn ang="0">
                  <a:pos x="T4" y="T5"/>
                </a:cxn>
                <a:cxn ang="0">
                  <a:pos x="T6" y="T7"/>
                </a:cxn>
                <a:cxn ang="0">
                  <a:pos x="T8" y="T9"/>
                </a:cxn>
              </a:cxnLst>
              <a:rect l="0" t="0" r="r" b="b"/>
              <a:pathLst>
                <a:path w="293" h="293">
                  <a:moveTo>
                    <a:pt x="259" y="86"/>
                  </a:moveTo>
                  <a:cubicBezTo>
                    <a:pt x="293" y="148"/>
                    <a:pt x="269" y="226"/>
                    <a:pt x="207" y="259"/>
                  </a:cubicBezTo>
                  <a:cubicBezTo>
                    <a:pt x="145" y="293"/>
                    <a:pt x="67" y="269"/>
                    <a:pt x="34" y="207"/>
                  </a:cubicBezTo>
                  <a:cubicBezTo>
                    <a:pt x="0" y="145"/>
                    <a:pt x="23" y="67"/>
                    <a:pt x="86" y="34"/>
                  </a:cubicBezTo>
                  <a:cubicBezTo>
                    <a:pt x="148" y="0"/>
                    <a:pt x="226" y="24"/>
                    <a:pt x="259" y="86"/>
                  </a:cubicBezTo>
                  <a:close/>
                </a:path>
              </a:pathLst>
            </a:custGeom>
            <a:solidFill>
              <a:srgbClr val="F2BB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0" name="Freeform 38">
              <a:extLst>
                <a:ext uri="{FF2B5EF4-FFF2-40B4-BE49-F238E27FC236}">
                  <a16:creationId xmlns:a16="http://schemas.microsoft.com/office/drawing/2014/main" id="{F5B891EE-33EE-4E14-9298-20FABF4D9010}"/>
                </a:ext>
              </a:extLst>
            </p:cNvPr>
            <p:cNvSpPr>
              <a:spLocks/>
            </p:cNvSpPr>
            <p:nvPr/>
          </p:nvSpPr>
          <p:spPr bwMode="auto">
            <a:xfrm rot="762855">
              <a:off x="5375086" y="3742535"/>
              <a:ext cx="235363" cy="273601"/>
            </a:xfrm>
            <a:custGeom>
              <a:avLst/>
              <a:gdLst>
                <a:gd name="T0" fmla="*/ 0 w 553"/>
                <a:gd name="T1" fmla="*/ 144 h 676"/>
                <a:gd name="T2" fmla="*/ 267 w 553"/>
                <a:gd name="T3" fmla="*/ 0 h 676"/>
                <a:gd name="T4" fmla="*/ 553 w 553"/>
                <a:gd name="T5" fmla="*/ 535 h 676"/>
                <a:gd name="T6" fmla="*/ 286 w 553"/>
                <a:gd name="T7" fmla="*/ 676 h 676"/>
                <a:gd name="T8" fmla="*/ 0 w 553"/>
                <a:gd name="T9" fmla="*/ 144 h 676"/>
              </a:gdLst>
              <a:ahLst/>
              <a:cxnLst>
                <a:cxn ang="0">
                  <a:pos x="T0" y="T1"/>
                </a:cxn>
                <a:cxn ang="0">
                  <a:pos x="T2" y="T3"/>
                </a:cxn>
                <a:cxn ang="0">
                  <a:pos x="T4" y="T5"/>
                </a:cxn>
                <a:cxn ang="0">
                  <a:pos x="T6" y="T7"/>
                </a:cxn>
                <a:cxn ang="0">
                  <a:pos x="T8" y="T9"/>
                </a:cxn>
              </a:cxnLst>
              <a:rect l="0" t="0" r="r" b="b"/>
              <a:pathLst>
                <a:path w="553" h="676">
                  <a:moveTo>
                    <a:pt x="0" y="144"/>
                  </a:moveTo>
                  <a:lnTo>
                    <a:pt x="267" y="0"/>
                  </a:lnTo>
                  <a:lnTo>
                    <a:pt x="553" y="535"/>
                  </a:lnTo>
                  <a:lnTo>
                    <a:pt x="286" y="676"/>
                  </a:lnTo>
                  <a:lnTo>
                    <a:pt x="0" y="144"/>
                  </a:lnTo>
                  <a:close/>
                </a:path>
              </a:pathLst>
            </a:custGeom>
            <a:solidFill>
              <a:srgbClr val="8D523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1" name="Freeform 39">
              <a:extLst>
                <a:ext uri="{FF2B5EF4-FFF2-40B4-BE49-F238E27FC236}">
                  <a16:creationId xmlns:a16="http://schemas.microsoft.com/office/drawing/2014/main" id="{12C84D32-4214-40A7-9474-B8F3DBFAC2DA}"/>
                </a:ext>
              </a:extLst>
            </p:cNvPr>
            <p:cNvSpPr>
              <a:spLocks/>
            </p:cNvSpPr>
            <p:nvPr/>
          </p:nvSpPr>
          <p:spPr bwMode="auto">
            <a:xfrm rot="762855">
              <a:off x="5283622" y="3755213"/>
              <a:ext cx="294523" cy="280481"/>
            </a:xfrm>
            <a:custGeom>
              <a:avLst/>
              <a:gdLst>
                <a:gd name="T0" fmla="*/ 259 w 293"/>
                <a:gd name="T1" fmla="*/ 86 h 293"/>
                <a:gd name="T2" fmla="*/ 207 w 293"/>
                <a:gd name="T3" fmla="*/ 259 h 293"/>
                <a:gd name="T4" fmla="*/ 34 w 293"/>
                <a:gd name="T5" fmla="*/ 207 h 293"/>
                <a:gd name="T6" fmla="*/ 86 w 293"/>
                <a:gd name="T7" fmla="*/ 34 h 293"/>
                <a:gd name="T8" fmla="*/ 259 w 293"/>
                <a:gd name="T9" fmla="*/ 86 h 293"/>
              </a:gdLst>
              <a:ahLst/>
              <a:cxnLst>
                <a:cxn ang="0">
                  <a:pos x="T0" y="T1"/>
                </a:cxn>
                <a:cxn ang="0">
                  <a:pos x="T2" y="T3"/>
                </a:cxn>
                <a:cxn ang="0">
                  <a:pos x="T4" y="T5"/>
                </a:cxn>
                <a:cxn ang="0">
                  <a:pos x="T6" y="T7"/>
                </a:cxn>
                <a:cxn ang="0">
                  <a:pos x="T8" y="T9"/>
                </a:cxn>
              </a:cxnLst>
              <a:rect l="0" t="0" r="r" b="b"/>
              <a:pathLst>
                <a:path w="293" h="293">
                  <a:moveTo>
                    <a:pt x="259" y="86"/>
                  </a:moveTo>
                  <a:cubicBezTo>
                    <a:pt x="293" y="148"/>
                    <a:pt x="269" y="226"/>
                    <a:pt x="207" y="259"/>
                  </a:cubicBezTo>
                  <a:cubicBezTo>
                    <a:pt x="145" y="293"/>
                    <a:pt x="67" y="269"/>
                    <a:pt x="34" y="207"/>
                  </a:cubicBezTo>
                  <a:cubicBezTo>
                    <a:pt x="0" y="145"/>
                    <a:pt x="23" y="67"/>
                    <a:pt x="86" y="34"/>
                  </a:cubicBezTo>
                  <a:cubicBezTo>
                    <a:pt x="148" y="0"/>
                    <a:pt x="226" y="24"/>
                    <a:pt x="259" y="86"/>
                  </a:cubicBezTo>
                  <a:close/>
                </a:path>
              </a:pathLst>
            </a:custGeom>
            <a:solidFill>
              <a:srgbClr val="8D523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2" name="Freeform 40">
              <a:extLst>
                <a:ext uri="{FF2B5EF4-FFF2-40B4-BE49-F238E27FC236}">
                  <a16:creationId xmlns:a16="http://schemas.microsoft.com/office/drawing/2014/main" id="{3C6A38D7-E218-442E-89D0-16FF2480A39B}"/>
                </a:ext>
              </a:extLst>
            </p:cNvPr>
            <p:cNvSpPr>
              <a:spLocks/>
            </p:cNvSpPr>
            <p:nvPr/>
          </p:nvSpPr>
          <p:spPr bwMode="auto">
            <a:xfrm rot="762855">
              <a:off x="5407222" y="3724077"/>
              <a:ext cx="293671" cy="279672"/>
            </a:xfrm>
            <a:custGeom>
              <a:avLst/>
              <a:gdLst>
                <a:gd name="T0" fmla="*/ 259 w 292"/>
                <a:gd name="T1" fmla="*/ 85 h 292"/>
                <a:gd name="T2" fmla="*/ 207 w 292"/>
                <a:gd name="T3" fmla="*/ 259 h 292"/>
                <a:gd name="T4" fmla="*/ 33 w 292"/>
                <a:gd name="T5" fmla="*/ 206 h 292"/>
                <a:gd name="T6" fmla="*/ 86 w 292"/>
                <a:gd name="T7" fmla="*/ 33 h 292"/>
                <a:gd name="T8" fmla="*/ 259 w 292"/>
                <a:gd name="T9" fmla="*/ 85 h 292"/>
              </a:gdLst>
              <a:ahLst/>
              <a:cxnLst>
                <a:cxn ang="0">
                  <a:pos x="T0" y="T1"/>
                </a:cxn>
                <a:cxn ang="0">
                  <a:pos x="T2" y="T3"/>
                </a:cxn>
                <a:cxn ang="0">
                  <a:pos x="T4" y="T5"/>
                </a:cxn>
                <a:cxn ang="0">
                  <a:pos x="T6" y="T7"/>
                </a:cxn>
                <a:cxn ang="0">
                  <a:pos x="T8" y="T9"/>
                </a:cxn>
              </a:cxnLst>
              <a:rect l="0" t="0" r="r" b="b"/>
              <a:pathLst>
                <a:path w="292" h="292">
                  <a:moveTo>
                    <a:pt x="259" y="85"/>
                  </a:moveTo>
                  <a:cubicBezTo>
                    <a:pt x="292" y="148"/>
                    <a:pt x="269" y="225"/>
                    <a:pt x="207" y="259"/>
                  </a:cubicBezTo>
                  <a:cubicBezTo>
                    <a:pt x="144" y="292"/>
                    <a:pt x="67" y="269"/>
                    <a:pt x="33" y="206"/>
                  </a:cubicBezTo>
                  <a:cubicBezTo>
                    <a:pt x="0" y="144"/>
                    <a:pt x="23" y="67"/>
                    <a:pt x="86" y="33"/>
                  </a:cubicBezTo>
                  <a:cubicBezTo>
                    <a:pt x="148" y="0"/>
                    <a:pt x="225" y="23"/>
                    <a:pt x="259" y="85"/>
                  </a:cubicBezTo>
                  <a:close/>
                </a:path>
              </a:pathLst>
            </a:custGeom>
            <a:solidFill>
              <a:srgbClr val="8D523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3" name="Freeform 41">
              <a:extLst>
                <a:ext uri="{FF2B5EF4-FFF2-40B4-BE49-F238E27FC236}">
                  <a16:creationId xmlns:a16="http://schemas.microsoft.com/office/drawing/2014/main" id="{21237191-5701-47FA-B9C2-A17FFB8562B0}"/>
                </a:ext>
              </a:extLst>
            </p:cNvPr>
            <p:cNvSpPr>
              <a:spLocks/>
            </p:cNvSpPr>
            <p:nvPr/>
          </p:nvSpPr>
          <p:spPr bwMode="auto">
            <a:xfrm rot="762855">
              <a:off x="5510806" y="3707601"/>
              <a:ext cx="235363" cy="273601"/>
            </a:xfrm>
            <a:custGeom>
              <a:avLst/>
              <a:gdLst>
                <a:gd name="T0" fmla="*/ 0 w 553"/>
                <a:gd name="T1" fmla="*/ 144 h 676"/>
                <a:gd name="T2" fmla="*/ 267 w 553"/>
                <a:gd name="T3" fmla="*/ 0 h 676"/>
                <a:gd name="T4" fmla="*/ 553 w 553"/>
                <a:gd name="T5" fmla="*/ 534 h 676"/>
                <a:gd name="T6" fmla="*/ 286 w 553"/>
                <a:gd name="T7" fmla="*/ 676 h 676"/>
                <a:gd name="T8" fmla="*/ 0 w 553"/>
                <a:gd name="T9" fmla="*/ 144 h 676"/>
              </a:gdLst>
              <a:ahLst/>
              <a:cxnLst>
                <a:cxn ang="0">
                  <a:pos x="T0" y="T1"/>
                </a:cxn>
                <a:cxn ang="0">
                  <a:pos x="T2" y="T3"/>
                </a:cxn>
                <a:cxn ang="0">
                  <a:pos x="T4" y="T5"/>
                </a:cxn>
                <a:cxn ang="0">
                  <a:pos x="T6" y="T7"/>
                </a:cxn>
                <a:cxn ang="0">
                  <a:pos x="T8" y="T9"/>
                </a:cxn>
              </a:cxnLst>
              <a:rect l="0" t="0" r="r" b="b"/>
              <a:pathLst>
                <a:path w="553" h="676">
                  <a:moveTo>
                    <a:pt x="0" y="144"/>
                  </a:moveTo>
                  <a:lnTo>
                    <a:pt x="267" y="0"/>
                  </a:lnTo>
                  <a:lnTo>
                    <a:pt x="553" y="534"/>
                  </a:lnTo>
                  <a:lnTo>
                    <a:pt x="286" y="676"/>
                  </a:lnTo>
                  <a:lnTo>
                    <a:pt x="0" y="144"/>
                  </a:lnTo>
                  <a:close/>
                </a:path>
              </a:pathLst>
            </a:custGeom>
            <a:solidFill>
              <a:srgbClr val="8D523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4" name="Freeform 42">
              <a:extLst>
                <a:ext uri="{FF2B5EF4-FFF2-40B4-BE49-F238E27FC236}">
                  <a16:creationId xmlns:a16="http://schemas.microsoft.com/office/drawing/2014/main" id="{A5441C8E-6A44-4459-8F7A-26A9DE417F1D}"/>
                </a:ext>
              </a:extLst>
            </p:cNvPr>
            <p:cNvSpPr>
              <a:spLocks/>
            </p:cNvSpPr>
            <p:nvPr/>
          </p:nvSpPr>
          <p:spPr bwMode="auto">
            <a:xfrm rot="762855">
              <a:off x="5419293" y="3721131"/>
              <a:ext cx="294948" cy="279267"/>
            </a:xfrm>
            <a:custGeom>
              <a:avLst/>
              <a:gdLst>
                <a:gd name="T0" fmla="*/ 259 w 293"/>
                <a:gd name="T1" fmla="*/ 85 h 292"/>
                <a:gd name="T2" fmla="*/ 207 w 293"/>
                <a:gd name="T3" fmla="*/ 258 h 292"/>
                <a:gd name="T4" fmla="*/ 34 w 293"/>
                <a:gd name="T5" fmla="*/ 206 h 292"/>
                <a:gd name="T6" fmla="*/ 86 w 293"/>
                <a:gd name="T7" fmla="*/ 33 h 292"/>
                <a:gd name="T8" fmla="*/ 259 w 293"/>
                <a:gd name="T9" fmla="*/ 85 h 292"/>
              </a:gdLst>
              <a:ahLst/>
              <a:cxnLst>
                <a:cxn ang="0">
                  <a:pos x="T0" y="T1"/>
                </a:cxn>
                <a:cxn ang="0">
                  <a:pos x="T2" y="T3"/>
                </a:cxn>
                <a:cxn ang="0">
                  <a:pos x="T4" y="T5"/>
                </a:cxn>
                <a:cxn ang="0">
                  <a:pos x="T6" y="T7"/>
                </a:cxn>
                <a:cxn ang="0">
                  <a:pos x="T8" y="T9"/>
                </a:cxn>
              </a:cxnLst>
              <a:rect l="0" t="0" r="r" b="b"/>
              <a:pathLst>
                <a:path w="293" h="292">
                  <a:moveTo>
                    <a:pt x="259" y="85"/>
                  </a:moveTo>
                  <a:cubicBezTo>
                    <a:pt x="293" y="147"/>
                    <a:pt x="269" y="225"/>
                    <a:pt x="207" y="258"/>
                  </a:cubicBezTo>
                  <a:cubicBezTo>
                    <a:pt x="145" y="292"/>
                    <a:pt x="67" y="269"/>
                    <a:pt x="34" y="206"/>
                  </a:cubicBezTo>
                  <a:cubicBezTo>
                    <a:pt x="0" y="144"/>
                    <a:pt x="24" y="66"/>
                    <a:pt x="86" y="33"/>
                  </a:cubicBezTo>
                  <a:cubicBezTo>
                    <a:pt x="148" y="0"/>
                    <a:pt x="226" y="23"/>
                    <a:pt x="259" y="85"/>
                  </a:cubicBezTo>
                  <a:close/>
                </a:path>
              </a:pathLst>
            </a:custGeom>
            <a:solidFill>
              <a:srgbClr val="8D523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5" name="Freeform 43">
              <a:extLst>
                <a:ext uri="{FF2B5EF4-FFF2-40B4-BE49-F238E27FC236}">
                  <a16:creationId xmlns:a16="http://schemas.microsoft.com/office/drawing/2014/main" id="{9FDF6CD1-AC17-4A61-80D7-D64FD7ED9546}"/>
                </a:ext>
              </a:extLst>
            </p:cNvPr>
            <p:cNvSpPr>
              <a:spLocks/>
            </p:cNvSpPr>
            <p:nvPr/>
          </p:nvSpPr>
          <p:spPr bwMode="auto">
            <a:xfrm rot="762855">
              <a:off x="5542972" y="3689288"/>
              <a:ext cx="294948" cy="279267"/>
            </a:xfrm>
            <a:custGeom>
              <a:avLst/>
              <a:gdLst>
                <a:gd name="T0" fmla="*/ 259 w 293"/>
                <a:gd name="T1" fmla="*/ 86 h 292"/>
                <a:gd name="T2" fmla="*/ 207 w 293"/>
                <a:gd name="T3" fmla="*/ 259 h 292"/>
                <a:gd name="T4" fmla="*/ 34 w 293"/>
                <a:gd name="T5" fmla="*/ 207 h 292"/>
                <a:gd name="T6" fmla="*/ 86 w 293"/>
                <a:gd name="T7" fmla="*/ 33 h 292"/>
                <a:gd name="T8" fmla="*/ 259 w 293"/>
                <a:gd name="T9" fmla="*/ 86 h 292"/>
              </a:gdLst>
              <a:ahLst/>
              <a:cxnLst>
                <a:cxn ang="0">
                  <a:pos x="T0" y="T1"/>
                </a:cxn>
                <a:cxn ang="0">
                  <a:pos x="T2" y="T3"/>
                </a:cxn>
                <a:cxn ang="0">
                  <a:pos x="T4" y="T5"/>
                </a:cxn>
                <a:cxn ang="0">
                  <a:pos x="T6" y="T7"/>
                </a:cxn>
                <a:cxn ang="0">
                  <a:pos x="T8" y="T9"/>
                </a:cxn>
              </a:cxnLst>
              <a:rect l="0" t="0" r="r" b="b"/>
              <a:pathLst>
                <a:path w="293" h="292">
                  <a:moveTo>
                    <a:pt x="259" y="86"/>
                  </a:moveTo>
                  <a:cubicBezTo>
                    <a:pt x="293" y="148"/>
                    <a:pt x="269" y="225"/>
                    <a:pt x="207" y="259"/>
                  </a:cubicBezTo>
                  <a:cubicBezTo>
                    <a:pt x="145" y="292"/>
                    <a:pt x="67" y="269"/>
                    <a:pt x="34" y="207"/>
                  </a:cubicBezTo>
                  <a:cubicBezTo>
                    <a:pt x="0" y="144"/>
                    <a:pt x="23" y="67"/>
                    <a:pt x="86" y="33"/>
                  </a:cubicBezTo>
                  <a:cubicBezTo>
                    <a:pt x="148" y="0"/>
                    <a:pt x="226" y="23"/>
                    <a:pt x="259" y="86"/>
                  </a:cubicBezTo>
                  <a:close/>
                </a:path>
              </a:pathLst>
            </a:custGeom>
            <a:solidFill>
              <a:srgbClr val="8D5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6" name="Freeform 44">
              <a:extLst>
                <a:ext uri="{FF2B5EF4-FFF2-40B4-BE49-F238E27FC236}">
                  <a16:creationId xmlns:a16="http://schemas.microsoft.com/office/drawing/2014/main" id="{3721065E-D6BA-4EDE-96F6-1E2EA6F05D5A}"/>
                </a:ext>
              </a:extLst>
            </p:cNvPr>
            <p:cNvSpPr>
              <a:spLocks/>
            </p:cNvSpPr>
            <p:nvPr/>
          </p:nvSpPr>
          <p:spPr bwMode="auto">
            <a:xfrm rot="762855">
              <a:off x="4142150" y="2603342"/>
              <a:ext cx="1352166" cy="2424360"/>
            </a:xfrm>
            <a:custGeom>
              <a:avLst/>
              <a:gdLst>
                <a:gd name="T0" fmla="*/ 1344 w 1344"/>
                <a:gd name="T1" fmla="*/ 2470 h 2534"/>
                <a:gd name="T2" fmla="*/ 1280 w 1344"/>
                <a:gd name="T3" fmla="*/ 2534 h 2534"/>
                <a:gd name="T4" fmla="*/ 64 w 1344"/>
                <a:gd name="T5" fmla="*/ 2534 h 2534"/>
                <a:gd name="T6" fmla="*/ 0 w 1344"/>
                <a:gd name="T7" fmla="*/ 2470 h 2534"/>
                <a:gd name="T8" fmla="*/ 0 w 1344"/>
                <a:gd name="T9" fmla="*/ 64 h 2534"/>
                <a:gd name="T10" fmla="*/ 64 w 1344"/>
                <a:gd name="T11" fmla="*/ 0 h 2534"/>
                <a:gd name="T12" fmla="*/ 1280 w 1344"/>
                <a:gd name="T13" fmla="*/ 0 h 2534"/>
                <a:gd name="T14" fmla="*/ 1344 w 1344"/>
                <a:gd name="T15" fmla="*/ 64 h 2534"/>
                <a:gd name="T16" fmla="*/ 1344 w 1344"/>
                <a:gd name="T17" fmla="*/ 2470 h 2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4" h="2534">
                  <a:moveTo>
                    <a:pt x="1344" y="2470"/>
                  </a:moveTo>
                  <a:cubicBezTo>
                    <a:pt x="1344" y="2505"/>
                    <a:pt x="1315" y="2534"/>
                    <a:pt x="1280" y="2534"/>
                  </a:cubicBezTo>
                  <a:cubicBezTo>
                    <a:pt x="64" y="2534"/>
                    <a:pt x="64" y="2534"/>
                    <a:pt x="64" y="2534"/>
                  </a:cubicBezTo>
                  <a:cubicBezTo>
                    <a:pt x="29" y="2534"/>
                    <a:pt x="0" y="2505"/>
                    <a:pt x="0" y="2470"/>
                  </a:cubicBezTo>
                  <a:cubicBezTo>
                    <a:pt x="0" y="64"/>
                    <a:pt x="0" y="64"/>
                    <a:pt x="0" y="64"/>
                  </a:cubicBezTo>
                  <a:cubicBezTo>
                    <a:pt x="0" y="29"/>
                    <a:pt x="29" y="0"/>
                    <a:pt x="64" y="0"/>
                  </a:cubicBezTo>
                  <a:cubicBezTo>
                    <a:pt x="1280" y="0"/>
                    <a:pt x="1280" y="0"/>
                    <a:pt x="1280" y="0"/>
                  </a:cubicBezTo>
                  <a:cubicBezTo>
                    <a:pt x="1315" y="0"/>
                    <a:pt x="1344" y="29"/>
                    <a:pt x="1344" y="64"/>
                  </a:cubicBezTo>
                  <a:lnTo>
                    <a:pt x="1344" y="2470"/>
                  </a:lnTo>
                  <a:close/>
                </a:path>
              </a:pathLst>
            </a:custGeom>
            <a:solidFill>
              <a:srgbClr val="242C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7" name="Rectangle 45">
              <a:extLst>
                <a:ext uri="{FF2B5EF4-FFF2-40B4-BE49-F238E27FC236}">
                  <a16:creationId xmlns:a16="http://schemas.microsoft.com/office/drawing/2014/main" id="{3AA83424-9436-4DC3-A285-5F0687C7233E}"/>
                </a:ext>
              </a:extLst>
            </p:cNvPr>
            <p:cNvSpPr>
              <a:spLocks noChangeArrowheads="1"/>
            </p:cNvSpPr>
            <p:nvPr/>
          </p:nvSpPr>
          <p:spPr bwMode="auto">
            <a:xfrm rot="762855">
              <a:off x="4204725" y="2904680"/>
              <a:ext cx="1223631" cy="1836685"/>
            </a:xfrm>
            <a:prstGeom prst="rect">
              <a:avLst/>
            </a:prstGeom>
            <a:solidFill>
              <a:srgbClr val="FBEB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8" name="Freeform 46">
              <a:extLst>
                <a:ext uri="{FF2B5EF4-FFF2-40B4-BE49-F238E27FC236}">
                  <a16:creationId xmlns:a16="http://schemas.microsoft.com/office/drawing/2014/main" id="{112675E3-D4A5-431E-BDE3-1127C24F5823}"/>
                </a:ext>
              </a:extLst>
            </p:cNvPr>
            <p:cNvSpPr>
              <a:spLocks/>
            </p:cNvSpPr>
            <p:nvPr/>
          </p:nvSpPr>
          <p:spPr bwMode="auto">
            <a:xfrm rot="762855">
              <a:off x="4890989" y="4251599"/>
              <a:ext cx="387306" cy="566224"/>
            </a:xfrm>
            <a:custGeom>
              <a:avLst/>
              <a:gdLst>
                <a:gd name="T0" fmla="*/ 0 w 910"/>
                <a:gd name="T1" fmla="*/ 1399 h 1399"/>
                <a:gd name="T2" fmla="*/ 910 w 910"/>
                <a:gd name="T3" fmla="*/ 1399 h 1399"/>
                <a:gd name="T4" fmla="*/ 910 w 910"/>
                <a:gd name="T5" fmla="*/ 144 h 1399"/>
                <a:gd name="T6" fmla="*/ 376 w 910"/>
                <a:gd name="T7" fmla="*/ 0 h 1399"/>
                <a:gd name="T8" fmla="*/ 0 w 910"/>
                <a:gd name="T9" fmla="*/ 1399 h 1399"/>
              </a:gdLst>
              <a:ahLst/>
              <a:cxnLst>
                <a:cxn ang="0">
                  <a:pos x="T0" y="T1"/>
                </a:cxn>
                <a:cxn ang="0">
                  <a:pos x="T2" y="T3"/>
                </a:cxn>
                <a:cxn ang="0">
                  <a:pos x="T4" y="T5"/>
                </a:cxn>
                <a:cxn ang="0">
                  <a:pos x="T6" y="T7"/>
                </a:cxn>
                <a:cxn ang="0">
                  <a:pos x="T8" y="T9"/>
                </a:cxn>
              </a:cxnLst>
              <a:rect l="0" t="0" r="r" b="b"/>
              <a:pathLst>
                <a:path w="910" h="1399">
                  <a:moveTo>
                    <a:pt x="0" y="1399"/>
                  </a:moveTo>
                  <a:lnTo>
                    <a:pt x="910" y="1399"/>
                  </a:lnTo>
                  <a:lnTo>
                    <a:pt x="910" y="144"/>
                  </a:lnTo>
                  <a:lnTo>
                    <a:pt x="376" y="0"/>
                  </a:lnTo>
                  <a:lnTo>
                    <a:pt x="0" y="1399"/>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19" name="Freeform 47">
              <a:extLst>
                <a:ext uri="{FF2B5EF4-FFF2-40B4-BE49-F238E27FC236}">
                  <a16:creationId xmlns:a16="http://schemas.microsoft.com/office/drawing/2014/main" id="{555D5630-CF27-4CCE-94DC-EC2DB0641765}"/>
                </a:ext>
              </a:extLst>
            </p:cNvPr>
            <p:cNvSpPr>
              <a:spLocks/>
            </p:cNvSpPr>
            <p:nvPr/>
          </p:nvSpPr>
          <p:spPr bwMode="auto">
            <a:xfrm rot="762855">
              <a:off x="4849424" y="3132469"/>
              <a:ext cx="353257" cy="287766"/>
            </a:xfrm>
            <a:custGeom>
              <a:avLst/>
              <a:gdLst>
                <a:gd name="T0" fmla="*/ 830 w 830"/>
                <a:gd name="T1" fmla="*/ 343 h 711"/>
                <a:gd name="T2" fmla="*/ 137 w 830"/>
                <a:gd name="T3" fmla="*/ 0 h 711"/>
                <a:gd name="T4" fmla="*/ 0 w 830"/>
                <a:gd name="T5" fmla="*/ 515 h 711"/>
                <a:gd name="T6" fmla="*/ 731 w 830"/>
                <a:gd name="T7" fmla="*/ 711 h 711"/>
                <a:gd name="T8" fmla="*/ 830 w 830"/>
                <a:gd name="T9" fmla="*/ 343 h 711"/>
              </a:gdLst>
              <a:ahLst/>
              <a:cxnLst>
                <a:cxn ang="0">
                  <a:pos x="T0" y="T1"/>
                </a:cxn>
                <a:cxn ang="0">
                  <a:pos x="T2" y="T3"/>
                </a:cxn>
                <a:cxn ang="0">
                  <a:pos x="T4" y="T5"/>
                </a:cxn>
                <a:cxn ang="0">
                  <a:pos x="T6" y="T7"/>
                </a:cxn>
                <a:cxn ang="0">
                  <a:pos x="T8" y="T9"/>
                </a:cxn>
              </a:cxnLst>
              <a:rect l="0" t="0" r="r" b="b"/>
              <a:pathLst>
                <a:path w="830" h="711">
                  <a:moveTo>
                    <a:pt x="830" y="343"/>
                  </a:moveTo>
                  <a:lnTo>
                    <a:pt x="137" y="0"/>
                  </a:lnTo>
                  <a:lnTo>
                    <a:pt x="0" y="515"/>
                  </a:lnTo>
                  <a:lnTo>
                    <a:pt x="731" y="711"/>
                  </a:lnTo>
                  <a:lnTo>
                    <a:pt x="830" y="343"/>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0" name="Freeform 48">
              <a:extLst>
                <a:ext uri="{FF2B5EF4-FFF2-40B4-BE49-F238E27FC236}">
                  <a16:creationId xmlns:a16="http://schemas.microsoft.com/office/drawing/2014/main" id="{71F90770-3A7C-4DAC-B5C7-16B0B4926F9A}"/>
                </a:ext>
              </a:extLst>
            </p:cNvPr>
            <p:cNvSpPr>
              <a:spLocks/>
            </p:cNvSpPr>
            <p:nvPr/>
          </p:nvSpPr>
          <p:spPr bwMode="auto">
            <a:xfrm rot="762855">
              <a:off x="5186980" y="3370373"/>
              <a:ext cx="284734" cy="203986"/>
            </a:xfrm>
            <a:custGeom>
              <a:avLst/>
              <a:gdLst>
                <a:gd name="T0" fmla="*/ 669 w 669"/>
                <a:gd name="T1" fmla="*/ 286 h 504"/>
                <a:gd name="T2" fmla="*/ 90 w 669"/>
                <a:gd name="T3" fmla="*/ 0 h 504"/>
                <a:gd name="T4" fmla="*/ 0 w 669"/>
                <a:gd name="T5" fmla="*/ 341 h 504"/>
                <a:gd name="T6" fmla="*/ 612 w 669"/>
                <a:gd name="T7" fmla="*/ 504 h 504"/>
                <a:gd name="T8" fmla="*/ 669 w 669"/>
                <a:gd name="T9" fmla="*/ 286 h 504"/>
              </a:gdLst>
              <a:ahLst/>
              <a:cxnLst>
                <a:cxn ang="0">
                  <a:pos x="T0" y="T1"/>
                </a:cxn>
                <a:cxn ang="0">
                  <a:pos x="T2" y="T3"/>
                </a:cxn>
                <a:cxn ang="0">
                  <a:pos x="T4" y="T5"/>
                </a:cxn>
                <a:cxn ang="0">
                  <a:pos x="T6" y="T7"/>
                </a:cxn>
                <a:cxn ang="0">
                  <a:pos x="T8" y="T9"/>
                </a:cxn>
              </a:cxnLst>
              <a:rect l="0" t="0" r="r" b="b"/>
              <a:pathLst>
                <a:path w="669" h="504">
                  <a:moveTo>
                    <a:pt x="669" y="286"/>
                  </a:moveTo>
                  <a:lnTo>
                    <a:pt x="90" y="0"/>
                  </a:lnTo>
                  <a:lnTo>
                    <a:pt x="0" y="341"/>
                  </a:lnTo>
                  <a:lnTo>
                    <a:pt x="612" y="504"/>
                  </a:lnTo>
                  <a:lnTo>
                    <a:pt x="669" y="286"/>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1" name="Freeform 49">
              <a:extLst>
                <a:ext uri="{FF2B5EF4-FFF2-40B4-BE49-F238E27FC236}">
                  <a16:creationId xmlns:a16="http://schemas.microsoft.com/office/drawing/2014/main" id="{F289073C-627F-4221-A659-EDBEA5E9BEB9}"/>
                </a:ext>
              </a:extLst>
            </p:cNvPr>
            <p:cNvSpPr>
              <a:spLocks/>
            </p:cNvSpPr>
            <p:nvPr/>
          </p:nvSpPr>
          <p:spPr bwMode="auto">
            <a:xfrm rot="762855">
              <a:off x="5177963" y="3825411"/>
              <a:ext cx="211528" cy="452493"/>
            </a:xfrm>
            <a:custGeom>
              <a:avLst/>
              <a:gdLst>
                <a:gd name="T0" fmla="*/ 0 w 497"/>
                <a:gd name="T1" fmla="*/ 985 h 1118"/>
                <a:gd name="T2" fmla="*/ 497 w 497"/>
                <a:gd name="T3" fmla="*/ 1118 h 1118"/>
                <a:gd name="T4" fmla="*/ 497 w 497"/>
                <a:gd name="T5" fmla="*/ 61 h 1118"/>
                <a:gd name="T6" fmla="*/ 265 w 497"/>
                <a:gd name="T7" fmla="*/ 0 h 1118"/>
                <a:gd name="T8" fmla="*/ 0 w 497"/>
                <a:gd name="T9" fmla="*/ 985 h 1118"/>
              </a:gdLst>
              <a:ahLst/>
              <a:cxnLst>
                <a:cxn ang="0">
                  <a:pos x="T0" y="T1"/>
                </a:cxn>
                <a:cxn ang="0">
                  <a:pos x="T2" y="T3"/>
                </a:cxn>
                <a:cxn ang="0">
                  <a:pos x="T4" y="T5"/>
                </a:cxn>
                <a:cxn ang="0">
                  <a:pos x="T6" y="T7"/>
                </a:cxn>
                <a:cxn ang="0">
                  <a:pos x="T8" y="T9"/>
                </a:cxn>
              </a:cxnLst>
              <a:rect l="0" t="0" r="r" b="b"/>
              <a:pathLst>
                <a:path w="497" h="1118">
                  <a:moveTo>
                    <a:pt x="0" y="985"/>
                  </a:moveTo>
                  <a:lnTo>
                    <a:pt x="497" y="1118"/>
                  </a:lnTo>
                  <a:lnTo>
                    <a:pt x="497" y="61"/>
                  </a:lnTo>
                  <a:lnTo>
                    <a:pt x="265" y="0"/>
                  </a:lnTo>
                  <a:lnTo>
                    <a:pt x="0" y="98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2" name="Freeform 50">
              <a:extLst>
                <a:ext uri="{FF2B5EF4-FFF2-40B4-BE49-F238E27FC236}">
                  <a16:creationId xmlns:a16="http://schemas.microsoft.com/office/drawing/2014/main" id="{2ABC1FB1-3311-4751-AA29-8A0FF6164C1E}"/>
                </a:ext>
              </a:extLst>
            </p:cNvPr>
            <p:cNvSpPr>
              <a:spLocks/>
            </p:cNvSpPr>
            <p:nvPr/>
          </p:nvSpPr>
          <p:spPr bwMode="auto">
            <a:xfrm rot="762855">
              <a:off x="4082444" y="4002253"/>
              <a:ext cx="335381" cy="626529"/>
            </a:xfrm>
            <a:custGeom>
              <a:avLst/>
              <a:gdLst>
                <a:gd name="T0" fmla="*/ 769 w 788"/>
                <a:gd name="T1" fmla="*/ 281 h 1548"/>
                <a:gd name="T2" fmla="*/ 788 w 788"/>
                <a:gd name="T3" fmla="*/ 203 h 1548"/>
                <a:gd name="T4" fmla="*/ 31 w 788"/>
                <a:gd name="T5" fmla="*/ 0 h 1548"/>
                <a:gd name="T6" fmla="*/ 0 w 788"/>
                <a:gd name="T7" fmla="*/ 111 h 1548"/>
                <a:gd name="T8" fmla="*/ 0 w 788"/>
                <a:gd name="T9" fmla="*/ 1548 h 1548"/>
                <a:gd name="T10" fmla="*/ 615 w 788"/>
                <a:gd name="T11" fmla="*/ 1548 h 1548"/>
                <a:gd name="T12" fmla="*/ 766 w 788"/>
                <a:gd name="T13" fmla="*/ 286 h 1548"/>
                <a:gd name="T14" fmla="*/ 769 w 788"/>
                <a:gd name="T15" fmla="*/ 281 h 15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8" h="1548">
                  <a:moveTo>
                    <a:pt x="769" y="281"/>
                  </a:moveTo>
                  <a:lnTo>
                    <a:pt x="788" y="203"/>
                  </a:lnTo>
                  <a:lnTo>
                    <a:pt x="31" y="0"/>
                  </a:lnTo>
                  <a:lnTo>
                    <a:pt x="0" y="111"/>
                  </a:lnTo>
                  <a:lnTo>
                    <a:pt x="0" y="1548"/>
                  </a:lnTo>
                  <a:lnTo>
                    <a:pt x="615" y="1548"/>
                  </a:lnTo>
                  <a:lnTo>
                    <a:pt x="766" y="286"/>
                  </a:lnTo>
                  <a:lnTo>
                    <a:pt x="769" y="281"/>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3" name="Freeform 51">
              <a:extLst>
                <a:ext uri="{FF2B5EF4-FFF2-40B4-BE49-F238E27FC236}">
                  <a16:creationId xmlns:a16="http://schemas.microsoft.com/office/drawing/2014/main" id="{6CB4C46E-101D-435D-8F77-EA9C973F4D13}"/>
                </a:ext>
              </a:extLst>
            </p:cNvPr>
            <p:cNvSpPr>
              <a:spLocks/>
            </p:cNvSpPr>
            <p:nvPr/>
          </p:nvSpPr>
          <p:spPr bwMode="auto">
            <a:xfrm rot="762855">
              <a:off x="4402169" y="4070193"/>
              <a:ext cx="443486" cy="642718"/>
            </a:xfrm>
            <a:custGeom>
              <a:avLst/>
              <a:gdLst>
                <a:gd name="T0" fmla="*/ 367 w 441"/>
                <a:gd name="T1" fmla="*/ 0 h 672"/>
                <a:gd name="T2" fmla="*/ 342 w 441"/>
                <a:gd name="T3" fmla="*/ 93 h 672"/>
                <a:gd name="T4" fmla="*/ 225 w 441"/>
                <a:gd name="T5" fmla="*/ 161 h 672"/>
                <a:gd name="T6" fmla="*/ 70 w 441"/>
                <a:gd name="T7" fmla="*/ 119 h 672"/>
                <a:gd name="T8" fmla="*/ 62 w 441"/>
                <a:gd name="T9" fmla="*/ 148 h 672"/>
                <a:gd name="T10" fmla="*/ 0 w 441"/>
                <a:gd name="T11" fmla="*/ 672 h 672"/>
                <a:gd name="T12" fmla="*/ 266 w 441"/>
                <a:gd name="T13" fmla="*/ 672 h 672"/>
                <a:gd name="T14" fmla="*/ 441 w 441"/>
                <a:gd name="T15" fmla="*/ 20 h 672"/>
                <a:gd name="T16" fmla="*/ 367 w 441"/>
                <a:gd name="T17" fmla="*/ 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1" h="672">
                  <a:moveTo>
                    <a:pt x="367" y="0"/>
                  </a:moveTo>
                  <a:cubicBezTo>
                    <a:pt x="342" y="93"/>
                    <a:pt x="342" y="93"/>
                    <a:pt x="342" y="93"/>
                  </a:cubicBezTo>
                  <a:cubicBezTo>
                    <a:pt x="329" y="144"/>
                    <a:pt x="276" y="174"/>
                    <a:pt x="225" y="161"/>
                  </a:cubicBezTo>
                  <a:cubicBezTo>
                    <a:pt x="70" y="119"/>
                    <a:pt x="70" y="119"/>
                    <a:pt x="70" y="119"/>
                  </a:cubicBezTo>
                  <a:cubicBezTo>
                    <a:pt x="62" y="148"/>
                    <a:pt x="62" y="148"/>
                    <a:pt x="62" y="148"/>
                  </a:cubicBezTo>
                  <a:cubicBezTo>
                    <a:pt x="0" y="672"/>
                    <a:pt x="0" y="672"/>
                    <a:pt x="0" y="672"/>
                  </a:cubicBezTo>
                  <a:cubicBezTo>
                    <a:pt x="266" y="672"/>
                    <a:pt x="266" y="672"/>
                    <a:pt x="266" y="672"/>
                  </a:cubicBezTo>
                  <a:cubicBezTo>
                    <a:pt x="441" y="20"/>
                    <a:pt x="441" y="20"/>
                    <a:pt x="441" y="20"/>
                  </a:cubicBezTo>
                  <a:lnTo>
                    <a:pt x="367"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4" name="Freeform 52">
              <a:extLst>
                <a:ext uri="{FF2B5EF4-FFF2-40B4-BE49-F238E27FC236}">
                  <a16:creationId xmlns:a16="http://schemas.microsoft.com/office/drawing/2014/main" id="{6858B256-29B1-454F-8383-EA8B1B4BC706}"/>
                </a:ext>
              </a:extLst>
            </p:cNvPr>
            <p:cNvSpPr>
              <a:spLocks/>
            </p:cNvSpPr>
            <p:nvPr/>
          </p:nvSpPr>
          <p:spPr bwMode="auto">
            <a:xfrm rot="762855">
              <a:off x="4715481" y="2932896"/>
              <a:ext cx="623945" cy="295456"/>
            </a:xfrm>
            <a:custGeom>
              <a:avLst/>
              <a:gdLst>
                <a:gd name="T0" fmla="*/ 1272 w 1466"/>
                <a:gd name="T1" fmla="*/ 730 h 730"/>
                <a:gd name="T2" fmla="*/ 1466 w 1466"/>
                <a:gd name="T3" fmla="*/ 0 h 730"/>
                <a:gd name="T4" fmla="*/ 28 w 1466"/>
                <a:gd name="T5" fmla="*/ 0 h 730"/>
                <a:gd name="T6" fmla="*/ 0 w 1466"/>
                <a:gd name="T7" fmla="*/ 104 h 730"/>
                <a:gd name="T8" fmla="*/ 1272 w 1466"/>
                <a:gd name="T9" fmla="*/ 730 h 730"/>
              </a:gdLst>
              <a:ahLst/>
              <a:cxnLst>
                <a:cxn ang="0">
                  <a:pos x="T0" y="T1"/>
                </a:cxn>
                <a:cxn ang="0">
                  <a:pos x="T2" y="T3"/>
                </a:cxn>
                <a:cxn ang="0">
                  <a:pos x="T4" y="T5"/>
                </a:cxn>
                <a:cxn ang="0">
                  <a:pos x="T6" y="T7"/>
                </a:cxn>
                <a:cxn ang="0">
                  <a:pos x="T8" y="T9"/>
                </a:cxn>
              </a:cxnLst>
              <a:rect l="0" t="0" r="r" b="b"/>
              <a:pathLst>
                <a:path w="1466" h="730">
                  <a:moveTo>
                    <a:pt x="1272" y="730"/>
                  </a:moveTo>
                  <a:lnTo>
                    <a:pt x="1466" y="0"/>
                  </a:lnTo>
                  <a:lnTo>
                    <a:pt x="28" y="0"/>
                  </a:lnTo>
                  <a:lnTo>
                    <a:pt x="0" y="104"/>
                  </a:lnTo>
                  <a:lnTo>
                    <a:pt x="1272" y="73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5" name="Freeform 53">
              <a:extLst>
                <a:ext uri="{FF2B5EF4-FFF2-40B4-BE49-F238E27FC236}">
                  <a16:creationId xmlns:a16="http://schemas.microsoft.com/office/drawing/2014/main" id="{075E0B02-78E1-411A-A31E-63EBE8E56457}"/>
                </a:ext>
              </a:extLst>
            </p:cNvPr>
            <p:cNvSpPr>
              <a:spLocks/>
            </p:cNvSpPr>
            <p:nvPr/>
          </p:nvSpPr>
          <p:spPr bwMode="auto">
            <a:xfrm rot="762855">
              <a:off x="4187762" y="3785861"/>
              <a:ext cx="24260" cy="91065"/>
            </a:xfrm>
            <a:custGeom>
              <a:avLst/>
              <a:gdLst>
                <a:gd name="T0" fmla="*/ 0 w 57"/>
                <a:gd name="T1" fmla="*/ 0 h 225"/>
                <a:gd name="T2" fmla="*/ 0 w 57"/>
                <a:gd name="T3" fmla="*/ 225 h 225"/>
                <a:gd name="T4" fmla="*/ 57 w 57"/>
                <a:gd name="T5" fmla="*/ 15 h 225"/>
                <a:gd name="T6" fmla="*/ 0 w 57"/>
                <a:gd name="T7" fmla="*/ 0 h 225"/>
              </a:gdLst>
              <a:ahLst/>
              <a:cxnLst>
                <a:cxn ang="0">
                  <a:pos x="T0" y="T1"/>
                </a:cxn>
                <a:cxn ang="0">
                  <a:pos x="T2" y="T3"/>
                </a:cxn>
                <a:cxn ang="0">
                  <a:pos x="T4" y="T5"/>
                </a:cxn>
                <a:cxn ang="0">
                  <a:pos x="T6" y="T7"/>
                </a:cxn>
              </a:cxnLst>
              <a:rect l="0" t="0" r="r" b="b"/>
              <a:pathLst>
                <a:path w="57" h="225">
                  <a:moveTo>
                    <a:pt x="0" y="0"/>
                  </a:moveTo>
                  <a:lnTo>
                    <a:pt x="0" y="225"/>
                  </a:lnTo>
                  <a:lnTo>
                    <a:pt x="57" y="15"/>
                  </a:lnTo>
                  <a:lnTo>
                    <a:pt x="0" y="0"/>
                  </a:lnTo>
                  <a:close/>
                </a:path>
              </a:pathLst>
            </a:custGeom>
            <a:solidFill>
              <a:srgbClr val="FBEBD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6" name="Freeform 54">
              <a:extLst>
                <a:ext uri="{FF2B5EF4-FFF2-40B4-BE49-F238E27FC236}">
                  <a16:creationId xmlns:a16="http://schemas.microsoft.com/office/drawing/2014/main" id="{8795B9E3-BE74-4866-A7BC-518BB231F11C}"/>
                </a:ext>
              </a:extLst>
            </p:cNvPr>
            <p:cNvSpPr>
              <a:spLocks/>
            </p:cNvSpPr>
            <p:nvPr/>
          </p:nvSpPr>
          <p:spPr bwMode="auto">
            <a:xfrm rot="762855">
              <a:off x="5288846" y="3025462"/>
              <a:ext cx="281754" cy="439137"/>
            </a:xfrm>
            <a:custGeom>
              <a:avLst/>
              <a:gdLst>
                <a:gd name="T0" fmla="*/ 579 w 662"/>
                <a:gd name="T1" fmla="*/ 1085 h 1085"/>
                <a:gd name="T2" fmla="*/ 662 w 662"/>
                <a:gd name="T3" fmla="*/ 777 h 1085"/>
                <a:gd name="T4" fmla="*/ 662 w 662"/>
                <a:gd name="T5" fmla="*/ 0 h 1085"/>
                <a:gd name="T6" fmla="*/ 215 w 662"/>
                <a:gd name="T7" fmla="*/ 0 h 1085"/>
                <a:gd name="T8" fmla="*/ 0 w 662"/>
                <a:gd name="T9" fmla="*/ 799 h 1085"/>
                <a:gd name="T10" fmla="*/ 579 w 662"/>
                <a:gd name="T11" fmla="*/ 1085 h 1085"/>
              </a:gdLst>
              <a:ahLst/>
              <a:cxnLst>
                <a:cxn ang="0">
                  <a:pos x="T0" y="T1"/>
                </a:cxn>
                <a:cxn ang="0">
                  <a:pos x="T2" y="T3"/>
                </a:cxn>
                <a:cxn ang="0">
                  <a:pos x="T4" y="T5"/>
                </a:cxn>
                <a:cxn ang="0">
                  <a:pos x="T6" y="T7"/>
                </a:cxn>
                <a:cxn ang="0">
                  <a:pos x="T8" y="T9"/>
                </a:cxn>
                <a:cxn ang="0">
                  <a:pos x="T10" y="T11"/>
                </a:cxn>
              </a:cxnLst>
              <a:rect l="0" t="0" r="r" b="b"/>
              <a:pathLst>
                <a:path w="662" h="1085">
                  <a:moveTo>
                    <a:pt x="579" y="1085"/>
                  </a:moveTo>
                  <a:lnTo>
                    <a:pt x="662" y="777"/>
                  </a:lnTo>
                  <a:lnTo>
                    <a:pt x="662" y="0"/>
                  </a:lnTo>
                  <a:lnTo>
                    <a:pt x="215" y="0"/>
                  </a:lnTo>
                  <a:lnTo>
                    <a:pt x="0" y="799"/>
                  </a:lnTo>
                  <a:lnTo>
                    <a:pt x="579" y="108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7" name="Freeform 55">
              <a:extLst>
                <a:ext uri="{FF2B5EF4-FFF2-40B4-BE49-F238E27FC236}">
                  <a16:creationId xmlns:a16="http://schemas.microsoft.com/office/drawing/2014/main" id="{D69838C6-FCDC-4C74-8005-DB50FF218392}"/>
                </a:ext>
              </a:extLst>
            </p:cNvPr>
            <p:cNvSpPr>
              <a:spLocks/>
            </p:cNvSpPr>
            <p:nvPr/>
          </p:nvSpPr>
          <p:spPr bwMode="auto">
            <a:xfrm rot="762855">
              <a:off x="4242573" y="3438376"/>
              <a:ext cx="120022" cy="310836"/>
            </a:xfrm>
            <a:custGeom>
              <a:avLst/>
              <a:gdLst>
                <a:gd name="T0" fmla="*/ 282 w 282"/>
                <a:gd name="T1" fmla="*/ 75 h 768"/>
                <a:gd name="T2" fmla="*/ 0 w 282"/>
                <a:gd name="T3" fmla="*/ 0 h 768"/>
                <a:gd name="T4" fmla="*/ 0 w 282"/>
                <a:gd name="T5" fmla="*/ 742 h 768"/>
                <a:gd name="T6" fmla="*/ 95 w 282"/>
                <a:gd name="T7" fmla="*/ 768 h 768"/>
                <a:gd name="T8" fmla="*/ 282 w 282"/>
                <a:gd name="T9" fmla="*/ 75 h 768"/>
              </a:gdLst>
              <a:ahLst/>
              <a:cxnLst>
                <a:cxn ang="0">
                  <a:pos x="T0" y="T1"/>
                </a:cxn>
                <a:cxn ang="0">
                  <a:pos x="T2" y="T3"/>
                </a:cxn>
                <a:cxn ang="0">
                  <a:pos x="T4" y="T5"/>
                </a:cxn>
                <a:cxn ang="0">
                  <a:pos x="T6" y="T7"/>
                </a:cxn>
                <a:cxn ang="0">
                  <a:pos x="T8" y="T9"/>
                </a:cxn>
              </a:cxnLst>
              <a:rect l="0" t="0" r="r" b="b"/>
              <a:pathLst>
                <a:path w="282" h="768">
                  <a:moveTo>
                    <a:pt x="282" y="75"/>
                  </a:moveTo>
                  <a:lnTo>
                    <a:pt x="0" y="0"/>
                  </a:lnTo>
                  <a:lnTo>
                    <a:pt x="0" y="742"/>
                  </a:lnTo>
                  <a:lnTo>
                    <a:pt x="95" y="768"/>
                  </a:lnTo>
                  <a:lnTo>
                    <a:pt x="282" y="7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8" name="Freeform 56">
              <a:extLst>
                <a:ext uri="{FF2B5EF4-FFF2-40B4-BE49-F238E27FC236}">
                  <a16:creationId xmlns:a16="http://schemas.microsoft.com/office/drawing/2014/main" id="{5FBFF138-5B8C-4E92-BA53-E7DDDBEC4AB8}"/>
                </a:ext>
              </a:extLst>
            </p:cNvPr>
            <p:cNvSpPr>
              <a:spLocks/>
            </p:cNvSpPr>
            <p:nvPr/>
          </p:nvSpPr>
          <p:spPr bwMode="auto">
            <a:xfrm rot="762855">
              <a:off x="4352636" y="2819591"/>
              <a:ext cx="311973" cy="594150"/>
            </a:xfrm>
            <a:custGeom>
              <a:avLst/>
              <a:gdLst>
                <a:gd name="T0" fmla="*/ 733 w 733"/>
                <a:gd name="T1" fmla="*/ 0 h 1468"/>
                <a:gd name="T2" fmla="*/ 0 w 733"/>
                <a:gd name="T3" fmla="*/ 0 h 1468"/>
                <a:gd name="T4" fmla="*/ 0 w 733"/>
                <a:gd name="T5" fmla="*/ 1375 h 1468"/>
                <a:gd name="T6" fmla="*/ 341 w 733"/>
                <a:gd name="T7" fmla="*/ 1468 h 1468"/>
                <a:gd name="T8" fmla="*/ 733 w 733"/>
                <a:gd name="T9" fmla="*/ 0 h 1468"/>
              </a:gdLst>
              <a:ahLst/>
              <a:cxnLst>
                <a:cxn ang="0">
                  <a:pos x="T0" y="T1"/>
                </a:cxn>
                <a:cxn ang="0">
                  <a:pos x="T2" y="T3"/>
                </a:cxn>
                <a:cxn ang="0">
                  <a:pos x="T4" y="T5"/>
                </a:cxn>
                <a:cxn ang="0">
                  <a:pos x="T6" y="T7"/>
                </a:cxn>
                <a:cxn ang="0">
                  <a:pos x="T8" y="T9"/>
                </a:cxn>
              </a:cxnLst>
              <a:rect l="0" t="0" r="r" b="b"/>
              <a:pathLst>
                <a:path w="733" h="1468">
                  <a:moveTo>
                    <a:pt x="733" y="0"/>
                  </a:moveTo>
                  <a:lnTo>
                    <a:pt x="0" y="0"/>
                  </a:lnTo>
                  <a:lnTo>
                    <a:pt x="0" y="1375"/>
                  </a:lnTo>
                  <a:lnTo>
                    <a:pt x="341" y="1468"/>
                  </a:lnTo>
                  <a:lnTo>
                    <a:pt x="733"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9" name="Freeform 57">
              <a:extLst>
                <a:ext uri="{FF2B5EF4-FFF2-40B4-BE49-F238E27FC236}">
                  <a16:creationId xmlns:a16="http://schemas.microsoft.com/office/drawing/2014/main" id="{950D1C78-8A83-44A9-A077-A7A2290F4FC5}"/>
                </a:ext>
              </a:extLst>
            </p:cNvPr>
            <p:cNvSpPr>
              <a:spLocks/>
            </p:cNvSpPr>
            <p:nvPr/>
          </p:nvSpPr>
          <p:spPr bwMode="auto">
            <a:xfrm rot="762855">
              <a:off x="4701512" y="4153000"/>
              <a:ext cx="320911" cy="613982"/>
            </a:xfrm>
            <a:custGeom>
              <a:avLst/>
              <a:gdLst>
                <a:gd name="T0" fmla="*/ 407 w 754"/>
                <a:gd name="T1" fmla="*/ 0 h 1517"/>
                <a:gd name="T2" fmla="*/ 0 w 754"/>
                <a:gd name="T3" fmla="*/ 1517 h 1517"/>
                <a:gd name="T4" fmla="*/ 374 w 754"/>
                <a:gd name="T5" fmla="*/ 1517 h 1517"/>
                <a:gd name="T6" fmla="*/ 754 w 754"/>
                <a:gd name="T7" fmla="*/ 94 h 1517"/>
                <a:gd name="T8" fmla="*/ 407 w 754"/>
                <a:gd name="T9" fmla="*/ 0 h 1517"/>
              </a:gdLst>
              <a:ahLst/>
              <a:cxnLst>
                <a:cxn ang="0">
                  <a:pos x="T0" y="T1"/>
                </a:cxn>
                <a:cxn ang="0">
                  <a:pos x="T2" y="T3"/>
                </a:cxn>
                <a:cxn ang="0">
                  <a:pos x="T4" y="T5"/>
                </a:cxn>
                <a:cxn ang="0">
                  <a:pos x="T6" y="T7"/>
                </a:cxn>
                <a:cxn ang="0">
                  <a:pos x="T8" y="T9"/>
                </a:cxn>
              </a:cxnLst>
              <a:rect l="0" t="0" r="r" b="b"/>
              <a:pathLst>
                <a:path w="754" h="1517">
                  <a:moveTo>
                    <a:pt x="407" y="0"/>
                  </a:moveTo>
                  <a:lnTo>
                    <a:pt x="0" y="1517"/>
                  </a:lnTo>
                  <a:lnTo>
                    <a:pt x="374" y="1517"/>
                  </a:lnTo>
                  <a:lnTo>
                    <a:pt x="754" y="94"/>
                  </a:lnTo>
                  <a:lnTo>
                    <a:pt x="407"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0" name="Freeform 58">
              <a:extLst>
                <a:ext uri="{FF2B5EF4-FFF2-40B4-BE49-F238E27FC236}">
                  <a16:creationId xmlns:a16="http://schemas.microsoft.com/office/drawing/2014/main" id="{EDA5217B-EBBE-41B4-B4BD-8DC4FEC8A466}"/>
                </a:ext>
              </a:extLst>
            </p:cNvPr>
            <p:cNvSpPr>
              <a:spLocks/>
            </p:cNvSpPr>
            <p:nvPr/>
          </p:nvSpPr>
          <p:spPr bwMode="auto">
            <a:xfrm rot="762855">
              <a:off x="4899948" y="3702175"/>
              <a:ext cx="372409" cy="466254"/>
            </a:xfrm>
            <a:custGeom>
              <a:avLst/>
              <a:gdLst>
                <a:gd name="T0" fmla="*/ 0 w 875"/>
                <a:gd name="T1" fmla="*/ 986 h 1152"/>
                <a:gd name="T2" fmla="*/ 613 w 875"/>
                <a:gd name="T3" fmla="*/ 1152 h 1152"/>
                <a:gd name="T4" fmla="*/ 875 w 875"/>
                <a:gd name="T5" fmla="*/ 164 h 1152"/>
                <a:gd name="T6" fmla="*/ 265 w 875"/>
                <a:gd name="T7" fmla="*/ 0 h 1152"/>
                <a:gd name="T8" fmla="*/ 0 w 875"/>
                <a:gd name="T9" fmla="*/ 986 h 1152"/>
              </a:gdLst>
              <a:ahLst/>
              <a:cxnLst>
                <a:cxn ang="0">
                  <a:pos x="T0" y="T1"/>
                </a:cxn>
                <a:cxn ang="0">
                  <a:pos x="T2" y="T3"/>
                </a:cxn>
                <a:cxn ang="0">
                  <a:pos x="T4" y="T5"/>
                </a:cxn>
                <a:cxn ang="0">
                  <a:pos x="T6" y="T7"/>
                </a:cxn>
                <a:cxn ang="0">
                  <a:pos x="T8" y="T9"/>
                </a:cxn>
              </a:cxnLst>
              <a:rect l="0" t="0" r="r" b="b"/>
              <a:pathLst>
                <a:path w="875" h="1152">
                  <a:moveTo>
                    <a:pt x="0" y="986"/>
                  </a:moveTo>
                  <a:lnTo>
                    <a:pt x="613" y="1152"/>
                  </a:lnTo>
                  <a:lnTo>
                    <a:pt x="875" y="164"/>
                  </a:lnTo>
                  <a:lnTo>
                    <a:pt x="265" y="0"/>
                  </a:lnTo>
                  <a:lnTo>
                    <a:pt x="0" y="986"/>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1" name="Freeform 59">
              <a:extLst>
                <a:ext uri="{FF2B5EF4-FFF2-40B4-BE49-F238E27FC236}">
                  <a16:creationId xmlns:a16="http://schemas.microsoft.com/office/drawing/2014/main" id="{768D5308-F084-4FDF-BAFD-3DD24B673DC2}"/>
                </a:ext>
              </a:extLst>
            </p:cNvPr>
            <p:cNvSpPr>
              <a:spLocks/>
            </p:cNvSpPr>
            <p:nvPr/>
          </p:nvSpPr>
          <p:spPr bwMode="auto">
            <a:xfrm rot="762855">
              <a:off x="4674418" y="3578062"/>
              <a:ext cx="299204" cy="446827"/>
            </a:xfrm>
            <a:custGeom>
              <a:avLst/>
              <a:gdLst>
                <a:gd name="T0" fmla="*/ 263 w 703"/>
                <a:gd name="T1" fmla="*/ 0 h 1104"/>
                <a:gd name="T2" fmla="*/ 0 w 703"/>
                <a:gd name="T3" fmla="*/ 986 h 1104"/>
                <a:gd name="T4" fmla="*/ 438 w 703"/>
                <a:gd name="T5" fmla="*/ 1104 h 1104"/>
                <a:gd name="T6" fmla="*/ 703 w 703"/>
                <a:gd name="T7" fmla="*/ 119 h 1104"/>
                <a:gd name="T8" fmla="*/ 263 w 703"/>
                <a:gd name="T9" fmla="*/ 0 h 1104"/>
              </a:gdLst>
              <a:ahLst/>
              <a:cxnLst>
                <a:cxn ang="0">
                  <a:pos x="T0" y="T1"/>
                </a:cxn>
                <a:cxn ang="0">
                  <a:pos x="T2" y="T3"/>
                </a:cxn>
                <a:cxn ang="0">
                  <a:pos x="T4" y="T5"/>
                </a:cxn>
                <a:cxn ang="0">
                  <a:pos x="T6" y="T7"/>
                </a:cxn>
                <a:cxn ang="0">
                  <a:pos x="T8" y="T9"/>
                </a:cxn>
              </a:cxnLst>
              <a:rect l="0" t="0" r="r" b="b"/>
              <a:pathLst>
                <a:path w="703" h="1104">
                  <a:moveTo>
                    <a:pt x="263" y="0"/>
                  </a:moveTo>
                  <a:lnTo>
                    <a:pt x="0" y="986"/>
                  </a:lnTo>
                  <a:lnTo>
                    <a:pt x="438" y="1104"/>
                  </a:lnTo>
                  <a:lnTo>
                    <a:pt x="703" y="119"/>
                  </a:lnTo>
                  <a:lnTo>
                    <a:pt x="263"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2" name="Freeform 60">
              <a:extLst>
                <a:ext uri="{FF2B5EF4-FFF2-40B4-BE49-F238E27FC236}">
                  <a16:creationId xmlns:a16="http://schemas.microsoft.com/office/drawing/2014/main" id="{F09ABEEA-53D6-4CFF-8118-52FA9333BAA8}"/>
                </a:ext>
              </a:extLst>
            </p:cNvPr>
            <p:cNvSpPr>
              <a:spLocks/>
            </p:cNvSpPr>
            <p:nvPr/>
          </p:nvSpPr>
          <p:spPr bwMode="auto">
            <a:xfrm rot="762855">
              <a:off x="5406633" y="3533171"/>
              <a:ext cx="73631" cy="247698"/>
            </a:xfrm>
            <a:custGeom>
              <a:avLst/>
              <a:gdLst>
                <a:gd name="T0" fmla="*/ 152 w 173"/>
                <a:gd name="T1" fmla="*/ 0 h 612"/>
                <a:gd name="T2" fmla="*/ 0 w 173"/>
                <a:gd name="T3" fmla="*/ 565 h 612"/>
                <a:gd name="T4" fmla="*/ 173 w 173"/>
                <a:gd name="T5" fmla="*/ 612 h 612"/>
                <a:gd name="T6" fmla="*/ 173 w 173"/>
                <a:gd name="T7" fmla="*/ 9 h 612"/>
                <a:gd name="T8" fmla="*/ 152 w 173"/>
                <a:gd name="T9" fmla="*/ 0 h 612"/>
              </a:gdLst>
              <a:ahLst/>
              <a:cxnLst>
                <a:cxn ang="0">
                  <a:pos x="T0" y="T1"/>
                </a:cxn>
                <a:cxn ang="0">
                  <a:pos x="T2" y="T3"/>
                </a:cxn>
                <a:cxn ang="0">
                  <a:pos x="T4" y="T5"/>
                </a:cxn>
                <a:cxn ang="0">
                  <a:pos x="T6" y="T7"/>
                </a:cxn>
                <a:cxn ang="0">
                  <a:pos x="T8" y="T9"/>
                </a:cxn>
              </a:cxnLst>
              <a:rect l="0" t="0" r="r" b="b"/>
              <a:pathLst>
                <a:path w="173" h="612">
                  <a:moveTo>
                    <a:pt x="152" y="0"/>
                  </a:moveTo>
                  <a:lnTo>
                    <a:pt x="0" y="565"/>
                  </a:lnTo>
                  <a:lnTo>
                    <a:pt x="173" y="612"/>
                  </a:lnTo>
                  <a:lnTo>
                    <a:pt x="173" y="9"/>
                  </a:lnTo>
                  <a:lnTo>
                    <a:pt x="152"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3" name="Freeform 61">
              <a:extLst>
                <a:ext uri="{FF2B5EF4-FFF2-40B4-BE49-F238E27FC236}">
                  <a16:creationId xmlns:a16="http://schemas.microsoft.com/office/drawing/2014/main" id="{FAF339A7-01F7-4557-9303-B68BFCA7B630}"/>
                </a:ext>
              </a:extLst>
            </p:cNvPr>
            <p:cNvSpPr>
              <a:spLocks/>
            </p:cNvSpPr>
            <p:nvPr/>
          </p:nvSpPr>
          <p:spPr bwMode="auto">
            <a:xfrm rot="762855">
              <a:off x="5110342" y="3531935"/>
              <a:ext cx="291543" cy="178083"/>
            </a:xfrm>
            <a:custGeom>
              <a:avLst/>
              <a:gdLst>
                <a:gd name="T0" fmla="*/ 0 w 685"/>
                <a:gd name="T1" fmla="*/ 275 h 440"/>
                <a:gd name="T2" fmla="*/ 612 w 685"/>
                <a:gd name="T3" fmla="*/ 440 h 440"/>
                <a:gd name="T4" fmla="*/ 685 w 685"/>
                <a:gd name="T5" fmla="*/ 166 h 440"/>
                <a:gd name="T6" fmla="*/ 76 w 685"/>
                <a:gd name="T7" fmla="*/ 0 h 440"/>
                <a:gd name="T8" fmla="*/ 0 w 685"/>
                <a:gd name="T9" fmla="*/ 275 h 440"/>
              </a:gdLst>
              <a:ahLst/>
              <a:cxnLst>
                <a:cxn ang="0">
                  <a:pos x="T0" y="T1"/>
                </a:cxn>
                <a:cxn ang="0">
                  <a:pos x="T2" y="T3"/>
                </a:cxn>
                <a:cxn ang="0">
                  <a:pos x="T4" y="T5"/>
                </a:cxn>
                <a:cxn ang="0">
                  <a:pos x="T6" y="T7"/>
                </a:cxn>
                <a:cxn ang="0">
                  <a:pos x="T8" y="T9"/>
                </a:cxn>
              </a:cxnLst>
              <a:rect l="0" t="0" r="r" b="b"/>
              <a:pathLst>
                <a:path w="685" h="440">
                  <a:moveTo>
                    <a:pt x="0" y="275"/>
                  </a:moveTo>
                  <a:lnTo>
                    <a:pt x="612" y="440"/>
                  </a:lnTo>
                  <a:lnTo>
                    <a:pt x="685" y="166"/>
                  </a:lnTo>
                  <a:lnTo>
                    <a:pt x="76" y="0"/>
                  </a:lnTo>
                  <a:lnTo>
                    <a:pt x="0" y="27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4" name="Freeform 62">
              <a:extLst>
                <a:ext uri="{FF2B5EF4-FFF2-40B4-BE49-F238E27FC236}">
                  <a16:creationId xmlns:a16="http://schemas.microsoft.com/office/drawing/2014/main" id="{5A3277F7-AB4D-49AA-A114-CB2D50F7F1F2}"/>
                </a:ext>
              </a:extLst>
            </p:cNvPr>
            <p:cNvSpPr>
              <a:spLocks/>
            </p:cNvSpPr>
            <p:nvPr/>
          </p:nvSpPr>
          <p:spPr bwMode="auto">
            <a:xfrm rot="762855">
              <a:off x="4556744" y="4009054"/>
              <a:ext cx="219615" cy="162703"/>
            </a:xfrm>
            <a:custGeom>
              <a:avLst/>
              <a:gdLst>
                <a:gd name="T0" fmla="*/ 0 w 218"/>
                <a:gd name="T1" fmla="*/ 124 h 170"/>
                <a:gd name="T2" fmla="*/ 154 w 218"/>
                <a:gd name="T3" fmla="*/ 165 h 170"/>
                <a:gd name="T4" fmla="*/ 194 w 218"/>
                <a:gd name="T5" fmla="*/ 142 h 170"/>
                <a:gd name="T6" fmla="*/ 218 w 218"/>
                <a:gd name="T7" fmla="*/ 50 h 170"/>
                <a:gd name="T8" fmla="*/ 33 w 218"/>
                <a:gd name="T9" fmla="*/ 0 h 170"/>
                <a:gd name="T10" fmla="*/ 0 w 218"/>
                <a:gd name="T11" fmla="*/ 124 h 170"/>
              </a:gdLst>
              <a:ahLst/>
              <a:cxnLst>
                <a:cxn ang="0">
                  <a:pos x="T0" y="T1"/>
                </a:cxn>
                <a:cxn ang="0">
                  <a:pos x="T2" y="T3"/>
                </a:cxn>
                <a:cxn ang="0">
                  <a:pos x="T4" y="T5"/>
                </a:cxn>
                <a:cxn ang="0">
                  <a:pos x="T6" y="T7"/>
                </a:cxn>
                <a:cxn ang="0">
                  <a:pos x="T8" y="T9"/>
                </a:cxn>
                <a:cxn ang="0">
                  <a:pos x="T10" y="T11"/>
                </a:cxn>
              </a:cxnLst>
              <a:rect l="0" t="0" r="r" b="b"/>
              <a:pathLst>
                <a:path w="218" h="170">
                  <a:moveTo>
                    <a:pt x="0" y="124"/>
                  </a:moveTo>
                  <a:cubicBezTo>
                    <a:pt x="154" y="165"/>
                    <a:pt x="154" y="165"/>
                    <a:pt x="154" y="165"/>
                  </a:cubicBezTo>
                  <a:cubicBezTo>
                    <a:pt x="171" y="170"/>
                    <a:pt x="189" y="159"/>
                    <a:pt x="194" y="142"/>
                  </a:cubicBezTo>
                  <a:cubicBezTo>
                    <a:pt x="218" y="50"/>
                    <a:pt x="218" y="50"/>
                    <a:pt x="218" y="50"/>
                  </a:cubicBezTo>
                  <a:cubicBezTo>
                    <a:pt x="33" y="0"/>
                    <a:pt x="33" y="0"/>
                    <a:pt x="33" y="0"/>
                  </a:cubicBezTo>
                  <a:lnTo>
                    <a:pt x="0" y="124"/>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5" name="Freeform 63">
              <a:extLst>
                <a:ext uri="{FF2B5EF4-FFF2-40B4-BE49-F238E27FC236}">
                  <a16:creationId xmlns:a16="http://schemas.microsoft.com/office/drawing/2014/main" id="{89236A78-2BF7-4A0D-BE11-759770B0B075}"/>
                </a:ext>
              </a:extLst>
            </p:cNvPr>
            <p:cNvSpPr>
              <a:spLocks/>
            </p:cNvSpPr>
            <p:nvPr/>
          </p:nvSpPr>
          <p:spPr bwMode="auto">
            <a:xfrm rot="762855">
              <a:off x="4765906" y="3363006"/>
              <a:ext cx="342191" cy="190630"/>
            </a:xfrm>
            <a:custGeom>
              <a:avLst/>
              <a:gdLst>
                <a:gd name="T0" fmla="*/ 0 w 804"/>
                <a:gd name="T1" fmla="*/ 275 h 471"/>
                <a:gd name="T2" fmla="*/ 731 w 804"/>
                <a:gd name="T3" fmla="*/ 471 h 471"/>
                <a:gd name="T4" fmla="*/ 804 w 804"/>
                <a:gd name="T5" fmla="*/ 197 h 471"/>
                <a:gd name="T6" fmla="*/ 74 w 804"/>
                <a:gd name="T7" fmla="*/ 0 h 471"/>
                <a:gd name="T8" fmla="*/ 0 w 804"/>
                <a:gd name="T9" fmla="*/ 275 h 471"/>
              </a:gdLst>
              <a:ahLst/>
              <a:cxnLst>
                <a:cxn ang="0">
                  <a:pos x="T0" y="T1"/>
                </a:cxn>
                <a:cxn ang="0">
                  <a:pos x="T2" y="T3"/>
                </a:cxn>
                <a:cxn ang="0">
                  <a:pos x="T4" y="T5"/>
                </a:cxn>
                <a:cxn ang="0">
                  <a:pos x="T6" y="T7"/>
                </a:cxn>
                <a:cxn ang="0">
                  <a:pos x="T8" y="T9"/>
                </a:cxn>
              </a:cxnLst>
              <a:rect l="0" t="0" r="r" b="b"/>
              <a:pathLst>
                <a:path w="804" h="471">
                  <a:moveTo>
                    <a:pt x="0" y="275"/>
                  </a:moveTo>
                  <a:lnTo>
                    <a:pt x="731" y="471"/>
                  </a:lnTo>
                  <a:lnTo>
                    <a:pt x="804" y="197"/>
                  </a:lnTo>
                  <a:lnTo>
                    <a:pt x="74" y="0"/>
                  </a:lnTo>
                  <a:lnTo>
                    <a:pt x="0" y="27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6" name="Freeform 64">
              <a:extLst>
                <a:ext uri="{FF2B5EF4-FFF2-40B4-BE49-F238E27FC236}">
                  <a16:creationId xmlns:a16="http://schemas.microsoft.com/office/drawing/2014/main" id="{E250C6E9-9E49-4C7D-99DC-6FEDF82F691E}"/>
                </a:ext>
              </a:extLst>
            </p:cNvPr>
            <p:cNvSpPr>
              <a:spLocks/>
            </p:cNvSpPr>
            <p:nvPr/>
          </p:nvSpPr>
          <p:spPr bwMode="auto">
            <a:xfrm rot="762855">
              <a:off x="4619634" y="2951757"/>
              <a:ext cx="260474" cy="308813"/>
            </a:xfrm>
            <a:custGeom>
              <a:avLst/>
              <a:gdLst>
                <a:gd name="T0" fmla="*/ 612 w 612"/>
                <a:gd name="T1" fmla="*/ 217 h 763"/>
                <a:gd name="T2" fmla="*/ 170 w 612"/>
                <a:gd name="T3" fmla="*/ 0 h 763"/>
                <a:gd name="T4" fmla="*/ 0 w 612"/>
                <a:gd name="T5" fmla="*/ 638 h 763"/>
                <a:gd name="T6" fmla="*/ 466 w 612"/>
                <a:gd name="T7" fmla="*/ 763 h 763"/>
                <a:gd name="T8" fmla="*/ 612 w 612"/>
                <a:gd name="T9" fmla="*/ 217 h 763"/>
              </a:gdLst>
              <a:ahLst/>
              <a:cxnLst>
                <a:cxn ang="0">
                  <a:pos x="T0" y="T1"/>
                </a:cxn>
                <a:cxn ang="0">
                  <a:pos x="T2" y="T3"/>
                </a:cxn>
                <a:cxn ang="0">
                  <a:pos x="T4" y="T5"/>
                </a:cxn>
                <a:cxn ang="0">
                  <a:pos x="T6" y="T7"/>
                </a:cxn>
                <a:cxn ang="0">
                  <a:pos x="T8" y="T9"/>
                </a:cxn>
              </a:cxnLst>
              <a:rect l="0" t="0" r="r" b="b"/>
              <a:pathLst>
                <a:path w="612" h="763">
                  <a:moveTo>
                    <a:pt x="612" y="217"/>
                  </a:moveTo>
                  <a:lnTo>
                    <a:pt x="170" y="0"/>
                  </a:lnTo>
                  <a:lnTo>
                    <a:pt x="0" y="638"/>
                  </a:lnTo>
                  <a:lnTo>
                    <a:pt x="466" y="763"/>
                  </a:lnTo>
                  <a:lnTo>
                    <a:pt x="612" y="217"/>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7" name="Freeform 65">
              <a:extLst>
                <a:ext uri="{FF2B5EF4-FFF2-40B4-BE49-F238E27FC236}">
                  <a16:creationId xmlns:a16="http://schemas.microsoft.com/office/drawing/2014/main" id="{F013E00D-E16B-4218-86DA-93FA288B3579}"/>
                </a:ext>
              </a:extLst>
            </p:cNvPr>
            <p:cNvSpPr>
              <a:spLocks/>
            </p:cNvSpPr>
            <p:nvPr/>
          </p:nvSpPr>
          <p:spPr bwMode="auto">
            <a:xfrm rot="762855">
              <a:off x="4496087" y="3225388"/>
              <a:ext cx="258771" cy="214509"/>
            </a:xfrm>
            <a:custGeom>
              <a:avLst/>
              <a:gdLst>
                <a:gd name="T0" fmla="*/ 608 w 608"/>
                <a:gd name="T1" fmla="*/ 123 h 530"/>
                <a:gd name="T2" fmla="*/ 142 w 608"/>
                <a:gd name="T3" fmla="*/ 0 h 530"/>
                <a:gd name="T4" fmla="*/ 0 w 608"/>
                <a:gd name="T5" fmla="*/ 530 h 530"/>
                <a:gd name="T6" fmla="*/ 528 w 608"/>
                <a:gd name="T7" fmla="*/ 421 h 530"/>
                <a:gd name="T8" fmla="*/ 608 w 608"/>
                <a:gd name="T9" fmla="*/ 123 h 530"/>
              </a:gdLst>
              <a:ahLst/>
              <a:cxnLst>
                <a:cxn ang="0">
                  <a:pos x="T0" y="T1"/>
                </a:cxn>
                <a:cxn ang="0">
                  <a:pos x="T2" y="T3"/>
                </a:cxn>
                <a:cxn ang="0">
                  <a:pos x="T4" y="T5"/>
                </a:cxn>
                <a:cxn ang="0">
                  <a:pos x="T6" y="T7"/>
                </a:cxn>
                <a:cxn ang="0">
                  <a:pos x="T8" y="T9"/>
                </a:cxn>
              </a:cxnLst>
              <a:rect l="0" t="0" r="r" b="b"/>
              <a:pathLst>
                <a:path w="608" h="530">
                  <a:moveTo>
                    <a:pt x="608" y="123"/>
                  </a:moveTo>
                  <a:lnTo>
                    <a:pt x="142" y="0"/>
                  </a:lnTo>
                  <a:lnTo>
                    <a:pt x="0" y="530"/>
                  </a:lnTo>
                  <a:lnTo>
                    <a:pt x="528" y="421"/>
                  </a:lnTo>
                  <a:lnTo>
                    <a:pt x="608" y="123"/>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8" name="Freeform 66">
              <a:extLst>
                <a:ext uri="{FF2B5EF4-FFF2-40B4-BE49-F238E27FC236}">
                  <a16:creationId xmlns:a16="http://schemas.microsoft.com/office/drawing/2014/main" id="{A3661F2F-88F6-412C-B298-C2F237828356}"/>
                </a:ext>
              </a:extLst>
            </p:cNvPr>
            <p:cNvSpPr>
              <a:spLocks/>
            </p:cNvSpPr>
            <p:nvPr/>
          </p:nvSpPr>
          <p:spPr bwMode="auto">
            <a:xfrm rot="762855">
              <a:off x="4308055" y="3472318"/>
              <a:ext cx="435826" cy="420924"/>
            </a:xfrm>
            <a:custGeom>
              <a:avLst/>
              <a:gdLst>
                <a:gd name="T0" fmla="*/ 830 w 1024"/>
                <a:gd name="T1" fmla="*/ 0 h 1040"/>
                <a:gd name="T2" fmla="*/ 189 w 1024"/>
                <a:gd name="T3" fmla="*/ 133 h 1040"/>
                <a:gd name="T4" fmla="*/ 0 w 1024"/>
                <a:gd name="T5" fmla="*/ 837 h 1040"/>
                <a:gd name="T6" fmla="*/ 759 w 1024"/>
                <a:gd name="T7" fmla="*/ 1040 h 1040"/>
                <a:gd name="T8" fmla="*/ 1024 w 1024"/>
                <a:gd name="T9" fmla="*/ 52 h 1040"/>
                <a:gd name="T10" fmla="*/ 830 w 1024"/>
                <a:gd name="T11" fmla="*/ 0 h 1040"/>
              </a:gdLst>
              <a:ahLst/>
              <a:cxnLst>
                <a:cxn ang="0">
                  <a:pos x="T0" y="T1"/>
                </a:cxn>
                <a:cxn ang="0">
                  <a:pos x="T2" y="T3"/>
                </a:cxn>
                <a:cxn ang="0">
                  <a:pos x="T4" y="T5"/>
                </a:cxn>
                <a:cxn ang="0">
                  <a:pos x="T6" y="T7"/>
                </a:cxn>
                <a:cxn ang="0">
                  <a:pos x="T8" y="T9"/>
                </a:cxn>
                <a:cxn ang="0">
                  <a:pos x="T10" y="T11"/>
                </a:cxn>
              </a:cxnLst>
              <a:rect l="0" t="0" r="r" b="b"/>
              <a:pathLst>
                <a:path w="1024" h="1040">
                  <a:moveTo>
                    <a:pt x="830" y="0"/>
                  </a:moveTo>
                  <a:lnTo>
                    <a:pt x="189" y="133"/>
                  </a:lnTo>
                  <a:lnTo>
                    <a:pt x="0" y="837"/>
                  </a:lnTo>
                  <a:lnTo>
                    <a:pt x="759" y="1040"/>
                  </a:lnTo>
                  <a:lnTo>
                    <a:pt x="1024" y="52"/>
                  </a:lnTo>
                  <a:lnTo>
                    <a:pt x="830"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39" name="Freeform 67">
              <a:extLst>
                <a:ext uri="{FF2B5EF4-FFF2-40B4-BE49-F238E27FC236}">
                  <a16:creationId xmlns:a16="http://schemas.microsoft.com/office/drawing/2014/main" id="{2B2BA065-8DE3-4804-8664-3CF897E5FF8A}"/>
                </a:ext>
              </a:extLst>
            </p:cNvPr>
            <p:cNvSpPr>
              <a:spLocks/>
            </p:cNvSpPr>
            <p:nvPr/>
          </p:nvSpPr>
          <p:spPr bwMode="auto">
            <a:xfrm rot="762855">
              <a:off x="4196840" y="3842510"/>
              <a:ext cx="356236" cy="201153"/>
            </a:xfrm>
            <a:custGeom>
              <a:avLst/>
              <a:gdLst>
                <a:gd name="T0" fmla="*/ 0 w 837"/>
                <a:gd name="T1" fmla="*/ 293 h 497"/>
                <a:gd name="T2" fmla="*/ 759 w 837"/>
                <a:gd name="T3" fmla="*/ 497 h 497"/>
                <a:gd name="T4" fmla="*/ 837 w 837"/>
                <a:gd name="T5" fmla="*/ 204 h 497"/>
                <a:gd name="T6" fmla="*/ 78 w 837"/>
                <a:gd name="T7" fmla="*/ 0 h 497"/>
                <a:gd name="T8" fmla="*/ 0 w 837"/>
                <a:gd name="T9" fmla="*/ 293 h 497"/>
              </a:gdLst>
              <a:ahLst/>
              <a:cxnLst>
                <a:cxn ang="0">
                  <a:pos x="T0" y="T1"/>
                </a:cxn>
                <a:cxn ang="0">
                  <a:pos x="T2" y="T3"/>
                </a:cxn>
                <a:cxn ang="0">
                  <a:pos x="T4" y="T5"/>
                </a:cxn>
                <a:cxn ang="0">
                  <a:pos x="T6" y="T7"/>
                </a:cxn>
                <a:cxn ang="0">
                  <a:pos x="T8" y="T9"/>
                </a:cxn>
              </a:cxnLst>
              <a:rect l="0" t="0" r="r" b="b"/>
              <a:pathLst>
                <a:path w="837" h="497">
                  <a:moveTo>
                    <a:pt x="0" y="293"/>
                  </a:moveTo>
                  <a:lnTo>
                    <a:pt x="759" y="497"/>
                  </a:lnTo>
                  <a:lnTo>
                    <a:pt x="837" y="204"/>
                  </a:lnTo>
                  <a:lnTo>
                    <a:pt x="78" y="0"/>
                  </a:lnTo>
                  <a:lnTo>
                    <a:pt x="0" y="293"/>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0" name="Freeform 68">
              <a:extLst>
                <a:ext uri="{FF2B5EF4-FFF2-40B4-BE49-F238E27FC236}">
                  <a16:creationId xmlns:a16="http://schemas.microsoft.com/office/drawing/2014/main" id="{238B6811-8BD8-4CFE-9381-AFCC18651532}"/>
                </a:ext>
              </a:extLst>
            </p:cNvPr>
            <p:cNvSpPr>
              <a:spLocks noEditPoints="1"/>
            </p:cNvSpPr>
            <p:nvPr/>
          </p:nvSpPr>
          <p:spPr bwMode="auto">
            <a:xfrm rot="762855">
              <a:off x="4204725" y="2904680"/>
              <a:ext cx="1223631" cy="1836685"/>
            </a:xfrm>
            <a:custGeom>
              <a:avLst/>
              <a:gdLst>
                <a:gd name="T0" fmla="*/ 1216 w 1216"/>
                <a:gd name="T1" fmla="*/ 521 h 1920"/>
                <a:gd name="T2" fmla="*/ 1181 w 1216"/>
                <a:gd name="T3" fmla="*/ 459 h 1920"/>
                <a:gd name="T4" fmla="*/ 1027 w 1216"/>
                <a:gd name="T5" fmla="*/ 0 h 1920"/>
                <a:gd name="T6" fmla="*/ 878 w 1216"/>
                <a:gd name="T7" fmla="*/ 309 h 1920"/>
                <a:gd name="T8" fmla="*/ 352 w 1216"/>
                <a:gd name="T9" fmla="*/ 0 h 1920"/>
                <a:gd name="T10" fmla="*/ 144 w 1216"/>
                <a:gd name="T11" fmla="*/ 621 h 1920"/>
                <a:gd name="T12" fmla="*/ 0 w 1216"/>
                <a:gd name="T13" fmla="*/ 682 h 1920"/>
                <a:gd name="T14" fmla="*/ 40 w 1216"/>
                <a:gd name="T15" fmla="*/ 1007 h 1920"/>
                <a:gd name="T16" fmla="*/ 0 w 1216"/>
                <a:gd name="T17" fmla="*/ 1063 h 1920"/>
                <a:gd name="T18" fmla="*/ 0 w 1216"/>
                <a:gd name="T19" fmla="*/ 1158 h 1920"/>
                <a:gd name="T20" fmla="*/ 13 w 1216"/>
                <a:gd name="T21" fmla="*/ 1265 h 1920"/>
                <a:gd name="T22" fmla="*/ 325 w 1216"/>
                <a:gd name="T23" fmla="*/ 1384 h 1920"/>
                <a:gd name="T24" fmla="*/ 260 w 1216"/>
                <a:gd name="T25" fmla="*/ 1920 h 1920"/>
                <a:gd name="T26" fmla="*/ 387 w 1216"/>
                <a:gd name="T27" fmla="*/ 1396 h 1920"/>
                <a:gd name="T28" fmla="*/ 550 w 1216"/>
                <a:gd name="T29" fmla="*/ 1409 h 1920"/>
                <a:gd name="T30" fmla="*/ 692 w 1216"/>
                <a:gd name="T31" fmla="*/ 1248 h 1920"/>
                <a:gd name="T32" fmla="*/ 591 w 1216"/>
                <a:gd name="T33" fmla="*/ 1920 h 1920"/>
                <a:gd name="T34" fmla="*/ 804 w 1216"/>
                <a:gd name="T35" fmla="*/ 1278 h 1920"/>
                <a:gd name="T36" fmla="*/ 790 w 1216"/>
                <a:gd name="T37" fmla="*/ 1920 h 1920"/>
                <a:gd name="T38" fmla="*/ 990 w 1216"/>
                <a:gd name="T39" fmla="*/ 1328 h 1920"/>
                <a:gd name="T40" fmla="*/ 1216 w 1216"/>
                <a:gd name="T41" fmla="*/ 1322 h 1920"/>
                <a:gd name="T42" fmla="*/ 1118 w 1216"/>
                <a:gd name="T43" fmla="*/ 849 h 1920"/>
                <a:gd name="T44" fmla="*/ 1216 w 1216"/>
                <a:gd name="T45" fmla="*/ 776 h 1920"/>
                <a:gd name="T46" fmla="*/ 1207 w 1216"/>
                <a:gd name="T47" fmla="*/ 517 h 1920"/>
                <a:gd name="T48" fmla="*/ 1170 w 1216"/>
                <a:gd name="T49" fmla="*/ 499 h 1920"/>
                <a:gd name="T50" fmla="*/ 887 w 1216"/>
                <a:gd name="T51" fmla="*/ 522 h 1920"/>
                <a:gd name="T52" fmla="*/ 574 w 1216"/>
                <a:gd name="T53" fmla="*/ 204 h 1920"/>
                <a:gd name="T54" fmla="*/ 825 w 1216"/>
                <a:gd name="T55" fmla="*/ 505 h 1920"/>
                <a:gd name="T56" fmla="*/ 574 w 1216"/>
                <a:gd name="T57" fmla="*/ 204 h 1920"/>
                <a:gd name="T58" fmla="*/ 784 w 1216"/>
                <a:gd name="T59" fmla="*/ 660 h 1920"/>
                <a:gd name="T60" fmla="*/ 506 w 1216"/>
                <a:gd name="T61" fmla="*/ 461 h 1920"/>
                <a:gd name="T62" fmla="*/ 329 w 1216"/>
                <a:gd name="T63" fmla="*/ 83 h 1920"/>
                <a:gd name="T64" fmla="*/ 454 w 1216"/>
                <a:gd name="T65" fmla="*/ 406 h 1920"/>
                <a:gd name="T66" fmla="*/ 329 w 1216"/>
                <a:gd name="T67" fmla="*/ 83 h 1920"/>
                <a:gd name="T68" fmla="*/ 444 w 1216"/>
                <a:gd name="T69" fmla="*/ 444 h 1920"/>
                <a:gd name="T70" fmla="*/ 187 w 1216"/>
                <a:gd name="T71" fmla="*/ 616 h 1920"/>
                <a:gd name="T72" fmla="*/ 350 w 1216"/>
                <a:gd name="T73" fmla="*/ 1289 h 1920"/>
                <a:gd name="T74" fmla="*/ 62 w 1216"/>
                <a:gd name="T75" fmla="*/ 1079 h 1920"/>
                <a:gd name="T76" fmla="*/ 350 w 1216"/>
                <a:gd name="T77" fmla="*/ 1289 h 1920"/>
                <a:gd name="T78" fmla="*/ 159 w 1216"/>
                <a:gd name="T79" fmla="*/ 720 h 1920"/>
                <a:gd name="T80" fmla="*/ 512 w 1216"/>
                <a:gd name="T81" fmla="*/ 686 h 1920"/>
                <a:gd name="T82" fmla="*/ 79 w 1216"/>
                <a:gd name="T83" fmla="*/ 1018 h 1920"/>
                <a:gd name="T84" fmla="*/ 566 w 1216"/>
                <a:gd name="T85" fmla="*/ 1347 h 1920"/>
                <a:gd name="T86" fmla="*/ 445 w 1216"/>
                <a:gd name="T87" fmla="*/ 1182 h 1920"/>
                <a:gd name="T88" fmla="*/ 606 w 1216"/>
                <a:gd name="T89" fmla="*/ 1324 h 1920"/>
                <a:gd name="T90" fmla="*/ 462 w 1216"/>
                <a:gd name="T91" fmla="*/ 1120 h 1920"/>
                <a:gd name="T92" fmla="*/ 759 w 1216"/>
                <a:gd name="T93" fmla="*/ 753 h 1920"/>
                <a:gd name="T94" fmla="*/ 968 w 1216"/>
                <a:gd name="T95" fmla="*/ 1256 h 1920"/>
                <a:gd name="T96" fmla="*/ 821 w 1216"/>
                <a:gd name="T97" fmla="*/ 769 h 1920"/>
                <a:gd name="T98" fmla="*/ 968 w 1216"/>
                <a:gd name="T99" fmla="*/ 1256 h 1920"/>
                <a:gd name="T100" fmla="*/ 845 w 1216"/>
                <a:gd name="T101" fmla="*/ 676 h 1920"/>
                <a:gd name="T102" fmla="*/ 1135 w 1216"/>
                <a:gd name="T103" fmla="*/ 630 h 1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16" h="1920">
                  <a:moveTo>
                    <a:pt x="1207" y="517"/>
                  </a:moveTo>
                  <a:cubicBezTo>
                    <a:pt x="1216" y="521"/>
                    <a:pt x="1216" y="521"/>
                    <a:pt x="1216" y="521"/>
                  </a:cubicBezTo>
                  <a:cubicBezTo>
                    <a:pt x="1216" y="329"/>
                    <a:pt x="1216" y="329"/>
                    <a:pt x="1216" y="329"/>
                  </a:cubicBezTo>
                  <a:cubicBezTo>
                    <a:pt x="1181" y="459"/>
                    <a:pt x="1181" y="459"/>
                    <a:pt x="1181" y="459"/>
                  </a:cubicBezTo>
                  <a:cubicBezTo>
                    <a:pt x="936" y="338"/>
                    <a:pt x="936" y="338"/>
                    <a:pt x="936" y="338"/>
                  </a:cubicBezTo>
                  <a:cubicBezTo>
                    <a:pt x="1027" y="0"/>
                    <a:pt x="1027" y="0"/>
                    <a:pt x="1027" y="0"/>
                  </a:cubicBezTo>
                  <a:cubicBezTo>
                    <a:pt x="960" y="0"/>
                    <a:pt x="960" y="0"/>
                    <a:pt x="960" y="0"/>
                  </a:cubicBezTo>
                  <a:cubicBezTo>
                    <a:pt x="878" y="309"/>
                    <a:pt x="878" y="309"/>
                    <a:pt x="878" y="309"/>
                  </a:cubicBezTo>
                  <a:cubicBezTo>
                    <a:pt x="340" y="44"/>
                    <a:pt x="340" y="44"/>
                    <a:pt x="340" y="44"/>
                  </a:cubicBezTo>
                  <a:cubicBezTo>
                    <a:pt x="352" y="0"/>
                    <a:pt x="352" y="0"/>
                    <a:pt x="352" y="0"/>
                  </a:cubicBezTo>
                  <a:cubicBezTo>
                    <a:pt x="310" y="0"/>
                    <a:pt x="310" y="0"/>
                    <a:pt x="310" y="0"/>
                  </a:cubicBezTo>
                  <a:cubicBezTo>
                    <a:pt x="144" y="621"/>
                    <a:pt x="144" y="621"/>
                    <a:pt x="144" y="621"/>
                  </a:cubicBezTo>
                  <a:cubicBezTo>
                    <a:pt x="0" y="582"/>
                    <a:pt x="0" y="582"/>
                    <a:pt x="0" y="582"/>
                  </a:cubicBezTo>
                  <a:cubicBezTo>
                    <a:pt x="0" y="682"/>
                    <a:pt x="0" y="682"/>
                    <a:pt x="0" y="682"/>
                  </a:cubicBezTo>
                  <a:cubicBezTo>
                    <a:pt x="119" y="714"/>
                    <a:pt x="119" y="714"/>
                    <a:pt x="119" y="714"/>
                  </a:cubicBezTo>
                  <a:cubicBezTo>
                    <a:pt x="40" y="1007"/>
                    <a:pt x="40" y="1007"/>
                    <a:pt x="40" y="1007"/>
                  </a:cubicBezTo>
                  <a:cubicBezTo>
                    <a:pt x="0" y="996"/>
                    <a:pt x="0" y="996"/>
                    <a:pt x="0" y="996"/>
                  </a:cubicBezTo>
                  <a:cubicBezTo>
                    <a:pt x="0" y="1063"/>
                    <a:pt x="0" y="1063"/>
                    <a:pt x="0" y="1063"/>
                  </a:cubicBezTo>
                  <a:cubicBezTo>
                    <a:pt x="24" y="1069"/>
                    <a:pt x="24" y="1069"/>
                    <a:pt x="24" y="1069"/>
                  </a:cubicBezTo>
                  <a:cubicBezTo>
                    <a:pt x="0" y="1158"/>
                    <a:pt x="0" y="1158"/>
                    <a:pt x="0" y="1158"/>
                  </a:cubicBezTo>
                  <a:cubicBezTo>
                    <a:pt x="0" y="1312"/>
                    <a:pt x="0" y="1312"/>
                    <a:pt x="0" y="1312"/>
                  </a:cubicBezTo>
                  <a:cubicBezTo>
                    <a:pt x="13" y="1265"/>
                    <a:pt x="13" y="1265"/>
                    <a:pt x="13" y="1265"/>
                  </a:cubicBezTo>
                  <a:cubicBezTo>
                    <a:pt x="333" y="1351"/>
                    <a:pt x="333" y="1351"/>
                    <a:pt x="333" y="1351"/>
                  </a:cubicBezTo>
                  <a:cubicBezTo>
                    <a:pt x="325" y="1384"/>
                    <a:pt x="325" y="1384"/>
                    <a:pt x="325" y="1384"/>
                  </a:cubicBezTo>
                  <a:cubicBezTo>
                    <a:pt x="324" y="1386"/>
                    <a:pt x="324" y="1386"/>
                    <a:pt x="324" y="1386"/>
                  </a:cubicBezTo>
                  <a:cubicBezTo>
                    <a:pt x="260" y="1920"/>
                    <a:pt x="260" y="1920"/>
                    <a:pt x="260" y="1920"/>
                  </a:cubicBezTo>
                  <a:cubicBezTo>
                    <a:pt x="325" y="1920"/>
                    <a:pt x="325" y="1920"/>
                    <a:pt x="325" y="1920"/>
                  </a:cubicBezTo>
                  <a:cubicBezTo>
                    <a:pt x="387" y="1396"/>
                    <a:pt x="387" y="1396"/>
                    <a:pt x="387" y="1396"/>
                  </a:cubicBezTo>
                  <a:cubicBezTo>
                    <a:pt x="395" y="1367"/>
                    <a:pt x="395" y="1367"/>
                    <a:pt x="395" y="1367"/>
                  </a:cubicBezTo>
                  <a:cubicBezTo>
                    <a:pt x="550" y="1409"/>
                    <a:pt x="550" y="1409"/>
                    <a:pt x="550" y="1409"/>
                  </a:cubicBezTo>
                  <a:cubicBezTo>
                    <a:pt x="601" y="1422"/>
                    <a:pt x="654" y="1392"/>
                    <a:pt x="667" y="1341"/>
                  </a:cubicBezTo>
                  <a:cubicBezTo>
                    <a:pt x="692" y="1248"/>
                    <a:pt x="692" y="1248"/>
                    <a:pt x="692" y="1248"/>
                  </a:cubicBezTo>
                  <a:cubicBezTo>
                    <a:pt x="766" y="1268"/>
                    <a:pt x="766" y="1268"/>
                    <a:pt x="766" y="1268"/>
                  </a:cubicBezTo>
                  <a:cubicBezTo>
                    <a:pt x="591" y="1920"/>
                    <a:pt x="591" y="1920"/>
                    <a:pt x="591" y="1920"/>
                  </a:cubicBezTo>
                  <a:cubicBezTo>
                    <a:pt x="632" y="1920"/>
                    <a:pt x="632" y="1920"/>
                    <a:pt x="632" y="1920"/>
                  </a:cubicBezTo>
                  <a:cubicBezTo>
                    <a:pt x="804" y="1278"/>
                    <a:pt x="804" y="1278"/>
                    <a:pt x="804" y="1278"/>
                  </a:cubicBezTo>
                  <a:cubicBezTo>
                    <a:pt x="951" y="1318"/>
                    <a:pt x="951" y="1318"/>
                    <a:pt x="951" y="1318"/>
                  </a:cubicBezTo>
                  <a:cubicBezTo>
                    <a:pt x="790" y="1920"/>
                    <a:pt x="790" y="1920"/>
                    <a:pt x="790" y="1920"/>
                  </a:cubicBezTo>
                  <a:cubicBezTo>
                    <a:pt x="831" y="1920"/>
                    <a:pt x="831" y="1920"/>
                    <a:pt x="831" y="1920"/>
                  </a:cubicBezTo>
                  <a:cubicBezTo>
                    <a:pt x="990" y="1328"/>
                    <a:pt x="990" y="1328"/>
                    <a:pt x="990" y="1328"/>
                  </a:cubicBezTo>
                  <a:cubicBezTo>
                    <a:pt x="1216" y="1389"/>
                    <a:pt x="1216" y="1389"/>
                    <a:pt x="1216" y="1389"/>
                  </a:cubicBezTo>
                  <a:cubicBezTo>
                    <a:pt x="1216" y="1322"/>
                    <a:pt x="1216" y="1322"/>
                    <a:pt x="1216" y="1322"/>
                  </a:cubicBezTo>
                  <a:cubicBezTo>
                    <a:pt x="1006" y="1266"/>
                    <a:pt x="1006" y="1266"/>
                    <a:pt x="1006" y="1266"/>
                  </a:cubicBezTo>
                  <a:cubicBezTo>
                    <a:pt x="1118" y="849"/>
                    <a:pt x="1118" y="849"/>
                    <a:pt x="1118" y="849"/>
                  </a:cubicBezTo>
                  <a:cubicBezTo>
                    <a:pt x="1216" y="875"/>
                    <a:pt x="1216" y="875"/>
                    <a:pt x="1216" y="875"/>
                  </a:cubicBezTo>
                  <a:cubicBezTo>
                    <a:pt x="1216" y="776"/>
                    <a:pt x="1216" y="776"/>
                    <a:pt x="1216" y="776"/>
                  </a:cubicBezTo>
                  <a:cubicBezTo>
                    <a:pt x="1143" y="756"/>
                    <a:pt x="1143" y="756"/>
                    <a:pt x="1143" y="756"/>
                  </a:cubicBezTo>
                  <a:lnTo>
                    <a:pt x="1207" y="517"/>
                  </a:lnTo>
                  <a:close/>
                  <a:moveTo>
                    <a:pt x="925" y="378"/>
                  </a:moveTo>
                  <a:cubicBezTo>
                    <a:pt x="1170" y="499"/>
                    <a:pt x="1170" y="499"/>
                    <a:pt x="1170" y="499"/>
                  </a:cubicBezTo>
                  <a:cubicBezTo>
                    <a:pt x="1146" y="591"/>
                    <a:pt x="1146" y="591"/>
                    <a:pt x="1146" y="591"/>
                  </a:cubicBezTo>
                  <a:cubicBezTo>
                    <a:pt x="887" y="522"/>
                    <a:pt x="887" y="522"/>
                    <a:pt x="887" y="522"/>
                  </a:cubicBezTo>
                  <a:lnTo>
                    <a:pt x="925" y="378"/>
                  </a:lnTo>
                  <a:close/>
                  <a:moveTo>
                    <a:pt x="574" y="204"/>
                  </a:moveTo>
                  <a:cubicBezTo>
                    <a:pt x="867" y="349"/>
                    <a:pt x="867" y="349"/>
                    <a:pt x="867" y="349"/>
                  </a:cubicBezTo>
                  <a:cubicBezTo>
                    <a:pt x="825" y="505"/>
                    <a:pt x="825" y="505"/>
                    <a:pt x="825" y="505"/>
                  </a:cubicBezTo>
                  <a:cubicBezTo>
                    <a:pt x="516" y="422"/>
                    <a:pt x="516" y="422"/>
                    <a:pt x="516" y="422"/>
                  </a:cubicBezTo>
                  <a:lnTo>
                    <a:pt x="574" y="204"/>
                  </a:lnTo>
                  <a:close/>
                  <a:moveTo>
                    <a:pt x="815" y="544"/>
                  </a:moveTo>
                  <a:cubicBezTo>
                    <a:pt x="784" y="660"/>
                    <a:pt x="784" y="660"/>
                    <a:pt x="784" y="660"/>
                  </a:cubicBezTo>
                  <a:cubicBezTo>
                    <a:pt x="475" y="577"/>
                    <a:pt x="475" y="577"/>
                    <a:pt x="475" y="577"/>
                  </a:cubicBezTo>
                  <a:cubicBezTo>
                    <a:pt x="506" y="461"/>
                    <a:pt x="506" y="461"/>
                    <a:pt x="506" y="461"/>
                  </a:cubicBezTo>
                  <a:lnTo>
                    <a:pt x="815" y="544"/>
                  </a:lnTo>
                  <a:close/>
                  <a:moveTo>
                    <a:pt x="329" y="83"/>
                  </a:moveTo>
                  <a:cubicBezTo>
                    <a:pt x="516" y="175"/>
                    <a:pt x="516" y="175"/>
                    <a:pt x="516" y="175"/>
                  </a:cubicBezTo>
                  <a:cubicBezTo>
                    <a:pt x="454" y="406"/>
                    <a:pt x="454" y="406"/>
                    <a:pt x="454" y="406"/>
                  </a:cubicBezTo>
                  <a:cubicBezTo>
                    <a:pt x="257" y="353"/>
                    <a:pt x="257" y="353"/>
                    <a:pt x="257" y="353"/>
                  </a:cubicBezTo>
                  <a:lnTo>
                    <a:pt x="329" y="83"/>
                  </a:lnTo>
                  <a:close/>
                  <a:moveTo>
                    <a:pt x="247" y="392"/>
                  </a:moveTo>
                  <a:cubicBezTo>
                    <a:pt x="444" y="444"/>
                    <a:pt x="444" y="444"/>
                    <a:pt x="444" y="444"/>
                  </a:cubicBezTo>
                  <a:cubicBezTo>
                    <a:pt x="410" y="570"/>
                    <a:pt x="410" y="570"/>
                    <a:pt x="410" y="570"/>
                  </a:cubicBezTo>
                  <a:cubicBezTo>
                    <a:pt x="187" y="616"/>
                    <a:pt x="187" y="616"/>
                    <a:pt x="187" y="616"/>
                  </a:cubicBezTo>
                  <a:lnTo>
                    <a:pt x="247" y="392"/>
                  </a:lnTo>
                  <a:close/>
                  <a:moveTo>
                    <a:pt x="350" y="1289"/>
                  </a:moveTo>
                  <a:cubicBezTo>
                    <a:pt x="29" y="1203"/>
                    <a:pt x="29" y="1203"/>
                    <a:pt x="29" y="1203"/>
                  </a:cubicBezTo>
                  <a:cubicBezTo>
                    <a:pt x="62" y="1079"/>
                    <a:pt x="62" y="1079"/>
                    <a:pt x="62" y="1079"/>
                  </a:cubicBezTo>
                  <a:cubicBezTo>
                    <a:pt x="383" y="1165"/>
                    <a:pt x="383" y="1165"/>
                    <a:pt x="383" y="1165"/>
                  </a:cubicBezTo>
                  <a:lnTo>
                    <a:pt x="350" y="1289"/>
                  </a:lnTo>
                  <a:close/>
                  <a:moveTo>
                    <a:pt x="79" y="1018"/>
                  </a:moveTo>
                  <a:cubicBezTo>
                    <a:pt x="159" y="720"/>
                    <a:pt x="159" y="720"/>
                    <a:pt x="159" y="720"/>
                  </a:cubicBezTo>
                  <a:cubicBezTo>
                    <a:pt x="430" y="664"/>
                    <a:pt x="430" y="664"/>
                    <a:pt x="430" y="664"/>
                  </a:cubicBezTo>
                  <a:cubicBezTo>
                    <a:pt x="512" y="686"/>
                    <a:pt x="512" y="686"/>
                    <a:pt x="512" y="686"/>
                  </a:cubicBezTo>
                  <a:cubicBezTo>
                    <a:pt x="400" y="1104"/>
                    <a:pt x="400" y="1104"/>
                    <a:pt x="400" y="1104"/>
                  </a:cubicBezTo>
                  <a:lnTo>
                    <a:pt x="79" y="1018"/>
                  </a:lnTo>
                  <a:close/>
                  <a:moveTo>
                    <a:pt x="606" y="1324"/>
                  </a:moveTo>
                  <a:cubicBezTo>
                    <a:pt x="601" y="1341"/>
                    <a:pt x="583" y="1352"/>
                    <a:pt x="566" y="1347"/>
                  </a:cubicBezTo>
                  <a:cubicBezTo>
                    <a:pt x="412" y="1306"/>
                    <a:pt x="412" y="1306"/>
                    <a:pt x="412" y="1306"/>
                  </a:cubicBezTo>
                  <a:cubicBezTo>
                    <a:pt x="445" y="1182"/>
                    <a:pt x="445" y="1182"/>
                    <a:pt x="445" y="1182"/>
                  </a:cubicBezTo>
                  <a:cubicBezTo>
                    <a:pt x="630" y="1232"/>
                    <a:pt x="630" y="1232"/>
                    <a:pt x="630" y="1232"/>
                  </a:cubicBezTo>
                  <a:lnTo>
                    <a:pt x="606" y="1324"/>
                  </a:lnTo>
                  <a:close/>
                  <a:moveTo>
                    <a:pt x="647" y="1170"/>
                  </a:moveTo>
                  <a:cubicBezTo>
                    <a:pt x="462" y="1120"/>
                    <a:pt x="462" y="1120"/>
                    <a:pt x="462" y="1120"/>
                  </a:cubicBezTo>
                  <a:cubicBezTo>
                    <a:pt x="573" y="703"/>
                    <a:pt x="573" y="703"/>
                    <a:pt x="573" y="703"/>
                  </a:cubicBezTo>
                  <a:cubicBezTo>
                    <a:pt x="759" y="753"/>
                    <a:pt x="759" y="753"/>
                    <a:pt x="759" y="753"/>
                  </a:cubicBezTo>
                  <a:lnTo>
                    <a:pt x="647" y="1170"/>
                  </a:lnTo>
                  <a:close/>
                  <a:moveTo>
                    <a:pt x="968" y="1256"/>
                  </a:moveTo>
                  <a:cubicBezTo>
                    <a:pt x="709" y="1186"/>
                    <a:pt x="709" y="1186"/>
                    <a:pt x="709" y="1186"/>
                  </a:cubicBezTo>
                  <a:cubicBezTo>
                    <a:pt x="821" y="769"/>
                    <a:pt x="821" y="769"/>
                    <a:pt x="821" y="769"/>
                  </a:cubicBezTo>
                  <a:cubicBezTo>
                    <a:pt x="1079" y="838"/>
                    <a:pt x="1079" y="838"/>
                    <a:pt x="1079" y="838"/>
                  </a:cubicBezTo>
                  <a:lnTo>
                    <a:pt x="968" y="1256"/>
                  </a:lnTo>
                  <a:close/>
                  <a:moveTo>
                    <a:pt x="1104" y="746"/>
                  </a:moveTo>
                  <a:cubicBezTo>
                    <a:pt x="845" y="676"/>
                    <a:pt x="845" y="676"/>
                    <a:pt x="845" y="676"/>
                  </a:cubicBezTo>
                  <a:cubicBezTo>
                    <a:pt x="877" y="560"/>
                    <a:pt x="877" y="560"/>
                    <a:pt x="877" y="560"/>
                  </a:cubicBezTo>
                  <a:cubicBezTo>
                    <a:pt x="1135" y="630"/>
                    <a:pt x="1135" y="630"/>
                    <a:pt x="1135" y="630"/>
                  </a:cubicBezTo>
                  <a:lnTo>
                    <a:pt x="1104" y="746"/>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1" name="Freeform 69">
              <a:extLst>
                <a:ext uri="{FF2B5EF4-FFF2-40B4-BE49-F238E27FC236}">
                  <a16:creationId xmlns:a16="http://schemas.microsoft.com/office/drawing/2014/main" id="{F8F8B176-F927-4B35-99C4-D7DF0610AA68}"/>
                </a:ext>
              </a:extLst>
            </p:cNvPr>
            <p:cNvSpPr>
              <a:spLocks/>
            </p:cNvSpPr>
            <p:nvPr/>
          </p:nvSpPr>
          <p:spPr bwMode="auto">
            <a:xfrm rot="762855">
              <a:off x="4968501" y="3923658"/>
              <a:ext cx="171096" cy="244055"/>
            </a:xfrm>
            <a:custGeom>
              <a:avLst/>
              <a:gdLst>
                <a:gd name="T0" fmla="*/ 170 w 170"/>
                <a:gd name="T1" fmla="*/ 86 h 255"/>
                <a:gd name="T2" fmla="*/ 85 w 170"/>
                <a:gd name="T3" fmla="*/ 255 h 255"/>
                <a:gd name="T4" fmla="*/ 0 w 170"/>
                <a:gd name="T5" fmla="*/ 86 h 255"/>
                <a:gd name="T6" fmla="*/ 85 w 170"/>
                <a:gd name="T7" fmla="*/ 0 h 255"/>
                <a:gd name="T8" fmla="*/ 170 w 170"/>
                <a:gd name="T9" fmla="*/ 86 h 255"/>
              </a:gdLst>
              <a:ahLst/>
              <a:cxnLst>
                <a:cxn ang="0">
                  <a:pos x="T0" y="T1"/>
                </a:cxn>
                <a:cxn ang="0">
                  <a:pos x="T2" y="T3"/>
                </a:cxn>
                <a:cxn ang="0">
                  <a:pos x="T4" y="T5"/>
                </a:cxn>
                <a:cxn ang="0">
                  <a:pos x="T6" y="T7"/>
                </a:cxn>
                <a:cxn ang="0">
                  <a:pos x="T8" y="T9"/>
                </a:cxn>
              </a:cxnLst>
              <a:rect l="0" t="0" r="r" b="b"/>
              <a:pathLst>
                <a:path w="170" h="255">
                  <a:moveTo>
                    <a:pt x="170" y="86"/>
                  </a:moveTo>
                  <a:cubicBezTo>
                    <a:pt x="170" y="133"/>
                    <a:pt x="85" y="255"/>
                    <a:pt x="85" y="255"/>
                  </a:cubicBezTo>
                  <a:cubicBezTo>
                    <a:pt x="85" y="255"/>
                    <a:pt x="0" y="133"/>
                    <a:pt x="0" y="86"/>
                  </a:cubicBezTo>
                  <a:cubicBezTo>
                    <a:pt x="0" y="38"/>
                    <a:pt x="38" y="0"/>
                    <a:pt x="85" y="0"/>
                  </a:cubicBezTo>
                  <a:cubicBezTo>
                    <a:pt x="132" y="0"/>
                    <a:pt x="170" y="38"/>
                    <a:pt x="170" y="86"/>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2" name="Oval 70">
              <a:extLst>
                <a:ext uri="{FF2B5EF4-FFF2-40B4-BE49-F238E27FC236}">
                  <a16:creationId xmlns:a16="http://schemas.microsoft.com/office/drawing/2014/main" id="{59642474-DEFF-453F-855E-39184157E85B}"/>
                </a:ext>
              </a:extLst>
            </p:cNvPr>
            <p:cNvSpPr>
              <a:spLocks noChangeArrowheads="1"/>
            </p:cNvSpPr>
            <p:nvPr/>
          </p:nvSpPr>
          <p:spPr bwMode="auto">
            <a:xfrm rot="762855">
              <a:off x="5030853" y="3976483"/>
              <a:ext cx="64267" cy="6111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3" name="Freeform 71">
              <a:extLst>
                <a:ext uri="{FF2B5EF4-FFF2-40B4-BE49-F238E27FC236}">
                  <a16:creationId xmlns:a16="http://schemas.microsoft.com/office/drawing/2014/main" id="{2457E294-B234-4670-B449-C8B7D2F2DCE1}"/>
                </a:ext>
              </a:extLst>
            </p:cNvPr>
            <p:cNvSpPr>
              <a:spLocks/>
            </p:cNvSpPr>
            <p:nvPr/>
          </p:nvSpPr>
          <p:spPr bwMode="auto">
            <a:xfrm rot="762855">
              <a:off x="4725147" y="2912114"/>
              <a:ext cx="427739" cy="229485"/>
            </a:xfrm>
            <a:custGeom>
              <a:avLst/>
              <a:gdLst>
                <a:gd name="T0" fmla="*/ 416 w 425"/>
                <a:gd name="T1" fmla="*/ 0 h 240"/>
                <a:gd name="T2" fmla="*/ 12 w 425"/>
                <a:gd name="T3" fmla="*/ 0 h 240"/>
                <a:gd name="T4" fmla="*/ 0 w 425"/>
                <a:gd name="T5" fmla="*/ 44 h 240"/>
                <a:gd name="T6" fmla="*/ 397 w 425"/>
                <a:gd name="T7" fmla="*/ 240 h 240"/>
                <a:gd name="T8" fmla="*/ 416 w 425"/>
                <a:gd name="T9" fmla="*/ 0 h 240"/>
              </a:gdLst>
              <a:ahLst/>
              <a:cxnLst>
                <a:cxn ang="0">
                  <a:pos x="T0" y="T1"/>
                </a:cxn>
                <a:cxn ang="0">
                  <a:pos x="T2" y="T3"/>
                </a:cxn>
                <a:cxn ang="0">
                  <a:pos x="T4" y="T5"/>
                </a:cxn>
                <a:cxn ang="0">
                  <a:pos x="T6" y="T7"/>
                </a:cxn>
                <a:cxn ang="0">
                  <a:pos x="T8" y="T9"/>
                </a:cxn>
              </a:cxnLst>
              <a:rect l="0" t="0" r="r" b="b"/>
              <a:pathLst>
                <a:path w="425" h="240">
                  <a:moveTo>
                    <a:pt x="416" y="0"/>
                  </a:moveTo>
                  <a:cubicBezTo>
                    <a:pt x="12" y="0"/>
                    <a:pt x="12" y="0"/>
                    <a:pt x="12" y="0"/>
                  </a:cubicBezTo>
                  <a:cubicBezTo>
                    <a:pt x="0" y="44"/>
                    <a:pt x="0" y="44"/>
                    <a:pt x="0" y="44"/>
                  </a:cubicBezTo>
                  <a:cubicBezTo>
                    <a:pt x="397" y="240"/>
                    <a:pt x="397" y="240"/>
                    <a:pt x="397" y="240"/>
                  </a:cubicBezTo>
                  <a:cubicBezTo>
                    <a:pt x="425" y="213"/>
                    <a:pt x="408" y="104"/>
                    <a:pt x="416" y="0"/>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4" name="Freeform 72">
              <a:extLst>
                <a:ext uri="{FF2B5EF4-FFF2-40B4-BE49-F238E27FC236}">
                  <a16:creationId xmlns:a16="http://schemas.microsoft.com/office/drawing/2014/main" id="{E77F762A-9C54-44D4-8072-9E3169713B38}"/>
                </a:ext>
              </a:extLst>
            </p:cNvPr>
            <p:cNvSpPr>
              <a:spLocks/>
            </p:cNvSpPr>
            <p:nvPr/>
          </p:nvSpPr>
          <p:spPr bwMode="auto">
            <a:xfrm rot="762855">
              <a:off x="4940269" y="4405222"/>
              <a:ext cx="320911" cy="418091"/>
            </a:xfrm>
            <a:custGeom>
              <a:avLst/>
              <a:gdLst>
                <a:gd name="T0" fmla="*/ 319 w 319"/>
                <a:gd name="T1" fmla="*/ 0 h 437"/>
                <a:gd name="T2" fmla="*/ 93 w 319"/>
                <a:gd name="T3" fmla="*/ 212 h 437"/>
                <a:gd name="T4" fmla="*/ 0 w 319"/>
                <a:gd name="T5" fmla="*/ 437 h 437"/>
                <a:gd name="T6" fmla="*/ 319 w 319"/>
                <a:gd name="T7" fmla="*/ 437 h 437"/>
                <a:gd name="T8" fmla="*/ 319 w 319"/>
                <a:gd name="T9" fmla="*/ 0 h 437"/>
              </a:gdLst>
              <a:ahLst/>
              <a:cxnLst>
                <a:cxn ang="0">
                  <a:pos x="T0" y="T1"/>
                </a:cxn>
                <a:cxn ang="0">
                  <a:pos x="T2" y="T3"/>
                </a:cxn>
                <a:cxn ang="0">
                  <a:pos x="T4" y="T5"/>
                </a:cxn>
                <a:cxn ang="0">
                  <a:pos x="T6" y="T7"/>
                </a:cxn>
                <a:cxn ang="0">
                  <a:pos x="T8" y="T9"/>
                </a:cxn>
              </a:cxnLst>
              <a:rect l="0" t="0" r="r" b="b"/>
              <a:pathLst>
                <a:path w="319" h="437">
                  <a:moveTo>
                    <a:pt x="319" y="0"/>
                  </a:moveTo>
                  <a:cubicBezTo>
                    <a:pt x="231" y="67"/>
                    <a:pt x="129" y="147"/>
                    <a:pt x="93" y="212"/>
                  </a:cubicBezTo>
                  <a:cubicBezTo>
                    <a:pt x="51" y="288"/>
                    <a:pt x="16" y="387"/>
                    <a:pt x="0" y="437"/>
                  </a:cubicBezTo>
                  <a:cubicBezTo>
                    <a:pt x="319" y="437"/>
                    <a:pt x="319" y="437"/>
                    <a:pt x="319" y="437"/>
                  </a:cubicBezTo>
                  <a:lnTo>
                    <a:pt x="319"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5" name="Freeform 73">
              <a:extLst>
                <a:ext uri="{FF2B5EF4-FFF2-40B4-BE49-F238E27FC236}">
                  <a16:creationId xmlns:a16="http://schemas.microsoft.com/office/drawing/2014/main" id="{5A8E4183-141D-40EF-9FC8-600FA9548903}"/>
                </a:ext>
              </a:extLst>
            </p:cNvPr>
            <p:cNvSpPr>
              <a:spLocks/>
            </p:cNvSpPr>
            <p:nvPr/>
          </p:nvSpPr>
          <p:spPr bwMode="auto">
            <a:xfrm rot="762855">
              <a:off x="4473041" y="3500413"/>
              <a:ext cx="267709" cy="411210"/>
            </a:xfrm>
            <a:custGeom>
              <a:avLst/>
              <a:gdLst>
                <a:gd name="T0" fmla="*/ 266 w 266"/>
                <a:gd name="T1" fmla="*/ 12 h 430"/>
                <a:gd name="T2" fmla="*/ 221 w 266"/>
                <a:gd name="T3" fmla="*/ 0 h 430"/>
                <a:gd name="T4" fmla="*/ 87 w 266"/>
                <a:gd name="T5" fmla="*/ 210 h 430"/>
                <a:gd name="T6" fmla="*/ 0 w 266"/>
                <a:gd name="T7" fmla="*/ 388 h 430"/>
                <a:gd name="T8" fmla="*/ 154 w 266"/>
                <a:gd name="T9" fmla="*/ 430 h 430"/>
                <a:gd name="T10" fmla="*/ 266 w 266"/>
                <a:gd name="T11" fmla="*/ 12 h 430"/>
              </a:gdLst>
              <a:ahLst/>
              <a:cxnLst>
                <a:cxn ang="0">
                  <a:pos x="T0" y="T1"/>
                </a:cxn>
                <a:cxn ang="0">
                  <a:pos x="T2" y="T3"/>
                </a:cxn>
                <a:cxn ang="0">
                  <a:pos x="T4" y="T5"/>
                </a:cxn>
                <a:cxn ang="0">
                  <a:pos x="T6" y="T7"/>
                </a:cxn>
                <a:cxn ang="0">
                  <a:pos x="T8" y="T9"/>
                </a:cxn>
                <a:cxn ang="0">
                  <a:pos x="T10" y="T11"/>
                </a:cxn>
              </a:cxnLst>
              <a:rect l="0" t="0" r="r" b="b"/>
              <a:pathLst>
                <a:path w="266" h="430">
                  <a:moveTo>
                    <a:pt x="266" y="12"/>
                  </a:moveTo>
                  <a:cubicBezTo>
                    <a:pt x="221" y="0"/>
                    <a:pt x="221" y="0"/>
                    <a:pt x="221" y="0"/>
                  </a:cubicBezTo>
                  <a:cubicBezTo>
                    <a:pt x="192" y="71"/>
                    <a:pt x="126" y="179"/>
                    <a:pt x="87" y="210"/>
                  </a:cubicBezTo>
                  <a:cubicBezTo>
                    <a:pt x="56" y="235"/>
                    <a:pt x="22" y="324"/>
                    <a:pt x="0" y="388"/>
                  </a:cubicBezTo>
                  <a:cubicBezTo>
                    <a:pt x="154" y="430"/>
                    <a:pt x="154" y="430"/>
                    <a:pt x="154" y="430"/>
                  </a:cubicBezTo>
                  <a:lnTo>
                    <a:pt x="266" y="12"/>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6" name="Freeform 75">
              <a:extLst>
                <a:ext uri="{FF2B5EF4-FFF2-40B4-BE49-F238E27FC236}">
                  <a16:creationId xmlns:a16="http://schemas.microsoft.com/office/drawing/2014/main" id="{B1B8476F-BC0C-4818-BBA3-65C7BCCB21E2}"/>
                </a:ext>
              </a:extLst>
            </p:cNvPr>
            <p:cNvSpPr>
              <a:spLocks/>
            </p:cNvSpPr>
            <p:nvPr/>
          </p:nvSpPr>
          <p:spPr bwMode="auto">
            <a:xfrm rot="762855">
              <a:off x="3607647" y="3469874"/>
              <a:ext cx="1416433" cy="2512592"/>
            </a:xfrm>
            <a:custGeom>
              <a:avLst/>
              <a:gdLst>
                <a:gd name="T0" fmla="*/ 704 w 1408"/>
                <a:gd name="T1" fmla="*/ 1536 h 2626"/>
                <a:gd name="T2" fmla="*/ 576 w 1408"/>
                <a:gd name="T3" fmla="*/ 1408 h 2626"/>
                <a:gd name="T4" fmla="*/ 576 w 1408"/>
                <a:gd name="T5" fmla="*/ 1152 h 2626"/>
                <a:gd name="T6" fmla="*/ 384 w 1408"/>
                <a:gd name="T7" fmla="*/ 768 h 2626"/>
                <a:gd name="T8" fmla="*/ 384 w 1408"/>
                <a:gd name="T9" fmla="*/ 256 h 2626"/>
                <a:gd name="T10" fmla="*/ 384 w 1408"/>
                <a:gd name="T11" fmla="*/ 128 h 2626"/>
                <a:gd name="T12" fmla="*/ 256 w 1408"/>
                <a:gd name="T13" fmla="*/ 0 h 2626"/>
                <a:gd name="T14" fmla="*/ 192 w 1408"/>
                <a:gd name="T15" fmla="*/ 0 h 2626"/>
                <a:gd name="T16" fmla="*/ 128 w 1408"/>
                <a:gd name="T17" fmla="*/ 64 h 2626"/>
                <a:gd name="T18" fmla="*/ 128 w 1408"/>
                <a:gd name="T19" fmla="*/ 256 h 2626"/>
                <a:gd name="T20" fmla="*/ 128 w 1408"/>
                <a:gd name="T21" fmla="*/ 640 h 2626"/>
                <a:gd name="T22" fmla="*/ 0 w 1408"/>
                <a:gd name="T23" fmla="*/ 896 h 2626"/>
                <a:gd name="T24" fmla="*/ 0 w 1408"/>
                <a:gd name="T25" fmla="*/ 1152 h 2626"/>
                <a:gd name="T26" fmla="*/ 128 w 1408"/>
                <a:gd name="T27" fmla="*/ 1408 h 2626"/>
                <a:gd name="T28" fmla="*/ 128 w 1408"/>
                <a:gd name="T29" fmla="*/ 1664 h 2626"/>
                <a:gd name="T30" fmla="*/ 128 w 1408"/>
                <a:gd name="T31" fmla="*/ 1792 h 2626"/>
                <a:gd name="T32" fmla="*/ 128 w 1408"/>
                <a:gd name="T33" fmla="*/ 2626 h 2626"/>
                <a:gd name="T34" fmla="*/ 1024 w 1408"/>
                <a:gd name="T35" fmla="*/ 2626 h 2626"/>
                <a:gd name="T36" fmla="*/ 1024 w 1408"/>
                <a:gd name="T37" fmla="*/ 1904 h 2626"/>
                <a:gd name="T38" fmla="*/ 1088 w 1408"/>
                <a:gd name="T39" fmla="*/ 1752 h 2626"/>
                <a:gd name="T40" fmla="*/ 1408 w 1408"/>
                <a:gd name="T41" fmla="*/ 1536 h 2626"/>
                <a:gd name="T42" fmla="*/ 1024 w 1408"/>
                <a:gd name="T43" fmla="*/ 1536 h 2626"/>
                <a:gd name="T44" fmla="*/ 704 w 1408"/>
                <a:gd name="T45" fmla="*/ 1536 h 2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08" h="2626">
                  <a:moveTo>
                    <a:pt x="704" y="1536"/>
                  </a:moveTo>
                  <a:cubicBezTo>
                    <a:pt x="633" y="1536"/>
                    <a:pt x="576" y="1479"/>
                    <a:pt x="576" y="1408"/>
                  </a:cubicBezTo>
                  <a:cubicBezTo>
                    <a:pt x="576" y="1152"/>
                    <a:pt x="576" y="1152"/>
                    <a:pt x="576" y="1152"/>
                  </a:cubicBezTo>
                  <a:cubicBezTo>
                    <a:pt x="576" y="896"/>
                    <a:pt x="384" y="768"/>
                    <a:pt x="384" y="768"/>
                  </a:cubicBezTo>
                  <a:cubicBezTo>
                    <a:pt x="384" y="256"/>
                    <a:pt x="384" y="256"/>
                    <a:pt x="384" y="256"/>
                  </a:cubicBezTo>
                  <a:cubicBezTo>
                    <a:pt x="384" y="128"/>
                    <a:pt x="384" y="128"/>
                    <a:pt x="384" y="128"/>
                  </a:cubicBezTo>
                  <a:cubicBezTo>
                    <a:pt x="384" y="57"/>
                    <a:pt x="327" y="0"/>
                    <a:pt x="256" y="0"/>
                  </a:cubicBezTo>
                  <a:cubicBezTo>
                    <a:pt x="192" y="0"/>
                    <a:pt x="192" y="0"/>
                    <a:pt x="192" y="0"/>
                  </a:cubicBezTo>
                  <a:cubicBezTo>
                    <a:pt x="157" y="0"/>
                    <a:pt x="128" y="29"/>
                    <a:pt x="128" y="64"/>
                  </a:cubicBezTo>
                  <a:cubicBezTo>
                    <a:pt x="128" y="256"/>
                    <a:pt x="128" y="256"/>
                    <a:pt x="128" y="256"/>
                  </a:cubicBezTo>
                  <a:cubicBezTo>
                    <a:pt x="128" y="640"/>
                    <a:pt x="128" y="640"/>
                    <a:pt x="128" y="640"/>
                  </a:cubicBezTo>
                  <a:cubicBezTo>
                    <a:pt x="128" y="640"/>
                    <a:pt x="0" y="722"/>
                    <a:pt x="0" y="896"/>
                  </a:cubicBezTo>
                  <a:cubicBezTo>
                    <a:pt x="0" y="1152"/>
                    <a:pt x="0" y="1152"/>
                    <a:pt x="0" y="1152"/>
                  </a:cubicBezTo>
                  <a:cubicBezTo>
                    <a:pt x="0" y="1326"/>
                    <a:pt x="128" y="1408"/>
                    <a:pt x="128" y="1408"/>
                  </a:cubicBezTo>
                  <a:cubicBezTo>
                    <a:pt x="128" y="1664"/>
                    <a:pt x="128" y="1664"/>
                    <a:pt x="128" y="1664"/>
                  </a:cubicBezTo>
                  <a:cubicBezTo>
                    <a:pt x="128" y="1792"/>
                    <a:pt x="128" y="1792"/>
                    <a:pt x="128" y="1792"/>
                  </a:cubicBezTo>
                  <a:cubicBezTo>
                    <a:pt x="128" y="2626"/>
                    <a:pt x="128" y="2626"/>
                    <a:pt x="128" y="2626"/>
                  </a:cubicBezTo>
                  <a:cubicBezTo>
                    <a:pt x="1024" y="2626"/>
                    <a:pt x="1024" y="2626"/>
                    <a:pt x="1024" y="2626"/>
                  </a:cubicBezTo>
                  <a:cubicBezTo>
                    <a:pt x="1024" y="1904"/>
                    <a:pt x="1024" y="1904"/>
                    <a:pt x="1024" y="1904"/>
                  </a:cubicBezTo>
                  <a:cubicBezTo>
                    <a:pt x="1024" y="1736"/>
                    <a:pt x="1088" y="1752"/>
                    <a:pt x="1088" y="1752"/>
                  </a:cubicBezTo>
                  <a:cubicBezTo>
                    <a:pt x="1310" y="1752"/>
                    <a:pt x="1408" y="1536"/>
                    <a:pt x="1408" y="1536"/>
                  </a:cubicBezTo>
                  <a:cubicBezTo>
                    <a:pt x="1024" y="1536"/>
                    <a:pt x="1024" y="1536"/>
                    <a:pt x="1024" y="1536"/>
                  </a:cubicBezTo>
                  <a:lnTo>
                    <a:pt x="704" y="1536"/>
                  </a:lnTo>
                  <a:close/>
                </a:path>
              </a:pathLst>
            </a:custGeom>
            <a:solidFill>
              <a:srgbClr val="8D5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7" name="Rectangle 74">
              <a:extLst>
                <a:ext uri="{FF2B5EF4-FFF2-40B4-BE49-F238E27FC236}">
                  <a16:creationId xmlns:a16="http://schemas.microsoft.com/office/drawing/2014/main" id="{17961719-FFA9-4084-84C9-E7C68399462C}"/>
                </a:ext>
              </a:extLst>
            </p:cNvPr>
            <p:cNvSpPr>
              <a:spLocks noChangeArrowheads="1"/>
            </p:cNvSpPr>
            <p:nvPr/>
          </p:nvSpPr>
          <p:spPr bwMode="auto">
            <a:xfrm rot="762855">
              <a:off x="4394237" y="2925794"/>
              <a:ext cx="1223631" cy="11454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8" name="Freeform 76">
              <a:extLst>
                <a:ext uri="{FF2B5EF4-FFF2-40B4-BE49-F238E27FC236}">
                  <a16:creationId xmlns:a16="http://schemas.microsoft.com/office/drawing/2014/main" id="{1969D451-EBB1-47DA-9F02-88DEBD42C4D1}"/>
                </a:ext>
              </a:extLst>
            </p:cNvPr>
            <p:cNvSpPr>
              <a:spLocks/>
            </p:cNvSpPr>
            <p:nvPr/>
          </p:nvSpPr>
          <p:spPr bwMode="auto">
            <a:xfrm rot="762855">
              <a:off x="5233336" y="4068706"/>
              <a:ext cx="386455" cy="244865"/>
            </a:xfrm>
            <a:custGeom>
              <a:avLst/>
              <a:gdLst>
                <a:gd name="T0" fmla="*/ 128 w 384"/>
                <a:gd name="T1" fmla="*/ 256 h 256"/>
                <a:gd name="T2" fmla="*/ 256 w 384"/>
                <a:gd name="T3" fmla="*/ 256 h 256"/>
                <a:gd name="T4" fmla="*/ 384 w 384"/>
                <a:gd name="T5" fmla="*/ 128 h 256"/>
                <a:gd name="T6" fmla="*/ 256 w 384"/>
                <a:gd name="T7" fmla="*/ 0 h 256"/>
                <a:gd name="T8" fmla="*/ 128 w 384"/>
                <a:gd name="T9" fmla="*/ 0 h 256"/>
                <a:gd name="T10" fmla="*/ 0 w 384"/>
                <a:gd name="T11" fmla="*/ 128 h 256"/>
                <a:gd name="T12" fmla="*/ 128 w 384"/>
                <a:gd name="T13" fmla="*/ 256 h 256"/>
              </a:gdLst>
              <a:ahLst/>
              <a:cxnLst>
                <a:cxn ang="0">
                  <a:pos x="T0" y="T1"/>
                </a:cxn>
                <a:cxn ang="0">
                  <a:pos x="T2" y="T3"/>
                </a:cxn>
                <a:cxn ang="0">
                  <a:pos x="T4" y="T5"/>
                </a:cxn>
                <a:cxn ang="0">
                  <a:pos x="T6" y="T7"/>
                </a:cxn>
                <a:cxn ang="0">
                  <a:pos x="T8" y="T9"/>
                </a:cxn>
                <a:cxn ang="0">
                  <a:pos x="T10" y="T11"/>
                </a:cxn>
                <a:cxn ang="0">
                  <a:pos x="T12" y="T13"/>
                </a:cxn>
              </a:cxnLst>
              <a:rect l="0" t="0" r="r" b="b"/>
              <a:pathLst>
                <a:path w="384" h="256">
                  <a:moveTo>
                    <a:pt x="128" y="256"/>
                  </a:moveTo>
                  <a:cubicBezTo>
                    <a:pt x="256" y="256"/>
                    <a:pt x="256" y="256"/>
                    <a:pt x="256" y="256"/>
                  </a:cubicBezTo>
                  <a:cubicBezTo>
                    <a:pt x="327" y="256"/>
                    <a:pt x="384" y="199"/>
                    <a:pt x="384" y="128"/>
                  </a:cubicBezTo>
                  <a:cubicBezTo>
                    <a:pt x="384" y="57"/>
                    <a:pt x="327" y="0"/>
                    <a:pt x="256" y="0"/>
                  </a:cubicBezTo>
                  <a:cubicBezTo>
                    <a:pt x="128" y="0"/>
                    <a:pt x="128" y="0"/>
                    <a:pt x="128" y="0"/>
                  </a:cubicBezTo>
                  <a:cubicBezTo>
                    <a:pt x="57" y="0"/>
                    <a:pt x="0" y="57"/>
                    <a:pt x="0" y="128"/>
                  </a:cubicBezTo>
                  <a:cubicBezTo>
                    <a:pt x="0" y="199"/>
                    <a:pt x="57" y="256"/>
                    <a:pt x="128" y="256"/>
                  </a:cubicBezTo>
                  <a:close/>
                </a:path>
              </a:pathLst>
            </a:custGeom>
            <a:solidFill>
              <a:srgbClr val="8D5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49" name="Freeform 77">
              <a:extLst>
                <a:ext uri="{FF2B5EF4-FFF2-40B4-BE49-F238E27FC236}">
                  <a16:creationId xmlns:a16="http://schemas.microsoft.com/office/drawing/2014/main" id="{AE38A49D-639F-4A99-9336-3959B0765A79}"/>
                </a:ext>
              </a:extLst>
            </p:cNvPr>
            <p:cNvSpPr>
              <a:spLocks/>
            </p:cNvSpPr>
            <p:nvPr/>
          </p:nvSpPr>
          <p:spPr bwMode="auto">
            <a:xfrm rot="762855">
              <a:off x="5165993" y="4367183"/>
              <a:ext cx="386455" cy="244865"/>
            </a:xfrm>
            <a:custGeom>
              <a:avLst/>
              <a:gdLst>
                <a:gd name="T0" fmla="*/ 256 w 384"/>
                <a:gd name="T1" fmla="*/ 0 h 256"/>
                <a:gd name="T2" fmla="*/ 128 w 384"/>
                <a:gd name="T3" fmla="*/ 0 h 256"/>
                <a:gd name="T4" fmla="*/ 0 w 384"/>
                <a:gd name="T5" fmla="*/ 128 h 256"/>
                <a:gd name="T6" fmla="*/ 128 w 384"/>
                <a:gd name="T7" fmla="*/ 256 h 256"/>
                <a:gd name="T8" fmla="*/ 256 w 384"/>
                <a:gd name="T9" fmla="*/ 256 h 256"/>
                <a:gd name="T10" fmla="*/ 384 w 384"/>
                <a:gd name="T11" fmla="*/ 128 h 256"/>
                <a:gd name="T12" fmla="*/ 256 w 384"/>
                <a:gd name="T13" fmla="*/ 0 h 256"/>
              </a:gdLst>
              <a:ahLst/>
              <a:cxnLst>
                <a:cxn ang="0">
                  <a:pos x="T0" y="T1"/>
                </a:cxn>
                <a:cxn ang="0">
                  <a:pos x="T2" y="T3"/>
                </a:cxn>
                <a:cxn ang="0">
                  <a:pos x="T4" y="T5"/>
                </a:cxn>
                <a:cxn ang="0">
                  <a:pos x="T6" y="T7"/>
                </a:cxn>
                <a:cxn ang="0">
                  <a:pos x="T8" y="T9"/>
                </a:cxn>
                <a:cxn ang="0">
                  <a:pos x="T10" y="T11"/>
                </a:cxn>
                <a:cxn ang="0">
                  <a:pos x="T12" y="T13"/>
                </a:cxn>
              </a:cxnLst>
              <a:rect l="0" t="0" r="r" b="b"/>
              <a:pathLst>
                <a:path w="384" h="256">
                  <a:moveTo>
                    <a:pt x="256" y="0"/>
                  </a:moveTo>
                  <a:cubicBezTo>
                    <a:pt x="128" y="0"/>
                    <a:pt x="128" y="0"/>
                    <a:pt x="128" y="0"/>
                  </a:cubicBezTo>
                  <a:cubicBezTo>
                    <a:pt x="57" y="0"/>
                    <a:pt x="0" y="57"/>
                    <a:pt x="0" y="128"/>
                  </a:cubicBezTo>
                  <a:cubicBezTo>
                    <a:pt x="0" y="199"/>
                    <a:pt x="57" y="256"/>
                    <a:pt x="128" y="256"/>
                  </a:cubicBezTo>
                  <a:cubicBezTo>
                    <a:pt x="256" y="256"/>
                    <a:pt x="256" y="256"/>
                    <a:pt x="256" y="256"/>
                  </a:cubicBezTo>
                  <a:cubicBezTo>
                    <a:pt x="327" y="256"/>
                    <a:pt x="384" y="199"/>
                    <a:pt x="384" y="128"/>
                  </a:cubicBezTo>
                  <a:cubicBezTo>
                    <a:pt x="384" y="57"/>
                    <a:pt x="327" y="0"/>
                    <a:pt x="256" y="0"/>
                  </a:cubicBezTo>
                  <a:close/>
                </a:path>
              </a:pathLst>
            </a:custGeom>
            <a:solidFill>
              <a:srgbClr val="8D5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0" name="Freeform 78">
              <a:extLst>
                <a:ext uri="{FF2B5EF4-FFF2-40B4-BE49-F238E27FC236}">
                  <a16:creationId xmlns:a16="http://schemas.microsoft.com/office/drawing/2014/main" id="{D054A9D5-A3CA-457C-A97C-EB9A593D6AB6}"/>
                </a:ext>
              </a:extLst>
            </p:cNvPr>
            <p:cNvSpPr>
              <a:spLocks/>
            </p:cNvSpPr>
            <p:nvPr/>
          </p:nvSpPr>
          <p:spPr bwMode="auto">
            <a:xfrm rot="762855">
              <a:off x="5035870" y="4651910"/>
              <a:ext cx="386455" cy="244865"/>
            </a:xfrm>
            <a:custGeom>
              <a:avLst/>
              <a:gdLst>
                <a:gd name="T0" fmla="*/ 256 w 384"/>
                <a:gd name="T1" fmla="*/ 0 h 256"/>
                <a:gd name="T2" fmla="*/ 128 w 384"/>
                <a:gd name="T3" fmla="*/ 0 h 256"/>
                <a:gd name="T4" fmla="*/ 0 w 384"/>
                <a:gd name="T5" fmla="*/ 128 h 256"/>
                <a:gd name="T6" fmla="*/ 128 w 384"/>
                <a:gd name="T7" fmla="*/ 256 h 256"/>
                <a:gd name="T8" fmla="*/ 256 w 384"/>
                <a:gd name="T9" fmla="*/ 256 h 256"/>
                <a:gd name="T10" fmla="*/ 384 w 384"/>
                <a:gd name="T11" fmla="*/ 128 h 256"/>
                <a:gd name="T12" fmla="*/ 256 w 384"/>
                <a:gd name="T13" fmla="*/ 0 h 256"/>
              </a:gdLst>
              <a:ahLst/>
              <a:cxnLst>
                <a:cxn ang="0">
                  <a:pos x="T0" y="T1"/>
                </a:cxn>
                <a:cxn ang="0">
                  <a:pos x="T2" y="T3"/>
                </a:cxn>
                <a:cxn ang="0">
                  <a:pos x="T4" y="T5"/>
                </a:cxn>
                <a:cxn ang="0">
                  <a:pos x="T6" y="T7"/>
                </a:cxn>
                <a:cxn ang="0">
                  <a:pos x="T8" y="T9"/>
                </a:cxn>
                <a:cxn ang="0">
                  <a:pos x="T10" y="T11"/>
                </a:cxn>
                <a:cxn ang="0">
                  <a:pos x="T12" y="T13"/>
                </a:cxn>
              </a:cxnLst>
              <a:rect l="0" t="0" r="r" b="b"/>
              <a:pathLst>
                <a:path w="384" h="256">
                  <a:moveTo>
                    <a:pt x="256" y="0"/>
                  </a:moveTo>
                  <a:cubicBezTo>
                    <a:pt x="128" y="0"/>
                    <a:pt x="128" y="0"/>
                    <a:pt x="128" y="0"/>
                  </a:cubicBezTo>
                  <a:cubicBezTo>
                    <a:pt x="57" y="0"/>
                    <a:pt x="0" y="57"/>
                    <a:pt x="0" y="128"/>
                  </a:cubicBezTo>
                  <a:cubicBezTo>
                    <a:pt x="0" y="199"/>
                    <a:pt x="57" y="256"/>
                    <a:pt x="128" y="256"/>
                  </a:cubicBezTo>
                  <a:cubicBezTo>
                    <a:pt x="256" y="256"/>
                    <a:pt x="256" y="256"/>
                    <a:pt x="256" y="256"/>
                  </a:cubicBezTo>
                  <a:cubicBezTo>
                    <a:pt x="327" y="256"/>
                    <a:pt x="384" y="199"/>
                    <a:pt x="384" y="128"/>
                  </a:cubicBezTo>
                  <a:cubicBezTo>
                    <a:pt x="384" y="57"/>
                    <a:pt x="327" y="0"/>
                    <a:pt x="256" y="0"/>
                  </a:cubicBezTo>
                  <a:close/>
                </a:path>
              </a:pathLst>
            </a:custGeom>
            <a:solidFill>
              <a:srgbClr val="8D52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1" name="Oval 79">
              <a:extLst>
                <a:ext uri="{FF2B5EF4-FFF2-40B4-BE49-F238E27FC236}">
                  <a16:creationId xmlns:a16="http://schemas.microsoft.com/office/drawing/2014/main" id="{80078F75-0003-496F-97D8-C4C2E7D7C776}"/>
                </a:ext>
              </a:extLst>
            </p:cNvPr>
            <p:cNvSpPr>
              <a:spLocks noChangeArrowheads="1"/>
            </p:cNvSpPr>
            <p:nvPr/>
          </p:nvSpPr>
          <p:spPr bwMode="auto">
            <a:xfrm rot="762855">
              <a:off x="4486617" y="4766393"/>
              <a:ext cx="193227" cy="183345"/>
            </a:xfrm>
            <a:prstGeom prst="ellipse">
              <a:avLst/>
            </a:prstGeom>
            <a:solidFill>
              <a:srgbClr val="2B3A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2" name="Rectangle 80">
              <a:extLst>
                <a:ext uri="{FF2B5EF4-FFF2-40B4-BE49-F238E27FC236}">
                  <a16:creationId xmlns:a16="http://schemas.microsoft.com/office/drawing/2014/main" id="{8878585B-FF19-4858-B534-18382F274372}"/>
                </a:ext>
              </a:extLst>
            </p:cNvPr>
            <p:cNvSpPr>
              <a:spLocks noChangeArrowheads="1"/>
            </p:cNvSpPr>
            <p:nvPr/>
          </p:nvSpPr>
          <p:spPr bwMode="auto">
            <a:xfrm rot="762855">
              <a:off x="4456130" y="2874589"/>
              <a:ext cx="272816" cy="30355"/>
            </a:xfrm>
            <a:prstGeom prst="rect">
              <a:avLst/>
            </a:prstGeom>
            <a:solidFill>
              <a:srgbClr val="242C3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3" name="Rectangle 81">
              <a:extLst>
                <a:ext uri="{FF2B5EF4-FFF2-40B4-BE49-F238E27FC236}">
                  <a16:creationId xmlns:a16="http://schemas.microsoft.com/office/drawing/2014/main" id="{B677BC77-A22E-48A6-8D1B-3B72B97D5E58}"/>
                </a:ext>
              </a:extLst>
            </p:cNvPr>
            <p:cNvSpPr>
              <a:spLocks noChangeArrowheads="1"/>
            </p:cNvSpPr>
            <p:nvPr/>
          </p:nvSpPr>
          <p:spPr bwMode="auto">
            <a:xfrm rot="762855">
              <a:off x="4776900" y="2929340"/>
              <a:ext cx="116617" cy="30355"/>
            </a:xfrm>
            <a:prstGeom prst="rect">
              <a:avLst/>
            </a:prstGeom>
            <a:solidFill>
              <a:srgbClr val="242C3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54" name="Rectangle 82">
              <a:extLst>
                <a:ext uri="{FF2B5EF4-FFF2-40B4-BE49-F238E27FC236}">
                  <a16:creationId xmlns:a16="http://schemas.microsoft.com/office/drawing/2014/main" id="{AC7EBBE9-3BA6-41DA-BCE5-7D5C62DB6A38}"/>
                </a:ext>
              </a:extLst>
            </p:cNvPr>
            <p:cNvSpPr>
              <a:spLocks noChangeArrowheads="1"/>
            </p:cNvSpPr>
            <p:nvPr/>
          </p:nvSpPr>
          <p:spPr bwMode="auto">
            <a:xfrm rot="762855">
              <a:off x="5436602" y="3078279"/>
              <a:ext cx="117469" cy="30355"/>
            </a:xfrm>
            <a:prstGeom prst="rect">
              <a:avLst/>
            </a:prstGeom>
            <a:solidFill>
              <a:srgbClr val="6DBE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Calibri" panose="020F0502020204030204"/>
                <a:ea typeface="+mn-ea"/>
                <a:cs typeface="+mn-cs"/>
              </a:endParaRPr>
            </a:p>
          </p:txBody>
        </p:sp>
      </p:grpSp>
      <p:sp>
        <p:nvSpPr>
          <p:cNvPr id="56" name="Title 1">
            <a:extLst>
              <a:ext uri="{FF2B5EF4-FFF2-40B4-BE49-F238E27FC236}">
                <a16:creationId xmlns:a16="http://schemas.microsoft.com/office/drawing/2014/main" id="{BCC24ADA-ECA2-4640-AD75-2D4C4B9E2C5E}"/>
              </a:ext>
            </a:extLst>
          </p:cNvPr>
          <p:cNvSpPr>
            <a:spLocks noGrp="1"/>
          </p:cNvSpPr>
          <p:nvPr>
            <p:ph type="title"/>
          </p:nvPr>
        </p:nvSpPr>
        <p:spPr>
          <a:xfrm>
            <a:off x="1186855" y="66725"/>
            <a:ext cx="10515600" cy="1018714"/>
          </a:xfrm>
        </p:spPr>
        <p:txBody>
          <a:bodyPr/>
          <a:lstStyle/>
          <a:p>
            <a:r>
              <a:rPr lang="en-US">
                <a:solidFill>
                  <a:schemeClr val="bg1"/>
                </a:solidFill>
              </a:rPr>
              <a:t>For Your Information</a:t>
            </a:r>
          </a:p>
        </p:txBody>
      </p:sp>
      <p:pic>
        <p:nvPicPr>
          <p:cNvPr id="3" name="Picture 2" descr="A qr code with a logo&#10;&#10;Description automatically generated with low confidence">
            <a:extLst>
              <a:ext uri="{FF2B5EF4-FFF2-40B4-BE49-F238E27FC236}">
                <a16:creationId xmlns:a16="http://schemas.microsoft.com/office/drawing/2014/main" id="{E0987EFB-101F-59A5-59CC-6EE72BBE289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64490" y="2410480"/>
            <a:ext cx="1601767" cy="1989395"/>
          </a:xfrm>
          <a:prstGeom prst="rect">
            <a:avLst/>
          </a:prstGeom>
        </p:spPr>
      </p:pic>
    </p:spTree>
    <p:custDataLst>
      <p:tags r:id="rId1"/>
    </p:custDataLst>
    <p:extLst>
      <p:ext uri="{BB962C8B-B14F-4D97-AF65-F5344CB8AC3E}">
        <p14:creationId xmlns:p14="http://schemas.microsoft.com/office/powerpoint/2010/main" val="394611660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8E91D56A-3AF5-E433-275F-400EF3BA0612}"/>
              </a:ext>
            </a:extLst>
          </p:cNvPr>
          <p:cNvSpPr>
            <a:spLocks noGrp="1"/>
          </p:cNvSpPr>
          <p:nvPr>
            <p:ph type="title"/>
          </p:nvPr>
        </p:nvSpPr>
        <p:spPr>
          <a:xfrm>
            <a:off x="1186855" y="66725"/>
            <a:ext cx="10515600" cy="1018714"/>
          </a:xfrm>
        </p:spPr>
        <p:txBody>
          <a:bodyPr/>
          <a:lstStyle/>
          <a:p>
            <a:r>
              <a:rPr lang="en-US">
                <a:latin typeface="+mn-lt"/>
              </a:rPr>
              <a:t>Group Activity – Contract Administration</a:t>
            </a:r>
          </a:p>
        </p:txBody>
      </p:sp>
      <p:sp>
        <p:nvSpPr>
          <p:cNvPr id="7" name="Text Placeholder 4">
            <a:extLst>
              <a:ext uri="{FF2B5EF4-FFF2-40B4-BE49-F238E27FC236}">
                <a16:creationId xmlns:a16="http://schemas.microsoft.com/office/drawing/2014/main" id="{F94C1A5D-E948-7825-DE85-4F49B98567AC}"/>
              </a:ext>
            </a:extLst>
          </p:cNvPr>
          <p:cNvSpPr>
            <a:spLocks noGrp="1"/>
          </p:cNvSpPr>
          <p:nvPr>
            <p:ph type="body" sz="quarter" idx="10"/>
          </p:nvPr>
        </p:nvSpPr>
        <p:spPr>
          <a:xfrm>
            <a:off x="642412" y="1358047"/>
            <a:ext cx="10195200" cy="4546800"/>
          </a:xfrm>
        </p:spPr>
        <p:txBody>
          <a:bodyPr>
            <a:normAutofit/>
          </a:bodyPr>
          <a:lstStyle/>
          <a:p>
            <a:pPr marL="0" indent="0">
              <a:buNone/>
            </a:pPr>
            <a:r>
              <a:rPr lang="en-US" b="1">
                <a:latin typeface="+mn-lt"/>
              </a:rPr>
              <a:t>Instructions:</a:t>
            </a:r>
          </a:p>
          <a:p>
            <a:pPr marL="971550" lvl="1" indent="-514350">
              <a:buFont typeface="+mj-lt"/>
              <a:buAutoNum type="arabicPeriod"/>
            </a:pPr>
            <a:r>
              <a:rPr lang="en-US">
                <a:latin typeface="+mn-lt"/>
              </a:rPr>
              <a:t>In your group, review the Contract Administration questions (34 – 38).</a:t>
            </a:r>
          </a:p>
          <a:p>
            <a:pPr marL="971550" lvl="1" indent="-514350">
              <a:buFont typeface="+mj-lt"/>
              <a:buAutoNum type="arabicPeriod"/>
            </a:pPr>
            <a:r>
              <a:rPr lang="en-US">
                <a:latin typeface="+mn-lt"/>
              </a:rPr>
              <a:t>Discuss the following questions in your group:</a:t>
            </a:r>
          </a:p>
          <a:p>
            <a:pPr marL="1428750" lvl="2" indent="-514350">
              <a:buFont typeface="+mj-lt"/>
              <a:buAutoNum type="arabicPeriod"/>
            </a:pPr>
            <a:r>
              <a:rPr lang="en-US" sz="2400">
                <a:latin typeface="+mn-lt"/>
              </a:rPr>
              <a:t>Which questions will be the easiest to find answers for?</a:t>
            </a:r>
          </a:p>
          <a:p>
            <a:pPr marL="1428750" lvl="2" indent="-514350">
              <a:buFont typeface="+mj-lt"/>
              <a:buAutoNum type="arabicPeriod"/>
            </a:pPr>
            <a:r>
              <a:rPr lang="en-US" sz="2400">
                <a:latin typeface="+mn-lt"/>
              </a:rPr>
              <a:t>Which questions will be the most difficult to find answers for?</a:t>
            </a:r>
          </a:p>
          <a:p>
            <a:pPr marL="1428750" lvl="2" indent="-514350">
              <a:buFont typeface="+mj-lt"/>
              <a:buAutoNum type="arabicPeriod"/>
            </a:pPr>
            <a:r>
              <a:rPr lang="en-US" sz="2400">
                <a:latin typeface="+mn-lt"/>
              </a:rPr>
              <a:t>Do you know who you will reach out to in your organization for additional information or feedback?</a:t>
            </a:r>
          </a:p>
          <a:p>
            <a:pPr marL="1428750" lvl="2" indent="-514350">
              <a:buFont typeface="+mj-lt"/>
              <a:buAutoNum type="arabicPeriod"/>
            </a:pPr>
            <a:r>
              <a:rPr lang="en-US" sz="2400">
                <a:latin typeface="+mn-lt"/>
              </a:rPr>
              <a:t>Are there any questions that are unclear and could use more context?</a:t>
            </a:r>
          </a:p>
          <a:p>
            <a:pPr marL="971550" lvl="1" indent="-514350">
              <a:buFont typeface="+mj-lt"/>
              <a:buAutoNum type="arabicPeriod"/>
            </a:pPr>
            <a:r>
              <a:rPr lang="en-US">
                <a:latin typeface="+mn-lt"/>
              </a:rPr>
              <a:t>Designate one of your teammates to report back to the class.</a:t>
            </a:r>
          </a:p>
          <a:p>
            <a:pPr marL="1428750" lvl="2" indent="-514350">
              <a:buFont typeface="+mj-lt"/>
              <a:buAutoNum type="arabicPeriod"/>
            </a:pPr>
            <a:endParaRPr lang="en-US" sz="2400"/>
          </a:p>
        </p:txBody>
      </p:sp>
      <p:sp>
        <p:nvSpPr>
          <p:cNvPr id="69" name="TextBox 68">
            <a:extLst>
              <a:ext uri="{FF2B5EF4-FFF2-40B4-BE49-F238E27FC236}">
                <a16:creationId xmlns:a16="http://schemas.microsoft.com/office/drawing/2014/main" id="{CB48182D-6FFF-F348-AE1E-B0EB7D339C89}"/>
              </a:ext>
            </a:extLst>
          </p:cNvPr>
          <p:cNvSpPr txBox="1"/>
          <p:nvPr/>
        </p:nvSpPr>
        <p:spPr>
          <a:xfrm>
            <a:off x="3166310" y="6627168"/>
            <a:ext cx="5859379" cy="253916"/>
          </a:xfrm>
          <a:prstGeom prst="rect">
            <a:avLst/>
          </a:prstGeom>
          <a:noFill/>
        </p:spPr>
        <p:txBody>
          <a:bodyPr wrap="square" rtlCol="0">
            <a:spAutoFit/>
          </a:bodyPr>
          <a:lstStyle/>
          <a:p>
            <a:pPr algn="ctr"/>
            <a:r>
              <a:rPr lang="en-US" sz="1050">
                <a:solidFill>
                  <a:schemeClr val="bg2">
                    <a:lumMod val="90000"/>
                  </a:schemeClr>
                </a:solidFill>
              </a:rPr>
              <a:t>Applicant Experience – Policy and Procedure – Documentation – </a:t>
            </a:r>
            <a:r>
              <a:rPr lang="en-US" sz="1050" b="1" u="sng"/>
              <a:t>Procurement</a:t>
            </a:r>
            <a:r>
              <a:rPr lang="en-US" sz="1050">
                <a:solidFill>
                  <a:schemeClr val="bg2">
                    <a:lumMod val="90000"/>
                  </a:schemeClr>
                </a:solidFill>
              </a:rPr>
              <a:t> – Contract Administration</a:t>
            </a:r>
          </a:p>
        </p:txBody>
      </p:sp>
      <p:pic>
        <p:nvPicPr>
          <p:cNvPr id="71" name="Picture 70">
            <a:extLst>
              <a:ext uri="{FF2B5EF4-FFF2-40B4-BE49-F238E27FC236}">
                <a16:creationId xmlns:a16="http://schemas.microsoft.com/office/drawing/2014/main" id="{CB914ADF-773B-37F8-D93B-D8E217F661EC}"/>
              </a:ext>
            </a:extLst>
          </p:cNvPr>
          <p:cNvPicPr>
            <a:picLocks noChangeAspect="1"/>
          </p:cNvPicPr>
          <p:nvPr/>
        </p:nvPicPr>
        <p:blipFill>
          <a:blip r:embed="rId3"/>
          <a:stretch>
            <a:fillRect/>
          </a:stretch>
        </p:blipFill>
        <p:spPr>
          <a:xfrm>
            <a:off x="9629055" y="4933315"/>
            <a:ext cx="2417114" cy="1809269"/>
          </a:xfrm>
          <a:prstGeom prst="rect">
            <a:avLst/>
          </a:prstGeom>
        </p:spPr>
      </p:pic>
    </p:spTree>
    <p:custDataLst>
      <p:tags r:id="rId1"/>
    </p:custDataLst>
    <p:extLst>
      <p:ext uri="{BB962C8B-B14F-4D97-AF65-F5344CB8AC3E}">
        <p14:creationId xmlns:p14="http://schemas.microsoft.com/office/powerpoint/2010/main" val="217039917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297D386-AEE5-86D9-D139-BD08CE14C3C4}"/>
              </a:ext>
            </a:extLst>
          </p:cNvPr>
          <p:cNvSpPr/>
          <p:nvPr/>
        </p:nvSpPr>
        <p:spPr>
          <a:xfrm>
            <a:off x="8878" y="1166604"/>
            <a:ext cx="12183122" cy="569139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AD2ECCA3-03D9-E235-DA4D-24F08577C104}"/>
              </a:ext>
            </a:extLst>
          </p:cNvPr>
          <p:cNvSpPr>
            <a:spLocks noGrp="1"/>
          </p:cNvSpPr>
          <p:nvPr>
            <p:ph type="title"/>
          </p:nvPr>
        </p:nvSpPr>
        <p:spPr/>
        <p:txBody>
          <a:bodyPr/>
          <a:lstStyle/>
          <a:p>
            <a:r>
              <a:rPr lang="en-US">
                <a:latin typeface="+mn-lt"/>
              </a:rPr>
              <a:t>F-ROC Applicant Process</a:t>
            </a:r>
          </a:p>
        </p:txBody>
      </p:sp>
      <p:sp>
        <p:nvSpPr>
          <p:cNvPr id="7" name="Rectangle 6">
            <a:extLst>
              <a:ext uri="{FF2B5EF4-FFF2-40B4-BE49-F238E27FC236}">
                <a16:creationId xmlns:a16="http://schemas.microsoft.com/office/drawing/2014/main" id="{25C30CE7-C5C8-EFD5-D053-584693747171}"/>
              </a:ext>
            </a:extLst>
          </p:cNvPr>
          <p:cNvSpPr/>
          <p:nvPr/>
        </p:nvSpPr>
        <p:spPr>
          <a:xfrm>
            <a:off x="1238008" y="2016578"/>
            <a:ext cx="1912181" cy="3773693"/>
          </a:xfrm>
          <a:prstGeom prst="rect">
            <a:avLst/>
          </a:prstGeom>
          <a:solidFill>
            <a:sysClr val="window" lastClr="FFFFFF"/>
          </a:solidFill>
          <a:ln w="6350" cap="flat" cmpd="sng" algn="ctr">
            <a:solidFill>
              <a:srgbClr val="00338D"/>
            </a:solidFill>
            <a:prstDash val="solid"/>
          </a:ln>
          <a:effectLst/>
        </p:spPr>
        <p:txBody>
          <a:bodyPr lIns="84406" tIns="1941342" rIns="84406" rtlCol="0" anchor="t"/>
          <a:lstStyle/>
          <a:p>
            <a:pPr marL="4397" algn="ctr"/>
            <a:r>
              <a:rPr lang="en-US" sz="2000" b="1">
                <a:solidFill>
                  <a:srgbClr val="00338D"/>
                </a:solidFill>
                <a:cs typeface="Arial" panose="020B0604020202020204" pitchFamily="34" charset="0"/>
              </a:rPr>
              <a:t>Complete Opt-in Course</a:t>
            </a:r>
          </a:p>
        </p:txBody>
      </p:sp>
      <p:sp>
        <p:nvSpPr>
          <p:cNvPr id="8" name="Pentagon 7">
            <a:extLst>
              <a:ext uri="{FF2B5EF4-FFF2-40B4-BE49-F238E27FC236}">
                <a16:creationId xmlns:a16="http://schemas.microsoft.com/office/drawing/2014/main" id="{A6F79AC1-6481-5218-6686-7778CFFC5582}"/>
              </a:ext>
            </a:extLst>
          </p:cNvPr>
          <p:cNvSpPr/>
          <p:nvPr/>
        </p:nvSpPr>
        <p:spPr>
          <a:xfrm>
            <a:off x="1213182" y="2119526"/>
            <a:ext cx="1397821" cy="294439"/>
          </a:xfrm>
          <a:prstGeom prst="homePlate">
            <a:avLst/>
          </a:prstGeom>
          <a:solidFill>
            <a:srgbClr val="00338D"/>
          </a:solidFill>
          <a:ln w="25400" cap="flat" cmpd="sng" algn="ctr">
            <a:solidFill>
              <a:srgbClr val="00338D"/>
            </a:solidFill>
            <a:prstDash val="solid"/>
          </a:ln>
          <a:effectLst/>
        </p:spPr>
        <p:txBody>
          <a:bodyPr rtlCol="0" anchor="ctr"/>
          <a:lstStyle/>
          <a:p>
            <a:pPr algn="ctr" defTabSz="844083">
              <a:defRPr/>
            </a:pPr>
            <a:r>
              <a:rPr lang="en-US" sz="1846" b="1" kern="0">
                <a:solidFill>
                  <a:sysClr val="window" lastClr="FFFFFF"/>
                </a:solidFill>
                <a:cs typeface="Arial" pitchFamily="34" charset="0"/>
              </a:rPr>
              <a:t>1</a:t>
            </a:r>
          </a:p>
        </p:txBody>
      </p:sp>
      <p:sp>
        <p:nvSpPr>
          <p:cNvPr id="11" name="Rectangle 10">
            <a:extLst>
              <a:ext uri="{FF2B5EF4-FFF2-40B4-BE49-F238E27FC236}">
                <a16:creationId xmlns:a16="http://schemas.microsoft.com/office/drawing/2014/main" id="{85C03193-E826-C1FC-7A27-53EC3951225F}"/>
              </a:ext>
            </a:extLst>
          </p:cNvPr>
          <p:cNvSpPr/>
          <p:nvPr/>
        </p:nvSpPr>
        <p:spPr>
          <a:xfrm>
            <a:off x="3216914" y="2021025"/>
            <a:ext cx="1912181" cy="3773693"/>
          </a:xfrm>
          <a:prstGeom prst="rect">
            <a:avLst/>
          </a:prstGeom>
          <a:solidFill>
            <a:sysClr val="window" lastClr="FFFFFF"/>
          </a:solidFill>
          <a:ln w="6350" cap="flat" cmpd="sng" algn="ctr">
            <a:solidFill>
              <a:srgbClr val="005EB8"/>
            </a:solidFill>
            <a:prstDash val="solid"/>
          </a:ln>
          <a:effectLst/>
        </p:spPr>
        <p:txBody>
          <a:bodyPr lIns="84406" tIns="1941342" rIns="84406" rtlCol="0" anchor="t"/>
          <a:lstStyle/>
          <a:p>
            <a:pPr marL="4397" algn="ctr"/>
            <a:r>
              <a:rPr lang="en-US" sz="2000" b="1">
                <a:solidFill>
                  <a:srgbClr val="005EB8"/>
                </a:solidFill>
                <a:cs typeface="Arial" panose="020B0604020202020204" pitchFamily="34" charset="0"/>
              </a:rPr>
              <a:t>Sign Participation Request Form </a:t>
            </a:r>
          </a:p>
        </p:txBody>
      </p:sp>
      <p:sp>
        <p:nvSpPr>
          <p:cNvPr id="12" name="Pentagon 11">
            <a:extLst>
              <a:ext uri="{FF2B5EF4-FFF2-40B4-BE49-F238E27FC236}">
                <a16:creationId xmlns:a16="http://schemas.microsoft.com/office/drawing/2014/main" id="{DEA40AF6-C61D-49A3-0DC7-7EE8DA585431}"/>
              </a:ext>
            </a:extLst>
          </p:cNvPr>
          <p:cNvSpPr/>
          <p:nvPr/>
        </p:nvSpPr>
        <p:spPr>
          <a:xfrm>
            <a:off x="3184292" y="2119526"/>
            <a:ext cx="1397821" cy="294438"/>
          </a:xfrm>
          <a:prstGeom prst="homePlate">
            <a:avLst/>
          </a:prstGeom>
          <a:solidFill>
            <a:srgbClr val="005EB8"/>
          </a:solidFill>
          <a:ln w="25400" cap="flat" cmpd="sng" algn="ctr">
            <a:noFill/>
            <a:prstDash val="solid"/>
          </a:ln>
          <a:effectLst/>
        </p:spPr>
        <p:txBody>
          <a:bodyPr rtlCol="0" anchor="ctr"/>
          <a:lstStyle/>
          <a:p>
            <a:pPr algn="ctr" defTabSz="844083">
              <a:defRPr/>
            </a:pPr>
            <a:r>
              <a:rPr lang="en-US" sz="1846" b="1" kern="0">
                <a:solidFill>
                  <a:sysClr val="window" lastClr="FFFFFF"/>
                </a:solidFill>
                <a:cs typeface="Arial" pitchFamily="34" charset="0"/>
              </a:rPr>
              <a:t>2</a:t>
            </a:r>
          </a:p>
        </p:txBody>
      </p:sp>
      <p:sp>
        <p:nvSpPr>
          <p:cNvPr id="14" name="Rectangle 13">
            <a:extLst>
              <a:ext uri="{FF2B5EF4-FFF2-40B4-BE49-F238E27FC236}">
                <a16:creationId xmlns:a16="http://schemas.microsoft.com/office/drawing/2014/main" id="{7D5159CA-4E9A-8FE6-3EEF-FD4FA095A2BB}"/>
              </a:ext>
            </a:extLst>
          </p:cNvPr>
          <p:cNvSpPr/>
          <p:nvPr/>
        </p:nvSpPr>
        <p:spPr>
          <a:xfrm>
            <a:off x="5198164" y="2016578"/>
            <a:ext cx="1912181" cy="3773693"/>
          </a:xfrm>
          <a:prstGeom prst="rect">
            <a:avLst/>
          </a:prstGeom>
          <a:solidFill>
            <a:sysClr val="window" lastClr="FFFFFF"/>
          </a:solidFill>
          <a:ln w="6350" cap="flat" cmpd="sng" algn="ctr">
            <a:solidFill>
              <a:srgbClr val="0091DA"/>
            </a:solidFill>
            <a:prstDash val="solid"/>
          </a:ln>
          <a:effectLst/>
        </p:spPr>
        <p:txBody>
          <a:bodyPr lIns="84406" tIns="1941342" rIns="84406" rtlCol="0" anchor="t"/>
          <a:lstStyle/>
          <a:p>
            <a:pPr marL="4397" algn="ctr"/>
            <a:r>
              <a:rPr lang="en-US" sz="2000" b="1">
                <a:solidFill>
                  <a:srgbClr val="0091DA"/>
                </a:solidFill>
                <a:cs typeface="Arial" panose="020B0604020202020204" pitchFamily="34" charset="0"/>
              </a:rPr>
              <a:t>Complete Disaster Readiness Assessment</a:t>
            </a:r>
          </a:p>
        </p:txBody>
      </p:sp>
      <p:sp>
        <p:nvSpPr>
          <p:cNvPr id="15" name="Pentagon 14">
            <a:extLst>
              <a:ext uri="{FF2B5EF4-FFF2-40B4-BE49-F238E27FC236}">
                <a16:creationId xmlns:a16="http://schemas.microsoft.com/office/drawing/2014/main" id="{2F25347C-B6B3-93AC-E1A8-25D3E8FE4DDA}"/>
              </a:ext>
            </a:extLst>
          </p:cNvPr>
          <p:cNvSpPr/>
          <p:nvPr/>
        </p:nvSpPr>
        <p:spPr>
          <a:xfrm>
            <a:off x="5166022" y="2119526"/>
            <a:ext cx="1397821" cy="294438"/>
          </a:xfrm>
          <a:prstGeom prst="homePlate">
            <a:avLst/>
          </a:prstGeom>
          <a:solidFill>
            <a:srgbClr val="0091DA"/>
          </a:solidFill>
          <a:ln w="25400" cap="flat" cmpd="sng" algn="ctr">
            <a:noFill/>
            <a:prstDash val="solid"/>
          </a:ln>
          <a:effectLst/>
        </p:spPr>
        <p:txBody>
          <a:bodyPr rtlCol="0" anchor="ctr"/>
          <a:lstStyle/>
          <a:p>
            <a:pPr algn="ctr" defTabSz="844083">
              <a:defRPr/>
            </a:pPr>
            <a:r>
              <a:rPr lang="en-US" sz="1846" b="1" kern="0">
                <a:solidFill>
                  <a:sysClr val="window" lastClr="FFFFFF"/>
                </a:solidFill>
                <a:cs typeface="Arial" pitchFamily="34" charset="0"/>
              </a:rPr>
              <a:t>3</a:t>
            </a:r>
          </a:p>
        </p:txBody>
      </p:sp>
      <p:sp>
        <p:nvSpPr>
          <p:cNvPr id="17" name="Rectangle 16">
            <a:extLst>
              <a:ext uri="{FF2B5EF4-FFF2-40B4-BE49-F238E27FC236}">
                <a16:creationId xmlns:a16="http://schemas.microsoft.com/office/drawing/2014/main" id="{F0C1E350-F1CF-B835-1256-FD3AB2931220}"/>
              </a:ext>
            </a:extLst>
          </p:cNvPr>
          <p:cNvSpPr/>
          <p:nvPr/>
        </p:nvSpPr>
        <p:spPr>
          <a:xfrm>
            <a:off x="7171732" y="2016578"/>
            <a:ext cx="1912181" cy="3773693"/>
          </a:xfrm>
          <a:prstGeom prst="rect">
            <a:avLst/>
          </a:prstGeom>
          <a:solidFill>
            <a:sysClr val="window" lastClr="FFFFFF"/>
          </a:solidFill>
          <a:ln w="6350" cap="flat" cmpd="sng" algn="ctr">
            <a:solidFill>
              <a:srgbClr val="483698"/>
            </a:solidFill>
            <a:prstDash val="solid"/>
          </a:ln>
          <a:effectLst/>
        </p:spPr>
        <p:txBody>
          <a:bodyPr lIns="84406" tIns="1941342" rIns="84406" rtlCol="0" anchor="t"/>
          <a:lstStyle/>
          <a:p>
            <a:pPr marL="4397" algn="ctr"/>
            <a:r>
              <a:rPr lang="en-US" sz="2000" b="1">
                <a:solidFill>
                  <a:srgbClr val="483698"/>
                </a:solidFill>
                <a:cs typeface="Arial" panose="020B0604020202020204" pitchFamily="34" charset="0"/>
              </a:rPr>
              <a:t>Create Customized Abatement Plan (based on your options)</a:t>
            </a:r>
          </a:p>
        </p:txBody>
      </p:sp>
      <p:sp>
        <p:nvSpPr>
          <p:cNvPr id="18" name="Pentagon 17">
            <a:extLst>
              <a:ext uri="{FF2B5EF4-FFF2-40B4-BE49-F238E27FC236}">
                <a16:creationId xmlns:a16="http://schemas.microsoft.com/office/drawing/2014/main" id="{814A4920-3EE0-7729-71BA-266602FCDC35}"/>
              </a:ext>
            </a:extLst>
          </p:cNvPr>
          <p:cNvSpPr/>
          <p:nvPr/>
        </p:nvSpPr>
        <p:spPr>
          <a:xfrm>
            <a:off x="7142487" y="2119526"/>
            <a:ext cx="1397821" cy="294438"/>
          </a:xfrm>
          <a:prstGeom prst="homePlate">
            <a:avLst/>
          </a:prstGeom>
          <a:solidFill>
            <a:srgbClr val="483698"/>
          </a:solidFill>
          <a:ln w="25400" cap="flat" cmpd="sng" algn="ctr">
            <a:noFill/>
            <a:prstDash val="solid"/>
          </a:ln>
          <a:effectLst/>
        </p:spPr>
        <p:txBody>
          <a:bodyPr rtlCol="0" anchor="ctr"/>
          <a:lstStyle/>
          <a:p>
            <a:pPr algn="ctr" defTabSz="844083">
              <a:defRPr/>
            </a:pPr>
            <a:r>
              <a:rPr lang="en-US" sz="1846" b="1" kern="0">
                <a:solidFill>
                  <a:sysClr val="window" lastClr="FFFFFF"/>
                </a:solidFill>
                <a:cs typeface="Arial" pitchFamily="34" charset="0"/>
              </a:rPr>
              <a:t>4</a:t>
            </a:r>
          </a:p>
        </p:txBody>
      </p:sp>
      <p:sp>
        <p:nvSpPr>
          <p:cNvPr id="20" name="Rectangle 19">
            <a:extLst>
              <a:ext uri="{FF2B5EF4-FFF2-40B4-BE49-F238E27FC236}">
                <a16:creationId xmlns:a16="http://schemas.microsoft.com/office/drawing/2014/main" id="{26138A86-4184-02A1-42CA-B26D25A8DEC8}"/>
              </a:ext>
            </a:extLst>
          </p:cNvPr>
          <p:cNvSpPr/>
          <p:nvPr/>
        </p:nvSpPr>
        <p:spPr>
          <a:xfrm>
            <a:off x="9152983" y="2019221"/>
            <a:ext cx="1913915" cy="3773693"/>
          </a:xfrm>
          <a:prstGeom prst="rect">
            <a:avLst/>
          </a:prstGeom>
          <a:solidFill>
            <a:sysClr val="window" lastClr="FFFFFF"/>
          </a:solidFill>
          <a:ln w="6350" cap="flat" cmpd="sng" algn="ctr">
            <a:solidFill>
              <a:srgbClr val="470A68"/>
            </a:solidFill>
            <a:prstDash val="solid"/>
          </a:ln>
          <a:effectLst/>
        </p:spPr>
        <p:txBody>
          <a:bodyPr lIns="84406" tIns="1941342" rIns="84406" rtlCol="0" anchor="t"/>
          <a:lstStyle/>
          <a:p>
            <a:pPr marL="4397" algn="ctr"/>
            <a:r>
              <a:rPr lang="en-US" sz="2000" b="1">
                <a:solidFill>
                  <a:srgbClr val="470A68"/>
                </a:solidFill>
                <a:cs typeface="Arial" panose="020B0604020202020204" pitchFamily="34" charset="0"/>
              </a:rPr>
              <a:t>Complete and Submit Post Disaster Questionnaire</a:t>
            </a:r>
          </a:p>
        </p:txBody>
      </p:sp>
      <p:sp>
        <p:nvSpPr>
          <p:cNvPr id="21" name="Pentagon 20">
            <a:extLst>
              <a:ext uri="{FF2B5EF4-FFF2-40B4-BE49-F238E27FC236}">
                <a16:creationId xmlns:a16="http://schemas.microsoft.com/office/drawing/2014/main" id="{F890A4B6-17D0-DADD-B1A2-6432B9B20335}"/>
              </a:ext>
            </a:extLst>
          </p:cNvPr>
          <p:cNvSpPr/>
          <p:nvPr/>
        </p:nvSpPr>
        <p:spPr>
          <a:xfrm>
            <a:off x="9128489" y="2119526"/>
            <a:ext cx="1397821" cy="294438"/>
          </a:xfrm>
          <a:prstGeom prst="homePlate">
            <a:avLst/>
          </a:prstGeom>
          <a:solidFill>
            <a:srgbClr val="470A68"/>
          </a:solidFill>
          <a:ln w="25400" cap="flat" cmpd="sng" algn="ctr">
            <a:noFill/>
            <a:prstDash val="solid"/>
          </a:ln>
          <a:effectLst/>
        </p:spPr>
        <p:txBody>
          <a:bodyPr rtlCol="0" anchor="ctr"/>
          <a:lstStyle/>
          <a:p>
            <a:pPr algn="ctr" defTabSz="844083">
              <a:defRPr/>
            </a:pPr>
            <a:r>
              <a:rPr lang="en-US" sz="1846" b="1" kern="0">
                <a:solidFill>
                  <a:sysClr val="window" lastClr="FFFFFF"/>
                </a:solidFill>
                <a:cs typeface="Arial" pitchFamily="34" charset="0"/>
              </a:rPr>
              <a:t>5</a:t>
            </a:r>
          </a:p>
        </p:txBody>
      </p:sp>
      <p:grpSp>
        <p:nvGrpSpPr>
          <p:cNvPr id="438" name="Group 437">
            <a:extLst>
              <a:ext uri="{FF2B5EF4-FFF2-40B4-BE49-F238E27FC236}">
                <a16:creationId xmlns:a16="http://schemas.microsoft.com/office/drawing/2014/main" id="{FD30B32F-BD69-8F16-1F24-D5E6D2DB961D}"/>
              </a:ext>
            </a:extLst>
          </p:cNvPr>
          <p:cNvGrpSpPr/>
          <p:nvPr/>
        </p:nvGrpSpPr>
        <p:grpSpPr>
          <a:xfrm>
            <a:off x="3502725" y="2594832"/>
            <a:ext cx="1279601" cy="1141859"/>
            <a:chOff x="503700" y="2768118"/>
            <a:chExt cx="1015408" cy="946810"/>
          </a:xfrm>
        </p:grpSpPr>
        <p:sp>
          <p:nvSpPr>
            <p:cNvPr id="368" name="Freeform 23">
              <a:extLst>
                <a:ext uri="{FF2B5EF4-FFF2-40B4-BE49-F238E27FC236}">
                  <a16:creationId xmlns:a16="http://schemas.microsoft.com/office/drawing/2014/main" id="{1CFC8EEE-8A93-24E0-102F-4EE63D14096E}"/>
                </a:ext>
              </a:extLst>
            </p:cNvPr>
            <p:cNvSpPr>
              <a:spLocks/>
            </p:cNvSpPr>
            <p:nvPr/>
          </p:nvSpPr>
          <p:spPr bwMode="auto">
            <a:xfrm>
              <a:off x="503700" y="2768118"/>
              <a:ext cx="1015408" cy="946810"/>
            </a:xfrm>
            <a:custGeom>
              <a:avLst/>
              <a:gdLst>
                <a:gd name="T0" fmla="*/ 332 w 701"/>
                <a:gd name="T1" fmla="*/ 701 h 701"/>
                <a:gd name="T2" fmla="*/ 280 w 701"/>
                <a:gd name="T3" fmla="*/ 694 h 701"/>
                <a:gd name="T4" fmla="*/ 230 w 701"/>
                <a:gd name="T5" fmla="*/ 680 h 701"/>
                <a:gd name="T6" fmla="*/ 184 w 701"/>
                <a:gd name="T7" fmla="*/ 659 h 701"/>
                <a:gd name="T8" fmla="*/ 141 w 701"/>
                <a:gd name="T9" fmla="*/ 631 h 701"/>
                <a:gd name="T10" fmla="*/ 103 w 701"/>
                <a:gd name="T11" fmla="*/ 598 h 701"/>
                <a:gd name="T12" fmla="*/ 69 w 701"/>
                <a:gd name="T13" fmla="*/ 560 h 701"/>
                <a:gd name="T14" fmla="*/ 42 w 701"/>
                <a:gd name="T15" fmla="*/ 518 h 701"/>
                <a:gd name="T16" fmla="*/ 21 w 701"/>
                <a:gd name="T17" fmla="*/ 471 h 701"/>
                <a:gd name="T18" fmla="*/ 8 w 701"/>
                <a:gd name="T19" fmla="*/ 421 h 701"/>
                <a:gd name="T20" fmla="*/ 0 w 701"/>
                <a:gd name="T21" fmla="*/ 369 h 701"/>
                <a:gd name="T22" fmla="*/ 0 w 701"/>
                <a:gd name="T23" fmla="*/ 333 h 701"/>
                <a:gd name="T24" fmla="*/ 8 w 701"/>
                <a:gd name="T25" fmla="*/ 280 h 701"/>
                <a:gd name="T26" fmla="*/ 21 w 701"/>
                <a:gd name="T27" fmla="*/ 231 h 701"/>
                <a:gd name="T28" fmla="*/ 42 w 701"/>
                <a:gd name="T29" fmla="*/ 184 h 701"/>
                <a:gd name="T30" fmla="*/ 69 w 701"/>
                <a:gd name="T31" fmla="*/ 141 h 701"/>
                <a:gd name="T32" fmla="*/ 103 w 701"/>
                <a:gd name="T33" fmla="*/ 102 h 701"/>
                <a:gd name="T34" fmla="*/ 141 w 701"/>
                <a:gd name="T35" fmla="*/ 70 h 701"/>
                <a:gd name="T36" fmla="*/ 184 w 701"/>
                <a:gd name="T37" fmla="*/ 42 h 701"/>
                <a:gd name="T38" fmla="*/ 230 w 701"/>
                <a:gd name="T39" fmla="*/ 21 h 701"/>
                <a:gd name="T40" fmla="*/ 280 w 701"/>
                <a:gd name="T41" fmla="*/ 7 h 701"/>
                <a:gd name="T42" fmla="*/ 332 w 701"/>
                <a:gd name="T43" fmla="*/ 0 h 701"/>
                <a:gd name="T44" fmla="*/ 369 w 701"/>
                <a:gd name="T45" fmla="*/ 0 h 701"/>
                <a:gd name="T46" fmla="*/ 421 w 701"/>
                <a:gd name="T47" fmla="*/ 7 h 701"/>
                <a:gd name="T48" fmla="*/ 472 w 701"/>
                <a:gd name="T49" fmla="*/ 21 h 701"/>
                <a:gd name="T50" fmla="*/ 517 w 701"/>
                <a:gd name="T51" fmla="*/ 42 h 701"/>
                <a:gd name="T52" fmla="*/ 560 w 701"/>
                <a:gd name="T53" fmla="*/ 70 h 701"/>
                <a:gd name="T54" fmla="*/ 599 w 701"/>
                <a:gd name="T55" fmla="*/ 102 h 701"/>
                <a:gd name="T56" fmla="*/ 632 w 701"/>
                <a:gd name="T57" fmla="*/ 141 h 701"/>
                <a:gd name="T58" fmla="*/ 659 w 701"/>
                <a:gd name="T59" fmla="*/ 184 h 701"/>
                <a:gd name="T60" fmla="*/ 680 w 701"/>
                <a:gd name="T61" fmla="*/ 231 h 701"/>
                <a:gd name="T62" fmla="*/ 694 w 701"/>
                <a:gd name="T63" fmla="*/ 280 h 701"/>
                <a:gd name="T64" fmla="*/ 701 w 701"/>
                <a:gd name="T65" fmla="*/ 333 h 701"/>
                <a:gd name="T66" fmla="*/ 701 w 701"/>
                <a:gd name="T67" fmla="*/ 369 h 701"/>
                <a:gd name="T68" fmla="*/ 694 w 701"/>
                <a:gd name="T69" fmla="*/ 421 h 701"/>
                <a:gd name="T70" fmla="*/ 680 w 701"/>
                <a:gd name="T71" fmla="*/ 471 h 701"/>
                <a:gd name="T72" fmla="*/ 659 w 701"/>
                <a:gd name="T73" fmla="*/ 518 h 701"/>
                <a:gd name="T74" fmla="*/ 632 w 701"/>
                <a:gd name="T75" fmla="*/ 560 h 701"/>
                <a:gd name="T76" fmla="*/ 599 w 701"/>
                <a:gd name="T77" fmla="*/ 598 h 701"/>
                <a:gd name="T78" fmla="*/ 560 w 701"/>
                <a:gd name="T79" fmla="*/ 631 h 701"/>
                <a:gd name="T80" fmla="*/ 517 w 701"/>
                <a:gd name="T81" fmla="*/ 659 h 701"/>
                <a:gd name="T82" fmla="*/ 472 w 701"/>
                <a:gd name="T83" fmla="*/ 680 h 701"/>
                <a:gd name="T84" fmla="*/ 421 w 701"/>
                <a:gd name="T85" fmla="*/ 694 h 701"/>
                <a:gd name="T86" fmla="*/ 369 w 701"/>
                <a:gd name="T87" fmla="*/ 701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1">
                  <a:moveTo>
                    <a:pt x="351" y="701"/>
                  </a:moveTo>
                  <a:lnTo>
                    <a:pt x="351" y="701"/>
                  </a:lnTo>
                  <a:lnTo>
                    <a:pt x="332" y="701"/>
                  </a:lnTo>
                  <a:lnTo>
                    <a:pt x="315" y="699"/>
                  </a:lnTo>
                  <a:lnTo>
                    <a:pt x="298" y="697"/>
                  </a:lnTo>
                  <a:lnTo>
                    <a:pt x="280" y="694"/>
                  </a:lnTo>
                  <a:lnTo>
                    <a:pt x="263" y="689"/>
                  </a:lnTo>
                  <a:lnTo>
                    <a:pt x="247" y="686"/>
                  </a:lnTo>
                  <a:lnTo>
                    <a:pt x="230" y="680"/>
                  </a:lnTo>
                  <a:lnTo>
                    <a:pt x="214" y="673"/>
                  </a:lnTo>
                  <a:lnTo>
                    <a:pt x="199" y="666"/>
                  </a:lnTo>
                  <a:lnTo>
                    <a:pt x="184" y="659"/>
                  </a:lnTo>
                  <a:lnTo>
                    <a:pt x="169" y="650"/>
                  </a:lnTo>
                  <a:lnTo>
                    <a:pt x="155" y="641"/>
                  </a:lnTo>
                  <a:lnTo>
                    <a:pt x="141" y="631"/>
                  </a:lnTo>
                  <a:lnTo>
                    <a:pt x="127" y="620"/>
                  </a:lnTo>
                  <a:lnTo>
                    <a:pt x="115" y="611"/>
                  </a:lnTo>
                  <a:lnTo>
                    <a:pt x="103" y="598"/>
                  </a:lnTo>
                  <a:lnTo>
                    <a:pt x="92" y="586"/>
                  </a:lnTo>
                  <a:lnTo>
                    <a:pt x="81" y="573"/>
                  </a:lnTo>
                  <a:lnTo>
                    <a:pt x="69" y="560"/>
                  </a:lnTo>
                  <a:lnTo>
                    <a:pt x="60" y="546"/>
                  </a:lnTo>
                  <a:lnTo>
                    <a:pt x="51" y="533"/>
                  </a:lnTo>
                  <a:lnTo>
                    <a:pt x="42" y="518"/>
                  </a:lnTo>
                  <a:lnTo>
                    <a:pt x="35" y="502"/>
                  </a:lnTo>
                  <a:lnTo>
                    <a:pt x="28" y="487"/>
                  </a:lnTo>
                  <a:lnTo>
                    <a:pt x="21" y="471"/>
                  </a:lnTo>
                  <a:lnTo>
                    <a:pt x="16" y="455"/>
                  </a:lnTo>
                  <a:lnTo>
                    <a:pt x="11" y="438"/>
                  </a:lnTo>
                  <a:lnTo>
                    <a:pt x="8" y="421"/>
                  </a:lnTo>
                  <a:lnTo>
                    <a:pt x="4" y="403"/>
                  </a:lnTo>
                  <a:lnTo>
                    <a:pt x="2" y="386"/>
                  </a:lnTo>
                  <a:lnTo>
                    <a:pt x="0" y="369"/>
                  </a:lnTo>
                  <a:lnTo>
                    <a:pt x="0" y="350"/>
                  </a:lnTo>
                  <a:lnTo>
                    <a:pt x="0" y="350"/>
                  </a:lnTo>
                  <a:lnTo>
                    <a:pt x="0" y="333"/>
                  </a:lnTo>
                  <a:lnTo>
                    <a:pt x="2" y="314"/>
                  </a:lnTo>
                  <a:lnTo>
                    <a:pt x="4" y="297"/>
                  </a:lnTo>
                  <a:lnTo>
                    <a:pt x="8" y="280"/>
                  </a:lnTo>
                  <a:lnTo>
                    <a:pt x="11" y="263"/>
                  </a:lnTo>
                  <a:lnTo>
                    <a:pt x="16" y="247"/>
                  </a:lnTo>
                  <a:lnTo>
                    <a:pt x="21" y="231"/>
                  </a:lnTo>
                  <a:lnTo>
                    <a:pt x="28" y="215"/>
                  </a:lnTo>
                  <a:lnTo>
                    <a:pt x="35" y="198"/>
                  </a:lnTo>
                  <a:lnTo>
                    <a:pt x="42" y="184"/>
                  </a:lnTo>
                  <a:lnTo>
                    <a:pt x="51" y="169"/>
                  </a:lnTo>
                  <a:lnTo>
                    <a:pt x="60" y="154"/>
                  </a:lnTo>
                  <a:lnTo>
                    <a:pt x="69" y="141"/>
                  </a:lnTo>
                  <a:lnTo>
                    <a:pt x="81" y="127"/>
                  </a:lnTo>
                  <a:lnTo>
                    <a:pt x="92" y="115"/>
                  </a:lnTo>
                  <a:lnTo>
                    <a:pt x="103" y="102"/>
                  </a:lnTo>
                  <a:lnTo>
                    <a:pt x="115" y="91"/>
                  </a:lnTo>
                  <a:lnTo>
                    <a:pt x="127" y="80"/>
                  </a:lnTo>
                  <a:lnTo>
                    <a:pt x="141" y="70"/>
                  </a:lnTo>
                  <a:lnTo>
                    <a:pt x="155" y="60"/>
                  </a:lnTo>
                  <a:lnTo>
                    <a:pt x="169" y="50"/>
                  </a:lnTo>
                  <a:lnTo>
                    <a:pt x="184" y="42"/>
                  </a:lnTo>
                  <a:lnTo>
                    <a:pt x="199" y="34"/>
                  </a:lnTo>
                  <a:lnTo>
                    <a:pt x="214" y="27"/>
                  </a:lnTo>
                  <a:lnTo>
                    <a:pt x="230" y="21"/>
                  </a:lnTo>
                  <a:lnTo>
                    <a:pt x="247" y="16"/>
                  </a:lnTo>
                  <a:lnTo>
                    <a:pt x="263" y="11"/>
                  </a:lnTo>
                  <a:lnTo>
                    <a:pt x="280" y="7"/>
                  </a:lnTo>
                  <a:lnTo>
                    <a:pt x="298" y="4"/>
                  </a:lnTo>
                  <a:lnTo>
                    <a:pt x="315" y="2"/>
                  </a:lnTo>
                  <a:lnTo>
                    <a:pt x="332" y="0"/>
                  </a:lnTo>
                  <a:lnTo>
                    <a:pt x="351" y="0"/>
                  </a:lnTo>
                  <a:lnTo>
                    <a:pt x="351" y="0"/>
                  </a:lnTo>
                  <a:lnTo>
                    <a:pt x="369" y="0"/>
                  </a:lnTo>
                  <a:lnTo>
                    <a:pt x="386" y="2"/>
                  </a:lnTo>
                  <a:lnTo>
                    <a:pt x="404" y="4"/>
                  </a:lnTo>
                  <a:lnTo>
                    <a:pt x="421" y="7"/>
                  </a:lnTo>
                  <a:lnTo>
                    <a:pt x="438" y="11"/>
                  </a:lnTo>
                  <a:lnTo>
                    <a:pt x="456" y="16"/>
                  </a:lnTo>
                  <a:lnTo>
                    <a:pt x="472" y="21"/>
                  </a:lnTo>
                  <a:lnTo>
                    <a:pt x="488" y="27"/>
                  </a:lnTo>
                  <a:lnTo>
                    <a:pt x="502" y="34"/>
                  </a:lnTo>
                  <a:lnTo>
                    <a:pt x="517" y="42"/>
                  </a:lnTo>
                  <a:lnTo>
                    <a:pt x="532" y="50"/>
                  </a:lnTo>
                  <a:lnTo>
                    <a:pt x="547" y="60"/>
                  </a:lnTo>
                  <a:lnTo>
                    <a:pt x="560" y="70"/>
                  </a:lnTo>
                  <a:lnTo>
                    <a:pt x="574" y="80"/>
                  </a:lnTo>
                  <a:lnTo>
                    <a:pt x="586" y="91"/>
                  </a:lnTo>
                  <a:lnTo>
                    <a:pt x="599" y="102"/>
                  </a:lnTo>
                  <a:lnTo>
                    <a:pt x="610" y="115"/>
                  </a:lnTo>
                  <a:lnTo>
                    <a:pt x="621" y="127"/>
                  </a:lnTo>
                  <a:lnTo>
                    <a:pt x="632" y="141"/>
                  </a:lnTo>
                  <a:lnTo>
                    <a:pt x="642" y="154"/>
                  </a:lnTo>
                  <a:lnTo>
                    <a:pt x="650" y="169"/>
                  </a:lnTo>
                  <a:lnTo>
                    <a:pt x="659" y="184"/>
                  </a:lnTo>
                  <a:lnTo>
                    <a:pt x="666" y="198"/>
                  </a:lnTo>
                  <a:lnTo>
                    <a:pt x="674" y="215"/>
                  </a:lnTo>
                  <a:lnTo>
                    <a:pt x="680" y="231"/>
                  </a:lnTo>
                  <a:lnTo>
                    <a:pt x="685" y="247"/>
                  </a:lnTo>
                  <a:lnTo>
                    <a:pt x="690" y="263"/>
                  </a:lnTo>
                  <a:lnTo>
                    <a:pt x="694" y="280"/>
                  </a:lnTo>
                  <a:lnTo>
                    <a:pt x="697" y="297"/>
                  </a:lnTo>
                  <a:lnTo>
                    <a:pt x="700" y="314"/>
                  </a:lnTo>
                  <a:lnTo>
                    <a:pt x="701" y="333"/>
                  </a:lnTo>
                  <a:lnTo>
                    <a:pt x="701" y="350"/>
                  </a:lnTo>
                  <a:lnTo>
                    <a:pt x="701" y="350"/>
                  </a:lnTo>
                  <a:lnTo>
                    <a:pt x="701" y="369"/>
                  </a:lnTo>
                  <a:lnTo>
                    <a:pt x="700" y="386"/>
                  </a:lnTo>
                  <a:lnTo>
                    <a:pt x="697" y="403"/>
                  </a:lnTo>
                  <a:lnTo>
                    <a:pt x="694" y="421"/>
                  </a:lnTo>
                  <a:lnTo>
                    <a:pt x="690" y="438"/>
                  </a:lnTo>
                  <a:lnTo>
                    <a:pt x="685" y="455"/>
                  </a:lnTo>
                  <a:lnTo>
                    <a:pt x="680" y="471"/>
                  </a:lnTo>
                  <a:lnTo>
                    <a:pt x="674" y="487"/>
                  </a:lnTo>
                  <a:lnTo>
                    <a:pt x="666" y="502"/>
                  </a:lnTo>
                  <a:lnTo>
                    <a:pt x="659" y="518"/>
                  </a:lnTo>
                  <a:lnTo>
                    <a:pt x="650" y="533"/>
                  </a:lnTo>
                  <a:lnTo>
                    <a:pt x="642" y="546"/>
                  </a:lnTo>
                  <a:lnTo>
                    <a:pt x="632" y="560"/>
                  </a:lnTo>
                  <a:lnTo>
                    <a:pt x="621" y="573"/>
                  </a:lnTo>
                  <a:lnTo>
                    <a:pt x="610" y="586"/>
                  </a:lnTo>
                  <a:lnTo>
                    <a:pt x="599" y="598"/>
                  </a:lnTo>
                  <a:lnTo>
                    <a:pt x="586" y="611"/>
                  </a:lnTo>
                  <a:lnTo>
                    <a:pt x="574" y="620"/>
                  </a:lnTo>
                  <a:lnTo>
                    <a:pt x="560" y="631"/>
                  </a:lnTo>
                  <a:lnTo>
                    <a:pt x="547" y="641"/>
                  </a:lnTo>
                  <a:lnTo>
                    <a:pt x="532" y="650"/>
                  </a:lnTo>
                  <a:lnTo>
                    <a:pt x="517" y="659"/>
                  </a:lnTo>
                  <a:lnTo>
                    <a:pt x="502" y="666"/>
                  </a:lnTo>
                  <a:lnTo>
                    <a:pt x="488" y="673"/>
                  </a:lnTo>
                  <a:lnTo>
                    <a:pt x="472" y="680"/>
                  </a:lnTo>
                  <a:lnTo>
                    <a:pt x="456" y="686"/>
                  </a:lnTo>
                  <a:lnTo>
                    <a:pt x="438" y="689"/>
                  </a:lnTo>
                  <a:lnTo>
                    <a:pt x="421" y="694"/>
                  </a:lnTo>
                  <a:lnTo>
                    <a:pt x="404" y="697"/>
                  </a:lnTo>
                  <a:lnTo>
                    <a:pt x="386" y="699"/>
                  </a:lnTo>
                  <a:lnTo>
                    <a:pt x="369" y="701"/>
                  </a:lnTo>
                  <a:lnTo>
                    <a:pt x="351" y="701"/>
                  </a:lnTo>
                  <a:lnTo>
                    <a:pt x="351" y="701"/>
                  </a:lnTo>
                  <a:close/>
                </a:path>
              </a:pathLst>
            </a:custGeom>
            <a:solidFill>
              <a:srgbClr val="005EB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0" name="Freeform 325">
              <a:extLst>
                <a:ext uri="{FF2B5EF4-FFF2-40B4-BE49-F238E27FC236}">
                  <a16:creationId xmlns:a16="http://schemas.microsoft.com/office/drawing/2014/main" id="{68EAA97D-F64E-15DA-F2A6-839F06F2152A}"/>
                </a:ext>
              </a:extLst>
            </p:cNvPr>
            <p:cNvSpPr>
              <a:spLocks/>
            </p:cNvSpPr>
            <p:nvPr/>
          </p:nvSpPr>
          <p:spPr bwMode="auto">
            <a:xfrm>
              <a:off x="776020" y="2990977"/>
              <a:ext cx="398342" cy="507847"/>
            </a:xfrm>
            <a:custGeom>
              <a:avLst/>
              <a:gdLst>
                <a:gd name="T0" fmla="*/ 0 w 275"/>
                <a:gd name="T1" fmla="*/ 376 h 376"/>
                <a:gd name="T2" fmla="*/ 0 w 275"/>
                <a:gd name="T3" fmla="*/ 174 h 376"/>
                <a:gd name="T4" fmla="*/ 0 w 275"/>
                <a:gd name="T5" fmla="*/ 73 h 376"/>
                <a:gd name="T6" fmla="*/ 71 w 275"/>
                <a:gd name="T7" fmla="*/ 0 h 376"/>
                <a:gd name="T8" fmla="*/ 275 w 275"/>
                <a:gd name="T9" fmla="*/ 0 h 376"/>
                <a:gd name="T10" fmla="*/ 275 w 275"/>
                <a:gd name="T11" fmla="*/ 75 h 376"/>
                <a:gd name="T12" fmla="*/ 275 w 275"/>
                <a:gd name="T13" fmla="*/ 174 h 376"/>
                <a:gd name="T14" fmla="*/ 275 w 275"/>
                <a:gd name="T15" fmla="*/ 376 h 376"/>
                <a:gd name="T16" fmla="*/ 0 w 275"/>
                <a:gd name="T17" fmla="*/ 37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 h="376">
                  <a:moveTo>
                    <a:pt x="0" y="376"/>
                  </a:moveTo>
                  <a:lnTo>
                    <a:pt x="0" y="174"/>
                  </a:lnTo>
                  <a:lnTo>
                    <a:pt x="0" y="73"/>
                  </a:lnTo>
                  <a:lnTo>
                    <a:pt x="71" y="0"/>
                  </a:lnTo>
                  <a:lnTo>
                    <a:pt x="275" y="0"/>
                  </a:lnTo>
                  <a:lnTo>
                    <a:pt x="275" y="75"/>
                  </a:lnTo>
                  <a:lnTo>
                    <a:pt x="275" y="174"/>
                  </a:lnTo>
                  <a:lnTo>
                    <a:pt x="275" y="376"/>
                  </a:lnTo>
                  <a:lnTo>
                    <a:pt x="0" y="3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1" name="Freeform 326">
              <a:extLst>
                <a:ext uri="{FF2B5EF4-FFF2-40B4-BE49-F238E27FC236}">
                  <a16:creationId xmlns:a16="http://schemas.microsoft.com/office/drawing/2014/main" id="{87C7CDF8-AAE3-3215-7FD2-1A97B7E3D2A2}"/>
                </a:ext>
              </a:extLst>
            </p:cNvPr>
            <p:cNvSpPr>
              <a:spLocks/>
            </p:cNvSpPr>
            <p:nvPr/>
          </p:nvSpPr>
          <p:spPr bwMode="auto">
            <a:xfrm>
              <a:off x="776020" y="2990977"/>
              <a:ext cx="102845" cy="98598"/>
            </a:xfrm>
            <a:custGeom>
              <a:avLst/>
              <a:gdLst>
                <a:gd name="T0" fmla="*/ 71 w 71"/>
                <a:gd name="T1" fmla="*/ 73 h 73"/>
                <a:gd name="T2" fmla="*/ 0 w 71"/>
                <a:gd name="T3" fmla="*/ 73 h 73"/>
                <a:gd name="T4" fmla="*/ 71 w 71"/>
                <a:gd name="T5" fmla="*/ 0 h 73"/>
                <a:gd name="T6" fmla="*/ 71 w 71"/>
                <a:gd name="T7" fmla="*/ 73 h 73"/>
              </a:gdLst>
              <a:ahLst/>
              <a:cxnLst>
                <a:cxn ang="0">
                  <a:pos x="T0" y="T1"/>
                </a:cxn>
                <a:cxn ang="0">
                  <a:pos x="T2" y="T3"/>
                </a:cxn>
                <a:cxn ang="0">
                  <a:pos x="T4" y="T5"/>
                </a:cxn>
                <a:cxn ang="0">
                  <a:pos x="T6" y="T7"/>
                </a:cxn>
              </a:cxnLst>
              <a:rect l="0" t="0" r="r" b="b"/>
              <a:pathLst>
                <a:path w="71" h="73">
                  <a:moveTo>
                    <a:pt x="71" y="73"/>
                  </a:moveTo>
                  <a:lnTo>
                    <a:pt x="0" y="73"/>
                  </a:lnTo>
                  <a:lnTo>
                    <a:pt x="71" y="0"/>
                  </a:lnTo>
                  <a:lnTo>
                    <a:pt x="71" y="73"/>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2" name="Freeform 327">
              <a:extLst>
                <a:ext uri="{FF2B5EF4-FFF2-40B4-BE49-F238E27FC236}">
                  <a16:creationId xmlns:a16="http://schemas.microsoft.com/office/drawing/2014/main" id="{FA31AB41-0E90-AAA3-F534-0DFC3AB46707}"/>
                </a:ext>
              </a:extLst>
            </p:cNvPr>
            <p:cNvSpPr>
              <a:spLocks/>
            </p:cNvSpPr>
            <p:nvPr/>
          </p:nvSpPr>
          <p:spPr bwMode="auto">
            <a:xfrm>
              <a:off x="776020" y="3089574"/>
              <a:ext cx="102845" cy="98598"/>
            </a:xfrm>
            <a:custGeom>
              <a:avLst/>
              <a:gdLst>
                <a:gd name="T0" fmla="*/ 0 w 71"/>
                <a:gd name="T1" fmla="*/ 0 h 73"/>
                <a:gd name="T2" fmla="*/ 71 w 71"/>
                <a:gd name="T3" fmla="*/ 0 h 73"/>
                <a:gd name="T4" fmla="*/ 0 w 71"/>
                <a:gd name="T5" fmla="*/ 73 h 73"/>
                <a:gd name="T6" fmla="*/ 0 w 71"/>
                <a:gd name="T7" fmla="*/ 0 h 73"/>
              </a:gdLst>
              <a:ahLst/>
              <a:cxnLst>
                <a:cxn ang="0">
                  <a:pos x="T0" y="T1"/>
                </a:cxn>
                <a:cxn ang="0">
                  <a:pos x="T2" y="T3"/>
                </a:cxn>
                <a:cxn ang="0">
                  <a:pos x="T4" y="T5"/>
                </a:cxn>
                <a:cxn ang="0">
                  <a:pos x="T6" y="T7"/>
                </a:cxn>
              </a:cxnLst>
              <a:rect l="0" t="0" r="r" b="b"/>
              <a:pathLst>
                <a:path w="71" h="73">
                  <a:moveTo>
                    <a:pt x="0" y="0"/>
                  </a:moveTo>
                  <a:lnTo>
                    <a:pt x="71" y="0"/>
                  </a:lnTo>
                  <a:lnTo>
                    <a:pt x="0" y="73"/>
                  </a:lnTo>
                  <a:lnTo>
                    <a:pt x="0" y="0"/>
                  </a:lnTo>
                  <a:close/>
                </a:path>
              </a:pathLst>
            </a:custGeom>
            <a:solidFill>
              <a:srgbClr val="D1E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3" name="Freeform 328">
              <a:extLst>
                <a:ext uri="{FF2B5EF4-FFF2-40B4-BE49-F238E27FC236}">
                  <a16:creationId xmlns:a16="http://schemas.microsoft.com/office/drawing/2014/main" id="{6086F631-692B-9E16-E0DE-E23BAE157A3F}"/>
                </a:ext>
              </a:extLst>
            </p:cNvPr>
            <p:cNvSpPr>
              <a:spLocks/>
            </p:cNvSpPr>
            <p:nvPr/>
          </p:nvSpPr>
          <p:spPr bwMode="auto">
            <a:xfrm>
              <a:off x="897696" y="3296225"/>
              <a:ext cx="163682" cy="155326"/>
            </a:xfrm>
            <a:custGeom>
              <a:avLst/>
              <a:gdLst>
                <a:gd name="T0" fmla="*/ 18 w 113"/>
                <a:gd name="T1" fmla="*/ 43 h 115"/>
                <a:gd name="T2" fmla="*/ 18 w 113"/>
                <a:gd name="T3" fmla="*/ 43 h 115"/>
                <a:gd name="T4" fmla="*/ 21 w 113"/>
                <a:gd name="T5" fmla="*/ 49 h 115"/>
                <a:gd name="T6" fmla="*/ 22 w 113"/>
                <a:gd name="T7" fmla="*/ 55 h 115"/>
                <a:gd name="T8" fmla="*/ 21 w 113"/>
                <a:gd name="T9" fmla="*/ 63 h 115"/>
                <a:gd name="T10" fmla="*/ 19 w 113"/>
                <a:gd name="T11" fmla="*/ 71 h 115"/>
                <a:gd name="T12" fmla="*/ 16 w 113"/>
                <a:gd name="T13" fmla="*/ 80 h 115"/>
                <a:gd name="T14" fmla="*/ 12 w 113"/>
                <a:gd name="T15" fmla="*/ 89 h 115"/>
                <a:gd name="T16" fmla="*/ 6 w 113"/>
                <a:gd name="T17" fmla="*/ 97 h 115"/>
                <a:gd name="T18" fmla="*/ 0 w 113"/>
                <a:gd name="T19" fmla="*/ 106 h 115"/>
                <a:gd name="T20" fmla="*/ 2 w 113"/>
                <a:gd name="T21" fmla="*/ 108 h 115"/>
                <a:gd name="T22" fmla="*/ 2 w 113"/>
                <a:gd name="T23" fmla="*/ 108 h 115"/>
                <a:gd name="T24" fmla="*/ 48 w 113"/>
                <a:gd name="T25" fmla="*/ 63 h 115"/>
                <a:gd name="T26" fmla="*/ 48 w 113"/>
                <a:gd name="T27" fmla="*/ 63 h 115"/>
                <a:gd name="T28" fmla="*/ 47 w 113"/>
                <a:gd name="T29" fmla="*/ 59 h 115"/>
                <a:gd name="T30" fmla="*/ 49 w 113"/>
                <a:gd name="T31" fmla="*/ 55 h 115"/>
                <a:gd name="T32" fmla="*/ 49 w 113"/>
                <a:gd name="T33" fmla="*/ 55 h 115"/>
                <a:gd name="T34" fmla="*/ 50 w 113"/>
                <a:gd name="T35" fmla="*/ 54 h 115"/>
                <a:gd name="T36" fmla="*/ 53 w 113"/>
                <a:gd name="T37" fmla="*/ 54 h 115"/>
                <a:gd name="T38" fmla="*/ 55 w 113"/>
                <a:gd name="T39" fmla="*/ 54 h 115"/>
                <a:gd name="T40" fmla="*/ 58 w 113"/>
                <a:gd name="T41" fmla="*/ 55 h 115"/>
                <a:gd name="T42" fmla="*/ 58 w 113"/>
                <a:gd name="T43" fmla="*/ 55 h 115"/>
                <a:gd name="T44" fmla="*/ 59 w 113"/>
                <a:gd name="T45" fmla="*/ 58 h 115"/>
                <a:gd name="T46" fmla="*/ 59 w 113"/>
                <a:gd name="T47" fmla="*/ 60 h 115"/>
                <a:gd name="T48" fmla="*/ 59 w 113"/>
                <a:gd name="T49" fmla="*/ 63 h 115"/>
                <a:gd name="T50" fmla="*/ 58 w 113"/>
                <a:gd name="T51" fmla="*/ 64 h 115"/>
                <a:gd name="T52" fmla="*/ 58 w 113"/>
                <a:gd name="T53" fmla="*/ 64 h 115"/>
                <a:gd name="T54" fmla="*/ 54 w 113"/>
                <a:gd name="T55" fmla="*/ 67 h 115"/>
                <a:gd name="T56" fmla="*/ 50 w 113"/>
                <a:gd name="T57" fmla="*/ 65 h 115"/>
                <a:gd name="T58" fmla="*/ 5 w 113"/>
                <a:gd name="T59" fmla="*/ 111 h 115"/>
                <a:gd name="T60" fmla="*/ 5 w 113"/>
                <a:gd name="T61" fmla="*/ 111 h 115"/>
                <a:gd name="T62" fmla="*/ 7 w 113"/>
                <a:gd name="T63" fmla="*/ 115 h 115"/>
                <a:gd name="T64" fmla="*/ 7 w 113"/>
                <a:gd name="T65" fmla="*/ 115 h 115"/>
                <a:gd name="T66" fmla="*/ 16 w 113"/>
                <a:gd name="T67" fmla="*/ 107 h 115"/>
                <a:gd name="T68" fmla="*/ 24 w 113"/>
                <a:gd name="T69" fmla="*/ 102 h 115"/>
                <a:gd name="T70" fmla="*/ 33 w 113"/>
                <a:gd name="T71" fmla="*/ 97 h 115"/>
                <a:gd name="T72" fmla="*/ 42 w 113"/>
                <a:gd name="T73" fmla="*/ 94 h 115"/>
                <a:gd name="T74" fmla="*/ 50 w 113"/>
                <a:gd name="T75" fmla="*/ 92 h 115"/>
                <a:gd name="T76" fmla="*/ 58 w 113"/>
                <a:gd name="T77" fmla="*/ 91 h 115"/>
                <a:gd name="T78" fmla="*/ 65 w 113"/>
                <a:gd name="T79" fmla="*/ 92 h 115"/>
                <a:gd name="T80" fmla="*/ 71 w 113"/>
                <a:gd name="T81" fmla="*/ 95 h 115"/>
                <a:gd name="T82" fmla="*/ 71 w 113"/>
                <a:gd name="T83" fmla="*/ 95 h 115"/>
                <a:gd name="T84" fmla="*/ 80 w 113"/>
                <a:gd name="T85" fmla="*/ 81 h 115"/>
                <a:gd name="T86" fmla="*/ 90 w 113"/>
                <a:gd name="T87" fmla="*/ 67 h 115"/>
                <a:gd name="T88" fmla="*/ 90 w 113"/>
                <a:gd name="T89" fmla="*/ 67 h 115"/>
                <a:gd name="T90" fmla="*/ 102 w 113"/>
                <a:gd name="T91" fmla="*/ 54 h 115"/>
                <a:gd name="T92" fmla="*/ 113 w 113"/>
                <a:gd name="T93" fmla="*/ 43 h 115"/>
                <a:gd name="T94" fmla="*/ 113 w 113"/>
                <a:gd name="T95" fmla="*/ 43 h 115"/>
                <a:gd name="T96" fmla="*/ 102 w 113"/>
                <a:gd name="T97" fmla="*/ 34 h 115"/>
                <a:gd name="T98" fmla="*/ 90 w 113"/>
                <a:gd name="T99" fmla="*/ 23 h 115"/>
                <a:gd name="T100" fmla="*/ 90 w 113"/>
                <a:gd name="T101" fmla="*/ 23 h 115"/>
                <a:gd name="T102" fmla="*/ 80 w 113"/>
                <a:gd name="T103" fmla="*/ 12 h 115"/>
                <a:gd name="T104" fmla="*/ 70 w 113"/>
                <a:gd name="T105" fmla="*/ 0 h 115"/>
                <a:gd name="T106" fmla="*/ 70 w 113"/>
                <a:gd name="T107" fmla="*/ 0 h 115"/>
                <a:gd name="T108" fmla="*/ 59 w 113"/>
                <a:gd name="T109" fmla="*/ 12 h 115"/>
                <a:gd name="T110" fmla="*/ 47 w 113"/>
                <a:gd name="T111" fmla="*/ 23 h 115"/>
                <a:gd name="T112" fmla="*/ 47 w 113"/>
                <a:gd name="T113" fmla="*/ 23 h 115"/>
                <a:gd name="T114" fmla="*/ 33 w 113"/>
                <a:gd name="T115" fmla="*/ 33 h 115"/>
                <a:gd name="T116" fmla="*/ 18 w 113"/>
                <a:gd name="T117" fmla="*/ 43 h 115"/>
                <a:gd name="T118" fmla="*/ 18 w 113"/>
                <a:gd name="T119" fmla="*/ 4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 h="115">
                  <a:moveTo>
                    <a:pt x="18" y="43"/>
                  </a:moveTo>
                  <a:lnTo>
                    <a:pt x="18" y="43"/>
                  </a:lnTo>
                  <a:lnTo>
                    <a:pt x="21" y="49"/>
                  </a:lnTo>
                  <a:lnTo>
                    <a:pt x="22" y="55"/>
                  </a:lnTo>
                  <a:lnTo>
                    <a:pt x="21" y="63"/>
                  </a:lnTo>
                  <a:lnTo>
                    <a:pt x="19" y="71"/>
                  </a:lnTo>
                  <a:lnTo>
                    <a:pt x="16" y="80"/>
                  </a:lnTo>
                  <a:lnTo>
                    <a:pt x="12" y="89"/>
                  </a:lnTo>
                  <a:lnTo>
                    <a:pt x="6" y="97"/>
                  </a:lnTo>
                  <a:lnTo>
                    <a:pt x="0" y="106"/>
                  </a:lnTo>
                  <a:lnTo>
                    <a:pt x="2" y="108"/>
                  </a:lnTo>
                  <a:lnTo>
                    <a:pt x="2" y="108"/>
                  </a:lnTo>
                  <a:lnTo>
                    <a:pt x="48" y="63"/>
                  </a:lnTo>
                  <a:lnTo>
                    <a:pt x="48" y="63"/>
                  </a:lnTo>
                  <a:lnTo>
                    <a:pt x="47" y="59"/>
                  </a:lnTo>
                  <a:lnTo>
                    <a:pt x="49" y="55"/>
                  </a:lnTo>
                  <a:lnTo>
                    <a:pt x="49" y="55"/>
                  </a:lnTo>
                  <a:lnTo>
                    <a:pt x="50" y="54"/>
                  </a:lnTo>
                  <a:lnTo>
                    <a:pt x="53" y="54"/>
                  </a:lnTo>
                  <a:lnTo>
                    <a:pt x="55" y="54"/>
                  </a:lnTo>
                  <a:lnTo>
                    <a:pt x="58" y="55"/>
                  </a:lnTo>
                  <a:lnTo>
                    <a:pt x="58" y="55"/>
                  </a:lnTo>
                  <a:lnTo>
                    <a:pt x="59" y="58"/>
                  </a:lnTo>
                  <a:lnTo>
                    <a:pt x="59" y="60"/>
                  </a:lnTo>
                  <a:lnTo>
                    <a:pt x="59" y="63"/>
                  </a:lnTo>
                  <a:lnTo>
                    <a:pt x="58" y="64"/>
                  </a:lnTo>
                  <a:lnTo>
                    <a:pt x="58" y="64"/>
                  </a:lnTo>
                  <a:lnTo>
                    <a:pt x="54" y="67"/>
                  </a:lnTo>
                  <a:lnTo>
                    <a:pt x="50" y="65"/>
                  </a:lnTo>
                  <a:lnTo>
                    <a:pt x="5" y="111"/>
                  </a:lnTo>
                  <a:lnTo>
                    <a:pt x="5" y="111"/>
                  </a:lnTo>
                  <a:lnTo>
                    <a:pt x="7" y="115"/>
                  </a:lnTo>
                  <a:lnTo>
                    <a:pt x="7" y="115"/>
                  </a:lnTo>
                  <a:lnTo>
                    <a:pt x="16" y="107"/>
                  </a:lnTo>
                  <a:lnTo>
                    <a:pt x="24" y="102"/>
                  </a:lnTo>
                  <a:lnTo>
                    <a:pt x="33" y="97"/>
                  </a:lnTo>
                  <a:lnTo>
                    <a:pt x="42" y="94"/>
                  </a:lnTo>
                  <a:lnTo>
                    <a:pt x="50" y="92"/>
                  </a:lnTo>
                  <a:lnTo>
                    <a:pt x="58" y="91"/>
                  </a:lnTo>
                  <a:lnTo>
                    <a:pt x="65" y="92"/>
                  </a:lnTo>
                  <a:lnTo>
                    <a:pt x="71" y="95"/>
                  </a:lnTo>
                  <a:lnTo>
                    <a:pt x="71" y="95"/>
                  </a:lnTo>
                  <a:lnTo>
                    <a:pt x="80" y="81"/>
                  </a:lnTo>
                  <a:lnTo>
                    <a:pt x="90" y="67"/>
                  </a:lnTo>
                  <a:lnTo>
                    <a:pt x="90" y="67"/>
                  </a:lnTo>
                  <a:lnTo>
                    <a:pt x="102" y="54"/>
                  </a:lnTo>
                  <a:lnTo>
                    <a:pt x="113" y="43"/>
                  </a:lnTo>
                  <a:lnTo>
                    <a:pt x="113" y="43"/>
                  </a:lnTo>
                  <a:lnTo>
                    <a:pt x="102" y="34"/>
                  </a:lnTo>
                  <a:lnTo>
                    <a:pt x="90" y="23"/>
                  </a:lnTo>
                  <a:lnTo>
                    <a:pt x="90" y="23"/>
                  </a:lnTo>
                  <a:lnTo>
                    <a:pt x="80" y="12"/>
                  </a:lnTo>
                  <a:lnTo>
                    <a:pt x="70" y="0"/>
                  </a:lnTo>
                  <a:lnTo>
                    <a:pt x="70" y="0"/>
                  </a:lnTo>
                  <a:lnTo>
                    <a:pt x="59" y="12"/>
                  </a:lnTo>
                  <a:lnTo>
                    <a:pt x="47" y="23"/>
                  </a:lnTo>
                  <a:lnTo>
                    <a:pt x="47" y="23"/>
                  </a:lnTo>
                  <a:lnTo>
                    <a:pt x="33" y="33"/>
                  </a:lnTo>
                  <a:lnTo>
                    <a:pt x="18" y="43"/>
                  </a:lnTo>
                  <a:lnTo>
                    <a:pt x="18" y="43"/>
                  </a:lnTo>
                  <a:close/>
                </a:path>
              </a:pathLst>
            </a:custGeom>
            <a:solidFill>
              <a:srgbClr val="0E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4" name="Freeform 329">
              <a:extLst>
                <a:ext uri="{FF2B5EF4-FFF2-40B4-BE49-F238E27FC236}">
                  <a16:creationId xmlns:a16="http://schemas.microsoft.com/office/drawing/2014/main" id="{DB0329E2-41D0-3D1C-3B79-F87226C94258}"/>
                </a:ext>
              </a:extLst>
            </p:cNvPr>
            <p:cNvSpPr>
              <a:spLocks/>
            </p:cNvSpPr>
            <p:nvPr/>
          </p:nvSpPr>
          <p:spPr bwMode="auto">
            <a:xfrm>
              <a:off x="1000539" y="3131445"/>
              <a:ext cx="237556" cy="222859"/>
            </a:xfrm>
            <a:custGeom>
              <a:avLst/>
              <a:gdLst>
                <a:gd name="T0" fmla="*/ 156 w 164"/>
                <a:gd name="T1" fmla="*/ 45 h 165"/>
                <a:gd name="T2" fmla="*/ 156 w 164"/>
                <a:gd name="T3" fmla="*/ 45 h 165"/>
                <a:gd name="T4" fmla="*/ 159 w 164"/>
                <a:gd name="T5" fmla="*/ 41 h 165"/>
                <a:gd name="T6" fmla="*/ 162 w 164"/>
                <a:gd name="T7" fmla="*/ 36 h 165"/>
                <a:gd name="T8" fmla="*/ 164 w 164"/>
                <a:gd name="T9" fmla="*/ 31 h 165"/>
                <a:gd name="T10" fmla="*/ 164 w 164"/>
                <a:gd name="T11" fmla="*/ 24 h 165"/>
                <a:gd name="T12" fmla="*/ 164 w 164"/>
                <a:gd name="T13" fmla="*/ 20 h 165"/>
                <a:gd name="T14" fmla="*/ 162 w 164"/>
                <a:gd name="T15" fmla="*/ 16 h 165"/>
                <a:gd name="T16" fmla="*/ 159 w 164"/>
                <a:gd name="T17" fmla="*/ 11 h 165"/>
                <a:gd name="T18" fmla="*/ 157 w 164"/>
                <a:gd name="T19" fmla="*/ 7 h 165"/>
                <a:gd name="T20" fmla="*/ 153 w 164"/>
                <a:gd name="T21" fmla="*/ 5 h 165"/>
                <a:gd name="T22" fmla="*/ 148 w 164"/>
                <a:gd name="T23" fmla="*/ 2 h 165"/>
                <a:gd name="T24" fmla="*/ 145 w 164"/>
                <a:gd name="T25" fmla="*/ 1 h 165"/>
                <a:gd name="T26" fmla="*/ 140 w 164"/>
                <a:gd name="T27" fmla="*/ 0 h 165"/>
                <a:gd name="T28" fmla="*/ 135 w 164"/>
                <a:gd name="T29" fmla="*/ 0 h 165"/>
                <a:gd name="T30" fmla="*/ 129 w 164"/>
                <a:gd name="T31" fmla="*/ 2 h 165"/>
                <a:gd name="T32" fmla="*/ 124 w 164"/>
                <a:gd name="T33" fmla="*/ 5 h 165"/>
                <a:gd name="T34" fmla="*/ 119 w 164"/>
                <a:gd name="T35" fmla="*/ 8 h 165"/>
                <a:gd name="T36" fmla="*/ 119 w 164"/>
                <a:gd name="T37" fmla="*/ 8 h 165"/>
                <a:gd name="T38" fmla="*/ 0 w 164"/>
                <a:gd name="T39" fmla="*/ 123 h 165"/>
                <a:gd name="T40" fmla="*/ 0 w 164"/>
                <a:gd name="T41" fmla="*/ 123 h 165"/>
                <a:gd name="T42" fmla="*/ 42 w 164"/>
                <a:gd name="T43" fmla="*/ 165 h 165"/>
                <a:gd name="T44" fmla="*/ 42 w 164"/>
                <a:gd name="T45" fmla="*/ 165 h 165"/>
                <a:gd name="T46" fmla="*/ 156 w 164"/>
                <a:gd name="T47" fmla="*/ 45 h 165"/>
                <a:gd name="T48" fmla="*/ 156 w 164"/>
                <a:gd name="T49" fmla="*/ 4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4" h="165">
                  <a:moveTo>
                    <a:pt x="156" y="45"/>
                  </a:moveTo>
                  <a:lnTo>
                    <a:pt x="156" y="45"/>
                  </a:lnTo>
                  <a:lnTo>
                    <a:pt x="159" y="41"/>
                  </a:lnTo>
                  <a:lnTo>
                    <a:pt x="162" y="36"/>
                  </a:lnTo>
                  <a:lnTo>
                    <a:pt x="164" y="31"/>
                  </a:lnTo>
                  <a:lnTo>
                    <a:pt x="164" y="24"/>
                  </a:lnTo>
                  <a:lnTo>
                    <a:pt x="164" y="20"/>
                  </a:lnTo>
                  <a:lnTo>
                    <a:pt x="162" y="16"/>
                  </a:lnTo>
                  <a:lnTo>
                    <a:pt x="159" y="11"/>
                  </a:lnTo>
                  <a:lnTo>
                    <a:pt x="157" y="7"/>
                  </a:lnTo>
                  <a:lnTo>
                    <a:pt x="153" y="5"/>
                  </a:lnTo>
                  <a:lnTo>
                    <a:pt x="148" y="2"/>
                  </a:lnTo>
                  <a:lnTo>
                    <a:pt x="145" y="1"/>
                  </a:lnTo>
                  <a:lnTo>
                    <a:pt x="140" y="0"/>
                  </a:lnTo>
                  <a:lnTo>
                    <a:pt x="135" y="0"/>
                  </a:lnTo>
                  <a:lnTo>
                    <a:pt x="129" y="2"/>
                  </a:lnTo>
                  <a:lnTo>
                    <a:pt x="124" y="5"/>
                  </a:lnTo>
                  <a:lnTo>
                    <a:pt x="119" y="8"/>
                  </a:lnTo>
                  <a:lnTo>
                    <a:pt x="119" y="8"/>
                  </a:lnTo>
                  <a:lnTo>
                    <a:pt x="0" y="123"/>
                  </a:lnTo>
                  <a:lnTo>
                    <a:pt x="0" y="123"/>
                  </a:lnTo>
                  <a:lnTo>
                    <a:pt x="42" y="165"/>
                  </a:lnTo>
                  <a:lnTo>
                    <a:pt x="42" y="165"/>
                  </a:lnTo>
                  <a:lnTo>
                    <a:pt x="156" y="45"/>
                  </a:lnTo>
                  <a:lnTo>
                    <a:pt x="156" y="45"/>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5" name="Freeform 330">
              <a:extLst>
                <a:ext uri="{FF2B5EF4-FFF2-40B4-BE49-F238E27FC236}">
                  <a16:creationId xmlns:a16="http://schemas.microsoft.com/office/drawing/2014/main" id="{CD3EEAC0-3B59-86FD-5244-16D778DB5BA9}"/>
                </a:ext>
              </a:extLst>
            </p:cNvPr>
            <p:cNvSpPr>
              <a:spLocks/>
            </p:cNvSpPr>
            <p:nvPr/>
          </p:nvSpPr>
          <p:spPr bwMode="auto">
            <a:xfrm>
              <a:off x="990400" y="3296225"/>
              <a:ext cx="70978" cy="66183"/>
            </a:xfrm>
            <a:custGeom>
              <a:avLst/>
              <a:gdLst>
                <a:gd name="T0" fmla="*/ 49 w 49"/>
                <a:gd name="T1" fmla="*/ 43 h 49"/>
                <a:gd name="T2" fmla="*/ 6 w 49"/>
                <a:gd name="T3" fmla="*/ 0 h 49"/>
                <a:gd name="T4" fmla="*/ 0 w 49"/>
                <a:gd name="T5" fmla="*/ 6 h 49"/>
                <a:gd name="T6" fmla="*/ 43 w 49"/>
                <a:gd name="T7" fmla="*/ 49 h 49"/>
                <a:gd name="T8" fmla="*/ 49 w 49"/>
                <a:gd name="T9" fmla="*/ 43 h 49"/>
              </a:gdLst>
              <a:ahLst/>
              <a:cxnLst>
                <a:cxn ang="0">
                  <a:pos x="T0" y="T1"/>
                </a:cxn>
                <a:cxn ang="0">
                  <a:pos x="T2" y="T3"/>
                </a:cxn>
                <a:cxn ang="0">
                  <a:pos x="T4" y="T5"/>
                </a:cxn>
                <a:cxn ang="0">
                  <a:pos x="T6" y="T7"/>
                </a:cxn>
                <a:cxn ang="0">
                  <a:pos x="T8" y="T9"/>
                </a:cxn>
              </a:cxnLst>
              <a:rect l="0" t="0" r="r" b="b"/>
              <a:pathLst>
                <a:path w="49" h="49">
                  <a:moveTo>
                    <a:pt x="49" y="43"/>
                  </a:moveTo>
                  <a:lnTo>
                    <a:pt x="6" y="0"/>
                  </a:lnTo>
                  <a:lnTo>
                    <a:pt x="0" y="6"/>
                  </a:lnTo>
                  <a:lnTo>
                    <a:pt x="43" y="49"/>
                  </a:lnTo>
                  <a:lnTo>
                    <a:pt x="49" y="43"/>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6" name="Freeform 331">
              <a:extLst>
                <a:ext uri="{FF2B5EF4-FFF2-40B4-BE49-F238E27FC236}">
                  <a16:creationId xmlns:a16="http://schemas.microsoft.com/office/drawing/2014/main" id="{4BEEFC0A-1F42-65F3-2948-D33224628389}"/>
                </a:ext>
              </a:extLst>
            </p:cNvPr>
            <p:cNvSpPr>
              <a:spLocks/>
            </p:cNvSpPr>
            <p:nvPr/>
          </p:nvSpPr>
          <p:spPr bwMode="auto">
            <a:xfrm>
              <a:off x="1083105" y="3067964"/>
              <a:ext cx="224520" cy="209352"/>
            </a:xfrm>
            <a:custGeom>
              <a:avLst/>
              <a:gdLst>
                <a:gd name="T0" fmla="*/ 52 w 155"/>
                <a:gd name="T1" fmla="*/ 155 h 155"/>
                <a:gd name="T2" fmla="*/ 148 w 155"/>
                <a:gd name="T3" fmla="*/ 59 h 155"/>
                <a:gd name="T4" fmla="*/ 148 w 155"/>
                <a:gd name="T5" fmla="*/ 59 h 155"/>
                <a:gd name="T6" fmla="*/ 150 w 155"/>
                <a:gd name="T7" fmla="*/ 55 h 155"/>
                <a:gd name="T8" fmla="*/ 153 w 155"/>
                <a:gd name="T9" fmla="*/ 50 h 155"/>
                <a:gd name="T10" fmla="*/ 154 w 155"/>
                <a:gd name="T11" fmla="*/ 46 h 155"/>
                <a:gd name="T12" fmla="*/ 155 w 155"/>
                <a:gd name="T13" fmla="*/ 41 h 155"/>
                <a:gd name="T14" fmla="*/ 154 w 155"/>
                <a:gd name="T15" fmla="*/ 36 h 155"/>
                <a:gd name="T16" fmla="*/ 153 w 155"/>
                <a:gd name="T17" fmla="*/ 31 h 155"/>
                <a:gd name="T18" fmla="*/ 150 w 155"/>
                <a:gd name="T19" fmla="*/ 26 h 155"/>
                <a:gd name="T20" fmla="*/ 147 w 155"/>
                <a:gd name="T21" fmla="*/ 21 h 155"/>
                <a:gd name="T22" fmla="*/ 133 w 155"/>
                <a:gd name="T23" fmla="*/ 9 h 155"/>
                <a:gd name="T24" fmla="*/ 133 w 155"/>
                <a:gd name="T25" fmla="*/ 9 h 155"/>
                <a:gd name="T26" fmla="*/ 130 w 155"/>
                <a:gd name="T27" fmla="*/ 5 h 155"/>
                <a:gd name="T28" fmla="*/ 125 w 155"/>
                <a:gd name="T29" fmla="*/ 2 h 155"/>
                <a:gd name="T30" fmla="*/ 120 w 155"/>
                <a:gd name="T31" fmla="*/ 1 h 155"/>
                <a:gd name="T32" fmla="*/ 115 w 155"/>
                <a:gd name="T33" fmla="*/ 0 h 155"/>
                <a:gd name="T34" fmla="*/ 110 w 155"/>
                <a:gd name="T35" fmla="*/ 1 h 155"/>
                <a:gd name="T36" fmla="*/ 105 w 155"/>
                <a:gd name="T37" fmla="*/ 2 h 155"/>
                <a:gd name="T38" fmla="*/ 100 w 155"/>
                <a:gd name="T39" fmla="*/ 5 h 155"/>
                <a:gd name="T40" fmla="*/ 96 w 155"/>
                <a:gd name="T41" fmla="*/ 7 h 155"/>
                <a:gd name="T42" fmla="*/ 0 w 155"/>
                <a:gd name="T43" fmla="*/ 104 h 155"/>
                <a:gd name="T44" fmla="*/ 52 w 155"/>
                <a:gd name="T45"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5" h="155">
                  <a:moveTo>
                    <a:pt x="52" y="155"/>
                  </a:moveTo>
                  <a:lnTo>
                    <a:pt x="148" y="59"/>
                  </a:lnTo>
                  <a:lnTo>
                    <a:pt x="148" y="59"/>
                  </a:lnTo>
                  <a:lnTo>
                    <a:pt x="150" y="55"/>
                  </a:lnTo>
                  <a:lnTo>
                    <a:pt x="153" y="50"/>
                  </a:lnTo>
                  <a:lnTo>
                    <a:pt x="154" y="46"/>
                  </a:lnTo>
                  <a:lnTo>
                    <a:pt x="155" y="41"/>
                  </a:lnTo>
                  <a:lnTo>
                    <a:pt x="154" y="36"/>
                  </a:lnTo>
                  <a:lnTo>
                    <a:pt x="153" y="31"/>
                  </a:lnTo>
                  <a:lnTo>
                    <a:pt x="150" y="26"/>
                  </a:lnTo>
                  <a:lnTo>
                    <a:pt x="147" y="21"/>
                  </a:lnTo>
                  <a:lnTo>
                    <a:pt x="133" y="9"/>
                  </a:lnTo>
                  <a:lnTo>
                    <a:pt x="133" y="9"/>
                  </a:lnTo>
                  <a:lnTo>
                    <a:pt x="130" y="5"/>
                  </a:lnTo>
                  <a:lnTo>
                    <a:pt x="125" y="2"/>
                  </a:lnTo>
                  <a:lnTo>
                    <a:pt x="120" y="1"/>
                  </a:lnTo>
                  <a:lnTo>
                    <a:pt x="115" y="0"/>
                  </a:lnTo>
                  <a:lnTo>
                    <a:pt x="110" y="1"/>
                  </a:lnTo>
                  <a:lnTo>
                    <a:pt x="105" y="2"/>
                  </a:lnTo>
                  <a:lnTo>
                    <a:pt x="100" y="5"/>
                  </a:lnTo>
                  <a:lnTo>
                    <a:pt x="96" y="7"/>
                  </a:lnTo>
                  <a:lnTo>
                    <a:pt x="0" y="104"/>
                  </a:lnTo>
                  <a:lnTo>
                    <a:pt x="52" y="155"/>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7" name="Freeform 332">
              <a:extLst>
                <a:ext uri="{FF2B5EF4-FFF2-40B4-BE49-F238E27FC236}">
                  <a16:creationId xmlns:a16="http://schemas.microsoft.com/office/drawing/2014/main" id="{6D0D0B8D-0D91-7CFA-9D23-3AE4785A944A}"/>
                </a:ext>
              </a:extLst>
            </p:cNvPr>
            <p:cNvSpPr>
              <a:spLocks/>
            </p:cNvSpPr>
            <p:nvPr/>
          </p:nvSpPr>
          <p:spPr bwMode="auto">
            <a:xfrm>
              <a:off x="1083105" y="3074717"/>
              <a:ext cx="215829" cy="99949"/>
            </a:xfrm>
            <a:custGeom>
              <a:avLst/>
              <a:gdLst>
                <a:gd name="T0" fmla="*/ 148 w 149"/>
                <a:gd name="T1" fmla="*/ 59 h 74"/>
                <a:gd name="T2" fmla="*/ 96 w 149"/>
                <a:gd name="T3" fmla="*/ 7 h 74"/>
                <a:gd name="T4" fmla="*/ 96 w 149"/>
                <a:gd name="T5" fmla="*/ 7 h 74"/>
                <a:gd name="T6" fmla="*/ 93 w 149"/>
                <a:gd name="T7" fmla="*/ 5 h 74"/>
                <a:gd name="T8" fmla="*/ 89 w 149"/>
                <a:gd name="T9" fmla="*/ 2 h 74"/>
                <a:gd name="T10" fmla="*/ 84 w 149"/>
                <a:gd name="T11" fmla="*/ 1 h 74"/>
                <a:gd name="T12" fmla="*/ 80 w 149"/>
                <a:gd name="T13" fmla="*/ 0 h 74"/>
                <a:gd name="T14" fmla="*/ 75 w 149"/>
                <a:gd name="T15" fmla="*/ 0 h 74"/>
                <a:gd name="T16" fmla="*/ 72 w 149"/>
                <a:gd name="T17" fmla="*/ 1 h 74"/>
                <a:gd name="T18" fmla="*/ 68 w 149"/>
                <a:gd name="T19" fmla="*/ 2 h 74"/>
                <a:gd name="T20" fmla="*/ 64 w 149"/>
                <a:gd name="T21" fmla="*/ 6 h 74"/>
                <a:gd name="T22" fmla="*/ 9 w 149"/>
                <a:gd name="T23" fmla="*/ 60 h 74"/>
                <a:gd name="T24" fmla="*/ 9 w 149"/>
                <a:gd name="T25" fmla="*/ 60 h 74"/>
                <a:gd name="T26" fmla="*/ 0 w 149"/>
                <a:gd name="T27" fmla="*/ 70 h 74"/>
                <a:gd name="T28" fmla="*/ 0 w 149"/>
                <a:gd name="T29" fmla="*/ 70 h 74"/>
                <a:gd name="T30" fmla="*/ 6 w 149"/>
                <a:gd name="T31" fmla="*/ 73 h 74"/>
                <a:gd name="T32" fmla="*/ 12 w 149"/>
                <a:gd name="T33" fmla="*/ 74 h 74"/>
                <a:gd name="T34" fmla="*/ 19 w 149"/>
                <a:gd name="T35" fmla="*/ 73 h 74"/>
                <a:gd name="T36" fmla="*/ 22 w 149"/>
                <a:gd name="T37" fmla="*/ 70 h 74"/>
                <a:gd name="T38" fmla="*/ 22 w 149"/>
                <a:gd name="T39" fmla="*/ 70 h 74"/>
                <a:gd name="T40" fmla="*/ 25 w 149"/>
                <a:gd name="T41" fmla="*/ 65 h 74"/>
                <a:gd name="T42" fmla="*/ 25 w 149"/>
                <a:gd name="T43" fmla="*/ 62 h 74"/>
                <a:gd name="T44" fmla="*/ 73 w 149"/>
                <a:gd name="T45" fmla="*/ 13 h 74"/>
                <a:gd name="T46" fmla="*/ 73 w 149"/>
                <a:gd name="T47" fmla="*/ 13 h 74"/>
                <a:gd name="T48" fmla="*/ 76 w 149"/>
                <a:gd name="T49" fmla="*/ 11 h 74"/>
                <a:gd name="T50" fmla="*/ 80 w 149"/>
                <a:gd name="T51" fmla="*/ 11 h 74"/>
                <a:gd name="T52" fmla="*/ 85 w 149"/>
                <a:gd name="T53" fmla="*/ 11 h 74"/>
                <a:gd name="T54" fmla="*/ 90 w 149"/>
                <a:gd name="T55" fmla="*/ 15 h 74"/>
                <a:gd name="T56" fmla="*/ 141 w 149"/>
                <a:gd name="T57" fmla="*/ 66 h 74"/>
                <a:gd name="T58" fmla="*/ 141 w 149"/>
                <a:gd name="T59" fmla="*/ 66 h 74"/>
                <a:gd name="T60" fmla="*/ 143 w 149"/>
                <a:gd name="T61" fmla="*/ 68 h 74"/>
                <a:gd name="T62" fmla="*/ 144 w 149"/>
                <a:gd name="T63" fmla="*/ 68 h 74"/>
                <a:gd name="T64" fmla="*/ 147 w 149"/>
                <a:gd name="T65" fmla="*/ 68 h 74"/>
                <a:gd name="T66" fmla="*/ 148 w 149"/>
                <a:gd name="T67" fmla="*/ 66 h 74"/>
                <a:gd name="T68" fmla="*/ 148 w 149"/>
                <a:gd name="T69" fmla="*/ 66 h 74"/>
                <a:gd name="T70" fmla="*/ 149 w 149"/>
                <a:gd name="T71" fmla="*/ 65 h 74"/>
                <a:gd name="T72" fmla="*/ 149 w 149"/>
                <a:gd name="T73" fmla="*/ 63 h 74"/>
                <a:gd name="T74" fmla="*/ 149 w 149"/>
                <a:gd name="T75" fmla="*/ 60 h 74"/>
                <a:gd name="T76" fmla="*/ 148 w 149"/>
                <a:gd name="T77" fmla="*/ 59 h 74"/>
                <a:gd name="T78" fmla="*/ 148 w 149"/>
                <a:gd name="T79" fmla="*/ 5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9" h="74">
                  <a:moveTo>
                    <a:pt x="148" y="59"/>
                  </a:moveTo>
                  <a:lnTo>
                    <a:pt x="96" y="7"/>
                  </a:lnTo>
                  <a:lnTo>
                    <a:pt x="96" y="7"/>
                  </a:lnTo>
                  <a:lnTo>
                    <a:pt x="93" y="5"/>
                  </a:lnTo>
                  <a:lnTo>
                    <a:pt x="89" y="2"/>
                  </a:lnTo>
                  <a:lnTo>
                    <a:pt x="84" y="1"/>
                  </a:lnTo>
                  <a:lnTo>
                    <a:pt x="80" y="0"/>
                  </a:lnTo>
                  <a:lnTo>
                    <a:pt x="75" y="0"/>
                  </a:lnTo>
                  <a:lnTo>
                    <a:pt x="72" y="1"/>
                  </a:lnTo>
                  <a:lnTo>
                    <a:pt x="68" y="2"/>
                  </a:lnTo>
                  <a:lnTo>
                    <a:pt x="64" y="6"/>
                  </a:lnTo>
                  <a:lnTo>
                    <a:pt x="9" y="60"/>
                  </a:lnTo>
                  <a:lnTo>
                    <a:pt x="9" y="60"/>
                  </a:lnTo>
                  <a:lnTo>
                    <a:pt x="0" y="70"/>
                  </a:lnTo>
                  <a:lnTo>
                    <a:pt x="0" y="70"/>
                  </a:lnTo>
                  <a:lnTo>
                    <a:pt x="6" y="73"/>
                  </a:lnTo>
                  <a:lnTo>
                    <a:pt x="12" y="74"/>
                  </a:lnTo>
                  <a:lnTo>
                    <a:pt x="19" y="73"/>
                  </a:lnTo>
                  <a:lnTo>
                    <a:pt x="22" y="70"/>
                  </a:lnTo>
                  <a:lnTo>
                    <a:pt x="22" y="70"/>
                  </a:lnTo>
                  <a:lnTo>
                    <a:pt x="25" y="65"/>
                  </a:lnTo>
                  <a:lnTo>
                    <a:pt x="25" y="62"/>
                  </a:lnTo>
                  <a:lnTo>
                    <a:pt x="73" y="13"/>
                  </a:lnTo>
                  <a:lnTo>
                    <a:pt x="73" y="13"/>
                  </a:lnTo>
                  <a:lnTo>
                    <a:pt x="76" y="11"/>
                  </a:lnTo>
                  <a:lnTo>
                    <a:pt x="80" y="11"/>
                  </a:lnTo>
                  <a:lnTo>
                    <a:pt x="85" y="11"/>
                  </a:lnTo>
                  <a:lnTo>
                    <a:pt x="90" y="15"/>
                  </a:lnTo>
                  <a:lnTo>
                    <a:pt x="141" y="66"/>
                  </a:lnTo>
                  <a:lnTo>
                    <a:pt x="141" y="66"/>
                  </a:lnTo>
                  <a:lnTo>
                    <a:pt x="143" y="68"/>
                  </a:lnTo>
                  <a:lnTo>
                    <a:pt x="144" y="68"/>
                  </a:lnTo>
                  <a:lnTo>
                    <a:pt x="147" y="68"/>
                  </a:lnTo>
                  <a:lnTo>
                    <a:pt x="148" y="66"/>
                  </a:lnTo>
                  <a:lnTo>
                    <a:pt x="148" y="66"/>
                  </a:lnTo>
                  <a:lnTo>
                    <a:pt x="149" y="65"/>
                  </a:lnTo>
                  <a:lnTo>
                    <a:pt x="149" y="63"/>
                  </a:lnTo>
                  <a:lnTo>
                    <a:pt x="149" y="60"/>
                  </a:lnTo>
                  <a:lnTo>
                    <a:pt x="148" y="59"/>
                  </a:lnTo>
                  <a:lnTo>
                    <a:pt x="148" y="59"/>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grpSp>
        <p:nvGrpSpPr>
          <p:cNvPr id="463" name="Group 462">
            <a:extLst>
              <a:ext uri="{FF2B5EF4-FFF2-40B4-BE49-F238E27FC236}">
                <a16:creationId xmlns:a16="http://schemas.microsoft.com/office/drawing/2014/main" id="{CE4340AC-6735-38E8-9631-5234748CF3B5}"/>
              </a:ext>
            </a:extLst>
          </p:cNvPr>
          <p:cNvGrpSpPr/>
          <p:nvPr/>
        </p:nvGrpSpPr>
        <p:grpSpPr>
          <a:xfrm>
            <a:off x="5567487" y="2635426"/>
            <a:ext cx="1264209" cy="1139881"/>
            <a:chOff x="5552619" y="2943755"/>
            <a:chExt cx="1003177" cy="955950"/>
          </a:xfrm>
        </p:grpSpPr>
        <p:grpSp>
          <p:nvGrpSpPr>
            <p:cNvPr id="439" name="Group 438">
              <a:extLst>
                <a:ext uri="{FF2B5EF4-FFF2-40B4-BE49-F238E27FC236}">
                  <a16:creationId xmlns:a16="http://schemas.microsoft.com/office/drawing/2014/main" id="{FFAC5487-F2F3-E522-3C12-CA8CA9935E41}"/>
                </a:ext>
              </a:extLst>
            </p:cNvPr>
            <p:cNvGrpSpPr/>
            <p:nvPr/>
          </p:nvGrpSpPr>
          <p:grpSpPr>
            <a:xfrm>
              <a:off x="5552619" y="2943755"/>
              <a:ext cx="1003177" cy="955950"/>
              <a:chOff x="5552619" y="2943755"/>
              <a:chExt cx="1003177" cy="955950"/>
            </a:xfrm>
          </p:grpSpPr>
          <p:sp>
            <p:nvSpPr>
              <p:cNvPr id="379" name="Freeform 16">
                <a:extLst>
                  <a:ext uri="{FF2B5EF4-FFF2-40B4-BE49-F238E27FC236}">
                    <a16:creationId xmlns:a16="http://schemas.microsoft.com/office/drawing/2014/main" id="{3D10B883-EDCD-A727-3D3B-207C6655B8EA}"/>
                  </a:ext>
                </a:extLst>
              </p:cNvPr>
              <p:cNvSpPr>
                <a:spLocks/>
              </p:cNvSpPr>
              <p:nvPr/>
            </p:nvSpPr>
            <p:spPr bwMode="auto">
              <a:xfrm>
                <a:off x="5552619" y="2943755"/>
                <a:ext cx="1003177" cy="955950"/>
              </a:xfrm>
              <a:custGeom>
                <a:avLst/>
                <a:gdLst>
                  <a:gd name="T0" fmla="*/ 333 w 702"/>
                  <a:gd name="T1" fmla="*/ 700 h 700"/>
                  <a:gd name="T2" fmla="*/ 280 w 702"/>
                  <a:gd name="T3" fmla="*/ 693 h 700"/>
                  <a:gd name="T4" fmla="*/ 231 w 702"/>
                  <a:gd name="T5" fmla="*/ 679 h 700"/>
                  <a:gd name="T6" fmla="*/ 184 w 702"/>
                  <a:gd name="T7" fmla="*/ 658 h 700"/>
                  <a:gd name="T8" fmla="*/ 142 w 702"/>
                  <a:gd name="T9" fmla="*/ 631 h 700"/>
                  <a:gd name="T10" fmla="*/ 104 w 702"/>
                  <a:gd name="T11" fmla="*/ 598 h 700"/>
                  <a:gd name="T12" fmla="*/ 70 w 702"/>
                  <a:gd name="T13" fmla="*/ 560 h 700"/>
                  <a:gd name="T14" fmla="*/ 43 w 702"/>
                  <a:gd name="T15" fmla="*/ 517 h 700"/>
                  <a:gd name="T16" fmla="*/ 22 w 702"/>
                  <a:gd name="T17" fmla="*/ 471 h 700"/>
                  <a:gd name="T18" fmla="*/ 7 w 702"/>
                  <a:gd name="T19" fmla="*/ 420 h 700"/>
                  <a:gd name="T20" fmla="*/ 1 w 702"/>
                  <a:gd name="T21" fmla="*/ 369 h 700"/>
                  <a:gd name="T22" fmla="*/ 1 w 702"/>
                  <a:gd name="T23" fmla="*/ 331 h 700"/>
                  <a:gd name="T24" fmla="*/ 7 w 702"/>
                  <a:gd name="T25" fmla="*/ 280 h 700"/>
                  <a:gd name="T26" fmla="*/ 22 w 702"/>
                  <a:gd name="T27" fmla="*/ 229 h 700"/>
                  <a:gd name="T28" fmla="*/ 43 w 702"/>
                  <a:gd name="T29" fmla="*/ 183 h 700"/>
                  <a:gd name="T30" fmla="*/ 70 w 702"/>
                  <a:gd name="T31" fmla="*/ 140 h 700"/>
                  <a:gd name="T32" fmla="*/ 104 w 702"/>
                  <a:gd name="T33" fmla="*/ 102 h 700"/>
                  <a:gd name="T34" fmla="*/ 142 w 702"/>
                  <a:gd name="T35" fmla="*/ 69 h 700"/>
                  <a:gd name="T36" fmla="*/ 184 w 702"/>
                  <a:gd name="T37" fmla="*/ 42 h 700"/>
                  <a:gd name="T38" fmla="*/ 231 w 702"/>
                  <a:gd name="T39" fmla="*/ 21 h 700"/>
                  <a:gd name="T40" fmla="*/ 280 w 702"/>
                  <a:gd name="T41" fmla="*/ 7 h 700"/>
                  <a:gd name="T42" fmla="*/ 333 w 702"/>
                  <a:gd name="T43" fmla="*/ 0 h 700"/>
                  <a:gd name="T44" fmla="*/ 369 w 702"/>
                  <a:gd name="T45" fmla="*/ 0 h 700"/>
                  <a:gd name="T46" fmla="*/ 422 w 702"/>
                  <a:gd name="T47" fmla="*/ 7 h 700"/>
                  <a:gd name="T48" fmla="*/ 471 w 702"/>
                  <a:gd name="T49" fmla="*/ 21 h 700"/>
                  <a:gd name="T50" fmla="*/ 518 w 702"/>
                  <a:gd name="T51" fmla="*/ 42 h 700"/>
                  <a:gd name="T52" fmla="*/ 561 w 702"/>
                  <a:gd name="T53" fmla="*/ 69 h 700"/>
                  <a:gd name="T54" fmla="*/ 598 w 702"/>
                  <a:gd name="T55" fmla="*/ 102 h 700"/>
                  <a:gd name="T56" fmla="*/ 632 w 702"/>
                  <a:gd name="T57" fmla="*/ 140 h 700"/>
                  <a:gd name="T58" fmla="*/ 659 w 702"/>
                  <a:gd name="T59" fmla="*/ 183 h 700"/>
                  <a:gd name="T60" fmla="*/ 680 w 702"/>
                  <a:gd name="T61" fmla="*/ 229 h 700"/>
                  <a:gd name="T62" fmla="*/ 694 w 702"/>
                  <a:gd name="T63" fmla="*/ 280 h 700"/>
                  <a:gd name="T64" fmla="*/ 701 w 702"/>
                  <a:gd name="T65" fmla="*/ 331 h 700"/>
                  <a:gd name="T66" fmla="*/ 701 w 702"/>
                  <a:gd name="T67" fmla="*/ 369 h 700"/>
                  <a:gd name="T68" fmla="*/ 694 w 702"/>
                  <a:gd name="T69" fmla="*/ 420 h 700"/>
                  <a:gd name="T70" fmla="*/ 680 w 702"/>
                  <a:gd name="T71" fmla="*/ 471 h 700"/>
                  <a:gd name="T72" fmla="*/ 659 w 702"/>
                  <a:gd name="T73" fmla="*/ 517 h 700"/>
                  <a:gd name="T74" fmla="*/ 632 w 702"/>
                  <a:gd name="T75" fmla="*/ 560 h 700"/>
                  <a:gd name="T76" fmla="*/ 598 w 702"/>
                  <a:gd name="T77" fmla="*/ 598 h 700"/>
                  <a:gd name="T78" fmla="*/ 561 w 702"/>
                  <a:gd name="T79" fmla="*/ 631 h 700"/>
                  <a:gd name="T80" fmla="*/ 518 w 702"/>
                  <a:gd name="T81" fmla="*/ 658 h 700"/>
                  <a:gd name="T82" fmla="*/ 471 w 702"/>
                  <a:gd name="T83" fmla="*/ 679 h 700"/>
                  <a:gd name="T84" fmla="*/ 422 w 702"/>
                  <a:gd name="T85" fmla="*/ 693 h 700"/>
                  <a:gd name="T86" fmla="*/ 369 w 702"/>
                  <a:gd name="T87" fmla="*/ 70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2" h="700">
                    <a:moveTo>
                      <a:pt x="352" y="700"/>
                    </a:moveTo>
                    <a:lnTo>
                      <a:pt x="352" y="700"/>
                    </a:lnTo>
                    <a:lnTo>
                      <a:pt x="333" y="700"/>
                    </a:lnTo>
                    <a:lnTo>
                      <a:pt x="316" y="699"/>
                    </a:lnTo>
                    <a:lnTo>
                      <a:pt x="297" y="697"/>
                    </a:lnTo>
                    <a:lnTo>
                      <a:pt x="280" y="693"/>
                    </a:lnTo>
                    <a:lnTo>
                      <a:pt x="264" y="689"/>
                    </a:lnTo>
                    <a:lnTo>
                      <a:pt x="247" y="684"/>
                    </a:lnTo>
                    <a:lnTo>
                      <a:pt x="231" y="679"/>
                    </a:lnTo>
                    <a:lnTo>
                      <a:pt x="215" y="673"/>
                    </a:lnTo>
                    <a:lnTo>
                      <a:pt x="199" y="666"/>
                    </a:lnTo>
                    <a:lnTo>
                      <a:pt x="184" y="658"/>
                    </a:lnTo>
                    <a:lnTo>
                      <a:pt x="169" y="650"/>
                    </a:lnTo>
                    <a:lnTo>
                      <a:pt x="155" y="641"/>
                    </a:lnTo>
                    <a:lnTo>
                      <a:pt x="142" y="631"/>
                    </a:lnTo>
                    <a:lnTo>
                      <a:pt x="128" y="620"/>
                    </a:lnTo>
                    <a:lnTo>
                      <a:pt x="116" y="609"/>
                    </a:lnTo>
                    <a:lnTo>
                      <a:pt x="104" y="598"/>
                    </a:lnTo>
                    <a:lnTo>
                      <a:pt x="91" y="586"/>
                    </a:lnTo>
                    <a:lnTo>
                      <a:pt x="80" y="573"/>
                    </a:lnTo>
                    <a:lnTo>
                      <a:pt x="70" y="560"/>
                    </a:lnTo>
                    <a:lnTo>
                      <a:pt x="60" y="546"/>
                    </a:lnTo>
                    <a:lnTo>
                      <a:pt x="52" y="531"/>
                    </a:lnTo>
                    <a:lnTo>
                      <a:pt x="43" y="517"/>
                    </a:lnTo>
                    <a:lnTo>
                      <a:pt x="35" y="502"/>
                    </a:lnTo>
                    <a:lnTo>
                      <a:pt x="28" y="487"/>
                    </a:lnTo>
                    <a:lnTo>
                      <a:pt x="22" y="471"/>
                    </a:lnTo>
                    <a:lnTo>
                      <a:pt x="16" y="454"/>
                    </a:lnTo>
                    <a:lnTo>
                      <a:pt x="11" y="438"/>
                    </a:lnTo>
                    <a:lnTo>
                      <a:pt x="7" y="420"/>
                    </a:lnTo>
                    <a:lnTo>
                      <a:pt x="5" y="403"/>
                    </a:lnTo>
                    <a:lnTo>
                      <a:pt x="3" y="386"/>
                    </a:lnTo>
                    <a:lnTo>
                      <a:pt x="1" y="369"/>
                    </a:lnTo>
                    <a:lnTo>
                      <a:pt x="0" y="350"/>
                    </a:lnTo>
                    <a:lnTo>
                      <a:pt x="0" y="350"/>
                    </a:lnTo>
                    <a:lnTo>
                      <a:pt x="1" y="331"/>
                    </a:lnTo>
                    <a:lnTo>
                      <a:pt x="3" y="314"/>
                    </a:lnTo>
                    <a:lnTo>
                      <a:pt x="5" y="297"/>
                    </a:lnTo>
                    <a:lnTo>
                      <a:pt x="7" y="280"/>
                    </a:lnTo>
                    <a:lnTo>
                      <a:pt x="11" y="262"/>
                    </a:lnTo>
                    <a:lnTo>
                      <a:pt x="16" y="246"/>
                    </a:lnTo>
                    <a:lnTo>
                      <a:pt x="22" y="229"/>
                    </a:lnTo>
                    <a:lnTo>
                      <a:pt x="28" y="213"/>
                    </a:lnTo>
                    <a:lnTo>
                      <a:pt x="35" y="198"/>
                    </a:lnTo>
                    <a:lnTo>
                      <a:pt x="43" y="183"/>
                    </a:lnTo>
                    <a:lnTo>
                      <a:pt x="52" y="169"/>
                    </a:lnTo>
                    <a:lnTo>
                      <a:pt x="60" y="154"/>
                    </a:lnTo>
                    <a:lnTo>
                      <a:pt x="70" y="140"/>
                    </a:lnTo>
                    <a:lnTo>
                      <a:pt x="80" y="127"/>
                    </a:lnTo>
                    <a:lnTo>
                      <a:pt x="91" y="114"/>
                    </a:lnTo>
                    <a:lnTo>
                      <a:pt x="104" y="102"/>
                    </a:lnTo>
                    <a:lnTo>
                      <a:pt x="116" y="91"/>
                    </a:lnTo>
                    <a:lnTo>
                      <a:pt x="128" y="80"/>
                    </a:lnTo>
                    <a:lnTo>
                      <a:pt x="142" y="69"/>
                    </a:lnTo>
                    <a:lnTo>
                      <a:pt x="155" y="59"/>
                    </a:lnTo>
                    <a:lnTo>
                      <a:pt x="169" y="50"/>
                    </a:lnTo>
                    <a:lnTo>
                      <a:pt x="184" y="42"/>
                    </a:lnTo>
                    <a:lnTo>
                      <a:pt x="199" y="34"/>
                    </a:lnTo>
                    <a:lnTo>
                      <a:pt x="215" y="27"/>
                    </a:lnTo>
                    <a:lnTo>
                      <a:pt x="231" y="21"/>
                    </a:lnTo>
                    <a:lnTo>
                      <a:pt x="247" y="16"/>
                    </a:lnTo>
                    <a:lnTo>
                      <a:pt x="264" y="11"/>
                    </a:lnTo>
                    <a:lnTo>
                      <a:pt x="280" y="7"/>
                    </a:lnTo>
                    <a:lnTo>
                      <a:pt x="297" y="3"/>
                    </a:lnTo>
                    <a:lnTo>
                      <a:pt x="316" y="1"/>
                    </a:lnTo>
                    <a:lnTo>
                      <a:pt x="333" y="0"/>
                    </a:lnTo>
                    <a:lnTo>
                      <a:pt x="352" y="0"/>
                    </a:lnTo>
                    <a:lnTo>
                      <a:pt x="352" y="0"/>
                    </a:lnTo>
                    <a:lnTo>
                      <a:pt x="369" y="0"/>
                    </a:lnTo>
                    <a:lnTo>
                      <a:pt x="387" y="1"/>
                    </a:lnTo>
                    <a:lnTo>
                      <a:pt x="405" y="3"/>
                    </a:lnTo>
                    <a:lnTo>
                      <a:pt x="422" y="7"/>
                    </a:lnTo>
                    <a:lnTo>
                      <a:pt x="439" y="11"/>
                    </a:lnTo>
                    <a:lnTo>
                      <a:pt x="455" y="16"/>
                    </a:lnTo>
                    <a:lnTo>
                      <a:pt x="471" y="21"/>
                    </a:lnTo>
                    <a:lnTo>
                      <a:pt x="487" y="27"/>
                    </a:lnTo>
                    <a:lnTo>
                      <a:pt x="503" y="34"/>
                    </a:lnTo>
                    <a:lnTo>
                      <a:pt x="518" y="42"/>
                    </a:lnTo>
                    <a:lnTo>
                      <a:pt x="533" y="50"/>
                    </a:lnTo>
                    <a:lnTo>
                      <a:pt x="546" y="59"/>
                    </a:lnTo>
                    <a:lnTo>
                      <a:pt x="561" y="69"/>
                    </a:lnTo>
                    <a:lnTo>
                      <a:pt x="574" y="80"/>
                    </a:lnTo>
                    <a:lnTo>
                      <a:pt x="587" y="91"/>
                    </a:lnTo>
                    <a:lnTo>
                      <a:pt x="598" y="102"/>
                    </a:lnTo>
                    <a:lnTo>
                      <a:pt x="611" y="114"/>
                    </a:lnTo>
                    <a:lnTo>
                      <a:pt x="622" y="127"/>
                    </a:lnTo>
                    <a:lnTo>
                      <a:pt x="632" y="140"/>
                    </a:lnTo>
                    <a:lnTo>
                      <a:pt x="641" y="154"/>
                    </a:lnTo>
                    <a:lnTo>
                      <a:pt x="651" y="169"/>
                    </a:lnTo>
                    <a:lnTo>
                      <a:pt x="659" y="183"/>
                    </a:lnTo>
                    <a:lnTo>
                      <a:pt x="667" y="198"/>
                    </a:lnTo>
                    <a:lnTo>
                      <a:pt x="673" y="213"/>
                    </a:lnTo>
                    <a:lnTo>
                      <a:pt x="680" y="229"/>
                    </a:lnTo>
                    <a:lnTo>
                      <a:pt x="686" y="246"/>
                    </a:lnTo>
                    <a:lnTo>
                      <a:pt x="691" y="262"/>
                    </a:lnTo>
                    <a:lnTo>
                      <a:pt x="694" y="280"/>
                    </a:lnTo>
                    <a:lnTo>
                      <a:pt x="697" y="297"/>
                    </a:lnTo>
                    <a:lnTo>
                      <a:pt x="699" y="314"/>
                    </a:lnTo>
                    <a:lnTo>
                      <a:pt x="701" y="331"/>
                    </a:lnTo>
                    <a:lnTo>
                      <a:pt x="702" y="350"/>
                    </a:lnTo>
                    <a:lnTo>
                      <a:pt x="702" y="350"/>
                    </a:lnTo>
                    <a:lnTo>
                      <a:pt x="701" y="369"/>
                    </a:lnTo>
                    <a:lnTo>
                      <a:pt x="699" y="386"/>
                    </a:lnTo>
                    <a:lnTo>
                      <a:pt x="697" y="403"/>
                    </a:lnTo>
                    <a:lnTo>
                      <a:pt x="694" y="420"/>
                    </a:lnTo>
                    <a:lnTo>
                      <a:pt x="691" y="438"/>
                    </a:lnTo>
                    <a:lnTo>
                      <a:pt x="686" y="454"/>
                    </a:lnTo>
                    <a:lnTo>
                      <a:pt x="680" y="471"/>
                    </a:lnTo>
                    <a:lnTo>
                      <a:pt x="673" y="487"/>
                    </a:lnTo>
                    <a:lnTo>
                      <a:pt x="667" y="502"/>
                    </a:lnTo>
                    <a:lnTo>
                      <a:pt x="659" y="517"/>
                    </a:lnTo>
                    <a:lnTo>
                      <a:pt x="651" y="531"/>
                    </a:lnTo>
                    <a:lnTo>
                      <a:pt x="641" y="546"/>
                    </a:lnTo>
                    <a:lnTo>
                      <a:pt x="632" y="560"/>
                    </a:lnTo>
                    <a:lnTo>
                      <a:pt x="622" y="573"/>
                    </a:lnTo>
                    <a:lnTo>
                      <a:pt x="611" y="586"/>
                    </a:lnTo>
                    <a:lnTo>
                      <a:pt x="598" y="598"/>
                    </a:lnTo>
                    <a:lnTo>
                      <a:pt x="587" y="609"/>
                    </a:lnTo>
                    <a:lnTo>
                      <a:pt x="574" y="620"/>
                    </a:lnTo>
                    <a:lnTo>
                      <a:pt x="561" y="631"/>
                    </a:lnTo>
                    <a:lnTo>
                      <a:pt x="546" y="641"/>
                    </a:lnTo>
                    <a:lnTo>
                      <a:pt x="533" y="650"/>
                    </a:lnTo>
                    <a:lnTo>
                      <a:pt x="518" y="658"/>
                    </a:lnTo>
                    <a:lnTo>
                      <a:pt x="503" y="666"/>
                    </a:lnTo>
                    <a:lnTo>
                      <a:pt x="487" y="673"/>
                    </a:lnTo>
                    <a:lnTo>
                      <a:pt x="471" y="679"/>
                    </a:lnTo>
                    <a:lnTo>
                      <a:pt x="455" y="684"/>
                    </a:lnTo>
                    <a:lnTo>
                      <a:pt x="439" y="689"/>
                    </a:lnTo>
                    <a:lnTo>
                      <a:pt x="422" y="693"/>
                    </a:lnTo>
                    <a:lnTo>
                      <a:pt x="405" y="697"/>
                    </a:lnTo>
                    <a:lnTo>
                      <a:pt x="387" y="699"/>
                    </a:lnTo>
                    <a:lnTo>
                      <a:pt x="369" y="700"/>
                    </a:lnTo>
                    <a:lnTo>
                      <a:pt x="352" y="700"/>
                    </a:lnTo>
                    <a:lnTo>
                      <a:pt x="352" y="700"/>
                    </a:lnTo>
                    <a:close/>
                  </a:path>
                </a:pathLst>
              </a:custGeom>
              <a:solidFill>
                <a:srgbClr val="0091D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1" name="Freeform 61">
                <a:extLst>
                  <a:ext uri="{FF2B5EF4-FFF2-40B4-BE49-F238E27FC236}">
                    <a16:creationId xmlns:a16="http://schemas.microsoft.com/office/drawing/2014/main" id="{7C6C5397-7B55-71B3-C7DD-AECAFCE6BA28}"/>
                  </a:ext>
                </a:extLst>
              </p:cNvPr>
              <p:cNvSpPr>
                <a:spLocks/>
              </p:cNvSpPr>
              <p:nvPr/>
            </p:nvSpPr>
            <p:spPr bwMode="auto">
              <a:xfrm>
                <a:off x="5824134" y="3149968"/>
                <a:ext cx="410131" cy="539429"/>
              </a:xfrm>
              <a:custGeom>
                <a:avLst/>
                <a:gdLst>
                  <a:gd name="T0" fmla="*/ 0 w 287"/>
                  <a:gd name="T1" fmla="*/ 395 h 395"/>
                  <a:gd name="T2" fmla="*/ 0 w 287"/>
                  <a:gd name="T3" fmla="*/ 183 h 395"/>
                  <a:gd name="T4" fmla="*/ 0 w 287"/>
                  <a:gd name="T5" fmla="*/ 77 h 395"/>
                  <a:gd name="T6" fmla="*/ 75 w 287"/>
                  <a:gd name="T7" fmla="*/ 0 h 395"/>
                  <a:gd name="T8" fmla="*/ 287 w 287"/>
                  <a:gd name="T9" fmla="*/ 0 h 395"/>
                  <a:gd name="T10" fmla="*/ 287 w 287"/>
                  <a:gd name="T11" fmla="*/ 79 h 395"/>
                  <a:gd name="T12" fmla="*/ 287 w 287"/>
                  <a:gd name="T13" fmla="*/ 183 h 395"/>
                  <a:gd name="T14" fmla="*/ 287 w 287"/>
                  <a:gd name="T15" fmla="*/ 395 h 395"/>
                  <a:gd name="T16" fmla="*/ 0 w 287"/>
                  <a:gd name="T17" fmla="*/ 39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7" h="395">
                    <a:moveTo>
                      <a:pt x="0" y="395"/>
                    </a:moveTo>
                    <a:lnTo>
                      <a:pt x="0" y="183"/>
                    </a:lnTo>
                    <a:lnTo>
                      <a:pt x="0" y="77"/>
                    </a:lnTo>
                    <a:lnTo>
                      <a:pt x="75" y="0"/>
                    </a:lnTo>
                    <a:lnTo>
                      <a:pt x="287" y="0"/>
                    </a:lnTo>
                    <a:lnTo>
                      <a:pt x="287" y="79"/>
                    </a:lnTo>
                    <a:lnTo>
                      <a:pt x="287" y="183"/>
                    </a:lnTo>
                    <a:lnTo>
                      <a:pt x="287" y="395"/>
                    </a:lnTo>
                    <a:lnTo>
                      <a:pt x="0" y="3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sp>
          <p:nvSpPr>
            <p:cNvPr id="382" name="Freeform 62">
              <a:extLst>
                <a:ext uri="{FF2B5EF4-FFF2-40B4-BE49-F238E27FC236}">
                  <a16:creationId xmlns:a16="http://schemas.microsoft.com/office/drawing/2014/main" id="{6836A92B-0D4F-2B35-1F99-8F4EB7E6336C}"/>
                </a:ext>
              </a:extLst>
            </p:cNvPr>
            <p:cNvSpPr>
              <a:spLocks/>
            </p:cNvSpPr>
            <p:nvPr/>
          </p:nvSpPr>
          <p:spPr bwMode="auto">
            <a:xfrm>
              <a:off x="5824134" y="3149968"/>
              <a:ext cx="107177" cy="105155"/>
            </a:xfrm>
            <a:custGeom>
              <a:avLst/>
              <a:gdLst>
                <a:gd name="T0" fmla="*/ 75 w 75"/>
                <a:gd name="T1" fmla="*/ 77 h 77"/>
                <a:gd name="T2" fmla="*/ 0 w 75"/>
                <a:gd name="T3" fmla="*/ 77 h 77"/>
                <a:gd name="T4" fmla="*/ 75 w 75"/>
                <a:gd name="T5" fmla="*/ 0 h 77"/>
                <a:gd name="T6" fmla="*/ 75 w 75"/>
                <a:gd name="T7" fmla="*/ 77 h 77"/>
              </a:gdLst>
              <a:ahLst/>
              <a:cxnLst>
                <a:cxn ang="0">
                  <a:pos x="T0" y="T1"/>
                </a:cxn>
                <a:cxn ang="0">
                  <a:pos x="T2" y="T3"/>
                </a:cxn>
                <a:cxn ang="0">
                  <a:pos x="T4" y="T5"/>
                </a:cxn>
                <a:cxn ang="0">
                  <a:pos x="T6" y="T7"/>
                </a:cxn>
              </a:cxnLst>
              <a:rect l="0" t="0" r="r" b="b"/>
              <a:pathLst>
                <a:path w="75" h="77">
                  <a:moveTo>
                    <a:pt x="75" y="77"/>
                  </a:moveTo>
                  <a:lnTo>
                    <a:pt x="0" y="77"/>
                  </a:lnTo>
                  <a:lnTo>
                    <a:pt x="75" y="0"/>
                  </a:lnTo>
                  <a:lnTo>
                    <a:pt x="75" y="77"/>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3" name="Freeform 63">
              <a:extLst>
                <a:ext uri="{FF2B5EF4-FFF2-40B4-BE49-F238E27FC236}">
                  <a16:creationId xmlns:a16="http://schemas.microsoft.com/office/drawing/2014/main" id="{FE928E08-9172-AD02-AF25-9B5D47267D5A}"/>
                </a:ext>
              </a:extLst>
            </p:cNvPr>
            <p:cNvSpPr>
              <a:spLocks/>
            </p:cNvSpPr>
            <p:nvPr/>
          </p:nvSpPr>
          <p:spPr bwMode="auto">
            <a:xfrm>
              <a:off x="5824134" y="3255122"/>
              <a:ext cx="107177" cy="103789"/>
            </a:xfrm>
            <a:custGeom>
              <a:avLst/>
              <a:gdLst>
                <a:gd name="T0" fmla="*/ 0 w 75"/>
                <a:gd name="T1" fmla="*/ 0 h 76"/>
                <a:gd name="T2" fmla="*/ 75 w 75"/>
                <a:gd name="T3" fmla="*/ 0 h 76"/>
                <a:gd name="T4" fmla="*/ 0 w 75"/>
                <a:gd name="T5" fmla="*/ 76 h 76"/>
                <a:gd name="T6" fmla="*/ 0 w 75"/>
                <a:gd name="T7" fmla="*/ 0 h 76"/>
              </a:gdLst>
              <a:ahLst/>
              <a:cxnLst>
                <a:cxn ang="0">
                  <a:pos x="T0" y="T1"/>
                </a:cxn>
                <a:cxn ang="0">
                  <a:pos x="T2" y="T3"/>
                </a:cxn>
                <a:cxn ang="0">
                  <a:pos x="T4" y="T5"/>
                </a:cxn>
                <a:cxn ang="0">
                  <a:pos x="T6" y="T7"/>
                </a:cxn>
              </a:cxnLst>
              <a:rect l="0" t="0" r="r" b="b"/>
              <a:pathLst>
                <a:path w="75" h="76">
                  <a:moveTo>
                    <a:pt x="0" y="0"/>
                  </a:moveTo>
                  <a:lnTo>
                    <a:pt x="75" y="0"/>
                  </a:lnTo>
                  <a:lnTo>
                    <a:pt x="0" y="76"/>
                  </a:lnTo>
                  <a:lnTo>
                    <a:pt x="0" y="0"/>
                  </a:lnTo>
                  <a:close/>
                </a:path>
              </a:pathLst>
            </a:custGeom>
            <a:solidFill>
              <a:srgbClr val="D1E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4" name="Freeform 64">
              <a:extLst>
                <a:ext uri="{FF2B5EF4-FFF2-40B4-BE49-F238E27FC236}">
                  <a16:creationId xmlns:a16="http://schemas.microsoft.com/office/drawing/2014/main" id="{32D2778C-5DC7-BFE0-261B-E72F9A69330F}"/>
                </a:ext>
              </a:extLst>
            </p:cNvPr>
            <p:cNvSpPr>
              <a:spLocks/>
            </p:cNvSpPr>
            <p:nvPr/>
          </p:nvSpPr>
          <p:spPr bwMode="auto">
            <a:xfrm>
              <a:off x="5861289" y="3506400"/>
              <a:ext cx="134329" cy="127005"/>
            </a:xfrm>
            <a:custGeom>
              <a:avLst/>
              <a:gdLst>
                <a:gd name="T0" fmla="*/ 43 w 94"/>
                <a:gd name="T1" fmla="*/ 49 h 93"/>
                <a:gd name="T2" fmla="*/ 43 w 94"/>
                <a:gd name="T3" fmla="*/ 0 h 93"/>
                <a:gd name="T4" fmla="*/ 43 w 94"/>
                <a:gd name="T5" fmla="*/ 0 h 93"/>
                <a:gd name="T6" fmla="*/ 34 w 94"/>
                <a:gd name="T7" fmla="*/ 1 h 93"/>
                <a:gd name="T8" fmla="*/ 27 w 94"/>
                <a:gd name="T9" fmla="*/ 5 h 93"/>
                <a:gd name="T10" fmla="*/ 20 w 94"/>
                <a:gd name="T11" fmla="*/ 8 h 93"/>
                <a:gd name="T12" fmla="*/ 12 w 94"/>
                <a:gd name="T13" fmla="*/ 14 h 93"/>
                <a:gd name="T14" fmla="*/ 7 w 94"/>
                <a:gd name="T15" fmla="*/ 21 h 93"/>
                <a:gd name="T16" fmla="*/ 4 w 94"/>
                <a:gd name="T17" fmla="*/ 29 h 93"/>
                <a:gd name="T18" fmla="*/ 1 w 94"/>
                <a:gd name="T19" fmla="*/ 37 h 93"/>
                <a:gd name="T20" fmla="*/ 0 w 94"/>
                <a:gd name="T21" fmla="*/ 47 h 93"/>
                <a:gd name="T22" fmla="*/ 0 w 94"/>
                <a:gd name="T23" fmla="*/ 47 h 93"/>
                <a:gd name="T24" fmla="*/ 1 w 94"/>
                <a:gd name="T25" fmla="*/ 55 h 93"/>
                <a:gd name="T26" fmla="*/ 4 w 94"/>
                <a:gd name="T27" fmla="*/ 64 h 93"/>
                <a:gd name="T28" fmla="*/ 9 w 94"/>
                <a:gd name="T29" fmla="*/ 72 h 93"/>
                <a:gd name="T30" fmla="*/ 13 w 94"/>
                <a:gd name="T31" fmla="*/ 79 h 93"/>
                <a:gd name="T32" fmla="*/ 21 w 94"/>
                <a:gd name="T33" fmla="*/ 85 h 93"/>
                <a:gd name="T34" fmla="*/ 28 w 94"/>
                <a:gd name="T35" fmla="*/ 90 h 93"/>
                <a:gd name="T36" fmla="*/ 37 w 94"/>
                <a:gd name="T37" fmla="*/ 92 h 93"/>
                <a:gd name="T38" fmla="*/ 47 w 94"/>
                <a:gd name="T39" fmla="*/ 93 h 93"/>
                <a:gd name="T40" fmla="*/ 47 w 94"/>
                <a:gd name="T41" fmla="*/ 93 h 93"/>
                <a:gd name="T42" fmla="*/ 55 w 94"/>
                <a:gd name="T43" fmla="*/ 92 h 93"/>
                <a:gd name="T44" fmla="*/ 64 w 94"/>
                <a:gd name="T45" fmla="*/ 90 h 93"/>
                <a:gd name="T46" fmla="*/ 71 w 94"/>
                <a:gd name="T47" fmla="*/ 86 h 93"/>
                <a:gd name="T48" fmla="*/ 79 w 94"/>
                <a:gd name="T49" fmla="*/ 80 h 93"/>
                <a:gd name="T50" fmla="*/ 84 w 94"/>
                <a:gd name="T51" fmla="*/ 74 h 93"/>
                <a:gd name="T52" fmla="*/ 89 w 94"/>
                <a:gd name="T53" fmla="*/ 66 h 93"/>
                <a:gd name="T54" fmla="*/ 91 w 94"/>
                <a:gd name="T55" fmla="*/ 58 h 93"/>
                <a:gd name="T56" fmla="*/ 94 w 94"/>
                <a:gd name="T57" fmla="*/ 49 h 93"/>
                <a:gd name="T58" fmla="*/ 43 w 94"/>
                <a:gd name="T59" fmla="*/ 4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4" h="93">
                  <a:moveTo>
                    <a:pt x="43" y="49"/>
                  </a:moveTo>
                  <a:lnTo>
                    <a:pt x="43" y="0"/>
                  </a:lnTo>
                  <a:lnTo>
                    <a:pt x="43" y="0"/>
                  </a:lnTo>
                  <a:lnTo>
                    <a:pt x="34" y="1"/>
                  </a:lnTo>
                  <a:lnTo>
                    <a:pt x="27" y="5"/>
                  </a:lnTo>
                  <a:lnTo>
                    <a:pt x="20" y="8"/>
                  </a:lnTo>
                  <a:lnTo>
                    <a:pt x="12" y="14"/>
                  </a:lnTo>
                  <a:lnTo>
                    <a:pt x="7" y="21"/>
                  </a:lnTo>
                  <a:lnTo>
                    <a:pt x="4" y="29"/>
                  </a:lnTo>
                  <a:lnTo>
                    <a:pt x="1" y="37"/>
                  </a:lnTo>
                  <a:lnTo>
                    <a:pt x="0" y="47"/>
                  </a:lnTo>
                  <a:lnTo>
                    <a:pt x="0" y="47"/>
                  </a:lnTo>
                  <a:lnTo>
                    <a:pt x="1" y="55"/>
                  </a:lnTo>
                  <a:lnTo>
                    <a:pt x="4" y="64"/>
                  </a:lnTo>
                  <a:lnTo>
                    <a:pt x="9" y="72"/>
                  </a:lnTo>
                  <a:lnTo>
                    <a:pt x="13" y="79"/>
                  </a:lnTo>
                  <a:lnTo>
                    <a:pt x="21" y="85"/>
                  </a:lnTo>
                  <a:lnTo>
                    <a:pt x="28" y="90"/>
                  </a:lnTo>
                  <a:lnTo>
                    <a:pt x="37" y="92"/>
                  </a:lnTo>
                  <a:lnTo>
                    <a:pt x="47" y="93"/>
                  </a:lnTo>
                  <a:lnTo>
                    <a:pt x="47" y="93"/>
                  </a:lnTo>
                  <a:lnTo>
                    <a:pt x="55" y="92"/>
                  </a:lnTo>
                  <a:lnTo>
                    <a:pt x="64" y="90"/>
                  </a:lnTo>
                  <a:lnTo>
                    <a:pt x="71" y="86"/>
                  </a:lnTo>
                  <a:lnTo>
                    <a:pt x="79" y="80"/>
                  </a:lnTo>
                  <a:lnTo>
                    <a:pt x="84" y="74"/>
                  </a:lnTo>
                  <a:lnTo>
                    <a:pt x="89" y="66"/>
                  </a:lnTo>
                  <a:lnTo>
                    <a:pt x="91" y="58"/>
                  </a:lnTo>
                  <a:lnTo>
                    <a:pt x="94" y="49"/>
                  </a:lnTo>
                  <a:lnTo>
                    <a:pt x="43" y="49"/>
                  </a:lnTo>
                  <a:close/>
                </a:path>
              </a:pathLst>
            </a:custGeom>
            <a:solidFill>
              <a:srgbClr val="2C58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5" name="Freeform 65">
              <a:extLst>
                <a:ext uri="{FF2B5EF4-FFF2-40B4-BE49-F238E27FC236}">
                  <a16:creationId xmlns:a16="http://schemas.microsoft.com/office/drawing/2014/main" id="{C3C909CE-604F-4DF6-18BC-6CBC0E0C11CD}"/>
                </a:ext>
              </a:extLst>
            </p:cNvPr>
            <p:cNvSpPr>
              <a:spLocks/>
            </p:cNvSpPr>
            <p:nvPr/>
          </p:nvSpPr>
          <p:spPr bwMode="auto">
            <a:xfrm>
              <a:off x="5942744" y="3509131"/>
              <a:ext cx="48587" cy="49163"/>
            </a:xfrm>
            <a:custGeom>
              <a:avLst/>
              <a:gdLst>
                <a:gd name="T0" fmla="*/ 34 w 34"/>
                <a:gd name="T1" fmla="*/ 36 h 36"/>
                <a:gd name="T2" fmla="*/ 34 w 34"/>
                <a:gd name="T3" fmla="*/ 36 h 36"/>
                <a:gd name="T4" fmla="*/ 33 w 34"/>
                <a:gd name="T5" fmla="*/ 29 h 36"/>
                <a:gd name="T6" fmla="*/ 32 w 34"/>
                <a:gd name="T7" fmla="*/ 22 h 36"/>
                <a:gd name="T8" fmla="*/ 28 w 34"/>
                <a:gd name="T9" fmla="*/ 16 h 36"/>
                <a:gd name="T10" fmla="*/ 24 w 34"/>
                <a:gd name="T11" fmla="*/ 11 h 36"/>
                <a:gd name="T12" fmla="*/ 18 w 34"/>
                <a:gd name="T13" fmla="*/ 6 h 36"/>
                <a:gd name="T14" fmla="*/ 13 w 34"/>
                <a:gd name="T15" fmla="*/ 4 h 36"/>
                <a:gd name="T16" fmla="*/ 6 w 34"/>
                <a:gd name="T17" fmla="*/ 1 h 36"/>
                <a:gd name="T18" fmla="*/ 0 w 34"/>
                <a:gd name="T19" fmla="*/ 0 h 36"/>
                <a:gd name="T20" fmla="*/ 0 w 34"/>
                <a:gd name="T21" fmla="*/ 36 h 36"/>
                <a:gd name="T22" fmla="*/ 34 w 34"/>
                <a:gd name="T2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6">
                  <a:moveTo>
                    <a:pt x="34" y="36"/>
                  </a:moveTo>
                  <a:lnTo>
                    <a:pt x="34" y="36"/>
                  </a:lnTo>
                  <a:lnTo>
                    <a:pt x="33" y="29"/>
                  </a:lnTo>
                  <a:lnTo>
                    <a:pt x="32" y="22"/>
                  </a:lnTo>
                  <a:lnTo>
                    <a:pt x="28" y="16"/>
                  </a:lnTo>
                  <a:lnTo>
                    <a:pt x="24" y="11"/>
                  </a:lnTo>
                  <a:lnTo>
                    <a:pt x="18" y="6"/>
                  </a:lnTo>
                  <a:lnTo>
                    <a:pt x="13" y="4"/>
                  </a:lnTo>
                  <a:lnTo>
                    <a:pt x="6" y="1"/>
                  </a:lnTo>
                  <a:lnTo>
                    <a:pt x="0" y="0"/>
                  </a:lnTo>
                  <a:lnTo>
                    <a:pt x="0" y="36"/>
                  </a:lnTo>
                  <a:lnTo>
                    <a:pt x="34" y="36"/>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6" name="Freeform 66">
              <a:extLst>
                <a:ext uri="{FF2B5EF4-FFF2-40B4-BE49-F238E27FC236}">
                  <a16:creationId xmlns:a16="http://schemas.microsoft.com/office/drawing/2014/main" id="{A4C918D4-A62E-5F2D-8179-7A0DB9D0653D}"/>
                </a:ext>
              </a:extLst>
            </p:cNvPr>
            <p:cNvSpPr>
              <a:spLocks/>
            </p:cNvSpPr>
            <p:nvPr/>
          </p:nvSpPr>
          <p:spPr bwMode="auto">
            <a:xfrm>
              <a:off x="5949889" y="3376664"/>
              <a:ext cx="42871" cy="39604"/>
            </a:xfrm>
            <a:custGeom>
              <a:avLst/>
              <a:gdLst>
                <a:gd name="T0" fmla="*/ 4 w 30"/>
                <a:gd name="T1" fmla="*/ 0 h 29"/>
                <a:gd name="T2" fmla="*/ 4 w 30"/>
                <a:gd name="T3" fmla="*/ 0 h 29"/>
                <a:gd name="T4" fmla="*/ 2 w 30"/>
                <a:gd name="T5" fmla="*/ 5 h 29"/>
                <a:gd name="T6" fmla="*/ 0 w 30"/>
                <a:gd name="T7" fmla="*/ 8 h 29"/>
                <a:gd name="T8" fmla="*/ 16 w 30"/>
                <a:gd name="T9" fmla="*/ 29 h 29"/>
                <a:gd name="T10" fmla="*/ 16 w 30"/>
                <a:gd name="T11" fmla="*/ 29 h 29"/>
                <a:gd name="T12" fmla="*/ 21 w 30"/>
                <a:gd name="T13" fmla="*/ 23 h 29"/>
                <a:gd name="T14" fmla="*/ 24 w 30"/>
                <a:gd name="T15" fmla="*/ 17 h 29"/>
                <a:gd name="T16" fmla="*/ 28 w 30"/>
                <a:gd name="T17" fmla="*/ 11 h 29"/>
                <a:gd name="T18" fmla="*/ 30 w 30"/>
                <a:gd name="T19" fmla="*/ 3 h 29"/>
                <a:gd name="T20" fmla="*/ 4 w 30"/>
                <a:gd name="T2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29">
                  <a:moveTo>
                    <a:pt x="4" y="0"/>
                  </a:moveTo>
                  <a:lnTo>
                    <a:pt x="4" y="0"/>
                  </a:lnTo>
                  <a:lnTo>
                    <a:pt x="2" y="5"/>
                  </a:lnTo>
                  <a:lnTo>
                    <a:pt x="0" y="8"/>
                  </a:lnTo>
                  <a:lnTo>
                    <a:pt x="16" y="29"/>
                  </a:lnTo>
                  <a:lnTo>
                    <a:pt x="16" y="29"/>
                  </a:lnTo>
                  <a:lnTo>
                    <a:pt x="21" y="23"/>
                  </a:lnTo>
                  <a:lnTo>
                    <a:pt x="24" y="17"/>
                  </a:lnTo>
                  <a:lnTo>
                    <a:pt x="28" y="11"/>
                  </a:lnTo>
                  <a:lnTo>
                    <a:pt x="30" y="3"/>
                  </a:lnTo>
                  <a:lnTo>
                    <a:pt x="4" y="0"/>
                  </a:ln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7" name="Freeform 67">
              <a:extLst>
                <a:ext uri="{FF2B5EF4-FFF2-40B4-BE49-F238E27FC236}">
                  <a16:creationId xmlns:a16="http://schemas.microsoft.com/office/drawing/2014/main" id="{1AC0E4BE-4B02-05F1-C6EF-2C59C7C05246}"/>
                </a:ext>
              </a:extLst>
            </p:cNvPr>
            <p:cNvSpPr>
              <a:spLocks/>
            </p:cNvSpPr>
            <p:nvPr/>
          </p:nvSpPr>
          <p:spPr bwMode="auto">
            <a:xfrm>
              <a:off x="5932740" y="3304285"/>
              <a:ext cx="62877" cy="65551"/>
            </a:xfrm>
            <a:custGeom>
              <a:avLst/>
              <a:gdLst>
                <a:gd name="T0" fmla="*/ 0 w 44"/>
                <a:gd name="T1" fmla="*/ 27 h 48"/>
                <a:gd name="T2" fmla="*/ 0 w 44"/>
                <a:gd name="T3" fmla="*/ 27 h 48"/>
                <a:gd name="T4" fmla="*/ 7 w 44"/>
                <a:gd name="T5" fmla="*/ 28 h 48"/>
                <a:gd name="T6" fmla="*/ 12 w 44"/>
                <a:gd name="T7" fmla="*/ 33 h 48"/>
                <a:gd name="T8" fmla="*/ 15 w 44"/>
                <a:gd name="T9" fmla="*/ 38 h 48"/>
                <a:gd name="T10" fmla="*/ 18 w 44"/>
                <a:gd name="T11" fmla="*/ 44 h 48"/>
                <a:gd name="T12" fmla="*/ 44 w 44"/>
                <a:gd name="T13" fmla="*/ 48 h 48"/>
                <a:gd name="T14" fmla="*/ 44 w 44"/>
                <a:gd name="T15" fmla="*/ 48 h 48"/>
                <a:gd name="T16" fmla="*/ 44 w 44"/>
                <a:gd name="T17" fmla="*/ 47 h 48"/>
                <a:gd name="T18" fmla="*/ 44 w 44"/>
                <a:gd name="T19" fmla="*/ 47 h 48"/>
                <a:gd name="T20" fmla="*/ 42 w 44"/>
                <a:gd name="T21" fmla="*/ 38 h 48"/>
                <a:gd name="T22" fmla="*/ 40 w 44"/>
                <a:gd name="T23" fmla="*/ 29 h 48"/>
                <a:gd name="T24" fmla="*/ 36 w 44"/>
                <a:gd name="T25" fmla="*/ 22 h 48"/>
                <a:gd name="T26" fmla="*/ 31 w 44"/>
                <a:gd name="T27" fmla="*/ 16 h 48"/>
                <a:gd name="T28" fmla="*/ 25 w 44"/>
                <a:gd name="T29" fmla="*/ 10 h 48"/>
                <a:gd name="T30" fmla="*/ 18 w 44"/>
                <a:gd name="T31" fmla="*/ 5 h 48"/>
                <a:gd name="T32" fmla="*/ 9 w 44"/>
                <a:gd name="T33" fmla="*/ 2 h 48"/>
                <a:gd name="T34" fmla="*/ 0 w 44"/>
                <a:gd name="T35" fmla="*/ 0 h 48"/>
                <a:gd name="T36" fmla="*/ 0 w 44"/>
                <a:gd name="T37" fmla="*/ 2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 h="48">
                  <a:moveTo>
                    <a:pt x="0" y="27"/>
                  </a:moveTo>
                  <a:lnTo>
                    <a:pt x="0" y="27"/>
                  </a:lnTo>
                  <a:lnTo>
                    <a:pt x="7" y="28"/>
                  </a:lnTo>
                  <a:lnTo>
                    <a:pt x="12" y="33"/>
                  </a:lnTo>
                  <a:lnTo>
                    <a:pt x="15" y="38"/>
                  </a:lnTo>
                  <a:lnTo>
                    <a:pt x="18" y="44"/>
                  </a:lnTo>
                  <a:lnTo>
                    <a:pt x="44" y="48"/>
                  </a:lnTo>
                  <a:lnTo>
                    <a:pt x="44" y="48"/>
                  </a:lnTo>
                  <a:lnTo>
                    <a:pt x="44" y="47"/>
                  </a:lnTo>
                  <a:lnTo>
                    <a:pt x="44" y="47"/>
                  </a:lnTo>
                  <a:lnTo>
                    <a:pt x="42" y="38"/>
                  </a:lnTo>
                  <a:lnTo>
                    <a:pt x="40" y="29"/>
                  </a:lnTo>
                  <a:lnTo>
                    <a:pt x="36" y="22"/>
                  </a:lnTo>
                  <a:lnTo>
                    <a:pt x="31" y="16"/>
                  </a:lnTo>
                  <a:lnTo>
                    <a:pt x="25" y="10"/>
                  </a:lnTo>
                  <a:lnTo>
                    <a:pt x="18" y="5"/>
                  </a:lnTo>
                  <a:lnTo>
                    <a:pt x="9" y="2"/>
                  </a:lnTo>
                  <a:lnTo>
                    <a:pt x="0" y="0"/>
                  </a:lnTo>
                  <a:lnTo>
                    <a:pt x="0" y="27"/>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8" name="Freeform 68">
              <a:extLst>
                <a:ext uri="{FF2B5EF4-FFF2-40B4-BE49-F238E27FC236}">
                  <a16:creationId xmlns:a16="http://schemas.microsoft.com/office/drawing/2014/main" id="{1FC6C340-EC7A-7A2F-A6B7-D1A4F01820A1}"/>
                </a:ext>
              </a:extLst>
            </p:cNvPr>
            <p:cNvSpPr>
              <a:spLocks/>
            </p:cNvSpPr>
            <p:nvPr/>
          </p:nvSpPr>
          <p:spPr bwMode="auto">
            <a:xfrm>
              <a:off x="5874151" y="3304285"/>
              <a:ext cx="47158" cy="45067"/>
            </a:xfrm>
            <a:custGeom>
              <a:avLst/>
              <a:gdLst>
                <a:gd name="T0" fmla="*/ 22 w 33"/>
                <a:gd name="T1" fmla="*/ 33 h 33"/>
                <a:gd name="T2" fmla="*/ 22 w 33"/>
                <a:gd name="T3" fmla="*/ 33 h 33"/>
                <a:gd name="T4" fmla="*/ 27 w 33"/>
                <a:gd name="T5" fmla="*/ 28 h 33"/>
                <a:gd name="T6" fmla="*/ 33 w 33"/>
                <a:gd name="T7" fmla="*/ 27 h 33"/>
                <a:gd name="T8" fmla="*/ 33 w 33"/>
                <a:gd name="T9" fmla="*/ 0 h 33"/>
                <a:gd name="T10" fmla="*/ 33 w 33"/>
                <a:gd name="T11" fmla="*/ 0 h 33"/>
                <a:gd name="T12" fmla="*/ 23 w 33"/>
                <a:gd name="T13" fmla="*/ 2 h 33"/>
                <a:gd name="T14" fmla="*/ 14 w 33"/>
                <a:gd name="T15" fmla="*/ 6 h 33"/>
                <a:gd name="T16" fmla="*/ 7 w 33"/>
                <a:gd name="T17" fmla="*/ 12 h 33"/>
                <a:gd name="T18" fmla="*/ 0 w 33"/>
                <a:gd name="T19" fmla="*/ 19 h 33"/>
                <a:gd name="T20" fmla="*/ 22 w 33"/>
                <a:gd name="T21"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3">
                  <a:moveTo>
                    <a:pt x="22" y="33"/>
                  </a:moveTo>
                  <a:lnTo>
                    <a:pt x="22" y="33"/>
                  </a:lnTo>
                  <a:lnTo>
                    <a:pt x="27" y="28"/>
                  </a:lnTo>
                  <a:lnTo>
                    <a:pt x="33" y="27"/>
                  </a:lnTo>
                  <a:lnTo>
                    <a:pt x="33" y="0"/>
                  </a:lnTo>
                  <a:lnTo>
                    <a:pt x="33" y="0"/>
                  </a:lnTo>
                  <a:lnTo>
                    <a:pt x="23" y="2"/>
                  </a:lnTo>
                  <a:lnTo>
                    <a:pt x="14" y="6"/>
                  </a:lnTo>
                  <a:lnTo>
                    <a:pt x="7" y="12"/>
                  </a:lnTo>
                  <a:lnTo>
                    <a:pt x="0" y="19"/>
                  </a:lnTo>
                  <a:lnTo>
                    <a:pt x="22" y="33"/>
                  </a:lnTo>
                  <a:close/>
                </a:path>
              </a:pathLst>
            </a:custGeom>
            <a:solidFill>
              <a:srgbClr val="15B0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9" name="Freeform 69">
              <a:extLst>
                <a:ext uri="{FF2B5EF4-FFF2-40B4-BE49-F238E27FC236}">
                  <a16:creationId xmlns:a16="http://schemas.microsoft.com/office/drawing/2014/main" id="{1D1BC845-C7E8-577D-187A-844046C58903}"/>
                </a:ext>
              </a:extLst>
            </p:cNvPr>
            <p:cNvSpPr>
              <a:spLocks/>
            </p:cNvSpPr>
            <p:nvPr/>
          </p:nvSpPr>
          <p:spPr bwMode="auto">
            <a:xfrm>
              <a:off x="5861289" y="3341158"/>
              <a:ext cx="100032" cy="90132"/>
            </a:xfrm>
            <a:custGeom>
              <a:avLst/>
              <a:gdLst>
                <a:gd name="T0" fmla="*/ 55 w 70"/>
                <a:gd name="T1" fmla="*/ 39 h 66"/>
                <a:gd name="T2" fmla="*/ 55 w 70"/>
                <a:gd name="T3" fmla="*/ 39 h 66"/>
                <a:gd name="T4" fmla="*/ 50 w 70"/>
                <a:gd name="T5" fmla="*/ 40 h 66"/>
                <a:gd name="T6" fmla="*/ 47 w 70"/>
                <a:gd name="T7" fmla="*/ 40 h 66"/>
                <a:gd name="T8" fmla="*/ 47 w 70"/>
                <a:gd name="T9" fmla="*/ 40 h 66"/>
                <a:gd name="T10" fmla="*/ 42 w 70"/>
                <a:gd name="T11" fmla="*/ 40 h 66"/>
                <a:gd name="T12" fmla="*/ 38 w 70"/>
                <a:gd name="T13" fmla="*/ 39 h 66"/>
                <a:gd name="T14" fmla="*/ 34 w 70"/>
                <a:gd name="T15" fmla="*/ 37 h 66"/>
                <a:gd name="T16" fmla="*/ 32 w 70"/>
                <a:gd name="T17" fmla="*/ 34 h 66"/>
                <a:gd name="T18" fmla="*/ 29 w 70"/>
                <a:gd name="T19" fmla="*/ 32 h 66"/>
                <a:gd name="T20" fmla="*/ 27 w 70"/>
                <a:gd name="T21" fmla="*/ 28 h 66"/>
                <a:gd name="T22" fmla="*/ 26 w 70"/>
                <a:gd name="T23" fmla="*/ 24 h 66"/>
                <a:gd name="T24" fmla="*/ 26 w 70"/>
                <a:gd name="T25" fmla="*/ 20 h 66"/>
                <a:gd name="T26" fmla="*/ 26 w 70"/>
                <a:gd name="T27" fmla="*/ 20 h 66"/>
                <a:gd name="T28" fmla="*/ 27 w 70"/>
                <a:gd name="T29" fmla="*/ 13 h 66"/>
                <a:gd name="T30" fmla="*/ 5 w 70"/>
                <a:gd name="T31" fmla="*/ 0 h 66"/>
                <a:gd name="T32" fmla="*/ 5 w 70"/>
                <a:gd name="T33" fmla="*/ 0 h 66"/>
                <a:gd name="T34" fmla="*/ 1 w 70"/>
                <a:gd name="T35" fmla="*/ 10 h 66"/>
                <a:gd name="T36" fmla="*/ 0 w 70"/>
                <a:gd name="T37" fmla="*/ 20 h 66"/>
                <a:gd name="T38" fmla="*/ 0 w 70"/>
                <a:gd name="T39" fmla="*/ 20 h 66"/>
                <a:gd name="T40" fmla="*/ 1 w 70"/>
                <a:gd name="T41" fmla="*/ 29 h 66"/>
                <a:gd name="T42" fmla="*/ 4 w 70"/>
                <a:gd name="T43" fmla="*/ 38 h 66"/>
                <a:gd name="T44" fmla="*/ 9 w 70"/>
                <a:gd name="T45" fmla="*/ 45 h 66"/>
                <a:gd name="T46" fmla="*/ 13 w 70"/>
                <a:gd name="T47" fmla="*/ 53 h 66"/>
                <a:gd name="T48" fmla="*/ 21 w 70"/>
                <a:gd name="T49" fmla="*/ 58 h 66"/>
                <a:gd name="T50" fmla="*/ 28 w 70"/>
                <a:gd name="T51" fmla="*/ 63 h 66"/>
                <a:gd name="T52" fmla="*/ 37 w 70"/>
                <a:gd name="T53" fmla="*/ 65 h 66"/>
                <a:gd name="T54" fmla="*/ 47 w 70"/>
                <a:gd name="T55" fmla="*/ 66 h 66"/>
                <a:gd name="T56" fmla="*/ 47 w 70"/>
                <a:gd name="T57" fmla="*/ 66 h 66"/>
                <a:gd name="T58" fmla="*/ 53 w 70"/>
                <a:gd name="T59" fmla="*/ 66 h 66"/>
                <a:gd name="T60" fmla="*/ 59 w 70"/>
                <a:gd name="T61" fmla="*/ 65 h 66"/>
                <a:gd name="T62" fmla="*/ 65 w 70"/>
                <a:gd name="T63" fmla="*/ 63 h 66"/>
                <a:gd name="T64" fmla="*/ 70 w 70"/>
                <a:gd name="T65" fmla="*/ 60 h 66"/>
                <a:gd name="T66" fmla="*/ 55 w 70"/>
                <a:gd name="T67" fmla="*/ 3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0" h="66">
                  <a:moveTo>
                    <a:pt x="55" y="39"/>
                  </a:moveTo>
                  <a:lnTo>
                    <a:pt x="55" y="39"/>
                  </a:lnTo>
                  <a:lnTo>
                    <a:pt x="50" y="40"/>
                  </a:lnTo>
                  <a:lnTo>
                    <a:pt x="47" y="40"/>
                  </a:lnTo>
                  <a:lnTo>
                    <a:pt x="47" y="40"/>
                  </a:lnTo>
                  <a:lnTo>
                    <a:pt x="42" y="40"/>
                  </a:lnTo>
                  <a:lnTo>
                    <a:pt x="38" y="39"/>
                  </a:lnTo>
                  <a:lnTo>
                    <a:pt x="34" y="37"/>
                  </a:lnTo>
                  <a:lnTo>
                    <a:pt x="32" y="34"/>
                  </a:lnTo>
                  <a:lnTo>
                    <a:pt x="29" y="32"/>
                  </a:lnTo>
                  <a:lnTo>
                    <a:pt x="27" y="28"/>
                  </a:lnTo>
                  <a:lnTo>
                    <a:pt x="26" y="24"/>
                  </a:lnTo>
                  <a:lnTo>
                    <a:pt x="26" y="20"/>
                  </a:lnTo>
                  <a:lnTo>
                    <a:pt x="26" y="20"/>
                  </a:lnTo>
                  <a:lnTo>
                    <a:pt x="27" y="13"/>
                  </a:lnTo>
                  <a:lnTo>
                    <a:pt x="5" y="0"/>
                  </a:lnTo>
                  <a:lnTo>
                    <a:pt x="5" y="0"/>
                  </a:lnTo>
                  <a:lnTo>
                    <a:pt x="1" y="10"/>
                  </a:lnTo>
                  <a:lnTo>
                    <a:pt x="0" y="20"/>
                  </a:lnTo>
                  <a:lnTo>
                    <a:pt x="0" y="20"/>
                  </a:lnTo>
                  <a:lnTo>
                    <a:pt x="1" y="29"/>
                  </a:lnTo>
                  <a:lnTo>
                    <a:pt x="4" y="38"/>
                  </a:lnTo>
                  <a:lnTo>
                    <a:pt x="9" y="45"/>
                  </a:lnTo>
                  <a:lnTo>
                    <a:pt x="13" y="53"/>
                  </a:lnTo>
                  <a:lnTo>
                    <a:pt x="21" y="58"/>
                  </a:lnTo>
                  <a:lnTo>
                    <a:pt x="28" y="63"/>
                  </a:lnTo>
                  <a:lnTo>
                    <a:pt x="37" y="65"/>
                  </a:lnTo>
                  <a:lnTo>
                    <a:pt x="47" y="66"/>
                  </a:lnTo>
                  <a:lnTo>
                    <a:pt x="47" y="66"/>
                  </a:lnTo>
                  <a:lnTo>
                    <a:pt x="53" y="66"/>
                  </a:lnTo>
                  <a:lnTo>
                    <a:pt x="59" y="65"/>
                  </a:lnTo>
                  <a:lnTo>
                    <a:pt x="65" y="63"/>
                  </a:lnTo>
                  <a:lnTo>
                    <a:pt x="70" y="60"/>
                  </a:lnTo>
                  <a:lnTo>
                    <a:pt x="55" y="39"/>
                  </a:lnTo>
                  <a:close/>
                </a:path>
              </a:pathLst>
            </a:custGeom>
            <a:solidFill>
              <a:srgbClr val="2C58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0" name="Rectangle 70">
              <a:extLst>
                <a:ext uri="{FF2B5EF4-FFF2-40B4-BE49-F238E27FC236}">
                  <a16:creationId xmlns:a16="http://schemas.microsoft.com/office/drawing/2014/main" id="{574D496B-3BA6-A4CB-ECA7-3F23F401D2D2}"/>
                </a:ext>
              </a:extLst>
            </p:cNvPr>
            <p:cNvSpPr>
              <a:spLocks noChangeArrowheads="1"/>
            </p:cNvSpPr>
            <p:nvPr/>
          </p:nvSpPr>
          <p:spPr bwMode="auto">
            <a:xfrm>
              <a:off x="6025627" y="3304285"/>
              <a:ext cx="161481" cy="16388"/>
            </a:xfrm>
            <a:prstGeom prst="rect">
              <a:avLst/>
            </a:prstGeom>
            <a:solidFill>
              <a:srgbClr val="15B0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1" name="Rectangle 71">
              <a:extLst>
                <a:ext uri="{FF2B5EF4-FFF2-40B4-BE49-F238E27FC236}">
                  <a16:creationId xmlns:a16="http://schemas.microsoft.com/office/drawing/2014/main" id="{61602DA9-2EE2-C2F2-30F6-6F2CD3C419EA}"/>
                </a:ext>
              </a:extLst>
            </p:cNvPr>
            <p:cNvSpPr>
              <a:spLocks noChangeArrowheads="1"/>
            </p:cNvSpPr>
            <p:nvPr/>
          </p:nvSpPr>
          <p:spPr bwMode="auto">
            <a:xfrm>
              <a:off x="6025627" y="3354814"/>
              <a:ext cx="161481" cy="15023"/>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2" name="Rectangle 72">
              <a:extLst>
                <a:ext uri="{FF2B5EF4-FFF2-40B4-BE49-F238E27FC236}">
                  <a16:creationId xmlns:a16="http://schemas.microsoft.com/office/drawing/2014/main" id="{3345FDC7-598E-5A39-B5CD-D4006F5A5CC8}"/>
                </a:ext>
              </a:extLst>
            </p:cNvPr>
            <p:cNvSpPr>
              <a:spLocks noChangeArrowheads="1"/>
            </p:cNvSpPr>
            <p:nvPr/>
          </p:nvSpPr>
          <p:spPr bwMode="auto">
            <a:xfrm>
              <a:off x="6025627" y="3402611"/>
              <a:ext cx="161481" cy="17754"/>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3" name="Rectangle 73">
              <a:extLst>
                <a:ext uri="{FF2B5EF4-FFF2-40B4-BE49-F238E27FC236}">
                  <a16:creationId xmlns:a16="http://schemas.microsoft.com/office/drawing/2014/main" id="{0E3567C0-00EA-5F6A-10B6-7EA39BA076BE}"/>
                </a:ext>
              </a:extLst>
            </p:cNvPr>
            <p:cNvSpPr>
              <a:spLocks noChangeArrowheads="1"/>
            </p:cNvSpPr>
            <p:nvPr/>
          </p:nvSpPr>
          <p:spPr bwMode="auto">
            <a:xfrm>
              <a:off x="6025627" y="3506400"/>
              <a:ext cx="112894" cy="15023"/>
            </a:xfrm>
            <a:prstGeom prst="rect">
              <a:avLst/>
            </a:prstGeom>
            <a:solidFill>
              <a:srgbClr val="15B0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4" name="Rectangle 74">
              <a:extLst>
                <a:ext uri="{FF2B5EF4-FFF2-40B4-BE49-F238E27FC236}">
                  <a16:creationId xmlns:a16="http://schemas.microsoft.com/office/drawing/2014/main" id="{32B96A6A-9345-3108-3651-F71E1B6BE6FB}"/>
                </a:ext>
              </a:extLst>
            </p:cNvPr>
            <p:cNvSpPr>
              <a:spLocks noChangeArrowheads="1"/>
            </p:cNvSpPr>
            <p:nvPr/>
          </p:nvSpPr>
          <p:spPr bwMode="auto">
            <a:xfrm>
              <a:off x="6025627" y="3554198"/>
              <a:ext cx="161481" cy="17754"/>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5" name="Rectangle 75">
              <a:extLst>
                <a:ext uri="{FF2B5EF4-FFF2-40B4-BE49-F238E27FC236}">
                  <a16:creationId xmlns:a16="http://schemas.microsoft.com/office/drawing/2014/main" id="{42AC68A9-C596-D91E-ABF6-4CB084DC1356}"/>
                </a:ext>
              </a:extLst>
            </p:cNvPr>
            <p:cNvSpPr>
              <a:spLocks noChangeArrowheads="1"/>
            </p:cNvSpPr>
            <p:nvPr/>
          </p:nvSpPr>
          <p:spPr bwMode="auto">
            <a:xfrm>
              <a:off x="6025627" y="3604726"/>
              <a:ext cx="161481" cy="16388"/>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grpSp>
        <p:nvGrpSpPr>
          <p:cNvPr id="437" name="Group 436">
            <a:extLst>
              <a:ext uri="{FF2B5EF4-FFF2-40B4-BE49-F238E27FC236}">
                <a16:creationId xmlns:a16="http://schemas.microsoft.com/office/drawing/2014/main" id="{507244DB-2886-BE84-2B6C-6B9290B4305A}"/>
              </a:ext>
            </a:extLst>
          </p:cNvPr>
          <p:cNvGrpSpPr/>
          <p:nvPr/>
        </p:nvGrpSpPr>
        <p:grpSpPr>
          <a:xfrm>
            <a:off x="1581928" y="2594833"/>
            <a:ext cx="1326551" cy="1141859"/>
            <a:chOff x="2532615" y="2953500"/>
            <a:chExt cx="1061632" cy="937065"/>
          </a:xfrm>
        </p:grpSpPr>
        <p:sp>
          <p:nvSpPr>
            <p:cNvPr id="397" name="Freeform 13">
              <a:extLst>
                <a:ext uri="{FF2B5EF4-FFF2-40B4-BE49-F238E27FC236}">
                  <a16:creationId xmlns:a16="http://schemas.microsoft.com/office/drawing/2014/main" id="{90CC1C98-2886-4151-729F-65D2469BDD89}"/>
                </a:ext>
              </a:extLst>
            </p:cNvPr>
            <p:cNvSpPr>
              <a:spLocks/>
            </p:cNvSpPr>
            <p:nvPr/>
          </p:nvSpPr>
          <p:spPr bwMode="auto">
            <a:xfrm>
              <a:off x="2532615" y="2953500"/>
              <a:ext cx="1061632" cy="937065"/>
            </a:xfrm>
            <a:custGeom>
              <a:avLst/>
              <a:gdLst>
                <a:gd name="T0" fmla="*/ 368 w 701"/>
                <a:gd name="T1" fmla="*/ 0 h 701"/>
                <a:gd name="T2" fmla="*/ 421 w 701"/>
                <a:gd name="T3" fmla="*/ 7 h 701"/>
                <a:gd name="T4" fmla="*/ 470 w 701"/>
                <a:gd name="T5" fmla="*/ 21 h 701"/>
                <a:gd name="T6" fmla="*/ 517 w 701"/>
                <a:gd name="T7" fmla="*/ 42 h 701"/>
                <a:gd name="T8" fmla="*/ 560 w 701"/>
                <a:gd name="T9" fmla="*/ 70 h 701"/>
                <a:gd name="T10" fmla="*/ 599 w 701"/>
                <a:gd name="T11" fmla="*/ 103 h 701"/>
                <a:gd name="T12" fmla="*/ 631 w 701"/>
                <a:gd name="T13" fmla="*/ 141 h 701"/>
                <a:gd name="T14" fmla="*/ 659 w 701"/>
                <a:gd name="T15" fmla="*/ 183 h 701"/>
                <a:gd name="T16" fmla="*/ 680 w 701"/>
                <a:gd name="T17" fmla="*/ 230 h 701"/>
                <a:gd name="T18" fmla="*/ 693 w 701"/>
                <a:gd name="T19" fmla="*/ 280 h 701"/>
                <a:gd name="T20" fmla="*/ 701 w 701"/>
                <a:gd name="T21" fmla="*/ 332 h 701"/>
                <a:gd name="T22" fmla="*/ 701 w 701"/>
                <a:gd name="T23" fmla="*/ 368 h 701"/>
                <a:gd name="T24" fmla="*/ 693 w 701"/>
                <a:gd name="T25" fmla="*/ 421 h 701"/>
                <a:gd name="T26" fmla="*/ 680 w 701"/>
                <a:gd name="T27" fmla="*/ 470 h 701"/>
                <a:gd name="T28" fmla="*/ 659 w 701"/>
                <a:gd name="T29" fmla="*/ 517 h 701"/>
                <a:gd name="T30" fmla="*/ 631 w 701"/>
                <a:gd name="T31" fmla="*/ 560 h 701"/>
                <a:gd name="T32" fmla="*/ 599 w 701"/>
                <a:gd name="T33" fmla="*/ 599 h 701"/>
                <a:gd name="T34" fmla="*/ 560 w 701"/>
                <a:gd name="T35" fmla="*/ 631 h 701"/>
                <a:gd name="T36" fmla="*/ 517 w 701"/>
                <a:gd name="T37" fmla="*/ 659 h 701"/>
                <a:gd name="T38" fmla="*/ 470 w 701"/>
                <a:gd name="T39" fmla="*/ 680 h 701"/>
                <a:gd name="T40" fmla="*/ 421 w 701"/>
                <a:gd name="T41" fmla="*/ 694 h 701"/>
                <a:gd name="T42" fmla="*/ 368 w 701"/>
                <a:gd name="T43" fmla="*/ 701 h 701"/>
                <a:gd name="T44" fmla="*/ 332 w 701"/>
                <a:gd name="T45" fmla="*/ 701 h 701"/>
                <a:gd name="T46" fmla="*/ 280 w 701"/>
                <a:gd name="T47" fmla="*/ 694 h 701"/>
                <a:gd name="T48" fmla="*/ 230 w 701"/>
                <a:gd name="T49" fmla="*/ 680 h 701"/>
                <a:gd name="T50" fmla="*/ 183 w 701"/>
                <a:gd name="T51" fmla="*/ 659 h 701"/>
                <a:gd name="T52" fmla="*/ 141 w 701"/>
                <a:gd name="T53" fmla="*/ 631 h 701"/>
                <a:gd name="T54" fmla="*/ 103 w 701"/>
                <a:gd name="T55" fmla="*/ 599 h 701"/>
                <a:gd name="T56" fmla="*/ 69 w 701"/>
                <a:gd name="T57" fmla="*/ 560 h 701"/>
                <a:gd name="T58" fmla="*/ 42 w 701"/>
                <a:gd name="T59" fmla="*/ 517 h 701"/>
                <a:gd name="T60" fmla="*/ 21 w 701"/>
                <a:gd name="T61" fmla="*/ 470 h 701"/>
                <a:gd name="T62" fmla="*/ 7 w 701"/>
                <a:gd name="T63" fmla="*/ 421 h 701"/>
                <a:gd name="T64" fmla="*/ 0 w 701"/>
                <a:gd name="T65" fmla="*/ 368 h 701"/>
                <a:gd name="T66" fmla="*/ 0 w 701"/>
                <a:gd name="T67" fmla="*/ 332 h 701"/>
                <a:gd name="T68" fmla="*/ 7 w 701"/>
                <a:gd name="T69" fmla="*/ 280 h 701"/>
                <a:gd name="T70" fmla="*/ 21 w 701"/>
                <a:gd name="T71" fmla="*/ 230 h 701"/>
                <a:gd name="T72" fmla="*/ 42 w 701"/>
                <a:gd name="T73" fmla="*/ 183 h 701"/>
                <a:gd name="T74" fmla="*/ 69 w 701"/>
                <a:gd name="T75" fmla="*/ 141 h 701"/>
                <a:gd name="T76" fmla="*/ 103 w 701"/>
                <a:gd name="T77" fmla="*/ 103 h 701"/>
                <a:gd name="T78" fmla="*/ 141 w 701"/>
                <a:gd name="T79" fmla="*/ 70 h 701"/>
                <a:gd name="T80" fmla="*/ 183 w 701"/>
                <a:gd name="T81" fmla="*/ 42 h 701"/>
                <a:gd name="T82" fmla="*/ 230 w 701"/>
                <a:gd name="T83" fmla="*/ 21 h 701"/>
                <a:gd name="T84" fmla="*/ 280 w 701"/>
                <a:gd name="T85" fmla="*/ 7 h 701"/>
                <a:gd name="T86" fmla="*/ 332 w 701"/>
                <a:gd name="T87" fmla="*/ 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1">
                  <a:moveTo>
                    <a:pt x="351" y="0"/>
                  </a:moveTo>
                  <a:lnTo>
                    <a:pt x="351" y="0"/>
                  </a:lnTo>
                  <a:lnTo>
                    <a:pt x="368" y="0"/>
                  </a:lnTo>
                  <a:lnTo>
                    <a:pt x="386" y="2"/>
                  </a:lnTo>
                  <a:lnTo>
                    <a:pt x="404" y="4"/>
                  </a:lnTo>
                  <a:lnTo>
                    <a:pt x="421" y="7"/>
                  </a:lnTo>
                  <a:lnTo>
                    <a:pt x="438" y="12"/>
                  </a:lnTo>
                  <a:lnTo>
                    <a:pt x="454" y="15"/>
                  </a:lnTo>
                  <a:lnTo>
                    <a:pt x="470" y="21"/>
                  </a:lnTo>
                  <a:lnTo>
                    <a:pt x="486" y="28"/>
                  </a:lnTo>
                  <a:lnTo>
                    <a:pt x="502" y="35"/>
                  </a:lnTo>
                  <a:lnTo>
                    <a:pt x="517" y="42"/>
                  </a:lnTo>
                  <a:lnTo>
                    <a:pt x="532" y="51"/>
                  </a:lnTo>
                  <a:lnTo>
                    <a:pt x="547" y="60"/>
                  </a:lnTo>
                  <a:lnTo>
                    <a:pt x="560" y="70"/>
                  </a:lnTo>
                  <a:lnTo>
                    <a:pt x="574" y="81"/>
                  </a:lnTo>
                  <a:lnTo>
                    <a:pt x="586" y="90"/>
                  </a:lnTo>
                  <a:lnTo>
                    <a:pt x="599" y="103"/>
                  </a:lnTo>
                  <a:lnTo>
                    <a:pt x="610" y="115"/>
                  </a:lnTo>
                  <a:lnTo>
                    <a:pt x="621" y="128"/>
                  </a:lnTo>
                  <a:lnTo>
                    <a:pt x="631" y="141"/>
                  </a:lnTo>
                  <a:lnTo>
                    <a:pt x="640" y="155"/>
                  </a:lnTo>
                  <a:lnTo>
                    <a:pt x="650" y="168"/>
                  </a:lnTo>
                  <a:lnTo>
                    <a:pt x="659" y="183"/>
                  </a:lnTo>
                  <a:lnTo>
                    <a:pt x="666" y="199"/>
                  </a:lnTo>
                  <a:lnTo>
                    <a:pt x="674" y="214"/>
                  </a:lnTo>
                  <a:lnTo>
                    <a:pt x="680" y="230"/>
                  </a:lnTo>
                  <a:lnTo>
                    <a:pt x="685" y="246"/>
                  </a:lnTo>
                  <a:lnTo>
                    <a:pt x="690" y="263"/>
                  </a:lnTo>
                  <a:lnTo>
                    <a:pt x="693" y="280"/>
                  </a:lnTo>
                  <a:lnTo>
                    <a:pt x="697" y="298"/>
                  </a:lnTo>
                  <a:lnTo>
                    <a:pt x="698" y="315"/>
                  </a:lnTo>
                  <a:lnTo>
                    <a:pt x="701" y="332"/>
                  </a:lnTo>
                  <a:lnTo>
                    <a:pt x="701" y="351"/>
                  </a:lnTo>
                  <a:lnTo>
                    <a:pt x="701" y="351"/>
                  </a:lnTo>
                  <a:lnTo>
                    <a:pt x="701" y="368"/>
                  </a:lnTo>
                  <a:lnTo>
                    <a:pt x="698" y="387"/>
                  </a:lnTo>
                  <a:lnTo>
                    <a:pt x="697" y="404"/>
                  </a:lnTo>
                  <a:lnTo>
                    <a:pt x="693" y="421"/>
                  </a:lnTo>
                  <a:lnTo>
                    <a:pt x="690" y="438"/>
                  </a:lnTo>
                  <a:lnTo>
                    <a:pt x="685" y="454"/>
                  </a:lnTo>
                  <a:lnTo>
                    <a:pt x="680" y="470"/>
                  </a:lnTo>
                  <a:lnTo>
                    <a:pt x="674" y="486"/>
                  </a:lnTo>
                  <a:lnTo>
                    <a:pt x="666" y="503"/>
                  </a:lnTo>
                  <a:lnTo>
                    <a:pt x="659" y="517"/>
                  </a:lnTo>
                  <a:lnTo>
                    <a:pt x="650" y="532"/>
                  </a:lnTo>
                  <a:lnTo>
                    <a:pt x="640" y="547"/>
                  </a:lnTo>
                  <a:lnTo>
                    <a:pt x="631" y="560"/>
                  </a:lnTo>
                  <a:lnTo>
                    <a:pt x="621" y="574"/>
                  </a:lnTo>
                  <a:lnTo>
                    <a:pt x="610" y="586"/>
                  </a:lnTo>
                  <a:lnTo>
                    <a:pt x="599" y="599"/>
                  </a:lnTo>
                  <a:lnTo>
                    <a:pt x="586" y="610"/>
                  </a:lnTo>
                  <a:lnTo>
                    <a:pt x="574" y="621"/>
                  </a:lnTo>
                  <a:lnTo>
                    <a:pt x="560" y="631"/>
                  </a:lnTo>
                  <a:lnTo>
                    <a:pt x="547" y="641"/>
                  </a:lnTo>
                  <a:lnTo>
                    <a:pt x="532" y="651"/>
                  </a:lnTo>
                  <a:lnTo>
                    <a:pt x="517" y="659"/>
                  </a:lnTo>
                  <a:lnTo>
                    <a:pt x="502" y="667"/>
                  </a:lnTo>
                  <a:lnTo>
                    <a:pt x="486" y="674"/>
                  </a:lnTo>
                  <a:lnTo>
                    <a:pt x="470" y="680"/>
                  </a:lnTo>
                  <a:lnTo>
                    <a:pt x="454" y="685"/>
                  </a:lnTo>
                  <a:lnTo>
                    <a:pt x="438" y="690"/>
                  </a:lnTo>
                  <a:lnTo>
                    <a:pt x="421" y="694"/>
                  </a:lnTo>
                  <a:lnTo>
                    <a:pt x="404" y="697"/>
                  </a:lnTo>
                  <a:lnTo>
                    <a:pt x="386" y="699"/>
                  </a:lnTo>
                  <a:lnTo>
                    <a:pt x="368" y="701"/>
                  </a:lnTo>
                  <a:lnTo>
                    <a:pt x="351" y="701"/>
                  </a:lnTo>
                  <a:lnTo>
                    <a:pt x="351" y="701"/>
                  </a:lnTo>
                  <a:lnTo>
                    <a:pt x="332" y="701"/>
                  </a:lnTo>
                  <a:lnTo>
                    <a:pt x="315" y="699"/>
                  </a:lnTo>
                  <a:lnTo>
                    <a:pt x="298" y="697"/>
                  </a:lnTo>
                  <a:lnTo>
                    <a:pt x="280" y="694"/>
                  </a:lnTo>
                  <a:lnTo>
                    <a:pt x="263" y="690"/>
                  </a:lnTo>
                  <a:lnTo>
                    <a:pt x="246" y="685"/>
                  </a:lnTo>
                  <a:lnTo>
                    <a:pt x="230" y="680"/>
                  </a:lnTo>
                  <a:lnTo>
                    <a:pt x="214" y="674"/>
                  </a:lnTo>
                  <a:lnTo>
                    <a:pt x="199" y="667"/>
                  </a:lnTo>
                  <a:lnTo>
                    <a:pt x="183" y="659"/>
                  </a:lnTo>
                  <a:lnTo>
                    <a:pt x="168" y="651"/>
                  </a:lnTo>
                  <a:lnTo>
                    <a:pt x="155" y="641"/>
                  </a:lnTo>
                  <a:lnTo>
                    <a:pt x="141" y="631"/>
                  </a:lnTo>
                  <a:lnTo>
                    <a:pt x="127" y="621"/>
                  </a:lnTo>
                  <a:lnTo>
                    <a:pt x="115" y="610"/>
                  </a:lnTo>
                  <a:lnTo>
                    <a:pt x="103" y="599"/>
                  </a:lnTo>
                  <a:lnTo>
                    <a:pt x="90" y="586"/>
                  </a:lnTo>
                  <a:lnTo>
                    <a:pt x="81" y="574"/>
                  </a:lnTo>
                  <a:lnTo>
                    <a:pt x="69" y="560"/>
                  </a:lnTo>
                  <a:lnTo>
                    <a:pt x="60" y="547"/>
                  </a:lnTo>
                  <a:lnTo>
                    <a:pt x="51" y="532"/>
                  </a:lnTo>
                  <a:lnTo>
                    <a:pt x="42" y="517"/>
                  </a:lnTo>
                  <a:lnTo>
                    <a:pt x="35" y="503"/>
                  </a:lnTo>
                  <a:lnTo>
                    <a:pt x="27" y="486"/>
                  </a:lnTo>
                  <a:lnTo>
                    <a:pt x="21" y="470"/>
                  </a:lnTo>
                  <a:lnTo>
                    <a:pt x="15" y="454"/>
                  </a:lnTo>
                  <a:lnTo>
                    <a:pt x="11" y="438"/>
                  </a:lnTo>
                  <a:lnTo>
                    <a:pt x="7" y="421"/>
                  </a:lnTo>
                  <a:lnTo>
                    <a:pt x="4" y="404"/>
                  </a:lnTo>
                  <a:lnTo>
                    <a:pt x="2" y="387"/>
                  </a:lnTo>
                  <a:lnTo>
                    <a:pt x="0" y="368"/>
                  </a:lnTo>
                  <a:lnTo>
                    <a:pt x="0" y="351"/>
                  </a:lnTo>
                  <a:lnTo>
                    <a:pt x="0" y="351"/>
                  </a:lnTo>
                  <a:lnTo>
                    <a:pt x="0" y="332"/>
                  </a:lnTo>
                  <a:lnTo>
                    <a:pt x="2" y="315"/>
                  </a:lnTo>
                  <a:lnTo>
                    <a:pt x="4" y="298"/>
                  </a:lnTo>
                  <a:lnTo>
                    <a:pt x="7" y="280"/>
                  </a:lnTo>
                  <a:lnTo>
                    <a:pt x="11" y="263"/>
                  </a:lnTo>
                  <a:lnTo>
                    <a:pt x="15" y="246"/>
                  </a:lnTo>
                  <a:lnTo>
                    <a:pt x="21" y="230"/>
                  </a:lnTo>
                  <a:lnTo>
                    <a:pt x="27" y="214"/>
                  </a:lnTo>
                  <a:lnTo>
                    <a:pt x="35" y="199"/>
                  </a:lnTo>
                  <a:lnTo>
                    <a:pt x="42" y="183"/>
                  </a:lnTo>
                  <a:lnTo>
                    <a:pt x="51" y="168"/>
                  </a:lnTo>
                  <a:lnTo>
                    <a:pt x="60" y="155"/>
                  </a:lnTo>
                  <a:lnTo>
                    <a:pt x="69" y="141"/>
                  </a:lnTo>
                  <a:lnTo>
                    <a:pt x="81" y="128"/>
                  </a:lnTo>
                  <a:lnTo>
                    <a:pt x="90" y="115"/>
                  </a:lnTo>
                  <a:lnTo>
                    <a:pt x="103" y="103"/>
                  </a:lnTo>
                  <a:lnTo>
                    <a:pt x="115" y="90"/>
                  </a:lnTo>
                  <a:lnTo>
                    <a:pt x="127" y="81"/>
                  </a:lnTo>
                  <a:lnTo>
                    <a:pt x="141" y="70"/>
                  </a:lnTo>
                  <a:lnTo>
                    <a:pt x="155" y="60"/>
                  </a:lnTo>
                  <a:lnTo>
                    <a:pt x="168" y="51"/>
                  </a:lnTo>
                  <a:lnTo>
                    <a:pt x="183" y="42"/>
                  </a:lnTo>
                  <a:lnTo>
                    <a:pt x="199" y="35"/>
                  </a:lnTo>
                  <a:lnTo>
                    <a:pt x="214" y="28"/>
                  </a:lnTo>
                  <a:lnTo>
                    <a:pt x="230" y="21"/>
                  </a:lnTo>
                  <a:lnTo>
                    <a:pt x="246" y="15"/>
                  </a:lnTo>
                  <a:lnTo>
                    <a:pt x="263" y="12"/>
                  </a:lnTo>
                  <a:lnTo>
                    <a:pt x="280" y="7"/>
                  </a:lnTo>
                  <a:lnTo>
                    <a:pt x="298" y="4"/>
                  </a:lnTo>
                  <a:lnTo>
                    <a:pt x="315" y="2"/>
                  </a:lnTo>
                  <a:lnTo>
                    <a:pt x="332" y="0"/>
                  </a:lnTo>
                  <a:lnTo>
                    <a:pt x="351" y="0"/>
                  </a:lnTo>
                  <a:lnTo>
                    <a:pt x="351" y="0"/>
                  </a:ln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9" name="Freeform 114">
              <a:extLst>
                <a:ext uri="{FF2B5EF4-FFF2-40B4-BE49-F238E27FC236}">
                  <a16:creationId xmlns:a16="http://schemas.microsoft.com/office/drawing/2014/main" id="{7AACE63D-D17B-ED13-1E1A-96CFC7668898}"/>
                </a:ext>
              </a:extLst>
            </p:cNvPr>
            <p:cNvSpPr>
              <a:spLocks/>
            </p:cNvSpPr>
            <p:nvPr/>
          </p:nvSpPr>
          <p:spPr bwMode="auto">
            <a:xfrm>
              <a:off x="2862351" y="3466144"/>
              <a:ext cx="375730" cy="232313"/>
            </a:xfrm>
            <a:custGeom>
              <a:avLst/>
              <a:gdLst>
                <a:gd name="T0" fmla="*/ 126 w 252"/>
                <a:gd name="T1" fmla="*/ 92 h 172"/>
                <a:gd name="T2" fmla="*/ 146 w 252"/>
                <a:gd name="T3" fmla="*/ 93 h 172"/>
                <a:gd name="T4" fmla="*/ 164 w 252"/>
                <a:gd name="T5" fmla="*/ 98 h 172"/>
                <a:gd name="T6" fmla="*/ 198 w 252"/>
                <a:gd name="T7" fmla="*/ 114 h 172"/>
                <a:gd name="T8" fmla="*/ 225 w 252"/>
                <a:gd name="T9" fmla="*/ 140 h 172"/>
                <a:gd name="T10" fmla="*/ 243 w 252"/>
                <a:gd name="T11" fmla="*/ 172 h 172"/>
                <a:gd name="T12" fmla="*/ 247 w 252"/>
                <a:gd name="T13" fmla="*/ 161 h 172"/>
                <a:gd name="T14" fmla="*/ 251 w 252"/>
                <a:gd name="T15" fmla="*/ 137 h 172"/>
                <a:gd name="T16" fmla="*/ 252 w 252"/>
                <a:gd name="T17" fmla="*/ 126 h 172"/>
                <a:gd name="T18" fmla="*/ 249 w 252"/>
                <a:gd name="T19" fmla="*/ 100 h 172"/>
                <a:gd name="T20" fmla="*/ 242 w 252"/>
                <a:gd name="T21" fmla="*/ 77 h 172"/>
                <a:gd name="T22" fmla="*/ 230 w 252"/>
                <a:gd name="T23" fmla="*/ 56 h 172"/>
                <a:gd name="T24" fmla="*/ 215 w 252"/>
                <a:gd name="T25" fmla="*/ 37 h 172"/>
                <a:gd name="T26" fmla="*/ 196 w 252"/>
                <a:gd name="T27" fmla="*/ 21 h 172"/>
                <a:gd name="T28" fmla="*/ 174 w 252"/>
                <a:gd name="T29" fmla="*/ 10 h 172"/>
                <a:gd name="T30" fmla="*/ 151 w 252"/>
                <a:gd name="T31" fmla="*/ 3 h 172"/>
                <a:gd name="T32" fmla="*/ 126 w 252"/>
                <a:gd name="T33" fmla="*/ 0 h 172"/>
                <a:gd name="T34" fmla="*/ 114 w 252"/>
                <a:gd name="T35" fmla="*/ 2 h 172"/>
                <a:gd name="T36" fmla="*/ 89 w 252"/>
                <a:gd name="T37" fmla="*/ 7 h 172"/>
                <a:gd name="T38" fmla="*/ 66 w 252"/>
                <a:gd name="T39" fmla="*/ 15 h 172"/>
                <a:gd name="T40" fmla="*/ 46 w 252"/>
                <a:gd name="T41" fmla="*/ 29 h 172"/>
                <a:gd name="T42" fmla="*/ 29 w 252"/>
                <a:gd name="T43" fmla="*/ 46 h 172"/>
                <a:gd name="T44" fmla="*/ 15 w 252"/>
                <a:gd name="T45" fmla="*/ 66 h 172"/>
                <a:gd name="T46" fmla="*/ 6 w 252"/>
                <a:gd name="T47" fmla="*/ 88 h 172"/>
                <a:gd name="T48" fmla="*/ 1 w 252"/>
                <a:gd name="T49" fmla="*/ 113 h 172"/>
                <a:gd name="T50" fmla="*/ 0 w 252"/>
                <a:gd name="T51" fmla="*/ 126 h 172"/>
                <a:gd name="T52" fmla="*/ 3 w 252"/>
                <a:gd name="T53" fmla="*/ 150 h 172"/>
                <a:gd name="T54" fmla="*/ 9 w 252"/>
                <a:gd name="T55" fmla="*/ 172 h 172"/>
                <a:gd name="T56" fmla="*/ 18 w 252"/>
                <a:gd name="T57" fmla="*/ 155 h 172"/>
                <a:gd name="T58" fmla="*/ 40 w 252"/>
                <a:gd name="T59" fmla="*/ 126 h 172"/>
                <a:gd name="T60" fmla="*/ 71 w 252"/>
                <a:gd name="T61" fmla="*/ 104 h 172"/>
                <a:gd name="T62" fmla="*/ 96 w 252"/>
                <a:gd name="T63" fmla="*/ 95 h 172"/>
                <a:gd name="T64" fmla="*/ 116 w 252"/>
                <a:gd name="T65" fmla="*/ 92 h 172"/>
                <a:gd name="T66" fmla="*/ 126 w 252"/>
                <a:gd name="T67" fmla="*/ 9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2" h="172">
                  <a:moveTo>
                    <a:pt x="126" y="92"/>
                  </a:moveTo>
                  <a:lnTo>
                    <a:pt x="126" y="92"/>
                  </a:lnTo>
                  <a:lnTo>
                    <a:pt x="136" y="92"/>
                  </a:lnTo>
                  <a:lnTo>
                    <a:pt x="146" y="93"/>
                  </a:lnTo>
                  <a:lnTo>
                    <a:pt x="154" y="95"/>
                  </a:lnTo>
                  <a:lnTo>
                    <a:pt x="164" y="98"/>
                  </a:lnTo>
                  <a:lnTo>
                    <a:pt x="182" y="104"/>
                  </a:lnTo>
                  <a:lnTo>
                    <a:pt x="198" y="114"/>
                  </a:lnTo>
                  <a:lnTo>
                    <a:pt x="212" y="126"/>
                  </a:lnTo>
                  <a:lnTo>
                    <a:pt x="225" y="140"/>
                  </a:lnTo>
                  <a:lnTo>
                    <a:pt x="235" y="155"/>
                  </a:lnTo>
                  <a:lnTo>
                    <a:pt x="243" y="172"/>
                  </a:lnTo>
                  <a:lnTo>
                    <a:pt x="243" y="172"/>
                  </a:lnTo>
                  <a:lnTo>
                    <a:pt x="247" y="161"/>
                  </a:lnTo>
                  <a:lnTo>
                    <a:pt x="249" y="150"/>
                  </a:lnTo>
                  <a:lnTo>
                    <a:pt x="251" y="137"/>
                  </a:lnTo>
                  <a:lnTo>
                    <a:pt x="252" y="126"/>
                  </a:lnTo>
                  <a:lnTo>
                    <a:pt x="252" y="126"/>
                  </a:lnTo>
                  <a:lnTo>
                    <a:pt x="251" y="113"/>
                  </a:lnTo>
                  <a:lnTo>
                    <a:pt x="249" y="100"/>
                  </a:lnTo>
                  <a:lnTo>
                    <a:pt x="246" y="88"/>
                  </a:lnTo>
                  <a:lnTo>
                    <a:pt x="242" y="77"/>
                  </a:lnTo>
                  <a:lnTo>
                    <a:pt x="236" y="66"/>
                  </a:lnTo>
                  <a:lnTo>
                    <a:pt x="230" y="56"/>
                  </a:lnTo>
                  <a:lnTo>
                    <a:pt x="222" y="46"/>
                  </a:lnTo>
                  <a:lnTo>
                    <a:pt x="215" y="37"/>
                  </a:lnTo>
                  <a:lnTo>
                    <a:pt x="206" y="29"/>
                  </a:lnTo>
                  <a:lnTo>
                    <a:pt x="196" y="21"/>
                  </a:lnTo>
                  <a:lnTo>
                    <a:pt x="185" y="15"/>
                  </a:lnTo>
                  <a:lnTo>
                    <a:pt x="174" y="10"/>
                  </a:lnTo>
                  <a:lnTo>
                    <a:pt x="163" y="7"/>
                  </a:lnTo>
                  <a:lnTo>
                    <a:pt x="151" y="3"/>
                  </a:lnTo>
                  <a:lnTo>
                    <a:pt x="138" y="2"/>
                  </a:lnTo>
                  <a:lnTo>
                    <a:pt x="126" y="0"/>
                  </a:lnTo>
                  <a:lnTo>
                    <a:pt x="126" y="0"/>
                  </a:lnTo>
                  <a:lnTo>
                    <a:pt x="114" y="2"/>
                  </a:lnTo>
                  <a:lnTo>
                    <a:pt x="100" y="3"/>
                  </a:lnTo>
                  <a:lnTo>
                    <a:pt x="89" y="7"/>
                  </a:lnTo>
                  <a:lnTo>
                    <a:pt x="77" y="10"/>
                  </a:lnTo>
                  <a:lnTo>
                    <a:pt x="66" y="15"/>
                  </a:lnTo>
                  <a:lnTo>
                    <a:pt x="56" y="21"/>
                  </a:lnTo>
                  <a:lnTo>
                    <a:pt x="46" y="29"/>
                  </a:lnTo>
                  <a:lnTo>
                    <a:pt x="37" y="37"/>
                  </a:lnTo>
                  <a:lnTo>
                    <a:pt x="29" y="46"/>
                  </a:lnTo>
                  <a:lnTo>
                    <a:pt x="22" y="56"/>
                  </a:lnTo>
                  <a:lnTo>
                    <a:pt x="15" y="66"/>
                  </a:lnTo>
                  <a:lnTo>
                    <a:pt x="10" y="77"/>
                  </a:lnTo>
                  <a:lnTo>
                    <a:pt x="6" y="88"/>
                  </a:lnTo>
                  <a:lnTo>
                    <a:pt x="3" y="100"/>
                  </a:lnTo>
                  <a:lnTo>
                    <a:pt x="1" y="113"/>
                  </a:lnTo>
                  <a:lnTo>
                    <a:pt x="0" y="126"/>
                  </a:lnTo>
                  <a:lnTo>
                    <a:pt x="0" y="126"/>
                  </a:lnTo>
                  <a:lnTo>
                    <a:pt x="1" y="137"/>
                  </a:lnTo>
                  <a:lnTo>
                    <a:pt x="3" y="150"/>
                  </a:lnTo>
                  <a:lnTo>
                    <a:pt x="5" y="161"/>
                  </a:lnTo>
                  <a:lnTo>
                    <a:pt x="9" y="172"/>
                  </a:lnTo>
                  <a:lnTo>
                    <a:pt x="9" y="172"/>
                  </a:lnTo>
                  <a:lnTo>
                    <a:pt x="18" y="155"/>
                  </a:lnTo>
                  <a:lnTo>
                    <a:pt x="27" y="140"/>
                  </a:lnTo>
                  <a:lnTo>
                    <a:pt x="40" y="126"/>
                  </a:lnTo>
                  <a:lnTo>
                    <a:pt x="55" y="114"/>
                  </a:lnTo>
                  <a:lnTo>
                    <a:pt x="71" y="104"/>
                  </a:lnTo>
                  <a:lnTo>
                    <a:pt x="88" y="98"/>
                  </a:lnTo>
                  <a:lnTo>
                    <a:pt x="96" y="95"/>
                  </a:lnTo>
                  <a:lnTo>
                    <a:pt x="106" y="93"/>
                  </a:lnTo>
                  <a:lnTo>
                    <a:pt x="116" y="92"/>
                  </a:lnTo>
                  <a:lnTo>
                    <a:pt x="126" y="92"/>
                  </a:lnTo>
                  <a:lnTo>
                    <a:pt x="126" y="9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0" name="Freeform 115">
              <a:extLst>
                <a:ext uri="{FF2B5EF4-FFF2-40B4-BE49-F238E27FC236}">
                  <a16:creationId xmlns:a16="http://schemas.microsoft.com/office/drawing/2014/main" id="{B480D3F3-34EC-3D24-FE0B-5716C8D262E7}"/>
                </a:ext>
              </a:extLst>
            </p:cNvPr>
            <p:cNvSpPr>
              <a:spLocks/>
            </p:cNvSpPr>
            <p:nvPr/>
          </p:nvSpPr>
          <p:spPr bwMode="auto">
            <a:xfrm>
              <a:off x="3097932" y="3471546"/>
              <a:ext cx="140154" cy="226910"/>
            </a:xfrm>
            <a:custGeom>
              <a:avLst/>
              <a:gdLst>
                <a:gd name="T0" fmla="*/ 0 w 94"/>
                <a:gd name="T1" fmla="*/ 0 h 168"/>
                <a:gd name="T2" fmla="*/ 0 w 94"/>
                <a:gd name="T3" fmla="*/ 91 h 168"/>
                <a:gd name="T4" fmla="*/ 0 w 94"/>
                <a:gd name="T5" fmla="*/ 91 h 168"/>
                <a:gd name="T6" fmla="*/ 14 w 94"/>
                <a:gd name="T7" fmla="*/ 96 h 168"/>
                <a:gd name="T8" fmla="*/ 27 w 94"/>
                <a:gd name="T9" fmla="*/ 102 h 168"/>
                <a:gd name="T10" fmla="*/ 40 w 94"/>
                <a:gd name="T11" fmla="*/ 110 h 168"/>
                <a:gd name="T12" fmla="*/ 52 w 94"/>
                <a:gd name="T13" fmla="*/ 120 h 168"/>
                <a:gd name="T14" fmla="*/ 62 w 94"/>
                <a:gd name="T15" fmla="*/ 130 h 168"/>
                <a:gd name="T16" fmla="*/ 70 w 94"/>
                <a:gd name="T17" fmla="*/ 142 h 168"/>
                <a:gd name="T18" fmla="*/ 79 w 94"/>
                <a:gd name="T19" fmla="*/ 154 h 168"/>
                <a:gd name="T20" fmla="*/ 85 w 94"/>
                <a:gd name="T21" fmla="*/ 168 h 168"/>
                <a:gd name="T22" fmla="*/ 85 w 94"/>
                <a:gd name="T23" fmla="*/ 168 h 168"/>
                <a:gd name="T24" fmla="*/ 89 w 94"/>
                <a:gd name="T25" fmla="*/ 157 h 168"/>
                <a:gd name="T26" fmla="*/ 91 w 94"/>
                <a:gd name="T27" fmla="*/ 146 h 168"/>
                <a:gd name="T28" fmla="*/ 93 w 94"/>
                <a:gd name="T29" fmla="*/ 133 h 168"/>
                <a:gd name="T30" fmla="*/ 94 w 94"/>
                <a:gd name="T31" fmla="*/ 122 h 168"/>
                <a:gd name="T32" fmla="*/ 94 w 94"/>
                <a:gd name="T33" fmla="*/ 122 h 168"/>
                <a:gd name="T34" fmla="*/ 93 w 94"/>
                <a:gd name="T35" fmla="*/ 111 h 168"/>
                <a:gd name="T36" fmla="*/ 91 w 94"/>
                <a:gd name="T37" fmla="*/ 100 h 168"/>
                <a:gd name="T38" fmla="*/ 89 w 94"/>
                <a:gd name="T39" fmla="*/ 90 h 168"/>
                <a:gd name="T40" fmla="*/ 86 w 94"/>
                <a:gd name="T41" fmla="*/ 80 h 168"/>
                <a:gd name="T42" fmla="*/ 83 w 94"/>
                <a:gd name="T43" fmla="*/ 70 h 168"/>
                <a:gd name="T44" fmla="*/ 78 w 94"/>
                <a:gd name="T45" fmla="*/ 62 h 168"/>
                <a:gd name="T46" fmla="*/ 73 w 94"/>
                <a:gd name="T47" fmla="*/ 53 h 168"/>
                <a:gd name="T48" fmla="*/ 67 w 94"/>
                <a:gd name="T49" fmla="*/ 45 h 168"/>
                <a:gd name="T50" fmla="*/ 61 w 94"/>
                <a:gd name="T51" fmla="*/ 37 h 168"/>
                <a:gd name="T52" fmla="*/ 53 w 94"/>
                <a:gd name="T53" fmla="*/ 30 h 168"/>
                <a:gd name="T54" fmla="*/ 46 w 94"/>
                <a:gd name="T55" fmla="*/ 24 h 168"/>
                <a:gd name="T56" fmla="*/ 37 w 94"/>
                <a:gd name="T57" fmla="*/ 17 h 168"/>
                <a:gd name="T58" fmla="*/ 28 w 94"/>
                <a:gd name="T59" fmla="*/ 12 h 168"/>
                <a:gd name="T60" fmla="*/ 20 w 94"/>
                <a:gd name="T61" fmla="*/ 7 h 168"/>
                <a:gd name="T62" fmla="*/ 10 w 94"/>
                <a:gd name="T63" fmla="*/ 4 h 168"/>
                <a:gd name="T64" fmla="*/ 0 w 94"/>
                <a:gd name="T65" fmla="*/ 0 h 168"/>
                <a:gd name="T66" fmla="*/ 0 w 94"/>
                <a:gd name="T6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4" h="168">
                  <a:moveTo>
                    <a:pt x="0" y="0"/>
                  </a:moveTo>
                  <a:lnTo>
                    <a:pt x="0" y="91"/>
                  </a:lnTo>
                  <a:lnTo>
                    <a:pt x="0" y="91"/>
                  </a:lnTo>
                  <a:lnTo>
                    <a:pt x="14" y="96"/>
                  </a:lnTo>
                  <a:lnTo>
                    <a:pt x="27" y="102"/>
                  </a:lnTo>
                  <a:lnTo>
                    <a:pt x="40" y="110"/>
                  </a:lnTo>
                  <a:lnTo>
                    <a:pt x="52" y="120"/>
                  </a:lnTo>
                  <a:lnTo>
                    <a:pt x="62" y="130"/>
                  </a:lnTo>
                  <a:lnTo>
                    <a:pt x="70" y="142"/>
                  </a:lnTo>
                  <a:lnTo>
                    <a:pt x="79" y="154"/>
                  </a:lnTo>
                  <a:lnTo>
                    <a:pt x="85" y="168"/>
                  </a:lnTo>
                  <a:lnTo>
                    <a:pt x="85" y="168"/>
                  </a:lnTo>
                  <a:lnTo>
                    <a:pt x="89" y="157"/>
                  </a:lnTo>
                  <a:lnTo>
                    <a:pt x="91" y="146"/>
                  </a:lnTo>
                  <a:lnTo>
                    <a:pt x="93" y="133"/>
                  </a:lnTo>
                  <a:lnTo>
                    <a:pt x="94" y="122"/>
                  </a:lnTo>
                  <a:lnTo>
                    <a:pt x="94" y="122"/>
                  </a:lnTo>
                  <a:lnTo>
                    <a:pt x="93" y="111"/>
                  </a:lnTo>
                  <a:lnTo>
                    <a:pt x="91" y="100"/>
                  </a:lnTo>
                  <a:lnTo>
                    <a:pt x="89" y="90"/>
                  </a:lnTo>
                  <a:lnTo>
                    <a:pt x="86" y="80"/>
                  </a:lnTo>
                  <a:lnTo>
                    <a:pt x="83" y="70"/>
                  </a:lnTo>
                  <a:lnTo>
                    <a:pt x="78" y="62"/>
                  </a:lnTo>
                  <a:lnTo>
                    <a:pt x="73" y="53"/>
                  </a:lnTo>
                  <a:lnTo>
                    <a:pt x="67" y="45"/>
                  </a:lnTo>
                  <a:lnTo>
                    <a:pt x="61" y="37"/>
                  </a:lnTo>
                  <a:lnTo>
                    <a:pt x="53" y="30"/>
                  </a:lnTo>
                  <a:lnTo>
                    <a:pt x="46" y="24"/>
                  </a:lnTo>
                  <a:lnTo>
                    <a:pt x="37" y="17"/>
                  </a:lnTo>
                  <a:lnTo>
                    <a:pt x="28" y="12"/>
                  </a:lnTo>
                  <a:lnTo>
                    <a:pt x="20" y="7"/>
                  </a:lnTo>
                  <a:lnTo>
                    <a:pt x="10" y="4"/>
                  </a:lnTo>
                  <a:lnTo>
                    <a:pt x="0" y="0"/>
                  </a:lnTo>
                  <a:lnTo>
                    <a:pt x="0"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1" name="Freeform 116">
              <a:extLst>
                <a:ext uri="{FF2B5EF4-FFF2-40B4-BE49-F238E27FC236}">
                  <a16:creationId xmlns:a16="http://schemas.microsoft.com/office/drawing/2014/main" id="{56BEFEC5-0486-F5C5-6B06-AA7B1AAEE956}"/>
                </a:ext>
              </a:extLst>
            </p:cNvPr>
            <p:cNvSpPr>
              <a:spLocks/>
            </p:cNvSpPr>
            <p:nvPr/>
          </p:nvSpPr>
          <p:spPr bwMode="auto">
            <a:xfrm>
              <a:off x="2933924" y="3120376"/>
              <a:ext cx="232595" cy="501093"/>
            </a:xfrm>
            <a:custGeom>
              <a:avLst/>
              <a:gdLst>
                <a:gd name="T0" fmla="*/ 78 w 156"/>
                <a:gd name="T1" fmla="*/ 364 h 371"/>
                <a:gd name="T2" fmla="*/ 78 w 156"/>
                <a:gd name="T3" fmla="*/ 364 h 371"/>
                <a:gd name="T4" fmla="*/ 89 w 156"/>
                <a:gd name="T5" fmla="*/ 365 h 371"/>
                <a:gd name="T6" fmla="*/ 100 w 156"/>
                <a:gd name="T7" fmla="*/ 366 h 371"/>
                <a:gd name="T8" fmla="*/ 111 w 156"/>
                <a:gd name="T9" fmla="*/ 367 h 371"/>
                <a:gd name="T10" fmla="*/ 122 w 156"/>
                <a:gd name="T11" fmla="*/ 371 h 371"/>
                <a:gd name="T12" fmla="*/ 122 w 156"/>
                <a:gd name="T13" fmla="*/ 371 h 371"/>
                <a:gd name="T14" fmla="*/ 130 w 156"/>
                <a:gd name="T15" fmla="*/ 354 h 371"/>
                <a:gd name="T16" fmla="*/ 136 w 156"/>
                <a:gd name="T17" fmla="*/ 337 h 371"/>
                <a:gd name="T18" fmla="*/ 142 w 156"/>
                <a:gd name="T19" fmla="*/ 319 h 371"/>
                <a:gd name="T20" fmla="*/ 147 w 156"/>
                <a:gd name="T21" fmla="*/ 300 h 371"/>
                <a:gd name="T22" fmla="*/ 151 w 156"/>
                <a:gd name="T23" fmla="*/ 280 h 371"/>
                <a:gd name="T24" fmla="*/ 153 w 156"/>
                <a:gd name="T25" fmla="*/ 259 h 371"/>
                <a:gd name="T26" fmla="*/ 155 w 156"/>
                <a:gd name="T27" fmla="*/ 238 h 371"/>
                <a:gd name="T28" fmla="*/ 156 w 156"/>
                <a:gd name="T29" fmla="*/ 216 h 371"/>
                <a:gd name="T30" fmla="*/ 156 w 156"/>
                <a:gd name="T31" fmla="*/ 216 h 371"/>
                <a:gd name="T32" fmla="*/ 155 w 156"/>
                <a:gd name="T33" fmla="*/ 181 h 371"/>
                <a:gd name="T34" fmla="*/ 150 w 156"/>
                <a:gd name="T35" fmla="*/ 148 h 371"/>
                <a:gd name="T36" fmla="*/ 143 w 156"/>
                <a:gd name="T37" fmla="*/ 117 h 371"/>
                <a:gd name="T38" fmla="*/ 134 w 156"/>
                <a:gd name="T39" fmla="*/ 87 h 371"/>
                <a:gd name="T40" fmla="*/ 122 w 156"/>
                <a:gd name="T41" fmla="*/ 61 h 371"/>
                <a:gd name="T42" fmla="*/ 116 w 156"/>
                <a:gd name="T43" fmla="*/ 49 h 371"/>
                <a:gd name="T44" fmla="*/ 109 w 156"/>
                <a:gd name="T45" fmla="*/ 38 h 371"/>
                <a:gd name="T46" fmla="*/ 103 w 156"/>
                <a:gd name="T47" fmla="*/ 27 h 371"/>
                <a:gd name="T48" fmla="*/ 94 w 156"/>
                <a:gd name="T49" fmla="*/ 17 h 371"/>
                <a:gd name="T50" fmla="*/ 87 w 156"/>
                <a:gd name="T51" fmla="*/ 8 h 371"/>
                <a:gd name="T52" fmla="*/ 78 w 156"/>
                <a:gd name="T53" fmla="*/ 0 h 371"/>
                <a:gd name="T54" fmla="*/ 78 w 156"/>
                <a:gd name="T55" fmla="*/ 0 h 371"/>
                <a:gd name="T56" fmla="*/ 69 w 156"/>
                <a:gd name="T57" fmla="*/ 8 h 371"/>
                <a:gd name="T58" fmla="*/ 62 w 156"/>
                <a:gd name="T59" fmla="*/ 17 h 371"/>
                <a:gd name="T60" fmla="*/ 53 w 156"/>
                <a:gd name="T61" fmla="*/ 27 h 371"/>
                <a:gd name="T62" fmla="*/ 46 w 156"/>
                <a:gd name="T63" fmla="*/ 38 h 371"/>
                <a:gd name="T64" fmla="*/ 40 w 156"/>
                <a:gd name="T65" fmla="*/ 49 h 371"/>
                <a:gd name="T66" fmla="*/ 34 w 156"/>
                <a:gd name="T67" fmla="*/ 61 h 371"/>
                <a:gd name="T68" fmla="*/ 23 w 156"/>
                <a:gd name="T69" fmla="*/ 87 h 371"/>
                <a:gd name="T70" fmla="*/ 13 w 156"/>
                <a:gd name="T71" fmla="*/ 117 h 371"/>
                <a:gd name="T72" fmla="*/ 7 w 156"/>
                <a:gd name="T73" fmla="*/ 148 h 371"/>
                <a:gd name="T74" fmla="*/ 2 w 156"/>
                <a:gd name="T75" fmla="*/ 181 h 371"/>
                <a:gd name="T76" fmla="*/ 0 w 156"/>
                <a:gd name="T77" fmla="*/ 216 h 371"/>
                <a:gd name="T78" fmla="*/ 0 w 156"/>
                <a:gd name="T79" fmla="*/ 216 h 371"/>
                <a:gd name="T80" fmla="*/ 2 w 156"/>
                <a:gd name="T81" fmla="*/ 238 h 371"/>
                <a:gd name="T82" fmla="*/ 3 w 156"/>
                <a:gd name="T83" fmla="*/ 259 h 371"/>
                <a:gd name="T84" fmla="*/ 5 w 156"/>
                <a:gd name="T85" fmla="*/ 280 h 371"/>
                <a:gd name="T86" fmla="*/ 9 w 156"/>
                <a:gd name="T87" fmla="*/ 300 h 371"/>
                <a:gd name="T88" fmla="*/ 14 w 156"/>
                <a:gd name="T89" fmla="*/ 319 h 371"/>
                <a:gd name="T90" fmla="*/ 20 w 156"/>
                <a:gd name="T91" fmla="*/ 337 h 371"/>
                <a:gd name="T92" fmla="*/ 26 w 156"/>
                <a:gd name="T93" fmla="*/ 354 h 371"/>
                <a:gd name="T94" fmla="*/ 34 w 156"/>
                <a:gd name="T95" fmla="*/ 371 h 371"/>
                <a:gd name="T96" fmla="*/ 34 w 156"/>
                <a:gd name="T97" fmla="*/ 371 h 371"/>
                <a:gd name="T98" fmla="*/ 45 w 156"/>
                <a:gd name="T99" fmla="*/ 367 h 371"/>
                <a:gd name="T100" fmla="*/ 56 w 156"/>
                <a:gd name="T101" fmla="*/ 366 h 371"/>
                <a:gd name="T102" fmla="*/ 67 w 156"/>
                <a:gd name="T103" fmla="*/ 365 h 371"/>
                <a:gd name="T104" fmla="*/ 78 w 156"/>
                <a:gd name="T105" fmla="*/ 364 h 371"/>
                <a:gd name="T106" fmla="*/ 78 w 156"/>
                <a:gd name="T107" fmla="*/ 364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 h="371">
                  <a:moveTo>
                    <a:pt x="78" y="364"/>
                  </a:moveTo>
                  <a:lnTo>
                    <a:pt x="78" y="364"/>
                  </a:lnTo>
                  <a:lnTo>
                    <a:pt x="89" y="365"/>
                  </a:lnTo>
                  <a:lnTo>
                    <a:pt x="100" y="366"/>
                  </a:lnTo>
                  <a:lnTo>
                    <a:pt x="111" y="367"/>
                  </a:lnTo>
                  <a:lnTo>
                    <a:pt x="122" y="371"/>
                  </a:lnTo>
                  <a:lnTo>
                    <a:pt x="122" y="371"/>
                  </a:lnTo>
                  <a:lnTo>
                    <a:pt x="130" y="354"/>
                  </a:lnTo>
                  <a:lnTo>
                    <a:pt x="136" y="337"/>
                  </a:lnTo>
                  <a:lnTo>
                    <a:pt x="142" y="319"/>
                  </a:lnTo>
                  <a:lnTo>
                    <a:pt x="147" y="300"/>
                  </a:lnTo>
                  <a:lnTo>
                    <a:pt x="151" y="280"/>
                  </a:lnTo>
                  <a:lnTo>
                    <a:pt x="153" y="259"/>
                  </a:lnTo>
                  <a:lnTo>
                    <a:pt x="155" y="238"/>
                  </a:lnTo>
                  <a:lnTo>
                    <a:pt x="156" y="216"/>
                  </a:lnTo>
                  <a:lnTo>
                    <a:pt x="156" y="216"/>
                  </a:lnTo>
                  <a:lnTo>
                    <a:pt x="155" y="181"/>
                  </a:lnTo>
                  <a:lnTo>
                    <a:pt x="150" y="148"/>
                  </a:lnTo>
                  <a:lnTo>
                    <a:pt x="143" y="117"/>
                  </a:lnTo>
                  <a:lnTo>
                    <a:pt x="134" y="87"/>
                  </a:lnTo>
                  <a:lnTo>
                    <a:pt x="122" y="61"/>
                  </a:lnTo>
                  <a:lnTo>
                    <a:pt x="116" y="49"/>
                  </a:lnTo>
                  <a:lnTo>
                    <a:pt x="109" y="38"/>
                  </a:lnTo>
                  <a:lnTo>
                    <a:pt x="103" y="27"/>
                  </a:lnTo>
                  <a:lnTo>
                    <a:pt x="94" y="17"/>
                  </a:lnTo>
                  <a:lnTo>
                    <a:pt x="87" y="8"/>
                  </a:lnTo>
                  <a:lnTo>
                    <a:pt x="78" y="0"/>
                  </a:lnTo>
                  <a:lnTo>
                    <a:pt x="78" y="0"/>
                  </a:lnTo>
                  <a:lnTo>
                    <a:pt x="69" y="8"/>
                  </a:lnTo>
                  <a:lnTo>
                    <a:pt x="62" y="17"/>
                  </a:lnTo>
                  <a:lnTo>
                    <a:pt x="53" y="27"/>
                  </a:lnTo>
                  <a:lnTo>
                    <a:pt x="46" y="38"/>
                  </a:lnTo>
                  <a:lnTo>
                    <a:pt x="40" y="49"/>
                  </a:lnTo>
                  <a:lnTo>
                    <a:pt x="34" y="61"/>
                  </a:lnTo>
                  <a:lnTo>
                    <a:pt x="23" y="87"/>
                  </a:lnTo>
                  <a:lnTo>
                    <a:pt x="13" y="117"/>
                  </a:lnTo>
                  <a:lnTo>
                    <a:pt x="7" y="148"/>
                  </a:lnTo>
                  <a:lnTo>
                    <a:pt x="2" y="181"/>
                  </a:lnTo>
                  <a:lnTo>
                    <a:pt x="0" y="216"/>
                  </a:lnTo>
                  <a:lnTo>
                    <a:pt x="0" y="216"/>
                  </a:lnTo>
                  <a:lnTo>
                    <a:pt x="2" y="238"/>
                  </a:lnTo>
                  <a:lnTo>
                    <a:pt x="3" y="259"/>
                  </a:lnTo>
                  <a:lnTo>
                    <a:pt x="5" y="280"/>
                  </a:lnTo>
                  <a:lnTo>
                    <a:pt x="9" y="300"/>
                  </a:lnTo>
                  <a:lnTo>
                    <a:pt x="14" y="319"/>
                  </a:lnTo>
                  <a:lnTo>
                    <a:pt x="20" y="337"/>
                  </a:lnTo>
                  <a:lnTo>
                    <a:pt x="26" y="354"/>
                  </a:lnTo>
                  <a:lnTo>
                    <a:pt x="34" y="371"/>
                  </a:lnTo>
                  <a:lnTo>
                    <a:pt x="34" y="371"/>
                  </a:lnTo>
                  <a:lnTo>
                    <a:pt x="45" y="367"/>
                  </a:lnTo>
                  <a:lnTo>
                    <a:pt x="56" y="366"/>
                  </a:lnTo>
                  <a:lnTo>
                    <a:pt x="67" y="365"/>
                  </a:lnTo>
                  <a:lnTo>
                    <a:pt x="78" y="364"/>
                  </a:lnTo>
                  <a:lnTo>
                    <a:pt x="78" y="364"/>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2" name="Freeform 117">
              <a:extLst>
                <a:ext uri="{FF2B5EF4-FFF2-40B4-BE49-F238E27FC236}">
                  <a16:creationId xmlns:a16="http://schemas.microsoft.com/office/drawing/2014/main" id="{C35C3F66-9A04-8296-75C8-58390A0FEB33}"/>
                </a:ext>
              </a:extLst>
            </p:cNvPr>
            <p:cNvSpPr>
              <a:spLocks/>
            </p:cNvSpPr>
            <p:nvPr/>
          </p:nvSpPr>
          <p:spPr bwMode="auto">
            <a:xfrm>
              <a:off x="3050214" y="3120376"/>
              <a:ext cx="116298" cy="501093"/>
            </a:xfrm>
            <a:custGeom>
              <a:avLst/>
              <a:gdLst>
                <a:gd name="T0" fmla="*/ 0 w 78"/>
                <a:gd name="T1" fmla="*/ 0 h 371"/>
                <a:gd name="T2" fmla="*/ 0 w 78"/>
                <a:gd name="T3" fmla="*/ 0 h 371"/>
                <a:gd name="T4" fmla="*/ 0 w 78"/>
                <a:gd name="T5" fmla="*/ 1 h 371"/>
                <a:gd name="T6" fmla="*/ 0 w 78"/>
                <a:gd name="T7" fmla="*/ 364 h 371"/>
                <a:gd name="T8" fmla="*/ 0 w 78"/>
                <a:gd name="T9" fmla="*/ 364 h 371"/>
                <a:gd name="T10" fmla="*/ 0 w 78"/>
                <a:gd name="T11" fmla="*/ 364 h 371"/>
                <a:gd name="T12" fmla="*/ 0 w 78"/>
                <a:gd name="T13" fmla="*/ 364 h 371"/>
                <a:gd name="T14" fmla="*/ 11 w 78"/>
                <a:gd name="T15" fmla="*/ 365 h 371"/>
                <a:gd name="T16" fmla="*/ 22 w 78"/>
                <a:gd name="T17" fmla="*/ 366 h 371"/>
                <a:gd name="T18" fmla="*/ 33 w 78"/>
                <a:gd name="T19" fmla="*/ 367 h 371"/>
                <a:gd name="T20" fmla="*/ 44 w 78"/>
                <a:gd name="T21" fmla="*/ 371 h 371"/>
                <a:gd name="T22" fmla="*/ 44 w 78"/>
                <a:gd name="T23" fmla="*/ 371 h 371"/>
                <a:gd name="T24" fmla="*/ 52 w 78"/>
                <a:gd name="T25" fmla="*/ 354 h 371"/>
                <a:gd name="T26" fmla="*/ 58 w 78"/>
                <a:gd name="T27" fmla="*/ 337 h 371"/>
                <a:gd name="T28" fmla="*/ 64 w 78"/>
                <a:gd name="T29" fmla="*/ 319 h 371"/>
                <a:gd name="T30" fmla="*/ 69 w 78"/>
                <a:gd name="T31" fmla="*/ 300 h 371"/>
                <a:gd name="T32" fmla="*/ 73 w 78"/>
                <a:gd name="T33" fmla="*/ 280 h 371"/>
                <a:gd name="T34" fmla="*/ 75 w 78"/>
                <a:gd name="T35" fmla="*/ 259 h 371"/>
                <a:gd name="T36" fmla="*/ 77 w 78"/>
                <a:gd name="T37" fmla="*/ 238 h 371"/>
                <a:gd name="T38" fmla="*/ 78 w 78"/>
                <a:gd name="T39" fmla="*/ 216 h 371"/>
                <a:gd name="T40" fmla="*/ 78 w 78"/>
                <a:gd name="T41" fmla="*/ 216 h 371"/>
                <a:gd name="T42" fmla="*/ 77 w 78"/>
                <a:gd name="T43" fmla="*/ 181 h 371"/>
                <a:gd name="T44" fmla="*/ 72 w 78"/>
                <a:gd name="T45" fmla="*/ 148 h 371"/>
                <a:gd name="T46" fmla="*/ 65 w 78"/>
                <a:gd name="T47" fmla="*/ 117 h 371"/>
                <a:gd name="T48" fmla="*/ 56 w 78"/>
                <a:gd name="T49" fmla="*/ 87 h 371"/>
                <a:gd name="T50" fmla="*/ 44 w 78"/>
                <a:gd name="T51" fmla="*/ 61 h 371"/>
                <a:gd name="T52" fmla="*/ 38 w 78"/>
                <a:gd name="T53" fmla="*/ 49 h 371"/>
                <a:gd name="T54" fmla="*/ 31 w 78"/>
                <a:gd name="T55" fmla="*/ 38 h 371"/>
                <a:gd name="T56" fmla="*/ 25 w 78"/>
                <a:gd name="T57" fmla="*/ 27 h 371"/>
                <a:gd name="T58" fmla="*/ 16 w 78"/>
                <a:gd name="T59" fmla="*/ 17 h 371"/>
                <a:gd name="T60" fmla="*/ 9 w 78"/>
                <a:gd name="T61" fmla="*/ 8 h 371"/>
                <a:gd name="T62" fmla="*/ 0 w 78"/>
                <a:gd name="T63" fmla="*/ 0 h 371"/>
                <a:gd name="T64" fmla="*/ 0 w 78"/>
                <a:gd name="T65"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371">
                  <a:moveTo>
                    <a:pt x="0" y="0"/>
                  </a:moveTo>
                  <a:lnTo>
                    <a:pt x="0" y="0"/>
                  </a:lnTo>
                  <a:lnTo>
                    <a:pt x="0" y="1"/>
                  </a:lnTo>
                  <a:lnTo>
                    <a:pt x="0" y="364"/>
                  </a:lnTo>
                  <a:lnTo>
                    <a:pt x="0" y="364"/>
                  </a:lnTo>
                  <a:lnTo>
                    <a:pt x="0" y="364"/>
                  </a:lnTo>
                  <a:lnTo>
                    <a:pt x="0" y="364"/>
                  </a:lnTo>
                  <a:lnTo>
                    <a:pt x="11" y="365"/>
                  </a:lnTo>
                  <a:lnTo>
                    <a:pt x="22" y="366"/>
                  </a:lnTo>
                  <a:lnTo>
                    <a:pt x="33" y="367"/>
                  </a:lnTo>
                  <a:lnTo>
                    <a:pt x="44" y="371"/>
                  </a:lnTo>
                  <a:lnTo>
                    <a:pt x="44" y="371"/>
                  </a:lnTo>
                  <a:lnTo>
                    <a:pt x="52" y="354"/>
                  </a:lnTo>
                  <a:lnTo>
                    <a:pt x="58" y="337"/>
                  </a:lnTo>
                  <a:lnTo>
                    <a:pt x="64" y="319"/>
                  </a:lnTo>
                  <a:lnTo>
                    <a:pt x="69" y="300"/>
                  </a:lnTo>
                  <a:lnTo>
                    <a:pt x="73" y="280"/>
                  </a:lnTo>
                  <a:lnTo>
                    <a:pt x="75" y="259"/>
                  </a:lnTo>
                  <a:lnTo>
                    <a:pt x="77" y="238"/>
                  </a:lnTo>
                  <a:lnTo>
                    <a:pt x="78" y="216"/>
                  </a:lnTo>
                  <a:lnTo>
                    <a:pt x="78" y="216"/>
                  </a:lnTo>
                  <a:lnTo>
                    <a:pt x="77" y="181"/>
                  </a:lnTo>
                  <a:lnTo>
                    <a:pt x="72" y="148"/>
                  </a:lnTo>
                  <a:lnTo>
                    <a:pt x="65" y="117"/>
                  </a:lnTo>
                  <a:lnTo>
                    <a:pt x="56" y="87"/>
                  </a:lnTo>
                  <a:lnTo>
                    <a:pt x="44" y="61"/>
                  </a:lnTo>
                  <a:lnTo>
                    <a:pt x="38" y="49"/>
                  </a:lnTo>
                  <a:lnTo>
                    <a:pt x="31" y="38"/>
                  </a:lnTo>
                  <a:lnTo>
                    <a:pt x="25" y="27"/>
                  </a:lnTo>
                  <a:lnTo>
                    <a:pt x="16" y="17"/>
                  </a:lnTo>
                  <a:lnTo>
                    <a:pt x="9" y="8"/>
                  </a:lnTo>
                  <a:lnTo>
                    <a:pt x="0"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3" name="Freeform 118">
              <a:extLst>
                <a:ext uri="{FF2B5EF4-FFF2-40B4-BE49-F238E27FC236}">
                  <a16:creationId xmlns:a16="http://schemas.microsoft.com/office/drawing/2014/main" id="{70870EA4-0FE3-C959-7C6E-8C119C494AEC}"/>
                </a:ext>
              </a:extLst>
            </p:cNvPr>
            <p:cNvSpPr>
              <a:spLocks/>
            </p:cNvSpPr>
            <p:nvPr/>
          </p:nvSpPr>
          <p:spPr bwMode="auto">
            <a:xfrm>
              <a:off x="2965235" y="3120376"/>
              <a:ext cx="169973" cy="122910"/>
            </a:xfrm>
            <a:custGeom>
              <a:avLst/>
              <a:gdLst>
                <a:gd name="T0" fmla="*/ 57 w 114"/>
                <a:gd name="T1" fmla="*/ 90 h 91"/>
                <a:gd name="T2" fmla="*/ 57 w 114"/>
                <a:gd name="T3" fmla="*/ 90 h 91"/>
                <a:gd name="T4" fmla="*/ 85 w 114"/>
                <a:gd name="T5" fmla="*/ 90 h 91"/>
                <a:gd name="T6" fmla="*/ 114 w 114"/>
                <a:gd name="T7" fmla="*/ 91 h 91"/>
                <a:gd name="T8" fmla="*/ 114 w 114"/>
                <a:gd name="T9" fmla="*/ 91 h 91"/>
                <a:gd name="T10" fmla="*/ 109 w 114"/>
                <a:gd name="T11" fmla="*/ 78 h 91"/>
                <a:gd name="T12" fmla="*/ 103 w 114"/>
                <a:gd name="T13" fmla="*/ 64 h 91"/>
                <a:gd name="T14" fmla="*/ 97 w 114"/>
                <a:gd name="T15" fmla="*/ 50 h 91"/>
                <a:gd name="T16" fmla="*/ 89 w 114"/>
                <a:gd name="T17" fmla="*/ 39 h 91"/>
                <a:gd name="T18" fmla="*/ 82 w 114"/>
                <a:gd name="T19" fmla="*/ 28 h 91"/>
                <a:gd name="T20" fmla="*/ 74 w 114"/>
                <a:gd name="T21" fmla="*/ 18 h 91"/>
                <a:gd name="T22" fmla="*/ 66 w 114"/>
                <a:gd name="T23" fmla="*/ 8 h 91"/>
                <a:gd name="T24" fmla="*/ 57 w 114"/>
                <a:gd name="T25" fmla="*/ 0 h 91"/>
                <a:gd name="T26" fmla="*/ 57 w 114"/>
                <a:gd name="T27" fmla="*/ 0 h 91"/>
                <a:gd name="T28" fmla="*/ 48 w 114"/>
                <a:gd name="T29" fmla="*/ 8 h 91"/>
                <a:gd name="T30" fmla="*/ 40 w 114"/>
                <a:gd name="T31" fmla="*/ 18 h 91"/>
                <a:gd name="T32" fmla="*/ 32 w 114"/>
                <a:gd name="T33" fmla="*/ 28 h 91"/>
                <a:gd name="T34" fmla="*/ 25 w 114"/>
                <a:gd name="T35" fmla="*/ 39 h 91"/>
                <a:gd name="T36" fmla="*/ 18 w 114"/>
                <a:gd name="T37" fmla="*/ 50 h 91"/>
                <a:gd name="T38" fmla="*/ 11 w 114"/>
                <a:gd name="T39" fmla="*/ 64 h 91"/>
                <a:gd name="T40" fmla="*/ 5 w 114"/>
                <a:gd name="T41" fmla="*/ 78 h 91"/>
                <a:gd name="T42" fmla="*/ 0 w 114"/>
                <a:gd name="T43" fmla="*/ 91 h 91"/>
                <a:gd name="T44" fmla="*/ 0 w 114"/>
                <a:gd name="T45" fmla="*/ 91 h 91"/>
                <a:gd name="T46" fmla="*/ 27 w 114"/>
                <a:gd name="T47" fmla="*/ 90 h 91"/>
                <a:gd name="T48" fmla="*/ 57 w 114"/>
                <a:gd name="T49" fmla="*/ 90 h 91"/>
                <a:gd name="T50" fmla="*/ 57 w 114"/>
                <a:gd name="T51" fmla="*/ 9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4" h="91">
                  <a:moveTo>
                    <a:pt x="57" y="90"/>
                  </a:moveTo>
                  <a:lnTo>
                    <a:pt x="57" y="90"/>
                  </a:lnTo>
                  <a:lnTo>
                    <a:pt x="85" y="90"/>
                  </a:lnTo>
                  <a:lnTo>
                    <a:pt x="114" y="91"/>
                  </a:lnTo>
                  <a:lnTo>
                    <a:pt x="114" y="91"/>
                  </a:lnTo>
                  <a:lnTo>
                    <a:pt x="109" y="78"/>
                  </a:lnTo>
                  <a:lnTo>
                    <a:pt x="103" y="64"/>
                  </a:lnTo>
                  <a:lnTo>
                    <a:pt x="97" y="50"/>
                  </a:lnTo>
                  <a:lnTo>
                    <a:pt x="89" y="39"/>
                  </a:lnTo>
                  <a:lnTo>
                    <a:pt x="82" y="28"/>
                  </a:lnTo>
                  <a:lnTo>
                    <a:pt x="74" y="18"/>
                  </a:lnTo>
                  <a:lnTo>
                    <a:pt x="66" y="8"/>
                  </a:lnTo>
                  <a:lnTo>
                    <a:pt x="57" y="0"/>
                  </a:lnTo>
                  <a:lnTo>
                    <a:pt x="57" y="0"/>
                  </a:lnTo>
                  <a:lnTo>
                    <a:pt x="48" y="8"/>
                  </a:lnTo>
                  <a:lnTo>
                    <a:pt x="40" y="18"/>
                  </a:lnTo>
                  <a:lnTo>
                    <a:pt x="32" y="28"/>
                  </a:lnTo>
                  <a:lnTo>
                    <a:pt x="25" y="39"/>
                  </a:lnTo>
                  <a:lnTo>
                    <a:pt x="18" y="50"/>
                  </a:lnTo>
                  <a:lnTo>
                    <a:pt x="11" y="64"/>
                  </a:lnTo>
                  <a:lnTo>
                    <a:pt x="5" y="78"/>
                  </a:lnTo>
                  <a:lnTo>
                    <a:pt x="0" y="91"/>
                  </a:lnTo>
                  <a:lnTo>
                    <a:pt x="0" y="91"/>
                  </a:lnTo>
                  <a:lnTo>
                    <a:pt x="27" y="90"/>
                  </a:lnTo>
                  <a:lnTo>
                    <a:pt x="57" y="90"/>
                  </a:lnTo>
                  <a:lnTo>
                    <a:pt x="57" y="9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4" name="Freeform 119">
              <a:extLst>
                <a:ext uri="{FF2B5EF4-FFF2-40B4-BE49-F238E27FC236}">
                  <a16:creationId xmlns:a16="http://schemas.microsoft.com/office/drawing/2014/main" id="{63CFA789-91F2-CBFF-A2B6-F136364B97D5}"/>
                </a:ext>
              </a:extLst>
            </p:cNvPr>
            <p:cNvSpPr>
              <a:spLocks/>
            </p:cNvSpPr>
            <p:nvPr/>
          </p:nvSpPr>
          <p:spPr bwMode="auto">
            <a:xfrm>
              <a:off x="3050230" y="3120376"/>
              <a:ext cx="84987" cy="122910"/>
            </a:xfrm>
            <a:custGeom>
              <a:avLst/>
              <a:gdLst>
                <a:gd name="T0" fmla="*/ 0 w 57"/>
                <a:gd name="T1" fmla="*/ 1 h 91"/>
                <a:gd name="T2" fmla="*/ 0 w 57"/>
                <a:gd name="T3" fmla="*/ 90 h 91"/>
                <a:gd name="T4" fmla="*/ 0 w 57"/>
                <a:gd name="T5" fmla="*/ 90 h 91"/>
                <a:gd name="T6" fmla="*/ 0 w 57"/>
                <a:gd name="T7" fmla="*/ 90 h 91"/>
                <a:gd name="T8" fmla="*/ 0 w 57"/>
                <a:gd name="T9" fmla="*/ 90 h 91"/>
                <a:gd name="T10" fmla="*/ 28 w 57"/>
                <a:gd name="T11" fmla="*/ 90 h 91"/>
                <a:gd name="T12" fmla="*/ 57 w 57"/>
                <a:gd name="T13" fmla="*/ 91 h 91"/>
                <a:gd name="T14" fmla="*/ 57 w 57"/>
                <a:gd name="T15" fmla="*/ 91 h 91"/>
                <a:gd name="T16" fmla="*/ 52 w 57"/>
                <a:gd name="T17" fmla="*/ 78 h 91"/>
                <a:gd name="T18" fmla="*/ 46 w 57"/>
                <a:gd name="T19" fmla="*/ 64 h 91"/>
                <a:gd name="T20" fmla="*/ 40 w 57"/>
                <a:gd name="T21" fmla="*/ 50 h 91"/>
                <a:gd name="T22" fmla="*/ 32 w 57"/>
                <a:gd name="T23" fmla="*/ 39 h 91"/>
                <a:gd name="T24" fmla="*/ 25 w 57"/>
                <a:gd name="T25" fmla="*/ 28 h 91"/>
                <a:gd name="T26" fmla="*/ 17 w 57"/>
                <a:gd name="T27" fmla="*/ 18 h 91"/>
                <a:gd name="T28" fmla="*/ 9 w 57"/>
                <a:gd name="T29" fmla="*/ 8 h 91"/>
                <a:gd name="T30" fmla="*/ 0 w 57"/>
                <a:gd name="T31" fmla="*/ 0 h 91"/>
                <a:gd name="T32" fmla="*/ 0 w 57"/>
                <a:gd name="T33" fmla="*/ 0 h 91"/>
                <a:gd name="T34" fmla="*/ 0 w 57"/>
                <a:gd name="T35" fmla="*/ 1 h 91"/>
                <a:gd name="T36" fmla="*/ 0 w 57"/>
                <a:gd name="T3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91">
                  <a:moveTo>
                    <a:pt x="0" y="1"/>
                  </a:moveTo>
                  <a:lnTo>
                    <a:pt x="0" y="90"/>
                  </a:lnTo>
                  <a:lnTo>
                    <a:pt x="0" y="90"/>
                  </a:lnTo>
                  <a:lnTo>
                    <a:pt x="0" y="90"/>
                  </a:lnTo>
                  <a:lnTo>
                    <a:pt x="0" y="90"/>
                  </a:lnTo>
                  <a:lnTo>
                    <a:pt x="28" y="90"/>
                  </a:lnTo>
                  <a:lnTo>
                    <a:pt x="57" y="91"/>
                  </a:lnTo>
                  <a:lnTo>
                    <a:pt x="57" y="91"/>
                  </a:lnTo>
                  <a:lnTo>
                    <a:pt x="52" y="78"/>
                  </a:lnTo>
                  <a:lnTo>
                    <a:pt x="46" y="64"/>
                  </a:lnTo>
                  <a:lnTo>
                    <a:pt x="40" y="50"/>
                  </a:lnTo>
                  <a:lnTo>
                    <a:pt x="32" y="39"/>
                  </a:lnTo>
                  <a:lnTo>
                    <a:pt x="25" y="28"/>
                  </a:lnTo>
                  <a:lnTo>
                    <a:pt x="17" y="18"/>
                  </a:lnTo>
                  <a:lnTo>
                    <a:pt x="9" y="8"/>
                  </a:lnTo>
                  <a:lnTo>
                    <a:pt x="0" y="0"/>
                  </a:lnTo>
                  <a:lnTo>
                    <a:pt x="0" y="0"/>
                  </a:lnTo>
                  <a:lnTo>
                    <a:pt x="0" y="1"/>
                  </a:lnTo>
                  <a:lnTo>
                    <a:pt x="0" y="1"/>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5" name="Freeform 120">
              <a:extLst>
                <a:ext uri="{FF2B5EF4-FFF2-40B4-BE49-F238E27FC236}">
                  <a16:creationId xmlns:a16="http://schemas.microsoft.com/office/drawing/2014/main" id="{77CCB424-7EC5-4561-4087-DA4748FEEACA}"/>
                </a:ext>
              </a:extLst>
            </p:cNvPr>
            <p:cNvSpPr>
              <a:spLocks/>
            </p:cNvSpPr>
            <p:nvPr/>
          </p:nvSpPr>
          <p:spPr bwMode="auto">
            <a:xfrm>
              <a:off x="3024883" y="3456690"/>
              <a:ext cx="49203" cy="241768"/>
            </a:xfrm>
            <a:custGeom>
              <a:avLst/>
              <a:gdLst>
                <a:gd name="T0" fmla="*/ 17 w 33"/>
                <a:gd name="T1" fmla="*/ 0 h 179"/>
                <a:gd name="T2" fmla="*/ 17 w 33"/>
                <a:gd name="T3" fmla="*/ 0 h 179"/>
                <a:gd name="T4" fmla="*/ 13 w 33"/>
                <a:gd name="T5" fmla="*/ 6 h 179"/>
                <a:gd name="T6" fmla="*/ 10 w 33"/>
                <a:gd name="T7" fmla="*/ 15 h 179"/>
                <a:gd name="T8" fmla="*/ 5 w 33"/>
                <a:gd name="T9" fmla="*/ 36 h 179"/>
                <a:gd name="T10" fmla="*/ 1 w 33"/>
                <a:gd name="T11" fmla="*/ 62 h 179"/>
                <a:gd name="T12" fmla="*/ 0 w 33"/>
                <a:gd name="T13" fmla="*/ 89 h 179"/>
                <a:gd name="T14" fmla="*/ 0 w 33"/>
                <a:gd name="T15" fmla="*/ 89 h 179"/>
                <a:gd name="T16" fmla="*/ 1 w 33"/>
                <a:gd name="T17" fmla="*/ 117 h 179"/>
                <a:gd name="T18" fmla="*/ 5 w 33"/>
                <a:gd name="T19" fmla="*/ 142 h 179"/>
                <a:gd name="T20" fmla="*/ 10 w 33"/>
                <a:gd name="T21" fmla="*/ 163 h 179"/>
                <a:gd name="T22" fmla="*/ 13 w 33"/>
                <a:gd name="T23" fmla="*/ 171 h 179"/>
                <a:gd name="T24" fmla="*/ 17 w 33"/>
                <a:gd name="T25" fmla="*/ 179 h 179"/>
                <a:gd name="T26" fmla="*/ 17 w 33"/>
                <a:gd name="T27" fmla="*/ 179 h 179"/>
                <a:gd name="T28" fmla="*/ 21 w 33"/>
                <a:gd name="T29" fmla="*/ 171 h 179"/>
                <a:gd name="T30" fmla="*/ 23 w 33"/>
                <a:gd name="T31" fmla="*/ 163 h 179"/>
                <a:gd name="T32" fmla="*/ 29 w 33"/>
                <a:gd name="T33" fmla="*/ 142 h 179"/>
                <a:gd name="T34" fmla="*/ 32 w 33"/>
                <a:gd name="T35" fmla="*/ 117 h 179"/>
                <a:gd name="T36" fmla="*/ 33 w 33"/>
                <a:gd name="T37" fmla="*/ 89 h 179"/>
                <a:gd name="T38" fmla="*/ 33 w 33"/>
                <a:gd name="T39" fmla="*/ 89 h 179"/>
                <a:gd name="T40" fmla="*/ 32 w 33"/>
                <a:gd name="T41" fmla="*/ 62 h 179"/>
                <a:gd name="T42" fmla="*/ 29 w 33"/>
                <a:gd name="T43" fmla="*/ 36 h 179"/>
                <a:gd name="T44" fmla="*/ 23 w 33"/>
                <a:gd name="T45" fmla="*/ 15 h 179"/>
                <a:gd name="T46" fmla="*/ 21 w 33"/>
                <a:gd name="T47" fmla="*/ 6 h 179"/>
                <a:gd name="T48" fmla="*/ 17 w 33"/>
                <a:gd name="T49" fmla="*/ 0 h 179"/>
                <a:gd name="T50" fmla="*/ 17 w 33"/>
                <a:gd name="T51"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 h="179">
                  <a:moveTo>
                    <a:pt x="17" y="0"/>
                  </a:moveTo>
                  <a:lnTo>
                    <a:pt x="17" y="0"/>
                  </a:lnTo>
                  <a:lnTo>
                    <a:pt x="13" y="6"/>
                  </a:lnTo>
                  <a:lnTo>
                    <a:pt x="10" y="15"/>
                  </a:lnTo>
                  <a:lnTo>
                    <a:pt x="5" y="36"/>
                  </a:lnTo>
                  <a:lnTo>
                    <a:pt x="1" y="62"/>
                  </a:lnTo>
                  <a:lnTo>
                    <a:pt x="0" y="89"/>
                  </a:lnTo>
                  <a:lnTo>
                    <a:pt x="0" y="89"/>
                  </a:lnTo>
                  <a:lnTo>
                    <a:pt x="1" y="117"/>
                  </a:lnTo>
                  <a:lnTo>
                    <a:pt x="5" y="142"/>
                  </a:lnTo>
                  <a:lnTo>
                    <a:pt x="10" y="163"/>
                  </a:lnTo>
                  <a:lnTo>
                    <a:pt x="13" y="171"/>
                  </a:lnTo>
                  <a:lnTo>
                    <a:pt x="17" y="179"/>
                  </a:lnTo>
                  <a:lnTo>
                    <a:pt x="17" y="179"/>
                  </a:lnTo>
                  <a:lnTo>
                    <a:pt x="21" y="171"/>
                  </a:lnTo>
                  <a:lnTo>
                    <a:pt x="23" y="163"/>
                  </a:lnTo>
                  <a:lnTo>
                    <a:pt x="29" y="142"/>
                  </a:lnTo>
                  <a:lnTo>
                    <a:pt x="32" y="117"/>
                  </a:lnTo>
                  <a:lnTo>
                    <a:pt x="33" y="89"/>
                  </a:lnTo>
                  <a:lnTo>
                    <a:pt x="33" y="89"/>
                  </a:lnTo>
                  <a:lnTo>
                    <a:pt x="32" y="62"/>
                  </a:lnTo>
                  <a:lnTo>
                    <a:pt x="29" y="36"/>
                  </a:lnTo>
                  <a:lnTo>
                    <a:pt x="23" y="15"/>
                  </a:lnTo>
                  <a:lnTo>
                    <a:pt x="21" y="6"/>
                  </a:lnTo>
                  <a:lnTo>
                    <a:pt x="17" y="0"/>
                  </a:lnTo>
                  <a:lnTo>
                    <a:pt x="17"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6" name="Freeform 121">
              <a:extLst>
                <a:ext uri="{FF2B5EF4-FFF2-40B4-BE49-F238E27FC236}">
                  <a16:creationId xmlns:a16="http://schemas.microsoft.com/office/drawing/2014/main" id="{8CBC38B7-664F-6C54-AC0A-77BECF2D10E6}"/>
                </a:ext>
              </a:extLst>
            </p:cNvPr>
            <p:cNvSpPr>
              <a:spLocks/>
            </p:cNvSpPr>
            <p:nvPr/>
          </p:nvSpPr>
          <p:spPr bwMode="auto">
            <a:xfrm>
              <a:off x="3050230" y="3456689"/>
              <a:ext cx="23856" cy="241768"/>
            </a:xfrm>
            <a:custGeom>
              <a:avLst/>
              <a:gdLst>
                <a:gd name="T0" fmla="*/ 0 w 16"/>
                <a:gd name="T1" fmla="*/ 0 h 179"/>
                <a:gd name="T2" fmla="*/ 0 w 16"/>
                <a:gd name="T3" fmla="*/ 178 h 179"/>
                <a:gd name="T4" fmla="*/ 0 w 16"/>
                <a:gd name="T5" fmla="*/ 178 h 179"/>
                <a:gd name="T6" fmla="*/ 0 w 16"/>
                <a:gd name="T7" fmla="*/ 179 h 179"/>
                <a:gd name="T8" fmla="*/ 0 w 16"/>
                <a:gd name="T9" fmla="*/ 179 h 179"/>
                <a:gd name="T10" fmla="*/ 4 w 16"/>
                <a:gd name="T11" fmla="*/ 171 h 179"/>
                <a:gd name="T12" fmla="*/ 6 w 16"/>
                <a:gd name="T13" fmla="*/ 163 h 179"/>
                <a:gd name="T14" fmla="*/ 12 w 16"/>
                <a:gd name="T15" fmla="*/ 142 h 179"/>
                <a:gd name="T16" fmla="*/ 15 w 16"/>
                <a:gd name="T17" fmla="*/ 117 h 179"/>
                <a:gd name="T18" fmla="*/ 16 w 16"/>
                <a:gd name="T19" fmla="*/ 89 h 179"/>
                <a:gd name="T20" fmla="*/ 16 w 16"/>
                <a:gd name="T21" fmla="*/ 89 h 179"/>
                <a:gd name="T22" fmla="*/ 15 w 16"/>
                <a:gd name="T23" fmla="*/ 62 h 179"/>
                <a:gd name="T24" fmla="*/ 12 w 16"/>
                <a:gd name="T25" fmla="*/ 36 h 179"/>
                <a:gd name="T26" fmla="*/ 6 w 16"/>
                <a:gd name="T27" fmla="*/ 15 h 179"/>
                <a:gd name="T28" fmla="*/ 4 w 16"/>
                <a:gd name="T29" fmla="*/ 6 h 179"/>
                <a:gd name="T30" fmla="*/ 0 w 16"/>
                <a:gd name="T31" fmla="*/ 0 h 179"/>
                <a:gd name="T32" fmla="*/ 0 w 16"/>
                <a:gd name="T33" fmla="*/ 0 h 179"/>
                <a:gd name="T34" fmla="*/ 0 w 16"/>
                <a:gd name="T35" fmla="*/ 0 h 179"/>
                <a:gd name="T36" fmla="*/ 0 w 16"/>
                <a:gd name="T37"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179">
                  <a:moveTo>
                    <a:pt x="0" y="0"/>
                  </a:moveTo>
                  <a:lnTo>
                    <a:pt x="0" y="178"/>
                  </a:lnTo>
                  <a:lnTo>
                    <a:pt x="0" y="178"/>
                  </a:lnTo>
                  <a:lnTo>
                    <a:pt x="0" y="179"/>
                  </a:lnTo>
                  <a:lnTo>
                    <a:pt x="0" y="179"/>
                  </a:lnTo>
                  <a:lnTo>
                    <a:pt x="4" y="171"/>
                  </a:lnTo>
                  <a:lnTo>
                    <a:pt x="6" y="163"/>
                  </a:lnTo>
                  <a:lnTo>
                    <a:pt x="12" y="142"/>
                  </a:lnTo>
                  <a:lnTo>
                    <a:pt x="15" y="117"/>
                  </a:lnTo>
                  <a:lnTo>
                    <a:pt x="16" y="89"/>
                  </a:lnTo>
                  <a:lnTo>
                    <a:pt x="16" y="89"/>
                  </a:lnTo>
                  <a:lnTo>
                    <a:pt x="15" y="62"/>
                  </a:lnTo>
                  <a:lnTo>
                    <a:pt x="12" y="36"/>
                  </a:lnTo>
                  <a:lnTo>
                    <a:pt x="6" y="15"/>
                  </a:lnTo>
                  <a:lnTo>
                    <a:pt x="4" y="6"/>
                  </a:lnTo>
                  <a:lnTo>
                    <a:pt x="0" y="0"/>
                  </a:lnTo>
                  <a:lnTo>
                    <a:pt x="0" y="0"/>
                  </a:lnTo>
                  <a:lnTo>
                    <a:pt x="0" y="0"/>
                  </a:lnTo>
                  <a:lnTo>
                    <a:pt x="0"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7" name="Freeform 122">
              <a:extLst>
                <a:ext uri="{FF2B5EF4-FFF2-40B4-BE49-F238E27FC236}">
                  <a16:creationId xmlns:a16="http://schemas.microsoft.com/office/drawing/2014/main" id="{7A0141EF-4118-5B3A-1690-5896519DEED5}"/>
                </a:ext>
              </a:extLst>
            </p:cNvPr>
            <p:cNvSpPr>
              <a:spLocks/>
            </p:cNvSpPr>
            <p:nvPr/>
          </p:nvSpPr>
          <p:spPr bwMode="auto">
            <a:xfrm>
              <a:off x="2986113" y="3293261"/>
              <a:ext cx="128226" cy="118858"/>
            </a:xfrm>
            <a:custGeom>
              <a:avLst/>
              <a:gdLst>
                <a:gd name="T0" fmla="*/ 43 w 86"/>
                <a:gd name="T1" fmla="*/ 88 h 88"/>
                <a:gd name="T2" fmla="*/ 43 w 86"/>
                <a:gd name="T3" fmla="*/ 88 h 88"/>
                <a:gd name="T4" fmla="*/ 34 w 86"/>
                <a:gd name="T5" fmla="*/ 86 h 88"/>
                <a:gd name="T6" fmla="*/ 26 w 86"/>
                <a:gd name="T7" fmla="*/ 84 h 88"/>
                <a:gd name="T8" fmla="*/ 18 w 86"/>
                <a:gd name="T9" fmla="*/ 80 h 88"/>
                <a:gd name="T10" fmla="*/ 12 w 86"/>
                <a:gd name="T11" fmla="*/ 75 h 88"/>
                <a:gd name="T12" fmla="*/ 7 w 86"/>
                <a:gd name="T13" fmla="*/ 68 h 88"/>
                <a:gd name="T14" fmla="*/ 2 w 86"/>
                <a:gd name="T15" fmla="*/ 61 h 88"/>
                <a:gd name="T16" fmla="*/ 0 w 86"/>
                <a:gd name="T17" fmla="*/ 53 h 88"/>
                <a:gd name="T18" fmla="*/ 0 w 86"/>
                <a:gd name="T19" fmla="*/ 45 h 88"/>
                <a:gd name="T20" fmla="*/ 0 w 86"/>
                <a:gd name="T21" fmla="*/ 45 h 88"/>
                <a:gd name="T22" fmla="*/ 0 w 86"/>
                <a:gd name="T23" fmla="*/ 35 h 88"/>
                <a:gd name="T24" fmla="*/ 2 w 86"/>
                <a:gd name="T25" fmla="*/ 27 h 88"/>
                <a:gd name="T26" fmla="*/ 7 w 86"/>
                <a:gd name="T27" fmla="*/ 20 h 88"/>
                <a:gd name="T28" fmla="*/ 12 w 86"/>
                <a:gd name="T29" fmla="*/ 14 h 88"/>
                <a:gd name="T30" fmla="*/ 18 w 86"/>
                <a:gd name="T31" fmla="*/ 8 h 88"/>
                <a:gd name="T32" fmla="*/ 26 w 86"/>
                <a:gd name="T33" fmla="*/ 4 h 88"/>
                <a:gd name="T34" fmla="*/ 34 w 86"/>
                <a:gd name="T35" fmla="*/ 1 h 88"/>
                <a:gd name="T36" fmla="*/ 43 w 86"/>
                <a:gd name="T37" fmla="*/ 0 h 88"/>
                <a:gd name="T38" fmla="*/ 43 w 86"/>
                <a:gd name="T39" fmla="*/ 0 h 88"/>
                <a:gd name="T40" fmla="*/ 52 w 86"/>
                <a:gd name="T41" fmla="*/ 1 h 88"/>
                <a:gd name="T42" fmla="*/ 60 w 86"/>
                <a:gd name="T43" fmla="*/ 4 h 88"/>
                <a:gd name="T44" fmla="*/ 68 w 86"/>
                <a:gd name="T45" fmla="*/ 8 h 88"/>
                <a:gd name="T46" fmla="*/ 74 w 86"/>
                <a:gd name="T47" fmla="*/ 14 h 88"/>
                <a:gd name="T48" fmla="*/ 79 w 86"/>
                <a:gd name="T49" fmla="*/ 20 h 88"/>
                <a:gd name="T50" fmla="*/ 83 w 86"/>
                <a:gd name="T51" fmla="*/ 27 h 88"/>
                <a:gd name="T52" fmla="*/ 85 w 86"/>
                <a:gd name="T53" fmla="*/ 35 h 88"/>
                <a:gd name="T54" fmla="*/ 86 w 86"/>
                <a:gd name="T55" fmla="*/ 45 h 88"/>
                <a:gd name="T56" fmla="*/ 86 w 86"/>
                <a:gd name="T57" fmla="*/ 45 h 88"/>
                <a:gd name="T58" fmla="*/ 85 w 86"/>
                <a:gd name="T59" fmla="*/ 53 h 88"/>
                <a:gd name="T60" fmla="*/ 83 w 86"/>
                <a:gd name="T61" fmla="*/ 61 h 88"/>
                <a:gd name="T62" fmla="*/ 79 w 86"/>
                <a:gd name="T63" fmla="*/ 68 h 88"/>
                <a:gd name="T64" fmla="*/ 74 w 86"/>
                <a:gd name="T65" fmla="*/ 75 h 88"/>
                <a:gd name="T66" fmla="*/ 68 w 86"/>
                <a:gd name="T67" fmla="*/ 80 h 88"/>
                <a:gd name="T68" fmla="*/ 60 w 86"/>
                <a:gd name="T69" fmla="*/ 84 h 88"/>
                <a:gd name="T70" fmla="*/ 52 w 86"/>
                <a:gd name="T71" fmla="*/ 86 h 88"/>
                <a:gd name="T72" fmla="*/ 43 w 86"/>
                <a:gd name="T73" fmla="*/ 88 h 88"/>
                <a:gd name="T74" fmla="*/ 43 w 86"/>
                <a:gd name="T7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6" h="88">
                  <a:moveTo>
                    <a:pt x="43" y="88"/>
                  </a:moveTo>
                  <a:lnTo>
                    <a:pt x="43" y="88"/>
                  </a:lnTo>
                  <a:lnTo>
                    <a:pt x="34" y="86"/>
                  </a:lnTo>
                  <a:lnTo>
                    <a:pt x="26" y="84"/>
                  </a:lnTo>
                  <a:lnTo>
                    <a:pt x="18" y="80"/>
                  </a:lnTo>
                  <a:lnTo>
                    <a:pt x="12" y="75"/>
                  </a:lnTo>
                  <a:lnTo>
                    <a:pt x="7" y="68"/>
                  </a:lnTo>
                  <a:lnTo>
                    <a:pt x="2" y="61"/>
                  </a:lnTo>
                  <a:lnTo>
                    <a:pt x="0" y="53"/>
                  </a:lnTo>
                  <a:lnTo>
                    <a:pt x="0" y="45"/>
                  </a:lnTo>
                  <a:lnTo>
                    <a:pt x="0" y="45"/>
                  </a:lnTo>
                  <a:lnTo>
                    <a:pt x="0" y="35"/>
                  </a:lnTo>
                  <a:lnTo>
                    <a:pt x="2" y="27"/>
                  </a:lnTo>
                  <a:lnTo>
                    <a:pt x="7" y="20"/>
                  </a:lnTo>
                  <a:lnTo>
                    <a:pt x="12" y="14"/>
                  </a:lnTo>
                  <a:lnTo>
                    <a:pt x="18" y="8"/>
                  </a:lnTo>
                  <a:lnTo>
                    <a:pt x="26" y="4"/>
                  </a:lnTo>
                  <a:lnTo>
                    <a:pt x="34" y="1"/>
                  </a:lnTo>
                  <a:lnTo>
                    <a:pt x="43" y="0"/>
                  </a:lnTo>
                  <a:lnTo>
                    <a:pt x="43" y="0"/>
                  </a:lnTo>
                  <a:lnTo>
                    <a:pt x="52" y="1"/>
                  </a:lnTo>
                  <a:lnTo>
                    <a:pt x="60" y="4"/>
                  </a:lnTo>
                  <a:lnTo>
                    <a:pt x="68" y="8"/>
                  </a:lnTo>
                  <a:lnTo>
                    <a:pt x="74" y="14"/>
                  </a:lnTo>
                  <a:lnTo>
                    <a:pt x="79" y="20"/>
                  </a:lnTo>
                  <a:lnTo>
                    <a:pt x="83" y="27"/>
                  </a:lnTo>
                  <a:lnTo>
                    <a:pt x="85" y="35"/>
                  </a:lnTo>
                  <a:lnTo>
                    <a:pt x="86" y="45"/>
                  </a:lnTo>
                  <a:lnTo>
                    <a:pt x="86" y="45"/>
                  </a:lnTo>
                  <a:lnTo>
                    <a:pt x="85" y="53"/>
                  </a:lnTo>
                  <a:lnTo>
                    <a:pt x="83" y="61"/>
                  </a:lnTo>
                  <a:lnTo>
                    <a:pt x="79" y="68"/>
                  </a:lnTo>
                  <a:lnTo>
                    <a:pt x="74" y="75"/>
                  </a:lnTo>
                  <a:lnTo>
                    <a:pt x="68" y="80"/>
                  </a:lnTo>
                  <a:lnTo>
                    <a:pt x="60" y="84"/>
                  </a:lnTo>
                  <a:lnTo>
                    <a:pt x="52" y="86"/>
                  </a:lnTo>
                  <a:lnTo>
                    <a:pt x="43" y="88"/>
                  </a:lnTo>
                  <a:lnTo>
                    <a:pt x="43" y="88"/>
                  </a:lnTo>
                  <a:close/>
                </a:path>
              </a:pathLst>
            </a:custGeom>
            <a:solidFill>
              <a:srgbClr val="174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8" name="Freeform 123">
              <a:extLst>
                <a:ext uri="{FF2B5EF4-FFF2-40B4-BE49-F238E27FC236}">
                  <a16:creationId xmlns:a16="http://schemas.microsoft.com/office/drawing/2014/main" id="{A3A8572A-80AB-2F5A-60E9-E9955D76F0FC}"/>
                </a:ext>
              </a:extLst>
            </p:cNvPr>
            <p:cNvSpPr>
              <a:spLocks/>
            </p:cNvSpPr>
            <p:nvPr/>
          </p:nvSpPr>
          <p:spPr bwMode="auto">
            <a:xfrm>
              <a:off x="3004009" y="3312171"/>
              <a:ext cx="90951" cy="81039"/>
            </a:xfrm>
            <a:custGeom>
              <a:avLst/>
              <a:gdLst>
                <a:gd name="T0" fmla="*/ 31 w 61"/>
                <a:gd name="T1" fmla="*/ 0 h 60"/>
                <a:gd name="T2" fmla="*/ 31 w 61"/>
                <a:gd name="T3" fmla="*/ 0 h 60"/>
                <a:gd name="T4" fmla="*/ 25 w 61"/>
                <a:gd name="T5" fmla="*/ 1 h 60"/>
                <a:gd name="T6" fmla="*/ 19 w 61"/>
                <a:gd name="T7" fmla="*/ 2 h 60"/>
                <a:gd name="T8" fmla="*/ 14 w 61"/>
                <a:gd name="T9" fmla="*/ 5 h 60"/>
                <a:gd name="T10" fmla="*/ 10 w 61"/>
                <a:gd name="T11" fmla="*/ 8 h 60"/>
                <a:gd name="T12" fmla="*/ 6 w 61"/>
                <a:gd name="T13" fmla="*/ 13 h 60"/>
                <a:gd name="T14" fmla="*/ 3 w 61"/>
                <a:gd name="T15" fmla="*/ 18 h 60"/>
                <a:gd name="T16" fmla="*/ 1 w 61"/>
                <a:gd name="T17" fmla="*/ 24 h 60"/>
                <a:gd name="T18" fmla="*/ 0 w 61"/>
                <a:gd name="T19" fmla="*/ 31 h 60"/>
                <a:gd name="T20" fmla="*/ 0 w 61"/>
                <a:gd name="T21" fmla="*/ 31 h 60"/>
                <a:gd name="T22" fmla="*/ 1 w 61"/>
                <a:gd name="T23" fmla="*/ 37 h 60"/>
                <a:gd name="T24" fmla="*/ 3 w 61"/>
                <a:gd name="T25" fmla="*/ 42 h 60"/>
                <a:gd name="T26" fmla="*/ 6 w 61"/>
                <a:gd name="T27" fmla="*/ 47 h 60"/>
                <a:gd name="T28" fmla="*/ 10 w 61"/>
                <a:gd name="T29" fmla="*/ 51 h 60"/>
                <a:gd name="T30" fmla="*/ 14 w 61"/>
                <a:gd name="T31" fmla="*/ 55 h 60"/>
                <a:gd name="T32" fmla="*/ 19 w 61"/>
                <a:gd name="T33" fmla="*/ 58 h 60"/>
                <a:gd name="T34" fmla="*/ 25 w 61"/>
                <a:gd name="T35" fmla="*/ 60 h 60"/>
                <a:gd name="T36" fmla="*/ 31 w 61"/>
                <a:gd name="T37" fmla="*/ 60 h 60"/>
                <a:gd name="T38" fmla="*/ 31 w 61"/>
                <a:gd name="T39" fmla="*/ 60 h 60"/>
                <a:gd name="T40" fmla="*/ 37 w 61"/>
                <a:gd name="T41" fmla="*/ 60 h 60"/>
                <a:gd name="T42" fmla="*/ 42 w 61"/>
                <a:gd name="T43" fmla="*/ 58 h 60"/>
                <a:gd name="T44" fmla="*/ 48 w 61"/>
                <a:gd name="T45" fmla="*/ 55 h 60"/>
                <a:gd name="T46" fmla="*/ 52 w 61"/>
                <a:gd name="T47" fmla="*/ 51 h 60"/>
                <a:gd name="T48" fmla="*/ 56 w 61"/>
                <a:gd name="T49" fmla="*/ 47 h 60"/>
                <a:gd name="T50" fmla="*/ 59 w 61"/>
                <a:gd name="T51" fmla="*/ 42 h 60"/>
                <a:gd name="T52" fmla="*/ 61 w 61"/>
                <a:gd name="T53" fmla="*/ 37 h 60"/>
                <a:gd name="T54" fmla="*/ 61 w 61"/>
                <a:gd name="T55" fmla="*/ 31 h 60"/>
                <a:gd name="T56" fmla="*/ 61 w 61"/>
                <a:gd name="T57" fmla="*/ 31 h 60"/>
                <a:gd name="T58" fmla="*/ 61 w 61"/>
                <a:gd name="T59" fmla="*/ 24 h 60"/>
                <a:gd name="T60" fmla="*/ 59 w 61"/>
                <a:gd name="T61" fmla="*/ 18 h 60"/>
                <a:gd name="T62" fmla="*/ 56 w 61"/>
                <a:gd name="T63" fmla="*/ 13 h 60"/>
                <a:gd name="T64" fmla="*/ 52 w 61"/>
                <a:gd name="T65" fmla="*/ 8 h 60"/>
                <a:gd name="T66" fmla="*/ 48 w 61"/>
                <a:gd name="T67" fmla="*/ 5 h 60"/>
                <a:gd name="T68" fmla="*/ 42 w 61"/>
                <a:gd name="T69" fmla="*/ 2 h 60"/>
                <a:gd name="T70" fmla="*/ 37 w 61"/>
                <a:gd name="T71" fmla="*/ 1 h 60"/>
                <a:gd name="T72" fmla="*/ 31 w 61"/>
                <a:gd name="T73" fmla="*/ 0 h 60"/>
                <a:gd name="T74" fmla="*/ 31 w 61"/>
                <a:gd name="T7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 h="60">
                  <a:moveTo>
                    <a:pt x="31" y="0"/>
                  </a:moveTo>
                  <a:lnTo>
                    <a:pt x="31" y="0"/>
                  </a:lnTo>
                  <a:lnTo>
                    <a:pt x="25" y="1"/>
                  </a:lnTo>
                  <a:lnTo>
                    <a:pt x="19" y="2"/>
                  </a:lnTo>
                  <a:lnTo>
                    <a:pt x="14" y="5"/>
                  </a:lnTo>
                  <a:lnTo>
                    <a:pt x="10" y="8"/>
                  </a:lnTo>
                  <a:lnTo>
                    <a:pt x="6" y="13"/>
                  </a:lnTo>
                  <a:lnTo>
                    <a:pt x="3" y="18"/>
                  </a:lnTo>
                  <a:lnTo>
                    <a:pt x="1" y="24"/>
                  </a:lnTo>
                  <a:lnTo>
                    <a:pt x="0" y="31"/>
                  </a:lnTo>
                  <a:lnTo>
                    <a:pt x="0" y="31"/>
                  </a:lnTo>
                  <a:lnTo>
                    <a:pt x="1" y="37"/>
                  </a:lnTo>
                  <a:lnTo>
                    <a:pt x="3" y="42"/>
                  </a:lnTo>
                  <a:lnTo>
                    <a:pt x="6" y="47"/>
                  </a:lnTo>
                  <a:lnTo>
                    <a:pt x="10" y="51"/>
                  </a:lnTo>
                  <a:lnTo>
                    <a:pt x="14" y="55"/>
                  </a:lnTo>
                  <a:lnTo>
                    <a:pt x="19" y="58"/>
                  </a:lnTo>
                  <a:lnTo>
                    <a:pt x="25" y="60"/>
                  </a:lnTo>
                  <a:lnTo>
                    <a:pt x="31" y="60"/>
                  </a:lnTo>
                  <a:lnTo>
                    <a:pt x="31" y="60"/>
                  </a:lnTo>
                  <a:lnTo>
                    <a:pt x="37" y="60"/>
                  </a:lnTo>
                  <a:lnTo>
                    <a:pt x="42" y="58"/>
                  </a:lnTo>
                  <a:lnTo>
                    <a:pt x="48" y="55"/>
                  </a:lnTo>
                  <a:lnTo>
                    <a:pt x="52" y="51"/>
                  </a:lnTo>
                  <a:lnTo>
                    <a:pt x="56" y="47"/>
                  </a:lnTo>
                  <a:lnTo>
                    <a:pt x="59" y="42"/>
                  </a:lnTo>
                  <a:lnTo>
                    <a:pt x="61" y="37"/>
                  </a:lnTo>
                  <a:lnTo>
                    <a:pt x="61" y="31"/>
                  </a:lnTo>
                  <a:lnTo>
                    <a:pt x="61" y="31"/>
                  </a:lnTo>
                  <a:lnTo>
                    <a:pt x="61" y="24"/>
                  </a:lnTo>
                  <a:lnTo>
                    <a:pt x="59" y="18"/>
                  </a:lnTo>
                  <a:lnTo>
                    <a:pt x="56" y="13"/>
                  </a:lnTo>
                  <a:lnTo>
                    <a:pt x="52" y="8"/>
                  </a:lnTo>
                  <a:lnTo>
                    <a:pt x="48" y="5"/>
                  </a:lnTo>
                  <a:lnTo>
                    <a:pt x="42" y="2"/>
                  </a:lnTo>
                  <a:lnTo>
                    <a:pt x="37" y="1"/>
                  </a:lnTo>
                  <a:lnTo>
                    <a:pt x="31" y="0"/>
                  </a:lnTo>
                  <a:lnTo>
                    <a:pt x="3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9" name="Freeform 124">
              <a:extLst>
                <a:ext uri="{FF2B5EF4-FFF2-40B4-BE49-F238E27FC236}">
                  <a16:creationId xmlns:a16="http://schemas.microsoft.com/office/drawing/2014/main" id="{68985CAD-2244-5904-0EA8-D4FCFE51AD54}"/>
                </a:ext>
              </a:extLst>
            </p:cNvPr>
            <p:cNvSpPr>
              <a:spLocks/>
            </p:cNvSpPr>
            <p:nvPr/>
          </p:nvSpPr>
          <p:spPr bwMode="auto">
            <a:xfrm>
              <a:off x="3050204" y="3293261"/>
              <a:ext cx="64113" cy="118858"/>
            </a:xfrm>
            <a:custGeom>
              <a:avLst/>
              <a:gdLst>
                <a:gd name="T0" fmla="*/ 0 w 43"/>
                <a:gd name="T1" fmla="*/ 0 h 88"/>
                <a:gd name="T2" fmla="*/ 0 w 43"/>
                <a:gd name="T3" fmla="*/ 0 h 88"/>
                <a:gd name="T4" fmla="*/ 0 w 43"/>
                <a:gd name="T5" fmla="*/ 0 h 88"/>
                <a:gd name="T6" fmla="*/ 0 w 43"/>
                <a:gd name="T7" fmla="*/ 14 h 88"/>
                <a:gd name="T8" fmla="*/ 0 w 43"/>
                <a:gd name="T9" fmla="*/ 14 h 88"/>
                <a:gd name="T10" fmla="*/ 0 w 43"/>
                <a:gd name="T11" fmla="*/ 14 h 88"/>
                <a:gd name="T12" fmla="*/ 0 w 43"/>
                <a:gd name="T13" fmla="*/ 14 h 88"/>
                <a:gd name="T14" fmla="*/ 6 w 43"/>
                <a:gd name="T15" fmla="*/ 15 h 88"/>
                <a:gd name="T16" fmla="*/ 11 w 43"/>
                <a:gd name="T17" fmla="*/ 16 h 88"/>
                <a:gd name="T18" fmla="*/ 17 w 43"/>
                <a:gd name="T19" fmla="*/ 19 h 88"/>
                <a:gd name="T20" fmla="*/ 21 w 43"/>
                <a:gd name="T21" fmla="*/ 22 h 88"/>
                <a:gd name="T22" fmla="*/ 25 w 43"/>
                <a:gd name="T23" fmla="*/ 27 h 88"/>
                <a:gd name="T24" fmla="*/ 28 w 43"/>
                <a:gd name="T25" fmla="*/ 32 h 88"/>
                <a:gd name="T26" fmla="*/ 30 w 43"/>
                <a:gd name="T27" fmla="*/ 38 h 88"/>
                <a:gd name="T28" fmla="*/ 30 w 43"/>
                <a:gd name="T29" fmla="*/ 45 h 88"/>
                <a:gd name="T30" fmla="*/ 30 w 43"/>
                <a:gd name="T31" fmla="*/ 45 h 88"/>
                <a:gd name="T32" fmla="*/ 30 w 43"/>
                <a:gd name="T33" fmla="*/ 51 h 88"/>
                <a:gd name="T34" fmla="*/ 28 w 43"/>
                <a:gd name="T35" fmla="*/ 56 h 88"/>
                <a:gd name="T36" fmla="*/ 25 w 43"/>
                <a:gd name="T37" fmla="*/ 61 h 88"/>
                <a:gd name="T38" fmla="*/ 21 w 43"/>
                <a:gd name="T39" fmla="*/ 65 h 88"/>
                <a:gd name="T40" fmla="*/ 17 w 43"/>
                <a:gd name="T41" fmla="*/ 69 h 88"/>
                <a:gd name="T42" fmla="*/ 11 w 43"/>
                <a:gd name="T43" fmla="*/ 72 h 88"/>
                <a:gd name="T44" fmla="*/ 6 w 43"/>
                <a:gd name="T45" fmla="*/ 74 h 88"/>
                <a:gd name="T46" fmla="*/ 0 w 43"/>
                <a:gd name="T47" fmla="*/ 74 h 88"/>
                <a:gd name="T48" fmla="*/ 0 w 43"/>
                <a:gd name="T49" fmla="*/ 74 h 88"/>
                <a:gd name="T50" fmla="*/ 0 w 43"/>
                <a:gd name="T51" fmla="*/ 74 h 88"/>
                <a:gd name="T52" fmla="*/ 0 w 43"/>
                <a:gd name="T53" fmla="*/ 88 h 88"/>
                <a:gd name="T54" fmla="*/ 0 w 43"/>
                <a:gd name="T55" fmla="*/ 88 h 88"/>
                <a:gd name="T56" fmla="*/ 0 w 43"/>
                <a:gd name="T57" fmla="*/ 88 h 88"/>
                <a:gd name="T58" fmla="*/ 0 w 43"/>
                <a:gd name="T59" fmla="*/ 88 h 88"/>
                <a:gd name="T60" fmla="*/ 9 w 43"/>
                <a:gd name="T61" fmla="*/ 86 h 88"/>
                <a:gd name="T62" fmla="*/ 17 w 43"/>
                <a:gd name="T63" fmla="*/ 84 h 88"/>
                <a:gd name="T64" fmla="*/ 25 w 43"/>
                <a:gd name="T65" fmla="*/ 80 h 88"/>
                <a:gd name="T66" fmla="*/ 31 w 43"/>
                <a:gd name="T67" fmla="*/ 75 h 88"/>
                <a:gd name="T68" fmla="*/ 36 w 43"/>
                <a:gd name="T69" fmla="*/ 68 h 88"/>
                <a:gd name="T70" fmla="*/ 40 w 43"/>
                <a:gd name="T71" fmla="*/ 61 h 88"/>
                <a:gd name="T72" fmla="*/ 42 w 43"/>
                <a:gd name="T73" fmla="*/ 53 h 88"/>
                <a:gd name="T74" fmla="*/ 43 w 43"/>
                <a:gd name="T75" fmla="*/ 45 h 88"/>
                <a:gd name="T76" fmla="*/ 43 w 43"/>
                <a:gd name="T77" fmla="*/ 45 h 88"/>
                <a:gd name="T78" fmla="*/ 42 w 43"/>
                <a:gd name="T79" fmla="*/ 35 h 88"/>
                <a:gd name="T80" fmla="*/ 40 w 43"/>
                <a:gd name="T81" fmla="*/ 27 h 88"/>
                <a:gd name="T82" fmla="*/ 36 w 43"/>
                <a:gd name="T83" fmla="*/ 20 h 88"/>
                <a:gd name="T84" fmla="*/ 31 w 43"/>
                <a:gd name="T85" fmla="*/ 14 h 88"/>
                <a:gd name="T86" fmla="*/ 25 w 43"/>
                <a:gd name="T87" fmla="*/ 8 h 88"/>
                <a:gd name="T88" fmla="*/ 17 w 43"/>
                <a:gd name="T89" fmla="*/ 4 h 88"/>
                <a:gd name="T90" fmla="*/ 9 w 43"/>
                <a:gd name="T91" fmla="*/ 1 h 88"/>
                <a:gd name="T92" fmla="*/ 0 w 43"/>
                <a:gd name="T93" fmla="*/ 0 h 88"/>
                <a:gd name="T94" fmla="*/ 0 w 43"/>
                <a:gd name="T9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 h="88">
                  <a:moveTo>
                    <a:pt x="0" y="0"/>
                  </a:moveTo>
                  <a:lnTo>
                    <a:pt x="0" y="0"/>
                  </a:lnTo>
                  <a:lnTo>
                    <a:pt x="0" y="0"/>
                  </a:lnTo>
                  <a:lnTo>
                    <a:pt x="0" y="14"/>
                  </a:lnTo>
                  <a:lnTo>
                    <a:pt x="0" y="14"/>
                  </a:lnTo>
                  <a:lnTo>
                    <a:pt x="0" y="14"/>
                  </a:lnTo>
                  <a:lnTo>
                    <a:pt x="0" y="14"/>
                  </a:lnTo>
                  <a:lnTo>
                    <a:pt x="6" y="15"/>
                  </a:lnTo>
                  <a:lnTo>
                    <a:pt x="11" y="16"/>
                  </a:lnTo>
                  <a:lnTo>
                    <a:pt x="17" y="19"/>
                  </a:lnTo>
                  <a:lnTo>
                    <a:pt x="21" y="22"/>
                  </a:lnTo>
                  <a:lnTo>
                    <a:pt x="25" y="27"/>
                  </a:lnTo>
                  <a:lnTo>
                    <a:pt x="28" y="32"/>
                  </a:lnTo>
                  <a:lnTo>
                    <a:pt x="30" y="38"/>
                  </a:lnTo>
                  <a:lnTo>
                    <a:pt x="30" y="45"/>
                  </a:lnTo>
                  <a:lnTo>
                    <a:pt x="30" y="45"/>
                  </a:lnTo>
                  <a:lnTo>
                    <a:pt x="30" y="51"/>
                  </a:lnTo>
                  <a:lnTo>
                    <a:pt x="28" y="56"/>
                  </a:lnTo>
                  <a:lnTo>
                    <a:pt x="25" y="61"/>
                  </a:lnTo>
                  <a:lnTo>
                    <a:pt x="21" y="65"/>
                  </a:lnTo>
                  <a:lnTo>
                    <a:pt x="17" y="69"/>
                  </a:lnTo>
                  <a:lnTo>
                    <a:pt x="11" y="72"/>
                  </a:lnTo>
                  <a:lnTo>
                    <a:pt x="6" y="74"/>
                  </a:lnTo>
                  <a:lnTo>
                    <a:pt x="0" y="74"/>
                  </a:lnTo>
                  <a:lnTo>
                    <a:pt x="0" y="74"/>
                  </a:lnTo>
                  <a:lnTo>
                    <a:pt x="0" y="74"/>
                  </a:lnTo>
                  <a:lnTo>
                    <a:pt x="0" y="88"/>
                  </a:lnTo>
                  <a:lnTo>
                    <a:pt x="0" y="88"/>
                  </a:lnTo>
                  <a:lnTo>
                    <a:pt x="0" y="88"/>
                  </a:lnTo>
                  <a:lnTo>
                    <a:pt x="0" y="88"/>
                  </a:lnTo>
                  <a:lnTo>
                    <a:pt x="9" y="86"/>
                  </a:lnTo>
                  <a:lnTo>
                    <a:pt x="17" y="84"/>
                  </a:lnTo>
                  <a:lnTo>
                    <a:pt x="25" y="80"/>
                  </a:lnTo>
                  <a:lnTo>
                    <a:pt x="31" y="75"/>
                  </a:lnTo>
                  <a:lnTo>
                    <a:pt x="36" y="68"/>
                  </a:lnTo>
                  <a:lnTo>
                    <a:pt x="40" y="61"/>
                  </a:lnTo>
                  <a:lnTo>
                    <a:pt x="42" y="53"/>
                  </a:lnTo>
                  <a:lnTo>
                    <a:pt x="43" y="45"/>
                  </a:lnTo>
                  <a:lnTo>
                    <a:pt x="43" y="45"/>
                  </a:lnTo>
                  <a:lnTo>
                    <a:pt x="42" y="35"/>
                  </a:lnTo>
                  <a:lnTo>
                    <a:pt x="40" y="27"/>
                  </a:lnTo>
                  <a:lnTo>
                    <a:pt x="36" y="20"/>
                  </a:lnTo>
                  <a:lnTo>
                    <a:pt x="31" y="14"/>
                  </a:lnTo>
                  <a:lnTo>
                    <a:pt x="25" y="8"/>
                  </a:lnTo>
                  <a:lnTo>
                    <a:pt x="17" y="4"/>
                  </a:lnTo>
                  <a:lnTo>
                    <a:pt x="9" y="1"/>
                  </a:lnTo>
                  <a:lnTo>
                    <a:pt x="0" y="0"/>
                  </a:lnTo>
                  <a:lnTo>
                    <a:pt x="0" y="0"/>
                  </a:lnTo>
                  <a:close/>
                </a:path>
              </a:pathLst>
            </a:custGeom>
            <a:solidFill>
              <a:srgbClr val="1037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0" name="Freeform 125">
              <a:extLst>
                <a:ext uri="{FF2B5EF4-FFF2-40B4-BE49-F238E27FC236}">
                  <a16:creationId xmlns:a16="http://schemas.microsoft.com/office/drawing/2014/main" id="{3E5343A2-BE24-4246-97CE-95B7E78581F9}"/>
                </a:ext>
              </a:extLst>
            </p:cNvPr>
            <p:cNvSpPr>
              <a:spLocks/>
            </p:cNvSpPr>
            <p:nvPr/>
          </p:nvSpPr>
          <p:spPr bwMode="auto">
            <a:xfrm>
              <a:off x="3050215" y="3312165"/>
              <a:ext cx="44730" cy="81039"/>
            </a:xfrm>
            <a:custGeom>
              <a:avLst/>
              <a:gdLst>
                <a:gd name="T0" fmla="*/ 30 w 30"/>
                <a:gd name="T1" fmla="*/ 31 h 60"/>
                <a:gd name="T2" fmla="*/ 30 w 30"/>
                <a:gd name="T3" fmla="*/ 31 h 60"/>
                <a:gd name="T4" fmla="*/ 30 w 30"/>
                <a:gd name="T5" fmla="*/ 24 h 60"/>
                <a:gd name="T6" fmla="*/ 28 w 30"/>
                <a:gd name="T7" fmla="*/ 18 h 60"/>
                <a:gd name="T8" fmla="*/ 25 w 30"/>
                <a:gd name="T9" fmla="*/ 13 h 60"/>
                <a:gd name="T10" fmla="*/ 21 w 30"/>
                <a:gd name="T11" fmla="*/ 8 h 60"/>
                <a:gd name="T12" fmla="*/ 17 w 30"/>
                <a:gd name="T13" fmla="*/ 5 h 60"/>
                <a:gd name="T14" fmla="*/ 11 w 30"/>
                <a:gd name="T15" fmla="*/ 2 h 60"/>
                <a:gd name="T16" fmla="*/ 6 w 30"/>
                <a:gd name="T17" fmla="*/ 1 h 60"/>
                <a:gd name="T18" fmla="*/ 0 w 30"/>
                <a:gd name="T19" fmla="*/ 0 h 60"/>
                <a:gd name="T20" fmla="*/ 0 w 30"/>
                <a:gd name="T21" fmla="*/ 0 h 60"/>
                <a:gd name="T22" fmla="*/ 0 w 30"/>
                <a:gd name="T23" fmla="*/ 0 h 60"/>
                <a:gd name="T24" fmla="*/ 0 w 30"/>
                <a:gd name="T25" fmla="*/ 60 h 60"/>
                <a:gd name="T26" fmla="*/ 0 w 30"/>
                <a:gd name="T27" fmla="*/ 60 h 60"/>
                <a:gd name="T28" fmla="*/ 0 w 30"/>
                <a:gd name="T29" fmla="*/ 60 h 60"/>
                <a:gd name="T30" fmla="*/ 0 w 30"/>
                <a:gd name="T31" fmla="*/ 60 h 60"/>
                <a:gd name="T32" fmla="*/ 6 w 30"/>
                <a:gd name="T33" fmla="*/ 60 h 60"/>
                <a:gd name="T34" fmla="*/ 11 w 30"/>
                <a:gd name="T35" fmla="*/ 58 h 60"/>
                <a:gd name="T36" fmla="*/ 17 w 30"/>
                <a:gd name="T37" fmla="*/ 55 h 60"/>
                <a:gd name="T38" fmla="*/ 21 w 30"/>
                <a:gd name="T39" fmla="*/ 51 h 60"/>
                <a:gd name="T40" fmla="*/ 25 w 30"/>
                <a:gd name="T41" fmla="*/ 47 h 60"/>
                <a:gd name="T42" fmla="*/ 28 w 30"/>
                <a:gd name="T43" fmla="*/ 42 h 60"/>
                <a:gd name="T44" fmla="*/ 30 w 30"/>
                <a:gd name="T45" fmla="*/ 37 h 60"/>
                <a:gd name="T46" fmla="*/ 30 w 30"/>
                <a:gd name="T47" fmla="*/ 31 h 60"/>
                <a:gd name="T48" fmla="*/ 30 w 30"/>
                <a:gd name="T49" fmla="*/ 3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 h="60">
                  <a:moveTo>
                    <a:pt x="30" y="31"/>
                  </a:moveTo>
                  <a:lnTo>
                    <a:pt x="30" y="31"/>
                  </a:lnTo>
                  <a:lnTo>
                    <a:pt x="30" y="24"/>
                  </a:lnTo>
                  <a:lnTo>
                    <a:pt x="28" y="18"/>
                  </a:lnTo>
                  <a:lnTo>
                    <a:pt x="25" y="13"/>
                  </a:lnTo>
                  <a:lnTo>
                    <a:pt x="21" y="8"/>
                  </a:lnTo>
                  <a:lnTo>
                    <a:pt x="17" y="5"/>
                  </a:lnTo>
                  <a:lnTo>
                    <a:pt x="11" y="2"/>
                  </a:lnTo>
                  <a:lnTo>
                    <a:pt x="6" y="1"/>
                  </a:lnTo>
                  <a:lnTo>
                    <a:pt x="0" y="0"/>
                  </a:lnTo>
                  <a:lnTo>
                    <a:pt x="0" y="0"/>
                  </a:lnTo>
                  <a:lnTo>
                    <a:pt x="0" y="0"/>
                  </a:lnTo>
                  <a:lnTo>
                    <a:pt x="0" y="60"/>
                  </a:lnTo>
                  <a:lnTo>
                    <a:pt x="0" y="60"/>
                  </a:lnTo>
                  <a:lnTo>
                    <a:pt x="0" y="60"/>
                  </a:lnTo>
                  <a:lnTo>
                    <a:pt x="0" y="60"/>
                  </a:lnTo>
                  <a:lnTo>
                    <a:pt x="6" y="60"/>
                  </a:lnTo>
                  <a:lnTo>
                    <a:pt x="11" y="58"/>
                  </a:lnTo>
                  <a:lnTo>
                    <a:pt x="17" y="55"/>
                  </a:lnTo>
                  <a:lnTo>
                    <a:pt x="21" y="51"/>
                  </a:lnTo>
                  <a:lnTo>
                    <a:pt x="25" y="47"/>
                  </a:lnTo>
                  <a:lnTo>
                    <a:pt x="28" y="42"/>
                  </a:lnTo>
                  <a:lnTo>
                    <a:pt x="30" y="37"/>
                  </a:lnTo>
                  <a:lnTo>
                    <a:pt x="30" y="31"/>
                  </a:lnTo>
                  <a:lnTo>
                    <a:pt x="30" y="31"/>
                  </a:lnTo>
                  <a:close/>
                </a:path>
              </a:pathLst>
            </a:custGeom>
            <a:solidFill>
              <a:srgbClr val="D1E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grpSp>
        <p:nvGrpSpPr>
          <p:cNvPr id="464" name="Group 463">
            <a:extLst>
              <a:ext uri="{FF2B5EF4-FFF2-40B4-BE49-F238E27FC236}">
                <a16:creationId xmlns:a16="http://schemas.microsoft.com/office/drawing/2014/main" id="{FE0DFA2D-9405-9AB9-A215-F4C6AB844558}"/>
              </a:ext>
            </a:extLst>
          </p:cNvPr>
          <p:cNvGrpSpPr/>
          <p:nvPr/>
        </p:nvGrpSpPr>
        <p:grpSpPr>
          <a:xfrm>
            <a:off x="7506200" y="2635887"/>
            <a:ext cx="1289347" cy="1139420"/>
            <a:chOff x="7087417" y="2952895"/>
            <a:chExt cx="1035028" cy="946809"/>
          </a:xfrm>
        </p:grpSpPr>
        <p:sp>
          <p:nvSpPr>
            <p:cNvPr id="412" name="Freeform 25">
              <a:extLst>
                <a:ext uri="{FF2B5EF4-FFF2-40B4-BE49-F238E27FC236}">
                  <a16:creationId xmlns:a16="http://schemas.microsoft.com/office/drawing/2014/main" id="{67012AA4-984B-DC2B-EC60-EB807F159439}"/>
                </a:ext>
              </a:extLst>
            </p:cNvPr>
            <p:cNvSpPr>
              <a:spLocks/>
            </p:cNvSpPr>
            <p:nvPr/>
          </p:nvSpPr>
          <p:spPr bwMode="auto">
            <a:xfrm>
              <a:off x="7087417" y="2952895"/>
              <a:ext cx="1035028" cy="946809"/>
            </a:xfrm>
            <a:custGeom>
              <a:avLst/>
              <a:gdLst>
                <a:gd name="T0" fmla="*/ 333 w 701"/>
                <a:gd name="T1" fmla="*/ 701 h 702"/>
                <a:gd name="T2" fmla="*/ 280 w 701"/>
                <a:gd name="T3" fmla="*/ 695 h 702"/>
                <a:gd name="T4" fmla="*/ 231 w 701"/>
                <a:gd name="T5" fmla="*/ 680 h 702"/>
                <a:gd name="T6" fmla="*/ 184 w 701"/>
                <a:gd name="T7" fmla="*/ 659 h 702"/>
                <a:gd name="T8" fmla="*/ 141 w 701"/>
                <a:gd name="T9" fmla="*/ 632 h 702"/>
                <a:gd name="T10" fmla="*/ 102 w 701"/>
                <a:gd name="T11" fmla="*/ 598 h 702"/>
                <a:gd name="T12" fmla="*/ 70 w 701"/>
                <a:gd name="T13" fmla="*/ 560 h 702"/>
                <a:gd name="T14" fmla="*/ 43 w 701"/>
                <a:gd name="T15" fmla="*/ 518 h 702"/>
                <a:gd name="T16" fmla="*/ 21 w 701"/>
                <a:gd name="T17" fmla="*/ 471 h 702"/>
                <a:gd name="T18" fmla="*/ 7 w 701"/>
                <a:gd name="T19" fmla="*/ 422 h 702"/>
                <a:gd name="T20" fmla="*/ 1 w 701"/>
                <a:gd name="T21" fmla="*/ 369 h 702"/>
                <a:gd name="T22" fmla="*/ 1 w 701"/>
                <a:gd name="T23" fmla="*/ 333 h 702"/>
                <a:gd name="T24" fmla="*/ 7 w 701"/>
                <a:gd name="T25" fmla="*/ 280 h 702"/>
                <a:gd name="T26" fmla="*/ 21 w 701"/>
                <a:gd name="T27" fmla="*/ 231 h 702"/>
                <a:gd name="T28" fmla="*/ 43 w 701"/>
                <a:gd name="T29" fmla="*/ 184 h 702"/>
                <a:gd name="T30" fmla="*/ 70 w 701"/>
                <a:gd name="T31" fmla="*/ 141 h 702"/>
                <a:gd name="T32" fmla="*/ 102 w 701"/>
                <a:gd name="T33" fmla="*/ 104 h 702"/>
                <a:gd name="T34" fmla="*/ 141 w 701"/>
                <a:gd name="T35" fmla="*/ 70 h 702"/>
                <a:gd name="T36" fmla="*/ 184 w 701"/>
                <a:gd name="T37" fmla="*/ 43 h 702"/>
                <a:gd name="T38" fmla="*/ 231 w 701"/>
                <a:gd name="T39" fmla="*/ 22 h 702"/>
                <a:gd name="T40" fmla="*/ 280 w 701"/>
                <a:gd name="T41" fmla="*/ 7 h 702"/>
                <a:gd name="T42" fmla="*/ 333 w 701"/>
                <a:gd name="T43" fmla="*/ 1 h 702"/>
                <a:gd name="T44" fmla="*/ 369 w 701"/>
                <a:gd name="T45" fmla="*/ 1 h 702"/>
                <a:gd name="T46" fmla="*/ 422 w 701"/>
                <a:gd name="T47" fmla="*/ 7 h 702"/>
                <a:gd name="T48" fmla="*/ 471 w 701"/>
                <a:gd name="T49" fmla="*/ 22 h 702"/>
                <a:gd name="T50" fmla="*/ 518 w 701"/>
                <a:gd name="T51" fmla="*/ 43 h 702"/>
                <a:gd name="T52" fmla="*/ 560 w 701"/>
                <a:gd name="T53" fmla="*/ 70 h 702"/>
                <a:gd name="T54" fmla="*/ 598 w 701"/>
                <a:gd name="T55" fmla="*/ 104 h 702"/>
                <a:gd name="T56" fmla="*/ 631 w 701"/>
                <a:gd name="T57" fmla="*/ 141 h 702"/>
                <a:gd name="T58" fmla="*/ 659 w 701"/>
                <a:gd name="T59" fmla="*/ 184 h 702"/>
                <a:gd name="T60" fmla="*/ 680 w 701"/>
                <a:gd name="T61" fmla="*/ 231 h 702"/>
                <a:gd name="T62" fmla="*/ 694 w 701"/>
                <a:gd name="T63" fmla="*/ 280 h 702"/>
                <a:gd name="T64" fmla="*/ 701 w 701"/>
                <a:gd name="T65" fmla="*/ 333 h 702"/>
                <a:gd name="T66" fmla="*/ 701 w 701"/>
                <a:gd name="T67" fmla="*/ 369 h 702"/>
                <a:gd name="T68" fmla="*/ 694 w 701"/>
                <a:gd name="T69" fmla="*/ 422 h 702"/>
                <a:gd name="T70" fmla="*/ 680 w 701"/>
                <a:gd name="T71" fmla="*/ 471 h 702"/>
                <a:gd name="T72" fmla="*/ 659 w 701"/>
                <a:gd name="T73" fmla="*/ 518 h 702"/>
                <a:gd name="T74" fmla="*/ 631 w 701"/>
                <a:gd name="T75" fmla="*/ 560 h 702"/>
                <a:gd name="T76" fmla="*/ 598 w 701"/>
                <a:gd name="T77" fmla="*/ 598 h 702"/>
                <a:gd name="T78" fmla="*/ 560 w 701"/>
                <a:gd name="T79" fmla="*/ 632 h 702"/>
                <a:gd name="T80" fmla="*/ 518 w 701"/>
                <a:gd name="T81" fmla="*/ 659 h 702"/>
                <a:gd name="T82" fmla="*/ 471 w 701"/>
                <a:gd name="T83" fmla="*/ 680 h 702"/>
                <a:gd name="T84" fmla="*/ 422 w 701"/>
                <a:gd name="T85" fmla="*/ 695 h 702"/>
                <a:gd name="T86" fmla="*/ 369 w 701"/>
                <a:gd name="T87" fmla="*/ 70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2">
                  <a:moveTo>
                    <a:pt x="350" y="702"/>
                  </a:moveTo>
                  <a:lnTo>
                    <a:pt x="350" y="702"/>
                  </a:lnTo>
                  <a:lnTo>
                    <a:pt x="333" y="701"/>
                  </a:lnTo>
                  <a:lnTo>
                    <a:pt x="315" y="700"/>
                  </a:lnTo>
                  <a:lnTo>
                    <a:pt x="297" y="697"/>
                  </a:lnTo>
                  <a:lnTo>
                    <a:pt x="280" y="695"/>
                  </a:lnTo>
                  <a:lnTo>
                    <a:pt x="263" y="691"/>
                  </a:lnTo>
                  <a:lnTo>
                    <a:pt x="247" y="686"/>
                  </a:lnTo>
                  <a:lnTo>
                    <a:pt x="231" y="680"/>
                  </a:lnTo>
                  <a:lnTo>
                    <a:pt x="215" y="674"/>
                  </a:lnTo>
                  <a:lnTo>
                    <a:pt x="199" y="667"/>
                  </a:lnTo>
                  <a:lnTo>
                    <a:pt x="184" y="659"/>
                  </a:lnTo>
                  <a:lnTo>
                    <a:pt x="169" y="650"/>
                  </a:lnTo>
                  <a:lnTo>
                    <a:pt x="155" y="642"/>
                  </a:lnTo>
                  <a:lnTo>
                    <a:pt x="141" y="632"/>
                  </a:lnTo>
                  <a:lnTo>
                    <a:pt x="128" y="622"/>
                  </a:lnTo>
                  <a:lnTo>
                    <a:pt x="115" y="611"/>
                  </a:lnTo>
                  <a:lnTo>
                    <a:pt x="102" y="598"/>
                  </a:lnTo>
                  <a:lnTo>
                    <a:pt x="91" y="586"/>
                  </a:lnTo>
                  <a:lnTo>
                    <a:pt x="80" y="574"/>
                  </a:lnTo>
                  <a:lnTo>
                    <a:pt x="70" y="560"/>
                  </a:lnTo>
                  <a:lnTo>
                    <a:pt x="60" y="547"/>
                  </a:lnTo>
                  <a:lnTo>
                    <a:pt x="51" y="533"/>
                  </a:lnTo>
                  <a:lnTo>
                    <a:pt x="43" y="518"/>
                  </a:lnTo>
                  <a:lnTo>
                    <a:pt x="35" y="503"/>
                  </a:lnTo>
                  <a:lnTo>
                    <a:pt x="28" y="487"/>
                  </a:lnTo>
                  <a:lnTo>
                    <a:pt x="21" y="471"/>
                  </a:lnTo>
                  <a:lnTo>
                    <a:pt x="16" y="455"/>
                  </a:lnTo>
                  <a:lnTo>
                    <a:pt x="11" y="438"/>
                  </a:lnTo>
                  <a:lnTo>
                    <a:pt x="7" y="422"/>
                  </a:lnTo>
                  <a:lnTo>
                    <a:pt x="5" y="405"/>
                  </a:lnTo>
                  <a:lnTo>
                    <a:pt x="2" y="386"/>
                  </a:lnTo>
                  <a:lnTo>
                    <a:pt x="1" y="369"/>
                  </a:lnTo>
                  <a:lnTo>
                    <a:pt x="0" y="350"/>
                  </a:lnTo>
                  <a:lnTo>
                    <a:pt x="0" y="350"/>
                  </a:lnTo>
                  <a:lnTo>
                    <a:pt x="1" y="333"/>
                  </a:lnTo>
                  <a:lnTo>
                    <a:pt x="2" y="315"/>
                  </a:lnTo>
                  <a:lnTo>
                    <a:pt x="5" y="297"/>
                  </a:lnTo>
                  <a:lnTo>
                    <a:pt x="7" y="280"/>
                  </a:lnTo>
                  <a:lnTo>
                    <a:pt x="11" y="263"/>
                  </a:lnTo>
                  <a:lnTo>
                    <a:pt x="16" y="247"/>
                  </a:lnTo>
                  <a:lnTo>
                    <a:pt x="21" y="231"/>
                  </a:lnTo>
                  <a:lnTo>
                    <a:pt x="28" y="215"/>
                  </a:lnTo>
                  <a:lnTo>
                    <a:pt x="35" y="199"/>
                  </a:lnTo>
                  <a:lnTo>
                    <a:pt x="43" y="184"/>
                  </a:lnTo>
                  <a:lnTo>
                    <a:pt x="51" y="169"/>
                  </a:lnTo>
                  <a:lnTo>
                    <a:pt x="60" y="156"/>
                  </a:lnTo>
                  <a:lnTo>
                    <a:pt x="70" y="141"/>
                  </a:lnTo>
                  <a:lnTo>
                    <a:pt x="80" y="128"/>
                  </a:lnTo>
                  <a:lnTo>
                    <a:pt x="91" y="115"/>
                  </a:lnTo>
                  <a:lnTo>
                    <a:pt x="102" y="104"/>
                  </a:lnTo>
                  <a:lnTo>
                    <a:pt x="115" y="91"/>
                  </a:lnTo>
                  <a:lnTo>
                    <a:pt x="128" y="80"/>
                  </a:lnTo>
                  <a:lnTo>
                    <a:pt x="141" y="70"/>
                  </a:lnTo>
                  <a:lnTo>
                    <a:pt x="155" y="61"/>
                  </a:lnTo>
                  <a:lnTo>
                    <a:pt x="169" y="51"/>
                  </a:lnTo>
                  <a:lnTo>
                    <a:pt x="184" y="43"/>
                  </a:lnTo>
                  <a:lnTo>
                    <a:pt x="199" y="35"/>
                  </a:lnTo>
                  <a:lnTo>
                    <a:pt x="215" y="28"/>
                  </a:lnTo>
                  <a:lnTo>
                    <a:pt x="231" y="22"/>
                  </a:lnTo>
                  <a:lnTo>
                    <a:pt x="247" y="16"/>
                  </a:lnTo>
                  <a:lnTo>
                    <a:pt x="263" y="11"/>
                  </a:lnTo>
                  <a:lnTo>
                    <a:pt x="280" y="7"/>
                  </a:lnTo>
                  <a:lnTo>
                    <a:pt x="297" y="5"/>
                  </a:lnTo>
                  <a:lnTo>
                    <a:pt x="315" y="3"/>
                  </a:lnTo>
                  <a:lnTo>
                    <a:pt x="333" y="1"/>
                  </a:lnTo>
                  <a:lnTo>
                    <a:pt x="350" y="0"/>
                  </a:lnTo>
                  <a:lnTo>
                    <a:pt x="350" y="0"/>
                  </a:lnTo>
                  <a:lnTo>
                    <a:pt x="369" y="1"/>
                  </a:lnTo>
                  <a:lnTo>
                    <a:pt x="386" y="3"/>
                  </a:lnTo>
                  <a:lnTo>
                    <a:pt x="405" y="5"/>
                  </a:lnTo>
                  <a:lnTo>
                    <a:pt x="422" y="7"/>
                  </a:lnTo>
                  <a:lnTo>
                    <a:pt x="438" y="11"/>
                  </a:lnTo>
                  <a:lnTo>
                    <a:pt x="455" y="16"/>
                  </a:lnTo>
                  <a:lnTo>
                    <a:pt x="471" y="22"/>
                  </a:lnTo>
                  <a:lnTo>
                    <a:pt x="487" y="28"/>
                  </a:lnTo>
                  <a:lnTo>
                    <a:pt x="503" y="35"/>
                  </a:lnTo>
                  <a:lnTo>
                    <a:pt x="518" y="43"/>
                  </a:lnTo>
                  <a:lnTo>
                    <a:pt x="533" y="51"/>
                  </a:lnTo>
                  <a:lnTo>
                    <a:pt x="546" y="61"/>
                  </a:lnTo>
                  <a:lnTo>
                    <a:pt x="560" y="70"/>
                  </a:lnTo>
                  <a:lnTo>
                    <a:pt x="574" y="80"/>
                  </a:lnTo>
                  <a:lnTo>
                    <a:pt x="586" y="91"/>
                  </a:lnTo>
                  <a:lnTo>
                    <a:pt x="598" y="104"/>
                  </a:lnTo>
                  <a:lnTo>
                    <a:pt x="611" y="115"/>
                  </a:lnTo>
                  <a:lnTo>
                    <a:pt x="622" y="128"/>
                  </a:lnTo>
                  <a:lnTo>
                    <a:pt x="631" y="141"/>
                  </a:lnTo>
                  <a:lnTo>
                    <a:pt x="641" y="156"/>
                  </a:lnTo>
                  <a:lnTo>
                    <a:pt x="650" y="169"/>
                  </a:lnTo>
                  <a:lnTo>
                    <a:pt x="659" y="184"/>
                  </a:lnTo>
                  <a:lnTo>
                    <a:pt x="666" y="199"/>
                  </a:lnTo>
                  <a:lnTo>
                    <a:pt x="673" y="215"/>
                  </a:lnTo>
                  <a:lnTo>
                    <a:pt x="680" y="231"/>
                  </a:lnTo>
                  <a:lnTo>
                    <a:pt x="686" y="247"/>
                  </a:lnTo>
                  <a:lnTo>
                    <a:pt x="691" y="263"/>
                  </a:lnTo>
                  <a:lnTo>
                    <a:pt x="694" y="280"/>
                  </a:lnTo>
                  <a:lnTo>
                    <a:pt x="697" y="297"/>
                  </a:lnTo>
                  <a:lnTo>
                    <a:pt x="699" y="315"/>
                  </a:lnTo>
                  <a:lnTo>
                    <a:pt x="701" y="333"/>
                  </a:lnTo>
                  <a:lnTo>
                    <a:pt x="701" y="350"/>
                  </a:lnTo>
                  <a:lnTo>
                    <a:pt x="701" y="350"/>
                  </a:lnTo>
                  <a:lnTo>
                    <a:pt x="701" y="369"/>
                  </a:lnTo>
                  <a:lnTo>
                    <a:pt x="699" y="386"/>
                  </a:lnTo>
                  <a:lnTo>
                    <a:pt x="697" y="405"/>
                  </a:lnTo>
                  <a:lnTo>
                    <a:pt x="694" y="422"/>
                  </a:lnTo>
                  <a:lnTo>
                    <a:pt x="691" y="438"/>
                  </a:lnTo>
                  <a:lnTo>
                    <a:pt x="686" y="455"/>
                  </a:lnTo>
                  <a:lnTo>
                    <a:pt x="680" y="471"/>
                  </a:lnTo>
                  <a:lnTo>
                    <a:pt x="673" y="487"/>
                  </a:lnTo>
                  <a:lnTo>
                    <a:pt x="666" y="503"/>
                  </a:lnTo>
                  <a:lnTo>
                    <a:pt x="659" y="518"/>
                  </a:lnTo>
                  <a:lnTo>
                    <a:pt x="650" y="533"/>
                  </a:lnTo>
                  <a:lnTo>
                    <a:pt x="641" y="547"/>
                  </a:lnTo>
                  <a:lnTo>
                    <a:pt x="631" y="560"/>
                  </a:lnTo>
                  <a:lnTo>
                    <a:pt x="622" y="574"/>
                  </a:lnTo>
                  <a:lnTo>
                    <a:pt x="611" y="586"/>
                  </a:lnTo>
                  <a:lnTo>
                    <a:pt x="598" y="598"/>
                  </a:lnTo>
                  <a:lnTo>
                    <a:pt x="586" y="611"/>
                  </a:lnTo>
                  <a:lnTo>
                    <a:pt x="574" y="622"/>
                  </a:lnTo>
                  <a:lnTo>
                    <a:pt x="560" y="632"/>
                  </a:lnTo>
                  <a:lnTo>
                    <a:pt x="546" y="642"/>
                  </a:lnTo>
                  <a:lnTo>
                    <a:pt x="533" y="650"/>
                  </a:lnTo>
                  <a:lnTo>
                    <a:pt x="518" y="659"/>
                  </a:lnTo>
                  <a:lnTo>
                    <a:pt x="503" y="667"/>
                  </a:lnTo>
                  <a:lnTo>
                    <a:pt x="487" y="674"/>
                  </a:lnTo>
                  <a:lnTo>
                    <a:pt x="471" y="680"/>
                  </a:lnTo>
                  <a:lnTo>
                    <a:pt x="455" y="686"/>
                  </a:lnTo>
                  <a:lnTo>
                    <a:pt x="438" y="691"/>
                  </a:lnTo>
                  <a:lnTo>
                    <a:pt x="422" y="695"/>
                  </a:lnTo>
                  <a:lnTo>
                    <a:pt x="405" y="697"/>
                  </a:lnTo>
                  <a:lnTo>
                    <a:pt x="386" y="700"/>
                  </a:lnTo>
                  <a:lnTo>
                    <a:pt x="369" y="701"/>
                  </a:lnTo>
                  <a:lnTo>
                    <a:pt x="350" y="702"/>
                  </a:lnTo>
                  <a:lnTo>
                    <a:pt x="350" y="702"/>
                  </a:lnTo>
                  <a:close/>
                </a:path>
              </a:pathLst>
            </a:custGeom>
            <a:solidFill>
              <a:srgbClr val="48369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4" name="Freeform 252">
              <a:extLst>
                <a:ext uri="{FF2B5EF4-FFF2-40B4-BE49-F238E27FC236}">
                  <a16:creationId xmlns:a16="http://schemas.microsoft.com/office/drawing/2014/main" id="{2EDA4A66-1811-C470-DDBD-2B0A3D09D89D}"/>
                </a:ext>
              </a:extLst>
            </p:cNvPr>
            <p:cNvSpPr>
              <a:spLocks/>
            </p:cNvSpPr>
            <p:nvPr/>
          </p:nvSpPr>
          <p:spPr bwMode="auto">
            <a:xfrm>
              <a:off x="7319228" y="3223990"/>
              <a:ext cx="484292" cy="370901"/>
            </a:xfrm>
            <a:custGeom>
              <a:avLst/>
              <a:gdLst>
                <a:gd name="T0" fmla="*/ 14 w 328"/>
                <a:gd name="T1" fmla="*/ 275 h 275"/>
                <a:gd name="T2" fmla="*/ 14 w 328"/>
                <a:gd name="T3" fmla="*/ 275 h 275"/>
                <a:gd name="T4" fmla="*/ 8 w 328"/>
                <a:gd name="T5" fmla="*/ 274 h 275"/>
                <a:gd name="T6" fmla="*/ 5 w 328"/>
                <a:gd name="T7" fmla="*/ 272 h 275"/>
                <a:gd name="T8" fmla="*/ 1 w 328"/>
                <a:gd name="T9" fmla="*/ 267 h 275"/>
                <a:gd name="T10" fmla="*/ 0 w 328"/>
                <a:gd name="T11" fmla="*/ 262 h 275"/>
                <a:gd name="T12" fmla="*/ 0 w 328"/>
                <a:gd name="T13" fmla="*/ 14 h 275"/>
                <a:gd name="T14" fmla="*/ 0 w 328"/>
                <a:gd name="T15" fmla="*/ 14 h 275"/>
                <a:gd name="T16" fmla="*/ 1 w 328"/>
                <a:gd name="T17" fmla="*/ 9 h 275"/>
                <a:gd name="T18" fmla="*/ 5 w 328"/>
                <a:gd name="T19" fmla="*/ 4 h 275"/>
                <a:gd name="T20" fmla="*/ 8 w 328"/>
                <a:gd name="T21" fmla="*/ 1 h 275"/>
                <a:gd name="T22" fmla="*/ 14 w 328"/>
                <a:gd name="T23" fmla="*/ 0 h 275"/>
                <a:gd name="T24" fmla="*/ 313 w 328"/>
                <a:gd name="T25" fmla="*/ 0 h 275"/>
                <a:gd name="T26" fmla="*/ 313 w 328"/>
                <a:gd name="T27" fmla="*/ 0 h 275"/>
                <a:gd name="T28" fmla="*/ 319 w 328"/>
                <a:gd name="T29" fmla="*/ 1 h 275"/>
                <a:gd name="T30" fmla="*/ 323 w 328"/>
                <a:gd name="T31" fmla="*/ 4 h 275"/>
                <a:gd name="T32" fmla="*/ 326 w 328"/>
                <a:gd name="T33" fmla="*/ 9 h 275"/>
                <a:gd name="T34" fmla="*/ 328 w 328"/>
                <a:gd name="T35" fmla="*/ 14 h 275"/>
                <a:gd name="T36" fmla="*/ 328 w 328"/>
                <a:gd name="T37" fmla="*/ 262 h 275"/>
                <a:gd name="T38" fmla="*/ 328 w 328"/>
                <a:gd name="T39" fmla="*/ 262 h 275"/>
                <a:gd name="T40" fmla="*/ 326 w 328"/>
                <a:gd name="T41" fmla="*/ 267 h 275"/>
                <a:gd name="T42" fmla="*/ 323 w 328"/>
                <a:gd name="T43" fmla="*/ 272 h 275"/>
                <a:gd name="T44" fmla="*/ 319 w 328"/>
                <a:gd name="T45" fmla="*/ 274 h 275"/>
                <a:gd name="T46" fmla="*/ 313 w 328"/>
                <a:gd name="T47" fmla="*/ 275 h 275"/>
                <a:gd name="T48" fmla="*/ 14 w 328"/>
                <a:gd name="T49" fmla="*/ 27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8" h="275">
                  <a:moveTo>
                    <a:pt x="14" y="275"/>
                  </a:moveTo>
                  <a:lnTo>
                    <a:pt x="14" y="275"/>
                  </a:lnTo>
                  <a:lnTo>
                    <a:pt x="8" y="274"/>
                  </a:lnTo>
                  <a:lnTo>
                    <a:pt x="5" y="272"/>
                  </a:lnTo>
                  <a:lnTo>
                    <a:pt x="1" y="267"/>
                  </a:lnTo>
                  <a:lnTo>
                    <a:pt x="0" y="262"/>
                  </a:lnTo>
                  <a:lnTo>
                    <a:pt x="0" y="14"/>
                  </a:lnTo>
                  <a:lnTo>
                    <a:pt x="0" y="14"/>
                  </a:lnTo>
                  <a:lnTo>
                    <a:pt x="1" y="9"/>
                  </a:lnTo>
                  <a:lnTo>
                    <a:pt x="5" y="4"/>
                  </a:lnTo>
                  <a:lnTo>
                    <a:pt x="8" y="1"/>
                  </a:lnTo>
                  <a:lnTo>
                    <a:pt x="14" y="0"/>
                  </a:lnTo>
                  <a:lnTo>
                    <a:pt x="313" y="0"/>
                  </a:lnTo>
                  <a:lnTo>
                    <a:pt x="313" y="0"/>
                  </a:lnTo>
                  <a:lnTo>
                    <a:pt x="319" y="1"/>
                  </a:lnTo>
                  <a:lnTo>
                    <a:pt x="323" y="4"/>
                  </a:lnTo>
                  <a:lnTo>
                    <a:pt x="326" y="9"/>
                  </a:lnTo>
                  <a:lnTo>
                    <a:pt x="328" y="14"/>
                  </a:lnTo>
                  <a:lnTo>
                    <a:pt x="328" y="262"/>
                  </a:lnTo>
                  <a:lnTo>
                    <a:pt x="328" y="262"/>
                  </a:lnTo>
                  <a:lnTo>
                    <a:pt x="326" y="267"/>
                  </a:lnTo>
                  <a:lnTo>
                    <a:pt x="323" y="272"/>
                  </a:lnTo>
                  <a:lnTo>
                    <a:pt x="319" y="274"/>
                  </a:lnTo>
                  <a:lnTo>
                    <a:pt x="313" y="275"/>
                  </a:lnTo>
                  <a:lnTo>
                    <a:pt x="14" y="2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5" name="Freeform 253">
              <a:extLst>
                <a:ext uri="{FF2B5EF4-FFF2-40B4-BE49-F238E27FC236}">
                  <a16:creationId xmlns:a16="http://schemas.microsoft.com/office/drawing/2014/main" id="{545F975C-EE1F-2C54-B841-C371A1887B14}"/>
                </a:ext>
              </a:extLst>
            </p:cNvPr>
            <p:cNvSpPr>
              <a:spLocks noEditPoints="1"/>
            </p:cNvSpPr>
            <p:nvPr/>
          </p:nvSpPr>
          <p:spPr bwMode="auto">
            <a:xfrm>
              <a:off x="7316275" y="3221293"/>
              <a:ext cx="488722" cy="377645"/>
            </a:xfrm>
            <a:custGeom>
              <a:avLst/>
              <a:gdLst>
                <a:gd name="T0" fmla="*/ 315 w 331"/>
                <a:gd name="T1" fmla="*/ 3 h 280"/>
                <a:gd name="T2" fmla="*/ 315 w 331"/>
                <a:gd name="T3" fmla="*/ 3 h 280"/>
                <a:gd name="T4" fmla="*/ 320 w 331"/>
                <a:gd name="T5" fmla="*/ 5 h 280"/>
                <a:gd name="T6" fmla="*/ 324 w 331"/>
                <a:gd name="T7" fmla="*/ 7 h 280"/>
                <a:gd name="T8" fmla="*/ 327 w 331"/>
                <a:gd name="T9" fmla="*/ 11 h 280"/>
                <a:gd name="T10" fmla="*/ 327 w 331"/>
                <a:gd name="T11" fmla="*/ 16 h 280"/>
                <a:gd name="T12" fmla="*/ 327 w 331"/>
                <a:gd name="T13" fmla="*/ 264 h 280"/>
                <a:gd name="T14" fmla="*/ 327 w 331"/>
                <a:gd name="T15" fmla="*/ 264 h 280"/>
                <a:gd name="T16" fmla="*/ 327 w 331"/>
                <a:gd name="T17" fmla="*/ 269 h 280"/>
                <a:gd name="T18" fmla="*/ 324 w 331"/>
                <a:gd name="T19" fmla="*/ 272 h 280"/>
                <a:gd name="T20" fmla="*/ 320 w 331"/>
                <a:gd name="T21" fmla="*/ 275 h 280"/>
                <a:gd name="T22" fmla="*/ 315 w 331"/>
                <a:gd name="T23" fmla="*/ 276 h 280"/>
                <a:gd name="T24" fmla="*/ 16 w 331"/>
                <a:gd name="T25" fmla="*/ 276 h 280"/>
                <a:gd name="T26" fmla="*/ 16 w 331"/>
                <a:gd name="T27" fmla="*/ 276 h 280"/>
                <a:gd name="T28" fmla="*/ 12 w 331"/>
                <a:gd name="T29" fmla="*/ 275 h 280"/>
                <a:gd name="T30" fmla="*/ 8 w 331"/>
                <a:gd name="T31" fmla="*/ 272 h 280"/>
                <a:gd name="T32" fmla="*/ 5 w 331"/>
                <a:gd name="T33" fmla="*/ 269 h 280"/>
                <a:gd name="T34" fmla="*/ 4 w 331"/>
                <a:gd name="T35" fmla="*/ 264 h 280"/>
                <a:gd name="T36" fmla="*/ 4 w 331"/>
                <a:gd name="T37" fmla="*/ 16 h 280"/>
                <a:gd name="T38" fmla="*/ 4 w 331"/>
                <a:gd name="T39" fmla="*/ 16 h 280"/>
                <a:gd name="T40" fmla="*/ 5 w 331"/>
                <a:gd name="T41" fmla="*/ 11 h 280"/>
                <a:gd name="T42" fmla="*/ 8 w 331"/>
                <a:gd name="T43" fmla="*/ 7 h 280"/>
                <a:gd name="T44" fmla="*/ 12 w 331"/>
                <a:gd name="T45" fmla="*/ 5 h 280"/>
                <a:gd name="T46" fmla="*/ 16 w 331"/>
                <a:gd name="T47" fmla="*/ 3 h 280"/>
                <a:gd name="T48" fmla="*/ 315 w 331"/>
                <a:gd name="T49" fmla="*/ 3 h 280"/>
                <a:gd name="T50" fmla="*/ 315 w 331"/>
                <a:gd name="T51" fmla="*/ 0 h 280"/>
                <a:gd name="T52" fmla="*/ 16 w 331"/>
                <a:gd name="T53" fmla="*/ 0 h 280"/>
                <a:gd name="T54" fmla="*/ 16 w 331"/>
                <a:gd name="T55" fmla="*/ 0 h 280"/>
                <a:gd name="T56" fmla="*/ 10 w 331"/>
                <a:gd name="T57" fmla="*/ 1 h 280"/>
                <a:gd name="T58" fmla="*/ 5 w 331"/>
                <a:gd name="T59" fmla="*/ 5 h 280"/>
                <a:gd name="T60" fmla="*/ 2 w 331"/>
                <a:gd name="T61" fmla="*/ 10 h 280"/>
                <a:gd name="T62" fmla="*/ 0 w 331"/>
                <a:gd name="T63" fmla="*/ 16 h 280"/>
                <a:gd name="T64" fmla="*/ 0 w 331"/>
                <a:gd name="T65" fmla="*/ 264 h 280"/>
                <a:gd name="T66" fmla="*/ 0 w 331"/>
                <a:gd name="T67" fmla="*/ 264 h 280"/>
                <a:gd name="T68" fmla="*/ 2 w 331"/>
                <a:gd name="T69" fmla="*/ 270 h 280"/>
                <a:gd name="T70" fmla="*/ 5 w 331"/>
                <a:gd name="T71" fmla="*/ 275 h 280"/>
                <a:gd name="T72" fmla="*/ 10 w 331"/>
                <a:gd name="T73" fmla="*/ 278 h 280"/>
                <a:gd name="T74" fmla="*/ 16 w 331"/>
                <a:gd name="T75" fmla="*/ 280 h 280"/>
                <a:gd name="T76" fmla="*/ 315 w 331"/>
                <a:gd name="T77" fmla="*/ 280 h 280"/>
                <a:gd name="T78" fmla="*/ 315 w 331"/>
                <a:gd name="T79" fmla="*/ 280 h 280"/>
                <a:gd name="T80" fmla="*/ 321 w 331"/>
                <a:gd name="T81" fmla="*/ 278 h 280"/>
                <a:gd name="T82" fmla="*/ 326 w 331"/>
                <a:gd name="T83" fmla="*/ 275 h 280"/>
                <a:gd name="T84" fmla="*/ 330 w 331"/>
                <a:gd name="T85" fmla="*/ 270 h 280"/>
                <a:gd name="T86" fmla="*/ 331 w 331"/>
                <a:gd name="T87" fmla="*/ 264 h 280"/>
                <a:gd name="T88" fmla="*/ 331 w 331"/>
                <a:gd name="T89" fmla="*/ 16 h 280"/>
                <a:gd name="T90" fmla="*/ 331 w 331"/>
                <a:gd name="T91" fmla="*/ 16 h 280"/>
                <a:gd name="T92" fmla="*/ 330 w 331"/>
                <a:gd name="T93" fmla="*/ 10 h 280"/>
                <a:gd name="T94" fmla="*/ 326 w 331"/>
                <a:gd name="T95" fmla="*/ 5 h 280"/>
                <a:gd name="T96" fmla="*/ 321 w 331"/>
                <a:gd name="T97" fmla="*/ 1 h 280"/>
                <a:gd name="T98" fmla="*/ 315 w 331"/>
                <a:gd name="T99" fmla="*/ 0 h 280"/>
                <a:gd name="T100" fmla="*/ 315 w 331"/>
                <a:gd name="T101"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1" h="280">
                  <a:moveTo>
                    <a:pt x="315" y="3"/>
                  </a:moveTo>
                  <a:lnTo>
                    <a:pt x="315" y="3"/>
                  </a:lnTo>
                  <a:lnTo>
                    <a:pt x="320" y="5"/>
                  </a:lnTo>
                  <a:lnTo>
                    <a:pt x="324" y="7"/>
                  </a:lnTo>
                  <a:lnTo>
                    <a:pt x="327" y="11"/>
                  </a:lnTo>
                  <a:lnTo>
                    <a:pt x="327" y="16"/>
                  </a:lnTo>
                  <a:lnTo>
                    <a:pt x="327" y="264"/>
                  </a:lnTo>
                  <a:lnTo>
                    <a:pt x="327" y="264"/>
                  </a:lnTo>
                  <a:lnTo>
                    <a:pt x="327" y="269"/>
                  </a:lnTo>
                  <a:lnTo>
                    <a:pt x="324" y="272"/>
                  </a:lnTo>
                  <a:lnTo>
                    <a:pt x="320" y="275"/>
                  </a:lnTo>
                  <a:lnTo>
                    <a:pt x="315" y="276"/>
                  </a:lnTo>
                  <a:lnTo>
                    <a:pt x="16" y="276"/>
                  </a:lnTo>
                  <a:lnTo>
                    <a:pt x="16" y="276"/>
                  </a:lnTo>
                  <a:lnTo>
                    <a:pt x="12" y="275"/>
                  </a:lnTo>
                  <a:lnTo>
                    <a:pt x="8" y="272"/>
                  </a:lnTo>
                  <a:lnTo>
                    <a:pt x="5" y="269"/>
                  </a:lnTo>
                  <a:lnTo>
                    <a:pt x="4" y="264"/>
                  </a:lnTo>
                  <a:lnTo>
                    <a:pt x="4" y="16"/>
                  </a:lnTo>
                  <a:lnTo>
                    <a:pt x="4" y="16"/>
                  </a:lnTo>
                  <a:lnTo>
                    <a:pt x="5" y="11"/>
                  </a:lnTo>
                  <a:lnTo>
                    <a:pt x="8" y="7"/>
                  </a:lnTo>
                  <a:lnTo>
                    <a:pt x="12" y="5"/>
                  </a:lnTo>
                  <a:lnTo>
                    <a:pt x="16" y="3"/>
                  </a:lnTo>
                  <a:lnTo>
                    <a:pt x="315" y="3"/>
                  </a:lnTo>
                  <a:close/>
                  <a:moveTo>
                    <a:pt x="315" y="0"/>
                  </a:moveTo>
                  <a:lnTo>
                    <a:pt x="16" y="0"/>
                  </a:lnTo>
                  <a:lnTo>
                    <a:pt x="16" y="0"/>
                  </a:lnTo>
                  <a:lnTo>
                    <a:pt x="10" y="1"/>
                  </a:lnTo>
                  <a:lnTo>
                    <a:pt x="5" y="5"/>
                  </a:lnTo>
                  <a:lnTo>
                    <a:pt x="2" y="10"/>
                  </a:lnTo>
                  <a:lnTo>
                    <a:pt x="0" y="16"/>
                  </a:lnTo>
                  <a:lnTo>
                    <a:pt x="0" y="264"/>
                  </a:lnTo>
                  <a:lnTo>
                    <a:pt x="0" y="264"/>
                  </a:lnTo>
                  <a:lnTo>
                    <a:pt x="2" y="270"/>
                  </a:lnTo>
                  <a:lnTo>
                    <a:pt x="5" y="275"/>
                  </a:lnTo>
                  <a:lnTo>
                    <a:pt x="10" y="278"/>
                  </a:lnTo>
                  <a:lnTo>
                    <a:pt x="16" y="280"/>
                  </a:lnTo>
                  <a:lnTo>
                    <a:pt x="315" y="280"/>
                  </a:lnTo>
                  <a:lnTo>
                    <a:pt x="315" y="280"/>
                  </a:lnTo>
                  <a:lnTo>
                    <a:pt x="321" y="278"/>
                  </a:lnTo>
                  <a:lnTo>
                    <a:pt x="326" y="275"/>
                  </a:lnTo>
                  <a:lnTo>
                    <a:pt x="330" y="270"/>
                  </a:lnTo>
                  <a:lnTo>
                    <a:pt x="331" y="264"/>
                  </a:lnTo>
                  <a:lnTo>
                    <a:pt x="331" y="16"/>
                  </a:lnTo>
                  <a:lnTo>
                    <a:pt x="331" y="16"/>
                  </a:lnTo>
                  <a:lnTo>
                    <a:pt x="330" y="10"/>
                  </a:lnTo>
                  <a:lnTo>
                    <a:pt x="326" y="5"/>
                  </a:lnTo>
                  <a:lnTo>
                    <a:pt x="321" y="1"/>
                  </a:lnTo>
                  <a:lnTo>
                    <a:pt x="315" y="0"/>
                  </a:lnTo>
                  <a:lnTo>
                    <a:pt x="315" y="0"/>
                  </a:lnTo>
                  <a:close/>
                </a:path>
              </a:pathLst>
            </a:custGeom>
            <a:solidFill>
              <a:srgbClr val="8FC4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6" name="Freeform 254">
              <a:extLst>
                <a:ext uri="{FF2B5EF4-FFF2-40B4-BE49-F238E27FC236}">
                  <a16:creationId xmlns:a16="http://schemas.microsoft.com/office/drawing/2014/main" id="{C51F8C8B-F5CE-1D13-D78C-F734C1E5802E}"/>
                </a:ext>
              </a:extLst>
            </p:cNvPr>
            <p:cNvSpPr>
              <a:spLocks/>
            </p:cNvSpPr>
            <p:nvPr/>
          </p:nvSpPr>
          <p:spPr bwMode="auto">
            <a:xfrm>
              <a:off x="7322181" y="3225339"/>
              <a:ext cx="476910" cy="368204"/>
            </a:xfrm>
            <a:custGeom>
              <a:avLst/>
              <a:gdLst>
                <a:gd name="T0" fmla="*/ 311 w 323"/>
                <a:gd name="T1" fmla="*/ 0 h 273"/>
                <a:gd name="T2" fmla="*/ 311 w 323"/>
                <a:gd name="T3" fmla="*/ 0 h 273"/>
                <a:gd name="T4" fmla="*/ 316 w 323"/>
                <a:gd name="T5" fmla="*/ 2 h 273"/>
                <a:gd name="T6" fmla="*/ 320 w 323"/>
                <a:gd name="T7" fmla="*/ 4 h 273"/>
                <a:gd name="T8" fmla="*/ 323 w 323"/>
                <a:gd name="T9" fmla="*/ 8 h 273"/>
                <a:gd name="T10" fmla="*/ 323 w 323"/>
                <a:gd name="T11" fmla="*/ 13 h 273"/>
                <a:gd name="T12" fmla="*/ 323 w 323"/>
                <a:gd name="T13" fmla="*/ 261 h 273"/>
                <a:gd name="T14" fmla="*/ 323 w 323"/>
                <a:gd name="T15" fmla="*/ 261 h 273"/>
                <a:gd name="T16" fmla="*/ 323 w 323"/>
                <a:gd name="T17" fmla="*/ 266 h 273"/>
                <a:gd name="T18" fmla="*/ 320 w 323"/>
                <a:gd name="T19" fmla="*/ 269 h 273"/>
                <a:gd name="T20" fmla="*/ 316 w 323"/>
                <a:gd name="T21" fmla="*/ 272 h 273"/>
                <a:gd name="T22" fmla="*/ 311 w 323"/>
                <a:gd name="T23" fmla="*/ 273 h 273"/>
                <a:gd name="T24" fmla="*/ 12 w 323"/>
                <a:gd name="T25" fmla="*/ 273 h 273"/>
                <a:gd name="T26" fmla="*/ 12 w 323"/>
                <a:gd name="T27" fmla="*/ 273 h 273"/>
                <a:gd name="T28" fmla="*/ 8 w 323"/>
                <a:gd name="T29" fmla="*/ 272 h 273"/>
                <a:gd name="T30" fmla="*/ 4 w 323"/>
                <a:gd name="T31" fmla="*/ 269 h 273"/>
                <a:gd name="T32" fmla="*/ 1 w 323"/>
                <a:gd name="T33" fmla="*/ 266 h 273"/>
                <a:gd name="T34" fmla="*/ 0 w 323"/>
                <a:gd name="T35" fmla="*/ 261 h 273"/>
                <a:gd name="T36" fmla="*/ 0 w 323"/>
                <a:gd name="T37" fmla="*/ 13 h 273"/>
                <a:gd name="T38" fmla="*/ 0 w 323"/>
                <a:gd name="T39" fmla="*/ 13 h 273"/>
                <a:gd name="T40" fmla="*/ 1 w 323"/>
                <a:gd name="T41" fmla="*/ 8 h 273"/>
                <a:gd name="T42" fmla="*/ 4 w 323"/>
                <a:gd name="T43" fmla="*/ 4 h 273"/>
                <a:gd name="T44" fmla="*/ 8 w 323"/>
                <a:gd name="T45" fmla="*/ 2 h 273"/>
                <a:gd name="T46" fmla="*/ 12 w 323"/>
                <a:gd name="T47" fmla="*/ 0 h 273"/>
                <a:gd name="T48" fmla="*/ 311 w 323"/>
                <a:gd name="T49"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3" h="273">
                  <a:moveTo>
                    <a:pt x="311" y="0"/>
                  </a:moveTo>
                  <a:lnTo>
                    <a:pt x="311" y="0"/>
                  </a:lnTo>
                  <a:lnTo>
                    <a:pt x="316" y="2"/>
                  </a:lnTo>
                  <a:lnTo>
                    <a:pt x="320" y="4"/>
                  </a:lnTo>
                  <a:lnTo>
                    <a:pt x="323" y="8"/>
                  </a:lnTo>
                  <a:lnTo>
                    <a:pt x="323" y="13"/>
                  </a:lnTo>
                  <a:lnTo>
                    <a:pt x="323" y="261"/>
                  </a:lnTo>
                  <a:lnTo>
                    <a:pt x="323" y="261"/>
                  </a:lnTo>
                  <a:lnTo>
                    <a:pt x="323" y="266"/>
                  </a:lnTo>
                  <a:lnTo>
                    <a:pt x="320" y="269"/>
                  </a:lnTo>
                  <a:lnTo>
                    <a:pt x="316" y="272"/>
                  </a:lnTo>
                  <a:lnTo>
                    <a:pt x="311" y="273"/>
                  </a:lnTo>
                  <a:lnTo>
                    <a:pt x="12" y="273"/>
                  </a:lnTo>
                  <a:lnTo>
                    <a:pt x="12" y="273"/>
                  </a:lnTo>
                  <a:lnTo>
                    <a:pt x="8" y="272"/>
                  </a:lnTo>
                  <a:lnTo>
                    <a:pt x="4" y="269"/>
                  </a:lnTo>
                  <a:lnTo>
                    <a:pt x="1" y="266"/>
                  </a:lnTo>
                  <a:lnTo>
                    <a:pt x="0" y="261"/>
                  </a:lnTo>
                  <a:lnTo>
                    <a:pt x="0" y="13"/>
                  </a:lnTo>
                  <a:lnTo>
                    <a:pt x="0" y="13"/>
                  </a:lnTo>
                  <a:lnTo>
                    <a:pt x="1" y="8"/>
                  </a:lnTo>
                  <a:lnTo>
                    <a:pt x="4" y="4"/>
                  </a:lnTo>
                  <a:lnTo>
                    <a:pt x="8" y="2"/>
                  </a:lnTo>
                  <a:lnTo>
                    <a:pt x="12" y="0"/>
                  </a:lnTo>
                  <a:lnTo>
                    <a:pt x="3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7" name="Freeform 255">
              <a:extLst>
                <a:ext uri="{FF2B5EF4-FFF2-40B4-BE49-F238E27FC236}">
                  <a16:creationId xmlns:a16="http://schemas.microsoft.com/office/drawing/2014/main" id="{3A9743F8-C682-FA5A-980F-B08F3E776EDC}"/>
                </a:ext>
              </a:extLst>
            </p:cNvPr>
            <p:cNvSpPr>
              <a:spLocks/>
            </p:cNvSpPr>
            <p:nvPr/>
          </p:nvSpPr>
          <p:spPr bwMode="auto">
            <a:xfrm>
              <a:off x="7316275" y="3221293"/>
              <a:ext cx="488722" cy="377645"/>
            </a:xfrm>
            <a:custGeom>
              <a:avLst/>
              <a:gdLst>
                <a:gd name="T0" fmla="*/ 315 w 331"/>
                <a:gd name="T1" fmla="*/ 0 h 280"/>
                <a:gd name="T2" fmla="*/ 16 w 331"/>
                <a:gd name="T3" fmla="*/ 0 h 280"/>
                <a:gd name="T4" fmla="*/ 16 w 331"/>
                <a:gd name="T5" fmla="*/ 0 h 280"/>
                <a:gd name="T6" fmla="*/ 10 w 331"/>
                <a:gd name="T7" fmla="*/ 1 h 280"/>
                <a:gd name="T8" fmla="*/ 5 w 331"/>
                <a:gd name="T9" fmla="*/ 5 h 280"/>
                <a:gd name="T10" fmla="*/ 2 w 331"/>
                <a:gd name="T11" fmla="*/ 10 h 280"/>
                <a:gd name="T12" fmla="*/ 0 w 331"/>
                <a:gd name="T13" fmla="*/ 16 h 280"/>
                <a:gd name="T14" fmla="*/ 0 w 331"/>
                <a:gd name="T15" fmla="*/ 264 h 280"/>
                <a:gd name="T16" fmla="*/ 0 w 331"/>
                <a:gd name="T17" fmla="*/ 264 h 280"/>
                <a:gd name="T18" fmla="*/ 2 w 331"/>
                <a:gd name="T19" fmla="*/ 270 h 280"/>
                <a:gd name="T20" fmla="*/ 5 w 331"/>
                <a:gd name="T21" fmla="*/ 275 h 280"/>
                <a:gd name="T22" fmla="*/ 10 w 331"/>
                <a:gd name="T23" fmla="*/ 278 h 280"/>
                <a:gd name="T24" fmla="*/ 16 w 331"/>
                <a:gd name="T25" fmla="*/ 280 h 280"/>
                <a:gd name="T26" fmla="*/ 315 w 331"/>
                <a:gd name="T27" fmla="*/ 280 h 280"/>
                <a:gd name="T28" fmla="*/ 315 w 331"/>
                <a:gd name="T29" fmla="*/ 280 h 280"/>
                <a:gd name="T30" fmla="*/ 321 w 331"/>
                <a:gd name="T31" fmla="*/ 278 h 280"/>
                <a:gd name="T32" fmla="*/ 326 w 331"/>
                <a:gd name="T33" fmla="*/ 275 h 280"/>
                <a:gd name="T34" fmla="*/ 330 w 331"/>
                <a:gd name="T35" fmla="*/ 270 h 280"/>
                <a:gd name="T36" fmla="*/ 331 w 331"/>
                <a:gd name="T37" fmla="*/ 264 h 280"/>
                <a:gd name="T38" fmla="*/ 331 w 331"/>
                <a:gd name="T39" fmla="*/ 16 h 280"/>
                <a:gd name="T40" fmla="*/ 331 w 331"/>
                <a:gd name="T41" fmla="*/ 16 h 280"/>
                <a:gd name="T42" fmla="*/ 330 w 331"/>
                <a:gd name="T43" fmla="*/ 10 h 280"/>
                <a:gd name="T44" fmla="*/ 326 w 331"/>
                <a:gd name="T45" fmla="*/ 5 h 280"/>
                <a:gd name="T46" fmla="*/ 321 w 331"/>
                <a:gd name="T47" fmla="*/ 1 h 280"/>
                <a:gd name="T48" fmla="*/ 315 w 331"/>
                <a:gd name="T49" fmla="*/ 0 h 280"/>
                <a:gd name="T50" fmla="*/ 315 w 331"/>
                <a:gd name="T51"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1" h="280">
                  <a:moveTo>
                    <a:pt x="315" y="0"/>
                  </a:moveTo>
                  <a:lnTo>
                    <a:pt x="16" y="0"/>
                  </a:lnTo>
                  <a:lnTo>
                    <a:pt x="16" y="0"/>
                  </a:lnTo>
                  <a:lnTo>
                    <a:pt x="10" y="1"/>
                  </a:lnTo>
                  <a:lnTo>
                    <a:pt x="5" y="5"/>
                  </a:lnTo>
                  <a:lnTo>
                    <a:pt x="2" y="10"/>
                  </a:lnTo>
                  <a:lnTo>
                    <a:pt x="0" y="16"/>
                  </a:lnTo>
                  <a:lnTo>
                    <a:pt x="0" y="264"/>
                  </a:lnTo>
                  <a:lnTo>
                    <a:pt x="0" y="264"/>
                  </a:lnTo>
                  <a:lnTo>
                    <a:pt x="2" y="270"/>
                  </a:lnTo>
                  <a:lnTo>
                    <a:pt x="5" y="275"/>
                  </a:lnTo>
                  <a:lnTo>
                    <a:pt x="10" y="278"/>
                  </a:lnTo>
                  <a:lnTo>
                    <a:pt x="16" y="280"/>
                  </a:lnTo>
                  <a:lnTo>
                    <a:pt x="315" y="280"/>
                  </a:lnTo>
                  <a:lnTo>
                    <a:pt x="315" y="280"/>
                  </a:lnTo>
                  <a:lnTo>
                    <a:pt x="321" y="278"/>
                  </a:lnTo>
                  <a:lnTo>
                    <a:pt x="326" y="275"/>
                  </a:lnTo>
                  <a:lnTo>
                    <a:pt x="330" y="270"/>
                  </a:lnTo>
                  <a:lnTo>
                    <a:pt x="331" y="264"/>
                  </a:lnTo>
                  <a:lnTo>
                    <a:pt x="331" y="16"/>
                  </a:lnTo>
                  <a:lnTo>
                    <a:pt x="331" y="16"/>
                  </a:lnTo>
                  <a:lnTo>
                    <a:pt x="330" y="10"/>
                  </a:lnTo>
                  <a:lnTo>
                    <a:pt x="326" y="5"/>
                  </a:lnTo>
                  <a:lnTo>
                    <a:pt x="321" y="1"/>
                  </a:lnTo>
                  <a:lnTo>
                    <a:pt x="315" y="0"/>
                  </a:lnTo>
                  <a:lnTo>
                    <a:pt x="3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8" name="Freeform 256">
              <a:extLst>
                <a:ext uri="{FF2B5EF4-FFF2-40B4-BE49-F238E27FC236}">
                  <a16:creationId xmlns:a16="http://schemas.microsoft.com/office/drawing/2014/main" id="{14E79A11-601C-6043-0604-58135D4D8746}"/>
                </a:ext>
              </a:extLst>
            </p:cNvPr>
            <p:cNvSpPr>
              <a:spLocks/>
            </p:cNvSpPr>
            <p:nvPr/>
          </p:nvSpPr>
          <p:spPr bwMode="auto">
            <a:xfrm>
              <a:off x="7316275" y="3221293"/>
              <a:ext cx="488722" cy="60693"/>
            </a:xfrm>
            <a:custGeom>
              <a:avLst/>
              <a:gdLst>
                <a:gd name="T0" fmla="*/ 315 w 331"/>
                <a:gd name="T1" fmla="*/ 0 h 45"/>
                <a:gd name="T2" fmla="*/ 16 w 331"/>
                <a:gd name="T3" fmla="*/ 0 h 45"/>
                <a:gd name="T4" fmla="*/ 16 w 331"/>
                <a:gd name="T5" fmla="*/ 0 h 45"/>
                <a:gd name="T6" fmla="*/ 10 w 331"/>
                <a:gd name="T7" fmla="*/ 1 h 45"/>
                <a:gd name="T8" fmla="*/ 5 w 331"/>
                <a:gd name="T9" fmla="*/ 5 h 45"/>
                <a:gd name="T10" fmla="*/ 2 w 331"/>
                <a:gd name="T11" fmla="*/ 10 h 45"/>
                <a:gd name="T12" fmla="*/ 0 w 331"/>
                <a:gd name="T13" fmla="*/ 16 h 45"/>
                <a:gd name="T14" fmla="*/ 0 w 331"/>
                <a:gd name="T15" fmla="*/ 45 h 45"/>
                <a:gd name="T16" fmla="*/ 331 w 331"/>
                <a:gd name="T17" fmla="*/ 45 h 45"/>
                <a:gd name="T18" fmla="*/ 331 w 331"/>
                <a:gd name="T19" fmla="*/ 16 h 45"/>
                <a:gd name="T20" fmla="*/ 331 w 331"/>
                <a:gd name="T21" fmla="*/ 16 h 45"/>
                <a:gd name="T22" fmla="*/ 330 w 331"/>
                <a:gd name="T23" fmla="*/ 10 h 45"/>
                <a:gd name="T24" fmla="*/ 326 w 331"/>
                <a:gd name="T25" fmla="*/ 5 h 45"/>
                <a:gd name="T26" fmla="*/ 321 w 331"/>
                <a:gd name="T27" fmla="*/ 1 h 45"/>
                <a:gd name="T28" fmla="*/ 315 w 331"/>
                <a:gd name="T29" fmla="*/ 0 h 45"/>
                <a:gd name="T30" fmla="*/ 315 w 331"/>
                <a:gd name="T3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1" h="45">
                  <a:moveTo>
                    <a:pt x="315" y="0"/>
                  </a:moveTo>
                  <a:lnTo>
                    <a:pt x="16" y="0"/>
                  </a:lnTo>
                  <a:lnTo>
                    <a:pt x="16" y="0"/>
                  </a:lnTo>
                  <a:lnTo>
                    <a:pt x="10" y="1"/>
                  </a:lnTo>
                  <a:lnTo>
                    <a:pt x="5" y="5"/>
                  </a:lnTo>
                  <a:lnTo>
                    <a:pt x="2" y="10"/>
                  </a:lnTo>
                  <a:lnTo>
                    <a:pt x="0" y="16"/>
                  </a:lnTo>
                  <a:lnTo>
                    <a:pt x="0" y="45"/>
                  </a:lnTo>
                  <a:lnTo>
                    <a:pt x="331" y="45"/>
                  </a:lnTo>
                  <a:lnTo>
                    <a:pt x="331" y="16"/>
                  </a:lnTo>
                  <a:lnTo>
                    <a:pt x="331" y="16"/>
                  </a:lnTo>
                  <a:lnTo>
                    <a:pt x="330" y="10"/>
                  </a:lnTo>
                  <a:lnTo>
                    <a:pt x="326" y="5"/>
                  </a:lnTo>
                  <a:lnTo>
                    <a:pt x="321" y="1"/>
                  </a:lnTo>
                  <a:lnTo>
                    <a:pt x="315" y="0"/>
                  </a:lnTo>
                  <a:lnTo>
                    <a:pt x="315" y="0"/>
                  </a:lnTo>
                  <a:close/>
                </a:path>
              </a:pathLst>
            </a:custGeom>
            <a:solidFill>
              <a:srgbClr val="8FC4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9" name="Freeform 257">
              <a:extLst>
                <a:ext uri="{FF2B5EF4-FFF2-40B4-BE49-F238E27FC236}">
                  <a16:creationId xmlns:a16="http://schemas.microsoft.com/office/drawing/2014/main" id="{BF88815A-4841-00BE-0982-965529F791AF}"/>
                </a:ext>
              </a:extLst>
            </p:cNvPr>
            <p:cNvSpPr>
              <a:spLocks/>
            </p:cNvSpPr>
            <p:nvPr/>
          </p:nvSpPr>
          <p:spPr bwMode="auto">
            <a:xfrm>
              <a:off x="7338422" y="3241523"/>
              <a:ext cx="25101" cy="22929"/>
            </a:xfrm>
            <a:custGeom>
              <a:avLst/>
              <a:gdLst>
                <a:gd name="T0" fmla="*/ 17 w 17"/>
                <a:gd name="T1" fmla="*/ 8 h 17"/>
                <a:gd name="T2" fmla="*/ 17 w 17"/>
                <a:gd name="T3" fmla="*/ 8 h 17"/>
                <a:gd name="T4" fmla="*/ 16 w 17"/>
                <a:gd name="T5" fmla="*/ 12 h 17"/>
                <a:gd name="T6" fmla="*/ 15 w 17"/>
                <a:gd name="T7" fmla="*/ 14 h 17"/>
                <a:gd name="T8" fmla="*/ 13 w 17"/>
                <a:gd name="T9" fmla="*/ 17 h 17"/>
                <a:gd name="T10" fmla="*/ 9 w 17"/>
                <a:gd name="T11" fmla="*/ 17 h 17"/>
                <a:gd name="T12" fmla="*/ 9 w 17"/>
                <a:gd name="T13" fmla="*/ 17 h 17"/>
                <a:gd name="T14" fmla="*/ 5 w 17"/>
                <a:gd name="T15" fmla="*/ 17 h 17"/>
                <a:gd name="T16" fmla="*/ 3 w 17"/>
                <a:gd name="T17" fmla="*/ 14 h 17"/>
                <a:gd name="T18" fmla="*/ 0 w 17"/>
                <a:gd name="T19" fmla="*/ 12 h 17"/>
                <a:gd name="T20" fmla="*/ 0 w 17"/>
                <a:gd name="T21" fmla="*/ 8 h 17"/>
                <a:gd name="T22" fmla="*/ 0 w 17"/>
                <a:gd name="T23" fmla="*/ 8 h 17"/>
                <a:gd name="T24" fmla="*/ 0 w 17"/>
                <a:gd name="T25" fmla="*/ 4 h 17"/>
                <a:gd name="T26" fmla="*/ 3 w 17"/>
                <a:gd name="T27" fmla="*/ 2 h 17"/>
                <a:gd name="T28" fmla="*/ 5 w 17"/>
                <a:gd name="T29" fmla="*/ 1 h 17"/>
                <a:gd name="T30" fmla="*/ 9 w 17"/>
                <a:gd name="T31" fmla="*/ 0 h 17"/>
                <a:gd name="T32" fmla="*/ 9 w 17"/>
                <a:gd name="T33" fmla="*/ 0 h 17"/>
                <a:gd name="T34" fmla="*/ 13 w 17"/>
                <a:gd name="T35" fmla="*/ 1 h 17"/>
                <a:gd name="T36" fmla="*/ 15 w 17"/>
                <a:gd name="T37" fmla="*/ 2 h 17"/>
                <a:gd name="T38" fmla="*/ 16 w 17"/>
                <a:gd name="T39" fmla="*/ 4 h 17"/>
                <a:gd name="T40" fmla="*/ 17 w 17"/>
                <a:gd name="T41" fmla="*/ 8 h 17"/>
                <a:gd name="T42" fmla="*/ 17 w 17"/>
                <a:gd name="T43"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7">
                  <a:moveTo>
                    <a:pt x="17" y="8"/>
                  </a:moveTo>
                  <a:lnTo>
                    <a:pt x="17" y="8"/>
                  </a:lnTo>
                  <a:lnTo>
                    <a:pt x="16" y="12"/>
                  </a:lnTo>
                  <a:lnTo>
                    <a:pt x="15" y="14"/>
                  </a:lnTo>
                  <a:lnTo>
                    <a:pt x="13" y="17"/>
                  </a:lnTo>
                  <a:lnTo>
                    <a:pt x="9" y="17"/>
                  </a:lnTo>
                  <a:lnTo>
                    <a:pt x="9" y="17"/>
                  </a:lnTo>
                  <a:lnTo>
                    <a:pt x="5" y="17"/>
                  </a:lnTo>
                  <a:lnTo>
                    <a:pt x="3" y="14"/>
                  </a:lnTo>
                  <a:lnTo>
                    <a:pt x="0" y="12"/>
                  </a:lnTo>
                  <a:lnTo>
                    <a:pt x="0" y="8"/>
                  </a:lnTo>
                  <a:lnTo>
                    <a:pt x="0" y="8"/>
                  </a:lnTo>
                  <a:lnTo>
                    <a:pt x="0" y="4"/>
                  </a:lnTo>
                  <a:lnTo>
                    <a:pt x="3" y="2"/>
                  </a:lnTo>
                  <a:lnTo>
                    <a:pt x="5" y="1"/>
                  </a:lnTo>
                  <a:lnTo>
                    <a:pt x="9" y="0"/>
                  </a:lnTo>
                  <a:lnTo>
                    <a:pt x="9" y="0"/>
                  </a:lnTo>
                  <a:lnTo>
                    <a:pt x="13" y="1"/>
                  </a:lnTo>
                  <a:lnTo>
                    <a:pt x="15" y="2"/>
                  </a:lnTo>
                  <a:lnTo>
                    <a:pt x="16" y="4"/>
                  </a:lnTo>
                  <a:lnTo>
                    <a:pt x="17" y="8"/>
                  </a:lnTo>
                  <a:lnTo>
                    <a:pt x="17"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0" name="Freeform 258">
              <a:extLst>
                <a:ext uri="{FF2B5EF4-FFF2-40B4-BE49-F238E27FC236}">
                  <a16:creationId xmlns:a16="http://schemas.microsoft.com/office/drawing/2014/main" id="{180F1048-8DA3-D46D-D568-BCA591819AF2}"/>
                </a:ext>
              </a:extLst>
            </p:cNvPr>
            <p:cNvSpPr>
              <a:spLocks/>
            </p:cNvSpPr>
            <p:nvPr/>
          </p:nvSpPr>
          <p:spPr bwMode="auto">
            <a:xfrm>
              <a:off x="7375335" y="3241523"/>
              <a:ext cx="25101" cy="22929"/>
            </a:xfrm>
            <a:custGeom>
              <a:avLst/>
              <a:gdLst>
                <a:gd name="T0" fmla="*/ 17 w 17"/>
                <a:gd name="T1" fmla="*/ 8 h 17"/>
                <a:gd name="T2" fmla="*/ 17 w 17"/>
                <a:gd name="T3" fmla="*/ 8 h 17"/>
                <a:gd name="T4" fmla="*/ 16 w 17"/>
                <a:gd name="T5" fmla="*/ 12 h 17"/>
                <a:gd name="T6" fmla="*/ 15 w 17"/>
                <a:gd name="T7" fmla="*/ 14 h 17"/>
                <a:gd name="T8" fmla="*/ 11 w 17"/>
                <a:gd name="T9" fmla="*/ 17 h 17"/>
                <a:gd name="T10" fmla="*/ 9 w 17"/>
                <a:gd name="T11" fmla="*/ 17 h 17"/>
                <a:gd name="T12" fmla="*/ 9 w 17"/>
                <a:gd name="T13" fmla="*/ 17 h 17"/>
                <a:gd name="T14" fmla="*/ 5 w 17"/>
                <a:gd name="T15" fmla="*/ 17 h 17"/>
                <a:gd name="T16" fmla="*/ 2 w 17"/>
                <a:gd name="T17" fmla="*/ 14 h 17"/>
                <a:gd name="T18" fmla="*/ 0 w 17"/>
                <a:gd name="T19" fmla="*/ 12 h 17"/>
                <a:gd name="T20" fmla="*/ 0 w 17"/>
                <a:gd name="T21" fmla="*/ 8 h 17"/>
                <a:gd name="T22" fmla="*/ 0 w 17"/>
                <a:gd name="T23" fmla="*/ 8 h 17"/>
                <a:gd name="T24" fmla="*/ 0 w 17"/>
                <a:gd name="T25" fmla="*/ 4 h 17"/>
                <a:gd name="T26" fmla="*/ 2 w 17"/>
                <a:gd name="T27" fmla="*/ 2 h 17"/>
                <a:gd name="T28" fmla="*/ 5 w 17"/>
                <a:gd name="T29" fmla="*/ 1 h 17"/>
                <a:gd name="T30" fmla="*/ 9 w 17"/>
                <a:gd name="T31" fmla="*/ 0 h 17"/>
                <a:gd name="T32" fmla="*/ 9 w 17"/>
                <a:gd name="T33" fmla="*/ 0 h 17"/>
                <a:gd name="T34" fmla="*/ 11 w 17"/>
                <a:gd name="T35" fmla="*/ 1 h 17"/>
                <a:gd name="T36" fmla="*/ 15 w 17"/>
                <a:gd name="T37" fmla="*/ 2 h 17"/>
                <a:gd name="T38" fmla="*/ 16 w 17"/>
                <a:gd name="T39" fmla="*/ 4 h 17"/>
                <a:gd name="T40" fmla="*/ 17 w 17"/>
                <a:gd name="T41" fmla="*/ 8 h 17"/>
                <a:gd name="T42" fmla="*/ 17 w 17"/>
                <a:gd name="T43"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7">
                  <a:moveTo>
                    <a:pt x="17" y="8"/>
                  </a:moveTo>
                  <a:lnTo>
                    <a:pt x="17" y="8"/>
                  </a:lnTo>
                  <a:lnTo>
                    <a:pt x="16" y="12"/>
                  </a:lnTo>
                  <a:lnTo>
                    <a:pt x="15" y="14"/>
                  </a:lnTo>
                  <a:lnTo>
                    <a:pt x="11" y="17"/>
                  </a:lnTo>
                  <a:lnTo>
                    <a:pt x="9" y="17"/>
                  </a:lnTo>
                  <a:lnTo>
                    <a:pt x="9" y="17"/>
                  </a:lnTo>
                  <a:lnTo>
                    <a:pt x="5" y="17"/>
                  </a:lnTo>
                  <a:lnTo>
                    <a:pt x="2" y="14"/>
                  </a:lnTo>
                  <a:lnTo>
                    <a:pt x="0" y="12"/>
                  </a:lnTo>
                  <a:lnTo>
                    <a:pt x="0" y="8"/>
                  </a:lnTo>
                  <a:lnTo>
                    <a:pt x="0" y="8"/>
                  </a:lnTo>
                  <a:lnTo>
                    <a:pt x="0" y="4"/>
                  </a:lnTo>
                  <a:lnTo>
                    <a:pt x="2" y="2"/>
                  </a:lnTo>
                  <a:lnTo>
                    <a:pt x="5" y="1"/>
                  </a:lnTo>
                  <a:lnTo>
                    <a:pt x="9" y="0"/>
                  </a:lnTo>
                  <a:lnTo>
                    <a:pt x="9" y="0"/>
                  </a:lnTo>
                  <a:lnTo>
                    <a:pt x="11" y="1"/>
                  </a:lnTo>
                  <a:lnTo>
                    <a:pt x="15" y="2"/>
                  </a:lnTo>
                  <a:lnTo>
                    <a:pt x="16" y="4"/>
                  </a:lnTo>
                  <a:lnTo>
                    <a:pt x="17" y="8"/>
                  </a:lnTo>
                  <a:lnTo>
                    <a:pt x="17"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1" name="Freeform 259">
              <a:extLst>
                <a:ext uri="{FF2B5EF4-FFF2-40B4-BE49-F238E27FC236}">
                  <a16:creationId xmlns:a16="http://schemas.microsoft.com/office/drawing/2014/main" id="{15B36E3A-B814-B3B6-10A0-E5695EB053E8}"/>
                </a:ext>
              </a:extLst>
            </p:cNvPr>
            <p:cNvSpPr>
              <a:spLocks/>
            </p:cNvSpPr>
            <p:nvPr/>
          </p:nvSpPr>
          <p:spPr bwMode="auto">
            <a:xfrm>
              <a:off x="7409294" y="3241523"/>
              <a:ext cx="28054" cy="22929"/>
            </a:xfrm>
            <a:custGeom>
              <a:avLst/>
              <a:gdLst>
                <a:gd name="T0" fmla="*/ 19 w 19"/>
                <a:gd name="T1" fmla="*/ 8 h 17"/>
                <a:gd name="T2" fmla="*/ 19 w 19"/>
                <a:gd name="T3" fmla="*/ 8 h 17"/>
                <a:gd name="T4" fmla="*/ 18 w 19"/>
                <a:gd name="T5" fmla="*/ 12 h 17"/>
                <a:gd name="T6" fmla="*/ 16 w 19"/>
                <a:gd name="T7" fmla="*/ 14 h 17"/>
                <a:gd name="T8" fmla="*/ 13 w 19"/>
                <a:gd name="T9" fmla="*/ 17 h 17"/>
                <a:gd name="T10" fmla="*/ 10 w 19"/>
                <a:gd name="T11" fmla="*/ 17 h 17"/>
                <a:gd name="T12" fmla="*/ 10 w 19"/>
                <a:gd name="T13" fmla="*/ 17 h 17"/>
                <a:gd name="T14" fmla="*/ 6 w 19"/>
                <a:gd name="T15" fmla="*/ 17 h 17"/>
                <a:gd name="T16" fmla="*/ 4 w 19"/>
                <a:gd name="T17" fmla="*/ 14 h 17"/>
                <a:gd name="T18" fmla="*/ 2 w 19"/>
                <a:gd name="T19" fmla="*/ 12 h 17"/>
                <a:gd name="T20" fmla="*/ 0 w 19"/>
                <a:gd name="T21" fmla="*/ 8 h 17"/>
                <a:gd name="T22" fmla="*/ 0 w 19"/>
                <a:gd name="T23" fmla="*/ 8 h 17"/>
                <a:gd name="T24" fmla="*/ 2 w 19"/>
                <a:gd name="T25" fmla="*/ 4 h 17"/>
                <a:gd name="T26" fmla="*/ 4 w 19"/>
                <a:gd name="T27" fmla="*/ 2 h 17"/>
                <a:gd name="T28" fmla="*/ 6 w 19"/>
                <a:gd name="T29" fmla="*/ 1 h 17"/>
                <a:gd name="T30" fmla="*/ 10 w 19"/>
                <a:gd name="T31" fmla="*/ 0 h 17"/>
                <a:gd name="T32" fmla="*/ 10 w 19"/>
                <a:gd name="T33" fmla="*/ 0 h 17"/>
                <a:gd name="T34" fmla="*/ 13 w 19"/>
                <a:gd name="T35" fmla="*/ 1 h 17"/>
                <a:gd name="T36" fmla="*/ 16 w 19"/>
                <a:gd name="T37" fmla="*/ 2 h 17"/>
                <a:gd name="T38" fmla="*/ 18 w 19"/>
                <a:gd name="T39" fmla="*/ 4 h 17"/>
                <a:gd name="T40" fmla="*/ 19 w 19"/>
                <a:gd name="T41" fmla="*/ 8 h 17"/>
                <a:gd name="T42" fmla="*/ 19 w 19"/>
                <a:gd name="T43"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17">
                  <a:moveTo>
                    <a:pt x="19" y="8"/>
                  </a:moveTo>
                  <a:lnTo>
                    <a:pt x="19" y="8"/>
                  </a:lnTo>
                  <a:lnTo>
                    <a:pt x="18" y="12"/>
                  </a:lnTo>
                  <a:lnTo>
                    <a:pt x="16" y="14"/>
                  </a:lnTo>
                  <a:lnTo>
                    <a:pt x="13" y="17"/>
                  </a:lnTo>
                  <a:lnTo>
                    <a:pt x="10" y="17"/>
                  </a:lnTo>
                  <a:lnTo>
                    <a:pt x="10" y="17"/>
                  </a:lnTo>
                  <a:lnTo>
                    <a:pt x="6" y="17"/>
                  </a:lnTo>
                  <a:lnTo>
                    <a:pt x="4" y="14"/>
                  </a:lnTo>
                  <a:lnTo>
                    <a:pt x="2" y="12"/>
                  </a:lnTo>
                  <a:lnTo>
                    <a:pt x="0" y="8"/>
                  </a:lnTo>
                  <a:lnTo>
                    <a:pt x="0" y="8"/>
                  </a:lnTo>
                  <a:lnTo>
                    <a:pt x="2" y="4"/>
                  </a:lnTo>
                  <a:lnTo>
                    <a:pt x="4" y="2"/>
                  </a:lnTo>
                  <a:lnTo>
                    <a:pt x="6" y="1"/>
                  </a:lnTo>
                  <a:lnTo>
                    <a:pt x="10" y="0"/>
                  </a:lnTo>
                  <a:lnTo>
                    <a:pt x="10" y="0"/>
                  </a:lnTo>
                  <a:lnTo>
                    <a:pt x="13" y="1"/>
                  </a:lnTo>
                  <a:lnTo>
                    <a:pt x="16" y="2"/>
                  </a:lnTo>
                  <a:lnTo>
                    <a:pt x="18" y="4"/>
                  </a:lnTo>
                  <a:lnTo>
                    <a:pt x="19" y="8"/>
                  </a:lnTo>
                  <a:lnTo>
                    <a:pt x="1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2" name="Rectangle 260">
              <a:extLst>
                <a:ext uri="{FF2B5EF4-FFF2-40B4-BE49-F238E27FC236}">
                  <a16:creationId xmlns:a16="http://schemas.microsoft.com/office/drawing/2014/main" id="{512CAE42-4F72-99E1-DF54-1507D94F46C2}"/>
                </a:ext>
              </a:extLst>
            </p:cNvPr>
            <p:cNvSpPr>
              <a:spLocks noChangeArrowheads="1"/>
            </p:cNvSpPr>
            <p:nvPr/>
          </p:nvSpPr>
          <p:spPr bwMode="auto">
            <a:xfrm>
              <a:off x="7471307" y="3242873"/>
              <a:ext cx="301206" cy="2023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3" name="Rectangle 261">
              <a:extLst>
                <a:ext uri="{FF2B5EF4-FFF2-40B4-BE49-F238E27FC236}">
                  <a16:creationId xmlns:a16="http://schemas.microsoft.com/office/drawing/2014/main" id="{CD7A0892-DB42-5906-D049-0269D8FC3183}"/>
                </a:ext>
              </a:extLst>
            </p:cNvPr>
            <p:cNvSpPr>
              <a:spLocks noChangeArrowheads="1"/>
            </p:cNvSpPr>
            <p:nvPr/>
          </p:nvSpPr>
          <p:spPr bwMode="auto">
            <a:xfrm>
              <a:off x="7342852" y="3315704"/>
              <a:ext cx="106308" cy="8092"/>
            </a:xfrm>
            <a:prstGeom prst="rect">
              <a:avLst/>
            </a:prstGeom>
            <a:solidFill>
              <a:srgbClr val="8FC4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4" name="Rectangle 262">
              <a:extLst>
                <a:ext uri="{FF2B5EF4-FFF2-40B4-BE49-F238E27FC236}">
                  <a16:creationId xmlns:a16="http://schemas.microsoft.com/office/drawing/2014/main" id="{C48240DC-3520-6475-55C1-34CBA51C382B}"/>
                </a:ext>
              </a:extLst>
            </p:cNvPr>
            <p:cNvSpPr>
              <a:spLocks noChangeArrowheads="1"/>
            </p:cNvSpPr>
            <p:nvPr/>
          </p:nvSpPr>
          <p:spPr bwMode="auto">
            <a:xfrm>
              <a:off x="7342852" y="3500480"/>
              <a:ext cx="113691" cy="8092"/>
            </a:xfrm>
            <a:prstGeom prst="rect">
              <a:avLst/>
            </a:prstGeom>
            <a:solidFill>
              <a:srgbClr val="8FC4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5" name="Rectangle 263">
              <a:extLst>
                <a:ext uri="{FF2B5EF4-FFF2-40B4-BE49-F238E27FC236}">
                  <a16:creationId xmlns:a16="http://schemas.microsoft.com/office/drawing/2014/main" id="{29810933-DB3D-07E4-2CC6-0F3FE9CD90E8}"/>
                </a:ext>
              </a:extLst>
            </p:cNvPr>
            <p:cNvSpPr>
              <a:spLocks noChangeArrowheads="1"/>
            </p:cNvSpPr>
            <p:nvPr/>
          </p:nvSpPr>
          <p:spPr bwMode="auto">
            <a:xfrm>
              <a:off x="7342852" y="3524757"/>
              <a:ext cx="423756" cy="9442"/>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6" name="Rectangle 264">
              <a:extLst>
                <a:ext uri="{FF2B5EF4-FFF2-40B4-BE49-F238E27FC236}">
                  <a16:creationId xmlns:a16="http://schemas.microsoft.com/office/drawing/2014/main" id="{5AE5B2AF-9867-2AF4-7E1B-45F61846D763}"/>
                </a:ext>
              </a:extLst>
            </p:cNvPr>
            <p:cNvSpPr>
              <a:spLocks noChangeArrowheads="1"/>
            </p:cNvSpPr>
            <p:nvPr/>
          </p:nvSpPr>
          <p:spPr bwMode="auto">
            <a:xfrm>
              <a:off x="7342852" y="3550383"/>
              <a:ext cx="423756" cy="9442"/>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7" name="Rectangle 265">
              <a:extLst>
                <a:ext uri="{FF2B5EF4-FFF2-40B4-BE49-F238E27FC236}">
                  <a16:creationId xmlns:a16="http://schemas.microsoft.com/office/drawing/2014/main" id="{829E2D73-5C94-695E-D73C-7D9DE9B8C3C4}"/>
                </a:ext>
              </a:extLst>
            </p:cNvPr>
            <p:cNvSpPr>
              <a:spLocks noChangeArrowheads="1"/>
            </p:cNvSpPr>
            <p:nvPr/>
          </p:nvSpPr>
          <p:spPr bwMode="auto">
            <a:xfrm>
              <a:off x="7701642" y="3315704"/>
              <a:ext cx="66443" cy="8092"/>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8" name="Rectangle 266">
              <a:extLst>
                <a:ext uri="{FF2B5EF4-FFF2-40B4-BE49-F238E27FC236}">
                  <a16:creationId xmlns:a16="http://schemas.microsoft.com/office/drawing/2014/main" id="{99A41246-B1AC-C1C3-6123-106F3BAF61EF}"/>
                </a:ext>
              </a:extLst>
            </p:cNvPr>
            <p:cNvSpPr>
              <a:spLocks noChangeArrowheads="1"/>
            </p:cNvSpPr>
            <p:nvPr/>
          </p:nvSpPr>
          <p:spPr bwMode="auto">
            <a:xfrm>
              <a:off x="7617481" y="3315704"/>
              <a:ext cx="67919" cy="8092"/>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9" name="Rectangle 267">
              <a:extLst>
                <a:ext uri="{FF2B5EF4-FFF2-40B4-BE49-F238E27FC236}">
                  <a16:creationId xmlns:a16="http://schemas.microsoft.com/office/drawing/2014/main" id="{0428A5DC-0B07-8E34-6175-6E693CBE3FF1}"/>
                </a:ext>
              </a:extLst>
            </p:cNvPr>
            <p:cNvSpPr>
              <a:spLocks noChangeArrowheads="1"/>
            </p:cNvSpPr>
            <p:nvPr/>
          </p:nvSpPr>
          <p:spPr bwMode="auto">
            <a:xfrm>
              <a:off x="7531844" y="3315704"/>
              <a:ext cx="67919" cy="8092"/>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0" name="Rectangle 268">
              <a:extLst>
                <a:ext uri="{FF2B5EF4-FFF2-40B4-BE49-F238E27FC236}">
                  <a16:creationId xmlns:a16="http://schemas.microsoft.com/office/drawing/2014/main" id="{6EFFDFC4-EA00-99E4-0118-F94332D269FD}"/>
                </a:ext>
              </a:extLst>
            </p:cNvPr>
            <p:cNvSpPr>
              <a:spLocks noChangeArrowheads="1"/>
            </p:cNvSpPr>
            <p:nvPr/>
          </p:nvSpPr>
          <p:spPr bwMode="auto">
            <a:xfrm>
              <a:off x="7342852" y="3357514"/>
              <a:ext cx="425232" cy="115991"/>
            </a:xfrm>
            <a:prstGeom prst="rect">
              <a:avLst/>
            </a:prstGeom>
            <a:solidFill>
              <a:srgbClr val="15B0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1" name="Freeform 269">
              <a:extLst>
                <a:ext uri="{FF2B5EF4-FFF2-40B4-BE49-F238E27FC236}">
                  <a16:creationId xmlns:a16="http://schemas.microsoft.com/office/drawing/2014/main" id="{4E57AD99-34DA-8BC2-594C-CD0D698CB96A}"/>
                </a:ext>
              </a:extLst>
            </p:cNvPr>
            <p:cNvSpPr>
              <a:spLocks/>
            </p:cNvSpPr>
            <p:nvPr/>
          </p:nvSpPr>
          <p:spPr bwMode="auto">
            <a:xfrm>
              <a:off x="7415200" y="3357514"/>
              <a:ext cx="352884" cy="115991"/>
            </a:xfrm>
            <a:custGeom>
              <a:avLst/>
              <a:gdLst>
                <a:gd name="T0" fmla="*/ 0 w 239"/>
                <a:gd name="T1" fmla="*/ 86 h 86"/>
                <a:gd name="T2" fmla="*/ 239 w 239"/>
                <a:gd name="T3" fmla="*/ 86 h 86"/>
                <a:gd name="T4" fmla="*/ 239 w 239"/>
                <a:gd name="T5" fmla="*/ 0 h 86"/>
                <a:gd name="T6" fmla="*/ 142 w 239"/>
                <a:gd name="T7" fmla="*/ 0 h 86"/>
                <a:gd name="T8" fmla="*/ 0 w 239"/>
                <a:gd name="T9" fmla="*/ 86 h 86"/>
              </a:gdLst>
              <a:ahLst/>
              <a:cxnLst>
                <a:cxn ang="0">
                  <a:pos x="T0" y="T1"/>
                </a:cxn>
                <a:cxn ang="0">
                  <a:pos x="T2" y="T3"/>
                </a:cxn>
                <a:cxn ang="0">
                  <a:pos x="T4" y="T5"/>
                </a:cxn>
                <a:cxn ang="0">
                  <a:pos x="T6" y="T7"/>
                </a:cxn>
                <a:cxn ang="0">
                  <a:pos x="T8" y="T9"/>
                </a:cxn>
              </a:cxnLst>
              <a:rect l="0" t="0" r="r" b="b"/>
              <a:pathLst>
                <a:path w="239" h="86">
                  <a:moveTo>
                    <a:pt x="0" y="86"/>
                  </a:moveTo>
                  <a:lnTo>
                    <a:pt x="239" y="86"/>
                  </a:lnTo>
                  <a:lnTo>
                    <a:pt x="239" y="0"/>
                  </a:lnTo>
                  <a:lnTo>
                    <a:pt x="142" y="0"/>
                  </a:lnTo>
                  <a:lnTo>
                    <a:pt x="0" y="86"/>
                  </a:lnTo>
                  <a:close/>
                </a:path>
              </a:pathLst>
            </a:custGeom>
            <a:solidFill>
              <a:srgbClr val="1695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2" name="Freeform 270">
              <a:extLst>
                <a:ext uri="{FF2B5EF4-FFF2-40B4-BE49-F238E27FC236}">
                  <a16:creationId xmlns:a16="http://schemas.microsoft.com/office/drawing/2014/main" id="{05A6DA3E-DC83-90D5-ABFA-D770D2646822}"/>
                </a:ext>
              </a:extLst>
            </p:cNvPr>
            <p:cNvSpPr>
              <a:spLocks noEditPoints="1"/>
            </p:cNvSpPr>
            <p:nvPr/>
          </p:nvSpPr>
          <p:spPr bwMode="auto">
            <a:xfrm>
              <a:off x="7531844" y="3344027"/>
              <a:ext cx="367649" cy="334485"/>
            </a:xfrm>
            <a:custGeom>
              <a:avLst/>
              <a:gdLst>
                <a:gd name="T0" fmla="*/ 223 w 249"/>
                <a:gd name="T1" fmla="*/ 88 h 248"/>
                <a:gd name="T2" fmla="*/ 238 w 249"/>
                <a:gd name="T3" fmla="*/ 76 h 248"/>
                <a:gd name="T4" fmla="*/ 224 w 249"/>
                <a:gd name="T5" fmla="*/ 49 h 248"/>
                <a:gd name="T6" fmla="*/ 216 w 249"/>
                <a:gd name="T7" fmla="*/ 47 h 248"/>
                <a:gd name="T8" fmla="*/ 199 w 249"/>
                <a:gd name="T9" fmla="*/ 31 h 248"/>
                <a:gd name="T10" fmla="*/ 199 w 249"/>
                <a:gd name="T11" fmla="*/ 23 h 248"/>
                <a:gd name="T12" fmla="*/ 171 w 249"/>
                <a:gd name="T13" fmla="*/ 9 h 248"/>
                <a:gd name="T14" fmla="*/ 158 w 249"/>
                <a:gd name="T15" fmla="*/ 25 h 248"/>
                <a:gd name="T16" fmla="*/ 142 w 249"/>
                <a:gd name="T17" fmla="*/ 6 h 248"/>
                <a:gd name="T18" fmla="*/ 136 w 249"/>
                <a:gd name="T19" fmla="*/ 0 h 248"/>
                <a:gd name="T20" fmla="*/ 106 w 249"/>
                <a:gd name="T21" fmla="*/ 1 h 248"/>
                <a:gd name="T22" fmla="*/ 104 w 249"/>
                <a:gd name="T23" fmla="*/ 21 h 248"/>
                <a:gd name="T24" fmla="*/ 79 w 249"/>
                <a:gd name="T25" fmla="*/ 11 h 248"/>
                <a:gd name="T26" fmla="*/ 49 w 249"/>
                <a:gd name="T27" fmla="*/ 23 h 248"/>
                <a:gd name="T28" fmla="*/ 47 w 249"/>
                <a:gd name="T29" fmla="*/ 30 h 248"/>
                <a:gd name="T30" fmla="*/ 43 w 249"/>
                <a:gd name="T31" fmla="*/ 57 h 248"/>
                <a:gd name="T32" fmla="*/ 26 w 249"/>
                <a:gd name="T33" fmla="*/ 49 h 248"/>
                <a:gd name="T34" fmla="*/ 10 w 249"/>
                <a:gd name="T35" fmla="*/ 74 h 248"/>
                <a:gd name="T36" fmla="*/ 11 w 249"/>
                <a:gd name="T37" fmla="*/ 83 h 248"/>
                <a:gd name="T38" fmla="*/ 6 w 249"/>
                <a:gd name="T39" fmla="*/ 106 h 248"/>
                <a:gd name="T40" fmla="*/ 0 w 249"/>
                <a:gd name="T41" fmla="*/ 110 h 248"/>
                <a:gd name="T42" fmla="*/ 0 w 249"/>
                <a:gd name="T43" fmla="*/ 141 h 248"/>
                <a:gd name="T44" fmla="*/ 21 w 249"/>
                <a:gd name="T45" fmla="*/ 144 h 248"/>
                <a:gd name="T46" fmla="*/ 14 w 249"/>
                <a:gd name="T47" fmla="*/ 168 h 248"/>
                <a:gd name="T48" fmla="*/ 11 w 249"/>
                <a:gd name="T49" fmla="*/ 176 h 248"/>
                <a:gd name="T50" fmla="*/ 27 w 249"/>
                <a:gd name="T51" fmla="*/ 201 h 248"/>
                <a:gd name="T52" fmla="*/ 46 w 249"/>
                <a:gd name="T53" fmla="*/ 194 h 248"/>
                <a:gd name="T54" fmla="*/ 49 w 249"/>
                <a:gd name="T55" fmla="*/ 220 h 248"/>
                <a:gd name="T56" fmla="*/ 74 w 249"/>
                <a:gd name="T57" fmla="*/ 239 h 248"/>
                <a:gd name="T58" fmla="*/ 81 w 249"/>
                <a:gd name="T59" fmla="*/ 238 h 248"/>
                <a:gd name="T60" fmla="*/ 106 w 249"/>
                <a:gd name="T61" fmla="*/ 227 h 248"/>
                <a:gd name="T62" fmla="*/ 108 w 249"/>
                <a:gd name="T63" fmla="*/ 247 h 248"/>
                <a:gd name="T64" fmla="*/ 138 w 249"/>
                <a:gd name="T65" fmla="*/ 248 h 248"/>
                <a:gd name="T66" fmla="*/ 145 w 249"/>
                <a:gd name="T67" fmla="*/ 242 h 248"/>
                <a:gd name="T68" fmla="*/ 168 w 249"/>
                <a:gd name="T69" fmla="*/ 236 h 248"/>
                <a:gd name="T70" fmla="*/ 174 w 249"/>
                <a:gd name="T71" fmla="*/ 238 h 248"/>
                <a:gd name="T72" fmla="*/ 201 w 249"/>
                <a:gd name="T73" fmla="*/ 223 h 248"/>
                <a:gd name="T74" fmla="*/ 194 w 249"/>
                <a:gd name="T75" fmla="*/ 202 h 248"/>
                <a:gd name="T76" fmla="*/ 218 w 249"/>
                <a:gd name="T77" fmla="*/ 199 h 248"/>
                <a:gd name="T78" fmla="*/ 227 w 249"/>
                <a:gd name="T79" fmla="*/ 196 h 248"/>
                <a:gd name="T80" fmla="*/ 240 w 249"/>
                <a:gd name="T81" fmla="*/ 169 h 248"/>
                <a:gd name="T82" fmla="*/ 223 w 249"/>
                <a:gd name="T83" fmla="*/ 158 h 248"/>
                <a:gd name="T84" fmla="*/ 245 w 249"/>
                <a:gd name="T85" fmla="*/ 142 h 248"/>
                <a:gd name="T86" fmla="*/ 249 w 249"/>
                <a:gd name="T87" fmla="*/ 110 h 248"/>
                <a:gd name="T88" fmla="*/ 245 w 249"/>
                <a:gd name="T89" fmla="*/ 104 h 248"/>
                <a:gd name="T90" fmla="*/ 125 w 249"/>
                <a:gd name="T91" fmla="*/ 175 h 248"/>
                <a:gd name="T92" fmla="*/ 88 w 249"/>
                <a:gd name="T93" fmla="*/ 160 h 248"/>
                <a:gd name="T94" fmla="*/ 73 w 249"/>
                <a:gd name="T95" fmla="*/ 123 h 248"/>
                <a:gd name="T96" fmla="*/ 81 w 249"/>
                <a:gd name="T97" fmla="*/ 95 h 248"/>
                <a:gd name="T98" fmla="*/ 113 w 249"/>
                <a:gd name="T99" fmla="*/ 74 h 248"/>
                <a:gd name="T100" fmla="*/ 144 w 249"/>
                <a:gd name="T101" fmla="*/ 76 h 248"/>
                <a:gd name="T102" fmla="*/ 171 w 249"/>
                <a:gd name="T103" fmla="*/ 104 h 248"/>
                <a:gd name="T104" fmla="*/ 174 w 249"/>
                <a:gd name="T105" fmla="*/ 134 h 248"/>
                <a:gd name="T106" fmla="*/ 153 w 249"/>
                <a:gd name="T107" fmla="*/ 167 h 248"/>
                <a:gd name="T108" fmla="*/ 125 w 249"/>
                <a:gd name="T109" fmla="*/ 17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9" h="248">
                  <a:moveTo>
                    <a:pt x="243" y="104"/>
                  </a:moveTo>
                  <a:lnTo>
                    <a:pt x="227" y="104"/>
                  </a:lnTo>
                  <a:lnTo>
                    <a:pt x="227" y="104"/>
                  </a:lnTo>
                  <a:lnTo>
                    <a:pt x="223" y="88"/>
                  </a:lnTo>
                  <a:lnTo>
                    <a:pt x="236" y="80"/>
                  </a:lnTo>
                  <a:lnTo>
                    <a:pt x="236" y="80"/>
                  </a:lnTo>
                  <a:lnTo>
                    <a:pt x="237" y="79"/>
                  </a:lnTo>
                  <a:lnTo>
                    <a:pt x="238" y="76"/>
                  </a:lnTo>
                  <a:lnTo>
                    <a:pt x="238" y="74"/>
                  </a:lnTo>
                  <a:lnTo>
                    <a:pt x="238" y="72"/>
                  </a:lnTo>
                  <a:lnTo>
                    <a:pt x="224" y="49"/>
                  </a:lnTo>
                  <a:lnTo>
                    <a:pt x="224" y="49"/>
                  </a:lnTo>
                  <a:lnTo>
                    <a:pt x="223" y="47"/>
                  </a:lnTo>
                  <a:lnTo>
                    <a:pt x="221" y="47"/>
                  </a:lnTo>
                  <a:lnTo>
                    <a:pt x="218" y="46"/>
                  </a:lnTo>
                  <a:lnTo>
                    <a:pt x="216" y="47"/>
                  </a:lnTo>
                  <a:lnTo>
                    <a:pt x="203" y="54"/>
                  </a:lnTo>
                  <a:lnTo>
                    <a:pt x="203" y="54"/>
                  </a:lnTo>
                  <a:lnTo>
                    <a:pt x="191" y="43"/>
                  </a:lnTo>
                  <a:lnTo>
                    <a:pt x="199" y="31"/>
                  </a:lnTo>
                  <a:lnTo>
                    <a:pt x="199" y="31"/>
                  </a:lnTo>
                  <a:lnTo>
                    <a:pt x="200" y="28"/>
                  </a:lnTo>
                  <a:lnTo>
                    <a:pt x="200" y="26"/>
                  </a:lnTo>
                  <a:lnTo>
                    <a:pt x="199" y="23"/>
                  </a:lnTo>
                  <a:lnTo>
                    <a:pt x="196" y="22"/>
                  </a:lnTo>
                  <a:lnTo>
                    <a:pt x="174" y="9"/>
                  </a:lnTo>
                  <a:lnTo>
                    <a:pt x="174" y="9"/>
                  </a:lnTo>
                  <a:lnTo>
                    <a:pt x="171" y="9"/>
                  </a:lnTo>
                  <a:lnTo>
                    <a:pt x="169" y="9"/>
                  </a:lnTo>
                  <a:lnTo>
                    <a:pt x="168" y="10"/>
                  </a:lnTo>
                  <a:lnTo>
                    <a:pt x="165" y="11"/>
                  </a:lnTo>
                  <a:lnTo>
                    <a:pt x="158" y="25"/>
                  </a:lnTo>
                  <a:lnTo>
                    <a:pt x="158" y="25"/>
                  </a:lnTo>
                  <a:lnTo>
                    <a:pt x="142" y="21"/>
                  </a:lnTo>
                  <a:lnTo>
                    <a:pt x="142" y="6"/>
                  </a:lnTo>
                  <a:lnTo>
                    <a:pt x="142" y="6"/>
                  </a:lnTo>
                  <a:lnTo>
                    <a:pt x="142" y="4"/>
                  </a:lnTo>
                  <a:lnTo>
                    <a:pt x="141" y="1"/>
                  </a:lnTo>
                  <a:lnTo>
                    <a:pt x="138" y="0"/>
                  </a:lnTo>
                  <a:lnTo>
                    <a:pt x="136" y="0"/>
                  </a:lnTo>
                  <a:lnTo>
                    <a:pt x="110" y="0"/>
                  </a:lnTo>
                  <a:lnTo>
                    <a:pt x="110" y="0"/>
                  </a:lnTo>
                  <a:lnTo>
                    <a:pt x="107" y="0"/>
                  </a:lnTo>
                  <a:lnTo>
                    <a:pt x="106" y="1"/>
                  </a:lnTo>
                  <a:lnTo>
                    <a:pt x="104" y="4"/>
                  </a:lnTo>
                  <a:lnTo>
                    <a:pt x="104" y="6"/>
                  </a:lnTo>
                  <a:lnTo>
                    <a:pt x="104" y="21"/>
                  </a:lnTo>
                  <a:lnTo>
                    <a:pt x="104" y="21"/>
                  </a:lnTo>
                  <a:lnTo>
                    <a:pt x="88" y="26"/>
                  </a:lnTo>
                  <a:lnTo>
                    <a:pt x="80" y="12"/>
                  </a:lnTo>
                  <a:lnTo>
                    <a:pt x="80" y="12"/>
                  </a:lnTo>
                  <a:lnTo>
                    <a:pt x="79" y="11"/>
                  </a:lnTo>
                  <a:lnTo>
                    <a:pt x="76" y="10"/>
                  </a:lnTo>
                  <a:lnTo>
                    <a:pt x="74" y="10"/>
                  </a:lnTo>
                  <a:lnTo>
                    <a:pt x="71" y="10"/>
                  </a:lnTo>
                  <a:lnTo>
                    <a:pt x="49" y="23"/>
                  </a:lnTo>
                  <a:lnTo>
                    <a:pt x="49" y="23"/>
                  </a:lnTo>
                  <a:lnTo>
                    <a:pt x="48" y="25"/>
                  </a:lnTo>
                  <a:lnTo>
                    <a:pt x="47" y="27"/>
                  </a:lnTo>
                  <a:lnTo>
                    <a:pt x="47" y="30"/>
                  </a:lnTo>
                  <a:lnTo>
                    <a:pt x="47" y="32"/>
                  </a:lnTo>
                  <a:lnTo>
                    <a:pt x="55" y="46"/>
                  </a:lnTo>
                  <a:lnTo>
                    <a:pt x="55" y="46"/>
                  </a:lnTo>
                  <a:lnTo>
                    <a:pt x="43" y="57"/>
                  </a:lnTo>
                  <a:lnTo>
                    <a:pt x="31" y="49"/>
                  </a:lnTo>
                  <a:lnTo>
                    <a:pt x="31" y="49"/>
                  </a:lnTo>
                  <a:lnTo>
                    <a:pt x="28" y="48"/>
                  </a:lnTo>
                  <a:lnTo>
                    <a:pt x="26" y="49"/>
                  </a:lnTo>
                  <a:lnTo>
                    <a:pt x="23" y="49"/>
                  </a:lnTo>
                  <a:lnTo>
                    <a:pt x="22" y="52"/>
                  </a:lnTo>
                  <a:lnTo>
                    <a:pt x="10" y="74"/>
                  </a:lnTo>
                  <a:lnTo>
                    <a:pt x="10" y="74"/>
                  </a:lnTo>
                  <a:lnTo>
                    <a:pt x="9" y="76"/>
                  </a:lnTo>
                  <a:lnTo>
                    <a:pt x="9" y="79"/>
                  </a:lnTo>
                  <a:lnTo>
                    <a:pt x="10" y="81"/>
                  </a:lnTo>
                  <a:lnTo>
                    <a:pt x="11" y="83"/>
                  </a:lnTo>
                  <a:lnTo>
                    <a:pt x="25" y="90"/>
                  </a:lnTo>
                  <a:lnTo>
                    <a:pt x="25" y="90"/>
                  </a:lnTo>
                  <a:lnTo>
                    <a:pt x="21" y="106"/>
                  </a:lnTo>
                  <a:lnTo>
                    <a:pt x="6" y="106"/>
                  </a:lnTo>
                  <a:lnTo>
                    <a:pt x="6" y="106"/>
                  </a:lnTo>
                  <a:lnTo>
                    <a:pt x="4" y="106"/>
                  </a:lnTo>
                  <a:lnTo>
                    <a:pt x="1" y="109"/>
                  </a:lnTo>
                  <a:lnTo>
                    <a:pt x="0" y="110"/>
                  </a:lnTo>
                  <a:lnTo>
                    <a:pt x="0" y="112"/>
                  </a:lnTo>
                  <a:lnTo>
                    <a:pt x="0" y="138"/>
                  </a:lnTo>
                  <a:lnTo>
                    <a:pt x="0" y="138"/>
                  </a:lnTo>
                  <a:lnTo>
                    <a:pt x="0" y="141"/>
                  </a:lnTo>
                  <a:lnTo>
                    <a:pt x="1" y="143"/>
                  </a:lnTo>
                  <a:lnTo>
                    <a:pt x="4" y="144"/>
                  </a:lnTo>
                  <a:lnTo>
                    <a:pt x="6" y="144"/>
                  </a:lnTo>
                  <a:lnTo>
                    <a:pt x="21" y="144"/>
                  </a:lnTo>
                  <a:lnTo>
                    <a:pt x="21" y="144"/>
                  </a:lnTo>
                  <a:lnTo>
                    <a:pt x="26" y="160"/>
                  </a:lnTo>
                  <a:lnTo>
                    <a:pt x="14" y="168"/>
                  </a:lnTo>
                  <a:lnTo>
                    <a:pt x="14" y="168"/>
                  </a:lnTo>
                  <a:lnTo>
                    <a:pt x="11" y="169"/>
                  </a:lnTo>
                  <a:lnTo>
                    <a:pt x="10" y="171"/>
                  </a:lnTo>
                  <a:lnTo>
                    <a:pt x="10" y="174"/>
                  </a:lnTo>
                  <a:lnTo>
                    <a:pt x="11" y="176"/>
                  </a:lnTo>
                  <a:lnTo>
                    <a:pt x="23" y="199"/>
                  </a:lnTo>
                  <a:lnTo>
                    <a:pt x="23" y="199"/>
                  </a:lnTo>
                  <a:lnTo>
                    <a:pt x="25" y="201"/>
                  </a:lnTo>
                  <a:lnTo>
                    <a:pt x="27" y="201"/>
                  </a:lnTo>
                  <a:lnTo>
                    <a:pt x="30" y="202"/>
                  </a:lnTo>
                  <a:lnTo>
                    <a:pt x="32" y="201"/>
                  </a:lnTo>
                  <a:lnTo>
                    <a:pt x="46" y="194"/>
                  </a:lnTo>
                  <a:lnTo>
                    <a:pt x="46" y="194"/>
                  </a:lnTo>
                  <a:lnTo>
                    <a:pt x="57" y="205"/>
                  </a:lnTo>
                  <a:lnTo>
                    <a:pt x="49" y="217"/>
                  </a:lnTo>
                  <a:lnTo>
                    <a:pt x="49" y="217"/>
                  </a:lnTo>
                  <a:lnTo>
                    <a:pt x="49" y="220"/>
                  </a:lnTo>
                  <a:lnTo>
                    <a:pt x="49" y="222"/>
                  </a:lnTo>
                  <a:lnTo>
                    <a:pt x="51" y="224"/>
                  </a:lnTo>
                  <a:lnTo>
                    <a:pt x="52" y="226"/>
                  </a:lnTo>
                  <a:lnTo>
                    <a:pt x="74" y="239"/>
                  </a:lnTo>
                  <a:lnTo>
                    <a:pt x="74" y="239"/>
                  </a:lnTo>
                  <a:lnTo>
                    <a:pt x="76" y="239"/>
                  </a:lnTo>
                  <a:lnTo>
                    <a:pt x="79" y="239"/>
                  </a:lnTo>
                  <a:lnTo>
                    <a:pt x="81" y="238"/>
                  </a:lnTo>
                  <a:lnTo>
                    <a:pt x="83" y="237"/>
                  </a:lnTo>
                  <a:lnTo>
                    <a:pt x="91" y="223"/>
                  </a:lnTo>
                  <a:lnTo>
                    <a:pt x="91" y="223"/>
                  </a:lnTo>
                  <a:lnTo>
                    <a:pt x="106" y="227"/>
                  </a:lnTo>
                  <a:lnTo>
                    <a:pt x="106" y="242"/>
                  </a:lnTo>
                  <a:lnTo>
                    <a:pt x="106" y="242"/>
                  </a:lnTo>
                  <a:lnTo>
                    <a:pt x="107" y="244"/>
                  </a:lnTo>
                  <a:lnTo>
                    <a:pt x="108" y="247"/>
                  </a:lnTo>
                  <a:lnTo>
                    <a:pt x="111" y="248"/>
                  </a:lnTo>
                  <a:lnTo>
                    <a:pt x="113" y="248"/>
                  </a:lnTo>
                  <a:lnTo>
                    <a:pt x="138" y="248"/>
                  </a:lnTo>
                  <a:lnTo>
                    <a:pt x="138" y="248"/>
                  </a:lnTo>
                  <a:lnTo>
                    <a:pt x="141" y="248"/>
                  </a:lnTo>
                  <a:lnTo>
                    <a:pt x="143" y="247"/>
                  </a:lnTo>
                  <a:lnTo>
                    <a:pt x="144" y="244"/>
                  </a:lnTo>
                  <a:lnTo>
                    <a:pt x="145" y="242"/>
                  </a:lnTo>
                  <a:lnTo>
                    <a:pt x="145" y="227"/>
                  </a:lnTo>
                  <a:lnTo>
                    <a:pt x="145" y="227"/>
                  </a:lnTo>
                  <a:lnTo>
                    <a:pt x="160" y="222"/>
                  </a:lnTo>
                  <a:lnTo>
                    <a:pt x="168" y="236"/>
                  </a:lnTo>
                  <a:lnTo>
                    <a:pt x="168" y="236"/>
                  </a:lnTo>
                  <a:lnTo>
                    <a:pt x="170" y="237"/>
                  </a:lnTo>
                  <a:lnTo>
                    <a:pt x="171" y="238"/>
                  </a:lnTo>
                  <a:lnTo>
                    <a:pt x="174" y="238"/>
                  </a:lnTo>
                  <a:lnTo>
                    <a:pt x="176" y="238"/>
                  </a:lnTo>
                  <a:lnTo>
                    <a:pt x="199" y="224"/>
                  </a:lnTo>
                  <a:lnTo>
                    <a:pt x="199" y="224"/>
                  </a:lnTo>
                  <a:lnTo>
                    <a:pt x="201" y="223"/>
                  </a:lnTo>
                  <a:lnTo>
                    <a:pt x="202" y="221"/>
                  </a:lnTo>
                  <a:lnTo>
                    <a:pt x="202" y="218"/>
                  </a:lnTo>
                  <a:lnTo>
                    <a:pt x="201" y="216"/>
                  </a:lnTo>
                  <a:lnTo>
                    <a:pt x="194" y="202"/>
                  </a:lnTo>
                  <a:lnTo>
                    <a:pt x="194" y="202"/>
                  </a:lnTo>
                  <a:lnTo>
                    <a:pt x="205" y="191"/>
                  </a:lnTo>
                  <a:lnTo>
                    <a:pt x="218" y="199"/>
                  </a:lnTo>
                  <a:lnTo>
                    <a:pt x="218" y="199"/>
                  </a:lnTo>
                  <a:lnTo>
                    <a:pt x="219" y="200"/>
                  </a:lnTo>
                  <a:lnTo>
                    <a:pt x="222" y="199"/>
                  </a:lnTo>
                  <a:lnTo>
                    <a:pt x="224" y="199"/>
                  </a:lnTo>
                  <a:lnTo>
                    <a:pt x="227" y="196"/>
                  </a:lnTo>
                  <a:lnTo>
                    <a:pt x="239" y="174"/>
                  </a:lnTo>
                  <a:lnTo>
                    <a:pt x="239" y="174"/>
                  </a:lnTo>
                  <a:lnTo>
                    <a:pt x="240" y="171"/>
                  </a:lnTo>
                  <a:lnTo>
                    <a:pt x="240" y="169"/>
                  </a:lnTo>
                  <a:lnTo>
                    <a:pt x="239" y="167"/>
                  </a:lnTo>
                  <a:lnTo>
                    <a:pt x="237" y="165"/>
                  </a:lnTo>
                  <a:lnTo>
                    <a:pt x="223" y="158"/>
                  </a:lnTo>
                  <a:lnTo>
                    <a:pt x="223" y="158"/>
                  </a:lnTo>
                  <a:lnTo>
                    <a:pt x="228" y="142"/>
                  </a:lnTo>
                  <a:lnTo>
                    <a:pt x="243" y="142"/>
                  </a:lnTo>
                  <a:lnTo>
                    <a:pt x="243" y="142"/>
                  </a:lnTo>
                  <a:lnTo>
                    <a:pt x="245" y="142"/>
                  </a:lnTo>
                  <a:lnTo>
                    <a:pt x="247" y="139"/>
                  </a:lnTo>
                  <a:lnTo>
                    <a:pt x="248" y="138"/>
                  </a:lnTo>
                  <a:lnTo>
                    <a:pt x="249" y="136"/>
                  </a:lnTo>
                  <a:lnTo>
                    <a:pt x="249" y="110"/>
                  </a:lnTo>
                  <a:lnTo>
                    <a:pt x="249" y="110"/>
                  </a:lnTo>
                  <a:lnTo>
                    <a:pt x="248" y="107"/>
                  </a:lnTo>
                  <a:lnTo>
                    <a:pt x="247" y="105"/>
                  </a:lnTo>
                  <a:lnTo>
                    <a:pt x="245" y="104"/>
                  </a:lnTo>
                  <a:lnTo>
                    <a:pt x="243" y="104"/>
                  </a:lnTo>
                  <a:lnTo>
                    <a:pt x="243" y="104"/>
                  </a:lnTo>
                  <a:close/>
                  <a:moveTo>
                    <a:pt x="125" y="175"/>
                  </a:moveTo>
                  <a:lnTo>
                    <a:pt x="125" y="175"/>
                  </a:lnTo>
                  <a:lnTo>
                    <a:pt x="113" y="174"/>
                  </a:lnTo>
                  <a:lnTo>
                    <a:pt x="105" y="171"/>
                  </a:lnTo>
                  <a:lnTo>
                    <a:pt x="96" y="167"/>
                  </a:lnTo>
                  <a:lnTo>
                    <a:pt x="88" y="160"/>
                  </a:lnTo>
                  <a:lnTo>
                    <a:pt x="81" y="153"/>
                  </a:lnTo>
                  <a:lnTo>
                    <a:pt x="78" y="144"/>
                  </a:lnTo>
                  <a:lnTo>
                    <a:pt x="74" y="134"/>
                  </a:lnTo>
                  <a:lnTo>
                    <a:pt x="73" y="123"/>
                  </a:lnTo>
                  <a:lnTo>
                    <a:pt x="73" y="123"/>
                  </a:lnTo>
                  <a:lnTo>
                    <a:pt x="74" y="113"/>
                  </a:lnTo>
                  <a:lnTo>
                    <a:pt x="78" y="104"/>
                  </a:lnTo>
                  <a:lnTo>
                    <a:pt x="81" y="95"/>
                  </a:lnTo>
                  <a:lnTo>
                    <a:pt x="88" y="88"/>
                  </a:lnTo>
                  <a:lnTo>
                    <a:pt x="96" y="81"/>
                  </a:lnTo>
                  <a:lnTo>
                    <a:pt x="105" y="76"/>
                  </a:lnTo>
                  <a:lnTo>
                    <a:pt x="113" y="74"/>
                  </a:lnTo>
                  <a:lnTo>
                    <a:pt x="125" y="73"/>
                  </a:lnTo>
                  <a:lnTo>
                    <a:pt x="125" y="73"/>
                  </a:lnTo>
                  <a:lnTo>
                    <a:pt x="134" y="74"/>
                  </a:lnTo>
                  <a:lnTo>
                    <a:pt x="144" y="76"/>
                  </a:lnTo>
                  <a:lnTo>
                    <a:pt x="153" y="81"/>
                  </a:lnTo>
                  <a:lnTo>
                    <a:pt x="160" y="88"/>
                  </a:lnTo>
                  <a:lnTo>
                    <a:pt x="166" y="95"/>
                  </a:lnTo>
                  <a:lnTo>
                    <a:pt x="171" y="104"/>
                  </a:lnTo>
                  <a:lnTo>
                    <a:pt x="174" y="113"/>
                  </a:lnTo>
                  <a:lnTo>
                    <a:pt x="175" y="123"/>
                  </a:lnTo>
                  <a:lnTo>
                    <a:pt x="175" y="123"/>
                  </a:lnTo>
                  <a:lnTo>
                    <a:pt x="174" y="134"/>
                  </a:lnTo>
                  <a:lnTo>
                    <a:pt x="171" y="144"/>
                  </a:lnTo>
                  <a:lnTo>
                    <a:pt x="166" y="153"/>
                  </a:lnTo>
                  <a:lnTo>
                    <a:pt x="160" y="160"/>
                  </a:lnTo>
                  <a:lnTo>
                    <a:pt x="153" y="167"/>
                  </a:lnTo>
                  <a:lnTo>
                    <a:pt x="144" y="171"/>
                  </a:lnTo>
                  <a:lnTo>
                    <a:pt x="134" y="174"/>
                  </a:lnTo>
                  <a:lnTo>
                    <a:pt x="125" y="175"/>
                  </a:lnTo>
                  <a:lnTo>
                    <a:pt x="125" y="175"/>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3" name="Freeform 271">
              <a:extLst>
                <a:ext uri="{FF2B5EF4-FFF2-40B4-BE49-F238E27FC236}">
                  <a16:creationId xmlns:a16="http://schemas.microsoft.com/office/drawing/2014/main" id="{B71EB9B3-279F-CE36-DA0A-BC391A2E9EE9}"/>
                </a:ext>
              </a:extLst>
            </p:cNvPr>
            <p:cNvSpPr>
              <a:spLocks/>
            </p:cNvSpPr>
            <p:nvPr/>
          </p:nvSpPr>
          <p:spPr bwMode="auto">
            <a:xfrm>
              <a:off x="7531844" y="3344027"/>
              <a:ext cx="180133" cy="334485"/>
            </a:xfrm>
            <a:custGeom>
              <a:avLst/>
              <a:gdLst>
                <a:gd name="T0" fmla="*/ 122 w 122"/>
                <a:gd name="T1" fmla="*/ 190 h 248"/>
                <a:gd name="T2" fmla="*/ 97 w 122"/>
                <a:gd name="T3" fmla="*/ 185 h 248"/>
                <a:gd name="T4" fmla="*/ 76 w 122"/>
                <a:gd name="T5" fmla="*/ 170 h 248"/>
                <a:gd name="T6" fmla="*/ 63 w 122"/>
                <a:gd name="T7" fmla="*/ 149 h 248"/>
                <a:gd name="T8" fmla="*/ 58 w 122"/>
                <a:gd name="T9" fmla="*/ 123 h 248"/>
                <a:gd name="T10" fmla="*/ 59 w 122"/>
                <a:gd name="T11" fmla="*/ 111 h 248"/>
                <a:gd name="T12" fmla="*/ 69 w 122"/>
                <a:gd name="T13" fmla="*/ 88 h 248"/>
                <a:gd name="T14" fmla="*/ 86 w 122"/>
                <a:gd name="T15" fmla="*/ 69 h 248"/>
                <a:gd name="T16" fmla="*/ 108 w 122"/>
                <a:gd name="T17" fmla="*/ 59 h 248"/>
                <a:gd name="T18" fmla="*/ 122 w 122"/>
                <a:gd name="T19" fmla="*/ 0 h 248"/>
                <a:gd name="T20" fmla="*/ 110 w 122"/>
                <a:gd name="T21" fmla="*/ 0 h 248"/>
                <a:gd name="T22" fmla="*/ 106 w 122"/>
                <a:gd name="T23" fmla="*/ 1 h 248"/>
                <a:gd name="T24" fmla="*/ 104 w 122"/>
                <a:gd name="T25" fmla="*/ 6 h 248"/>
                <a:gd name="T26" fmla="*/ 104 w 122"/>
                <a:gd name="T27" fmla="*/ 21 h 248"/>
                <a:gd name="T28" fmla="*/ 80 w 122"/>
                <a:gd name="T29" fmla="*/ 12 h 248"/>
                <a:gd name="T30" fmla="*/ 79 w 122"/>
                <a:gd name="T31" fmla="*/ 11 h 248"/>
                <a:gd name="T32" fmla="*/ 74 w 122"/>
                <a:gd name="T33" fmla="*/ 10 h 248"/>
                <a:gd name="T34" fmla="*/ 49 w 122"/>
                <a:gd name="T35" fmla="*/ 23 h 248"/>
                <a:gd name="T36" fmla="*/ 48 w 122"/>
                <a:gd name="T37" fmla="*/ 25 h 248"/>
                <a:gd name="T38" fmla="*/ 47 w 122"/>
                <a:gd name="T39" fmla="*/ 30 h 248"/>
                <a:gd name="T40" fmla="*/ 55 w 122"/>
                <a:gd name="T41" fmla="*/ 46 h 248"/>
                <a:gd name="T42" fmla="*/ 43 w 122"/>
                <a:gd name="T43" fmla="*/ 57 h 248"/>
                <a:gd name="T44" fmla="*/ 31 w 122"/>
                <a:gd name="T45" fmla="*/ 49 h 248"/>
                <a:gd name="T46" fmla="*/ 26 w 122"/>
                <a:gd name="T47" fmla="*/ 49 h 248"/>
                <a:gd name="T48" fmla="*/ 22 w 122"/>
                <a:gd name="T49" fmla="*/ 52 h 248"/>
                <a:gd name="T50" fmla="*/ 10 w 122"/>
                <a:gd name="T51" fmla="*/ 74 h 248"/>
                <a:gd name="T52" fmla="*/ 9 w 122"/>
                <a:gd name="T53" fmla="*/ 79 h 248"/>
                <a:gd name="T54" fmla="*/ 11 w 122"/>
                <a:gd name="T55" fmla="*/ 83 h 248"/>
                <a:gd name="T56" fmla="*/ 25 w 122"/>
                <a:gd name="T57" fmla="*/ 90 h 248"/>
                <a:gd name="T58" fmla="*/ 6 w 122"/>
                <a:gd name="T59" fmla="*/ 106 h 248"/>
                <a:gd name="T60" fmla="*/ 4 w 122"/>
                <a:gd name="T61" fmla="*/ 106 h 248"/>
                <a:gd name="T62" fmla="*/ 0 w 122"/>
                <a:gd name="T63" fmla="*/ 110 h 248"/>
                <a:gd name="T64" fmla="*/ 0 w 122"/>
                <a:gd name="T65" fmla="*/ 138 h 248"/>
                <a:gd name="T66" fmla="*/ 0 w 122"/>
                <a:gd name="T67" fmla="*/ 141 h 248"/>
                <a:gd name="T68" fmla="*/ 4 w 122"/>
                <a:gd name="T69" fmla="*/ 144 h 248"/>
                <a:gd name="T70" fmla="*/ 21 w 122"/>
                <a:gd name="T71" fmla="*/ 144 h 248"/>
                <a:gd name="T72" fmla="*/ 26 w 122"/>
                <a:gd name="T73" fmla="*/ 160 h 248"/>
                <a:gd name="T74" fmla="*/ 14 w 122"/>
                <a:gd name="T75" fmla="*/ 168 h 248"/>
                <a:gd name="T76" fmla="*/ 10 w 122"/>
                <a:gd name="T77" fmla="*/ 171 h 248"/>
                <a:gd name="T78" fmla="*/ 11 w 122"/>
                <a:gd name="T79" fmla="*/ 176 h 248"/>
                <a:gd name="T80" fmla="*/ 23 w 122"/>
                <a:gd name="T81" fmla="*/ 199 h 248"/>
                <a:gd name="T82" fmla="*/ 27 w 122"/>
                <a:gd name="T83" fmla="*/ 201 h 248"/>
                <a:gd name="T84" fmla="*/ 32 w 122"/>
                <a:gd name="T85" fmla="*/ 201 h 248"/>
                <a:gd name="T86" fmla="*/ 46 w 122"/>
                <a:gd name="T87" fmla="*/ 194 h 248"/>
                <a:gd name="T88" fmla="*/ 49 w 122"/>
                <a:gd name="T89" fmla="*/ 217 h 248"/>
                <a:gd name="T90" fmla="*/ 49 w 122"/>
                <a:gd name="T91" fmla="*/ 220 h 248"/>
                <a:gd name="T92" fmla="*/ 51 w 122"/>
                <a:gd name="T93" fmla="*/ 224 h 248"/>
                <a:gd name="T94" fmla="*/ 74 w 122"/>
                <a:gd name="T95" fmla="*/ 239 h 248"/>
                <a:gd name="T96" fmla="*/ 76 w 122"/>
                <a:gd name="T97" fmla="*/ 239 h 248"/>
                <a:gd name="T98" fmla="*/ 81 w 122"/>
                <a:gd name="T99" fmla="*/ 238 h 248"/>
                <a:gd name="T100" fmla="*/ 91 w 122"/>
                <a:gd name="T101" fmla="*/ 223 h 248"/>
                <a:gd name="T102" fmla="*/ 106 w 122"/>
                <a:gd name="T103" fmla="*/ 227 h 248"/>
                <a:gd name="T104" fmla="*/ 106 w 122"/>
                <a:gd name="T105" fmla="*/ 242 h 248"/>
                <a:gd name="T106" fmla="*/ 108 w 122"/>
                <a:gd name="T107" fmla="*/ 247 h 248"/>
                <a:gd name="T108" fmla="*/ 113 w 122"/>
                <a:gd name="T109" fmla="*/ 248 h 248"/>
                <a:gd name="T110" fmla="*/ 122 w 122"/>
                <a:gd name="T111" fmla="*/ 19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2" h="248">
                  <a:moveTo>
                    <a:pt x="122" y="190"/>
                  </a:moveTo>
                  <a:lnTo>
                    <a:pt x="122" y="190"/>
                  </a:lnTo>
                  <a:lnTo>
                    <a:pt x="108" y="189"/>
                  </a:lnTo>
                  <a:lnTo>
                    <a:pt x="97" y="185"/>
                  </a:lnTo>
                  <a:lnTo>
                    <a:pt x="86" y="179"/>
                  </a:lnTo>
                  <a:lnTo>
                    <a:pt x="76" y="170"/>
                  </a:lnTo>
                  <a:lnTo>
                    <a:pt x="69" y="160"/>
                  </a:lnTo>
                  <a:lnTo>
                    <a:pt x="63" y="149"/>
                  </a:lnTo>
                  <a:lnTo>
                    <a:pt x="59" y="137"/>
                  </a:lnTo>
                  <a:lnTo>
                    <a:pt x="58" y="123"/>
                  </a:lnTo>
                  <a:lnTo>
                    <a:pt x="58" y="123"/>
                  </a:lnTo>
                  <a:lnTo>
                    <a:pt x="59" y="111"/>
                  </a:lnTo>
                  <a:lnTo>
                    <a:pt x="63" y="99"/>
                  </a:lnTo>
                  <a:lnTo>
                    <a:pt x="69" y="88"/>
                  </a:lnTo>
                  <a:lnTo>
                    <a:pt x="76" y="78"/>
                  </a:lnTo>
                  <a:lnTo>
                    <a:pt x="86" y="69"/>
                  </a:lnTo>
                  <a:lnTo>
                    <a:pt x="97" y="63"/>
                  </a:lnTo>
                  <a:lnTo>
                    <a:pt x="108" y="59"/>
                  </a:lnTo>
                  <a:lnTo>
                    <a:pt x="122" y="58"/>
                  </a:lnTo>
                  <a:lnTo>
                    <a:pt x="122" y="0"/>
                  </a:lnTo>
                  <a:lnTo>
                    <a:pt x="110" y="0"/>
                  </a:lnTo>
                  <a:lnTo>
                    <a:pt x="110" y="0"/>
                  </a:lnTo>
                  <a:lnTo>
                    <a:pt x="107" y="0"/>
                  </a:lnTo>
                  <a:lnTo>
                    <a:pt x="106" y="1"/>
                  </a:lnTo>
                  <a:lnTo>
                    <a:pt x="104" y="4"/>
                  </a:lnTo>
                  <a:lnTo>
                    <a:pt x="104" y="6"/>
                  </a:lnTo>
                  <a:lnTo>
                    <a:pt x="104" y="21"/>
                  </a:lnTo>
                  <a:lnTo>
                    <a:pt x="104" y="21"/>
                  </a:lnTo>
                  <a:lnTo>
                    <a:pt x="88" y="26"/>
                  </a:lnTo>
                  <a:lnTo>
                    <a:pt x="80" y="12"/>
                  </a:lnTo>
                  <a:lnTo>
                    <a:pt x="80" y="12"/>
                  </a:lnTo>
                  <a:lnTo>
                    <a:pt x="79" y="11"/>
                  </a:lnTo>
                  <a:lnTo>
                    <a:pt x="76" y="10"/>
                  </a:lnTo>
                  <a:lnTo>
                    <a:pt x="74" y="10"/>
                  </a:lnTo>
                  <a:lnTo>
                    <a:pt x="71" y="10"/>
                  </a:lnTo>
                  <a:lnTo>
                    <a:pt x="49" y="23"/>
                  </a:lnTo>
                  <a:lnTo>
                    <a:pt x="49" y="23"/>
                  </a:lnTo>
                  <a:lnTo>
                    <a:pt x="48" y="25"/>
                  </a:lnTo>
                  <a:lnTo>
                    <a:pt x="47" y="27"/>
                  </a:lnTo>
                  <a:lnTo>
                    <a:pt x="47" y="30"/>
                  </a:lnTo>
                  <a:lnTo>
                    <a:pt x="47" y="32"/>
                  </a:lnTo>
                  <a:lnTo>
                    <a:pt x="55" y="46"/>
                  </a:lnTo>
                  <a:lnTo>
                    <a:pt x="55" y="46"/>
                  </a:lnTo>
                  <a:lnTo>
                    <a:pt x="43" y="57"/>
                  </a:lnTo>
                  <a:lnTo>
                    <a:pt x="31" y="49"/>
                  </a:lnTo>
                  <a:lnTo>
                    <a:pt x="31" y="49"/>
                  </a:lnTo>
                  <a:lnTo>
                    <a:pt x="28" y="48"/>
                  </a:lnTo>
                  <a:lnTo>
                    <a:pt x="26" y="49"/>
                  </a:lnTo>
                  <a:lnTo>
                    <a:pt x="23" y="49"/>
                  </a:lnTo>
                  <a:lnTo>
                    <a:pt x="22" y="52"/>
                  </a:lnTo>
                  <a:lnTo>
                    <a:pt x="10" y="74"/>
                  </a:lnTo>
                  <a:lnTo>
                    <a:pt x="10" y="74"/>
                  </a:lnTo>
                  <a:lnTo>
                    <a:pt x="9" y="76"/>
                  </a:lnTo>
                  <a:lnTo>
                    <a:pt x="9" y="79"/>
                  </a:lnTo>
                  <a:lnTo>
                    <a:pt x="10" y="81"/>
                  </a:lnTo>
                  <a:lnTo>
                    <a:pt x="11" y="83"/>
                  </a:lnTo>
                  <a:lnTo>
                    <a:pt x="25" y="90"/>
                  </a:lnTo>
                  <a:lnTo>
                    <a:pt x="25" y="90"/>
                  </a:lnTo>
                  <a:lnTo>
                    <a:pt x="21" y="106"/>
                  </a:lnTo>
                  <a:lnTo>
                    <a:pt x="6" y="106"/>
                  </a:lnTo>
                  <a:lnTo>
                    <a:pt x="6" y="106"/>
                  </a:lnTo>
                  <a:lnTo>
                    <a:pt x="4" y="106"/>
                  </a:lnTo>
                  <a:lnTo>
                    <a:pt x="1" y="109"/>
                  </a:lnTo>
                  <a:lnTo>
                    <a:pt x="0" y="110"/>
                  </a:lnTo>
                  <a:lnTo>
                    <a:pt x="0" y="112"/>
                  </a:lnTo>
                  <a:lnTo>
                    <a:pt x="0" y="138"/>
                  </a:lnTo>
                  <a:lnTo>
                    <a:pt x="0" y="138"/>
                  </a:lnTo>
                  <a:lnTo>
                    <a:pt x="0" y="141"/>
                  </a:lnTo>
                  <a:lnTo>
                    <a:pt x="1" y="143"/>
                  </a:lnTo>
                  <a:lnTo>
                    <a:pt x="4" y="144"/>
                  </a:lnTo>
                  <a:lnTo>
                    <a:pt x="6" y="144"/>
                  </a:lnTo>
                  <a:lnTo>
                    <a:pt x="21" y="144"/>
                  </a:lnTo>
                  <a:lnTo>
                    <a:pt x="21" y="144"/>
                  </a:lnTo>
                  <a:lnTo>
                    <a:pt x="26" y="160"/>
                  </a:lnTo>
                  <a:lnTo>
                    <a:pt x="14" y="168"/>
                  </a:lnTo>
                  <a:lnTo>
                    <a:pt x="14" y="168"/>
                  </a:lnTo>
                  <a:lnTo>
                    <a:pt x="11" y="169"/>
                  </a:lnTo>
                  <a:lnTo>
                    <a:pt x="10" y="171"/>
                  </a:lnTo>
                  <a:lnTo>
                    <a:pt x="10" y="174"/>
                  </a:lnTo>
                  <a:lnTo>
                    <a:pt x="11" y="176"/>
                  </a:lnTo>
                  <a:lnTo>
                    <a:pt x="23" y="199"/>
                  </a:lnTo>
                  <a:lnTo>
                    <a:pt x="23" y="199"/>
                  </a:lnTo>
                  <a:lnTo>
                    <a:pt x="25" y="201"/>
                  </a:lnTo>
                  <a:lnTo>
                    <a:pt x="27" y="201"/>
                  </a:lnTo>
                  <a:lnTo>
                    <a:pt x="30" y="202"/>
                  </a:lnTo>
                  <a:lnTo>
                    <a:pt x="32" y="201"/>
                  </a:lnTo>
                  <a:lnTo>
                    <a:pt x="46" y="194"/>
                  </a:lnTo>
                  <a:lnTo>
                    <a:pt x="46" y="194"/>
                  </a:lnTo>
                  <a:lnTo>
                    <a:pt x="57" y="205"/>
                  </a:lnTo>
                  <a:lnTo>
                    <a:pt x="49" y="217"/>
                  </a:lnTo>
                  <a:lnTo>
                    <a:pt x="49" y="217"/>
                  </a:lnTo>
                  <a:lnTo>
                    <a:pt x="49" y="220"/>
                  </a:lnTo>
                  <a:lnTo>
                    <a:pt x="49" y="222"/>
                  </a:lnTo>
                  <a:lnTo>
                    <a:pt x="51" y="224"/>
                  </a:lnTo>
                  <a:lnTo>
                    <a:pt x="52" y="226"/>
                  </a:lnTo>
                  <a:lnTo>
                    <a:pt x="74" y="239"/>
                  </a:lnTo>
                  <a:lnTo>
                    <a:pt x="74" y="239"/>
                  </a:lnTo>
                  <a:lnTo>
                    <a:pt x="76" y="239"/>
                  </a:lnTo>
                  <a:lnTo>
                    <a:pt x="79" y="239"/>
                  </a:lnTo>
                  <a:lnTo>
                    <a:pt x="81" y="238"/>
                  </a:lnTo>
                  <a:lnTo>
                    <a:pt x="83" y="237"/>
                  </a:lnTo>
                  <a:lnTo>
                    <a:pt x="91" y="223"/>
                  </a:lnTo>
                  <a:lnTo>
                    <a:pt x="91" y="223"/>
                  </a:lnTo>
                  <a:lnTo>
                    <a:pt x="106" y="227"/>
                  </a:lnTo>
                  <a:lnTo>
                    <a:pt x="106" y="242"/>
                  </a:lnTo>
                  <a:lnTo>
                    <a:pt x="106" y="242"/>
                  </a:lnTo>
                  <a:lnTo>
                    <a:pt x="107" y="244"/>
                  </a:lnTo>
                  <a:lnTo>
                    <a:pt x="108" y="247"/>
                  </a:lnTo>
                  <a:lnTo>
                    <a:pt x="111" y="248"/>
                  </a:lnTo>
                  <a:lnTo>
                    <a:pt x="113" y="248"/>
                  </a:lnTo>
                  <a:lnTo>
                    <a:pt x="122" y="248"/>
                  </a:lnTo>
                  <a:lnTo>
                    <a:pt x="122" y="190"/>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4" name="Freeform 272">
              <a:extLst>
                <a:ext uri="{FF2B5EF4-FFF2-40B4-BE49-F238E27FC236}">
                  <a16:creationId xmlns:a16="http://schemas.microsoft.com/office/drawing/2014/main" id="{C170E87F-9CAF-9586-6C3A-631ADEBB1B0B}"/>
                </a:ext>
              </a:extLst>
            </p:cNvPr>
            <p:cNvSpPr>
              <a:spLocks noEditPoints="1"/>
            </p:cNvSpPr>
            <p:nvPr/>
          </p:nvSpPr>
          <p:spPr bwMode="auto">
            <a:xfrm>
              <a:off x="7595334" y="3402023"/>
              <a:ext cx="239193" cy="218494"/>
            </a:xfrm>
            <a:custGeom>
              <a:avLst/>
              <a:gdLst>
                <a:gd name="T0" fmla="*/ 82 w 162"/>
                <a:gd name="T1" fmla="*/ 0 h 162"/>
                <a:gd name="T2" fmla="*/ 65 w 162"/>
                <a:gd name="T3" fmla="*/ 1 h 162"/>
                <a:gd name="T4" fmla="*/ 49 w 162"/>
                <a:gd name="T5" fmla="*/ 6 h 162"/>
                <a:gd name="T6" fmla="*/ 36 w 162"/>
                <a:gd name="T7" fmla="*/ 14 h 162"/>
                <a:gd name="T8" fmla="*/ 24 w 162"/>
                <a:gd name="T9" fmla="*/ 24 h 162"/>
                <a:gd name="T10" fmla="*/ 14 w 162"/>
                <a:gd name="T11" fmla="*/ 36 h 162"/>
                <a:gd name="T12" fmla="*/ 6 w 162"/>
                <a:gd name="T13" fmla="*/ 50 h 162"/>
                <a:gd name="T14" fmla="*/ 3 w 162"/>
                <a:gd name="T15" fmla="*/ 64 h 162"/>
                <a:gd name="T16" fmla="*/ 0 w 162"/>
                <a:gd name="T17" fmla="*/ 82 h 162"/>
                <a:gd name="T18" fmla="*/ 1 w 162"/>
                <a:gd name="T19" fmla="*/ 89 h 162"/>
                <a:gd name="T20" fmla="*/ 4 w 162"/>
                <a:gd name="T21" fmla="*/ 105 h 162"/>
                <a:gd name="T22" fmla="*/ 10 w 162"/>
                <a:gd name="T23" fmla="*/ 120 h 162"/>
                <a:gd name="T24" fmla="*/ 19 w 162"/>
                <a:gd name="T25" fmla="*/ 132 h 162"/>
                <a:gd name="T26" fmla="*/ 30 w 162"/>
                <a:gd name="T27" fmla="*/ 143 h 162"/>
                <a:gd name="T28" fmla="*/ 43 w 162"/>
                <a:gd name="T29" fmla="*/ 152 h 162"/>
                <a:gd name="T30" fmla="*/ 57 w 162"/>
                <a:gd name="T31" fmla="*/ 158 h 162"/>
                <a:gd name="T32" fmla="*/ 73 w 162"/>
                <a:gd name="T33" fmla="*/ 162 h 162"/>
                <a:gd name="T34" fmla="*/ 82 w 162"/>
                <a:gd name="T35" fmla="*/ 162 h 162"/>
                <a:gd name="T36" fmla="*/ 98 w 162"/>
                <a:gd name="T37" fmla="*/ 161 h 162"/>
                <a:gd name="T38" fmla="*/ 112 w 162"/>
                <a:gd name="T39" fmla="*/ 156 h 162"/>
                <a:gd name="T40" fmla="*/ 126 w 162"/>
                <a:gd name="T41" fmla="*/ 148 h 162"/>
                <a:gd name="T42" fmla="*/ 138 w 162"/>
                <a:gd name="T43" fmla="*/ 138 h 162"/>
                <a:gd name="T44" fmla="*/ 148 w 162"/>
                <a:gd name="T45" fmla="*/ 126 h 162"/>
                <a:gd name="T46" fmla="*/ 156 w 162"/>
                <a:gd name="T47" fmla="*/ 112 h 162"/>
                <a:gd name="T48" fmla="*/ 160 w 162"/>
                <a:gd name="T49" fmla="*/ 98 h 162"/>
                <a:gd name="T50" fmla="*/ 162 w 162"/>
                <a:gd name="T51" fmla="*/ 82 h 162"/>
                <a:gd name="T52" fmla="*/ 162 w 162"/>
                <a:gd name="T53" fmla="*/ 73 h 162"/>
                <a:gd name="T54" fmla="*/ 158 w 162"/>
                <a:gd name="T55" fmla="*/ 57 h 162"/>
                <a:gd name="T56" fmla="*/ 152 w 162"/>
                <a:gd name="T57" fmla="*/ 42 h 162"/>
                <a:gd name="T58" fmla="*/ 143 w 162"/>
                <a:gd name="T59" fmla="*/ 30 h 162"/>
                <a:gd name="T60" fmla="*/ 133 w 162"/>
                <a:gd name="T61" fmla="*/ 19 h 162"/>
                <a:gd name="T62" fmla="*/ 120 w 162"/>
                <a:gd name="T63" fmla="*/ 10 h 162"/>
                <a:gd name="T64" fmla="*/ 105 w 162"/>
                <a:gd name="T65" fmla="*/ 4 h 162"/>
                <a:gd name="T66" fmla="*/ 89 w 162"/>
                <a:gd name="T67" fmla="*/ 0 h 162"/>
                <a:gd name="T68" fmla="*/ 82 w 162"/>
                <a:gd name="T69" fmla="*/ 0 h 162"/>
                <a:gd name="T70" fmla="*/ 82 w 162"/>
                <a:gd name="T71" fmla="*/ 147 h 162"/>
                <a:gd name="T72" fmla="*/ 56 w 162"/>
                <a:gd name="T73" fmla="*/ 142 h 162"/>
                <a:gd name="T74" fmla="*/ 35 w 162"/>
                <a:gd name="T75" fmla="*/ 128 h 162"/>
                <a:gd name="T76" fmla="*/ 20 w 162"/>
                <a:gd name="T77" fmla="*/ 106 h 162"/>
                <a:gd name="T78" fmla="*/ 15 w 162"/>
                <a:gd name="T79" fmla="*/ 80 h 162"/>
                <a:gd name="T80" fmla="*/ 16 w 162"/>
                <a:gd name="T81" fmla="*/ 68 h 162"/>
                <a:gd name="T82" fmla="*/ 26 w 162"/>
                <a:gd name="T83" fmla="*/ 43 h 162"/>
                <a:gd name="T84" fmla="*/ 45 w 162"/>
                <a:gd name="T85" fmla="*/ 26 h 162"/>
                <a:gd name="T86" fmla="*/ 68 w 162"/>
                <a:gd name="T87" fmla="*/ 16 h 162"/>
                <a:gd name="T88" fmla="*/ 82 w 162"/>
                <a:gd name="T89" fmla="*/ 15 h 162"/>
                <a:gd name="T90" fmla="*/ 107 w 162"/>
                <a:gd name="T91" fmla="*/ 20 h 162"/>
                <a:gd name="T92" fmla="*/ 128 w 162"/>
                <a:gd name="T93" fmla="*/ 33 h 162"/>
                <a:gd name="T94" fmla="*/ 142 w 162"/>
                <a:gd name="T95" fmla="*/ 56 h 162"/>
                <a:gd name="T96" fmla="*/ 148 w 162"/>
                <a:gd name="T97" fmla="*/ 80 h 162"/>
                <a:gd name="T98" fmla="*/ 147 w 162"/>
                <a:gd name="T99" fmla="*/ 94 h 162"/>
                <a:gd name="T100" fmla="*/ 136 w 162"/>
                <a:gd name="T101" fmla="*/ 119 h 162"/>
                <a:gd name="T102" fmla="*/ 119 w 162"/>
                <a:gd name="T103" fmla="*/ 136 h 162"/>
                <a:gd name="T104" fmla="*/ 95 w 162"/>
                <a:gd name="T105" fmla="*/ 146 h 162"/>
                <a:gd name="T106" fmla="*/ 82 w 162"/>
                <a:gd name="T107" fmla="*/ 147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2" h="162">
                  <a:moveTo>
                    <a:pt x="82" y="0"/>
                  </a:moveTo>
                  <a:lnTo>
                    <a:pt x="82" y="0"/>
                  </a:lnTo>
                  <a:lnTo>
                    <a:pt x="73" y="0"/>
                  </a:lnTo>
                  <a:lnTo>
                    <a:pt x="65" y="1"/>
                  </a:lnTo>
                  <a:lnTo>
                    <a:pt x="57" y="4"/>
                  </a:lnTo>
                  <a:lnTo>
                    <a:pt x="49" y="6"/>
                  </a:lnTo>
                  <a:lnTo>
                    <a:pt x="43" y="10"/>
                  </a:lnTo>
                  <a:lnTo>
                    <a:pt x="36" y="14"/>
                  </a:lnTo>
                  <a:lnTo>
                    <a:pt x="30" y="19"/>
                  </a:lnTo>
                  <a:lnTo>
                    <a:pt x="24" y="24"/>
                  </a:lnTo>
                  <a:lnTo>
                    <a:pt x="19" y="30"/>
                  </a:lnTo>
                  <a:lnTo>
                    <a:pt x="14" y="36"/>
                  </a:lnTo>
                  <a:lnTo>
                    <a:pt x="10" y="42"/>
                  </a:lnTo>
                  <a:lnTo>
                    <a:pt x="6" y="50"/>
                  </a:lnTo>
                  <a:lnTo>
                    <a:pt x="4" y="57"/>
                  </a:lnTo>
                  <a:lnTo>
                    <a:pt x="3" y="64"/>
                  </a:lnTo>
                  <a:lnTo>
                    <a:pt x="1" y="73"/>
                  </a:lnTo>
                  <a:lnTo>
                    <a:pt x="0" y="82"/>
                  </a:lnTo>
                  <a:lnTo>
                    <a:pt x="0" y="82"/>
                  </a:lnTo>
                  <a:lnTo>
                    <a:pt x="1" y="89"/>
                  </a:lnTo>
                  <a:lnTo>
                    <a:pt x="3" y="98"/>
                  </a:lnTo>
                  <a:lnTo>
                    <a:pt x="4" y="105"/>
                  </a:lnTo>
                  <a:lnTo>
                    <a:pt x="6" y="112"/>
                  </a:lnTo>
                  <a:lnTo>
                    <a:pt x="10" y="120"/>
                  </a:lnTo>
                  <a:lnTo>
                    <a:pt x="14" y="126"/>
                  </a:lnTo>
                  <a:lnTo>
                    <a:pt x="19" y="132"/>
                  </a:lnTo>
                  <a:lnTo>
                    <a:pt x="24" y="138"/>
                  </a:lnTo>
                  <a:lnTo>
                    <a:pt x="30" y="143"/>
                  </a:lnTo>
                  <a:lnTo>
                    <a:pt x="36" y="148"/>
                  </a:lnTo>
                  <a:lnTo>
                    <a:pt x="43" y="152"/>
                  </a:lnTo>
                  <a:lnTo>
                    <a:pt x="49" y="156"/>
                  </a:lnTo>
                  <a:lnTo>
                    <a:pt x="57" y="158"/>
                  </a:lnTo>
                  <a:lnTo>
                    <a:pt x="65" y="161"/>
                  </a:lnTo>
                  <a:lnTo>
                    <a:pt x="73" y="162"/>
                  </a:lnTo>
                  <a:lnTo>
                    <a:pt x="82" y="162"/>
                  </a:lnTo>
                  <a:lnTo>
                    <a:pt x="82" y="162"/>
                  </a:lnTo>
                  <a:lnTo>
                    <a:pt x="89" y="162"/>
                  </a:lnTo>
                  <a:lnTo>
                    <a:pt x="98" y="161"/>
                  </a:lnTo>
                  <a:lnTo>
                    <a:pt x="105" y="158"/>
                  </a:lnTo>
                  <a:lnTo>
                    <a:pt x="112" y="156"/>
                  </a:lnTo>
                  <a:lnTo>
                    <a:pt x="120" y="152"/>
                  </a:lnTo>
                  <a:lnTo>
                    <a:pt x="126" y="148"/>
                  </a:lnTo>
                  <a:lnTo>
                    <a:pt x="133" y="143"/>
                  </a:lnTo>
                  <a:lnTo>
                    <a:pt x="138" y="138"/>
                  </a:lnTo>
                  <a:lnTo>
                    <a:pt x="143" y="132"/>
                  </a:lnTo>
                  <a:lnTo>
                    <a:pt x="148" y="126"/>
                  </a:lnTo>
                  <a:lnTo>
                    <a:pt x="152" y="120"/>
                  </a:lnTo>
                  <a:lnTo>
                    <a:pt x="156" y="112"/>
                  </a:lnTo>
                  <a:lnTo>
                    <a:pt x="158" y="105"/>
                  </a:lnTo>
                  <a:lnTo>
                    <a:pt x="160" y="98"/>
                  </a:lnTo>
                  <a:lnTo>
                    <a:pt x="162" y="89"/>
                  </a:lnTo>
                  <a:lnTo>
                    <a:pt x="162" y="82"/>
                  </a:lnTo>
                  <a:lnTo>
                    <a:pt x="162" y="82"/>
                  </a:lnTo>
                  <a:lnTo>
                    <a:pt x="162" y="73"/>
                  </a:lnTo>
                  <a:lnTo>
                    <a:pt x="160" y="64"/>
                  </a:lnTo>
                  <a:lnTo>
                    <a:pt x="158" y="57"/>
                  </a:lnTo>
                  <a:lnTo>
                    <a:pt x="156" y="50"/>
                  </a:lnTo>
                  <a:lnTo>
                    <a:pt x="152" y="42"/>
                  </a:lnTo>
                  <a:lnTo>
                    <a:pt x="148" y="36"/>
                  </a:lnTo>
                  <a:lnTo>
                    <a:pt x="143" y="30"/>
                  </a:lnTo>
                  <a:lnTo>
                    <a:pt x="138" y="24"/>
                  </a:lnTo>
                  <a:lnTo>
                    <a:pt x="133" y="19"/>
                  </a:lnTo>
                  <a:lnTo>
                    <a:pt x="126" y="14"/>
                  </a:lnTo>
                  <a:lnTo>
                    <a:pt x="120" y="10"/>
                  </a:lnTo>
                  <a:lnTo>
                    <a:pt x="112" y="6"/>
                  </a:lnTo>
                  <a:lnTo>
                    <a:pt x="105" y="4"/>
                  </a:lnTo>
                  <a:lnTo>
                    <a:pt x="98" y="1"/>
                  </a:lnTo>
                  <a:lnTo>
                    <a:pt x="89" y="0"/>
                  </a:lnTo>
                  <a:lnTo>
                    <a:pt x="82" y="0"/>
                  </a:lnTo>
                  <a:lnTo>
                    <a:pt x="82" y="0"/>
                  </a:lnTo>
                  <a:close/>
                  <a:moveTo>
                    <a:pt x="82" y="147"/>
                  </a:moveTo>
                  <a:lnTo>
                    <a:pt x="82" y="147"/>
                  </a:lnTo>
                  <a:lnTo>
                    <a:pt x="68" y="146"/>
                  </a:lnTo>
                  <a:lnTo>
                    <a:pt x="56" y="142"/>
                  </a:lnTo>
                  <a:lnTo>
                    <a:pt x="45" y="136"/>
                  </a:lnTo>
                  <a:lnTo>
                    <a:pt x="35" y="128"/>
                  </a:lnTo>
                  <a:lnTo>
                    <a:pt x="26" y="119"/>
                  </a:lnTo>
                  <a:lnTo>
                    <a:pt x="20" y="106"/>
                  </a:lnTo>
                  <a:lnTo>
                    <a:pt x="16" y="94"/>
                  </a:lnTo>
                  <a:lnTo>
                    <a:pt x="15" y="80"/>
                  </a:lnTo>
                  <a:lnTo>
                    <a:pt x="15" y="80"/>
                  </a:lnTo>
                  <a:lnTo>
                    <a:pt x="16" y="68"/>
                  </a:lnTo>
                  <a:lnTo>
                    <a:pt x="20" y="56"/>
                  </a:lnTo>
                  <a:lnTo>
                    <a:pt x="26" y="43"/>
                  </a:lnTo>
                  <a:lnTo>
                    <a:pt x="35" y="33"/>
                  </a:lnTo>
                  <a:lnTo>
                    <a:pt x="45" y="26"/>
                  </a:lnTo>
                  <a:lnTo>
                    <a:pt x="56" y="20"/>
                  </a:lnTo>
                  <a:lnTo>
                    <a:pt x="68" y="16"/>
                  </a:lnTo>
                  <a:lnTo>
                    <a:pt x="82" y="15"/>
                  </a:lnTo>
                  <a:lnTo>
                    <a:pt x="82" y="15"/>
                  </a:lnTo>
                  <a:lnTo>
                    <a:pt x="95" y="16"/>
                  </a:lnTo>
                  <a:lnTo>
                    <a:pt x="107" y="20"/>
                  </a:lnTo>
                  <a:lnTo>
                    <a:pt x="119" y="26"/>
                  </a:lnTo>
                  <a:lnTo>
                    <a:pt x="128" y="33"/>
                  </a:lnTo>
                  <a:lnTo>
                    <a:pt x="136" y="43"/>
                  </a:lnTo>
                  <a:lnTo>
                    <a:pt x="142" y="56"/>
                  </a:lnTo>
                  <a:lnTo>
                    <a:pt x="147" y="68"/>
                  </a:lnTo>
                  <a:lnTo>
                    <a:pt x="148" y="80"/>
                  </a:lnTo>
                  <a:lnTo>
                    <a:pt x="148" y="80"/>
                  </a:lnTo>
                  <a:lnTo>
                    <a:pt x="147" y="94"/>
                  </a:lnTo>
                  <a:lnTo>
                    <a:pt x="142" y="106"/>
                  </a:lnTo>
                  <a:lnTo>
                    <a:pt x="136" y="119"/>
                  </a:lnTo>
                  <a:lnTo>
                    <a:pt x="128" y="128"/>
                  </a:lnTo>
                  <a:lnTo>
                    <a:pt x="119" y="136"/>
                  </a:lnTo>
                  <a:lnTo>
                    <a:pt x="107" y="142"/>
                  </a:lnTo>
                  <a:lnTo>
                    <a:pt x="95" y="146"/>
                  </a:lnTo>
                  <a:lnTo>
                    <a:pt x="82" y="147"/>
                  </a:lnTo>
                  <a:lnTo>
                    <a:pt x="82" y="147"/>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5" name="Freeform 273">
              <a:extLst>
                <a:ext uri="{FF2B5EF4-FFF2-40B4-BE49-F238E27FC236}">
                  <a16:creationId xmlns:a16="http://schemas.microsoft.com/office/drawing/2014/main" id="{BE8517B8-2A5B-0151-E4B1-F64B276D4AB2}"/>
                </a:ext>
              </a:extLst>
            </p:cNvPr>
            <p:cNvSpPr>
              <a:spLocks/>
            </p:cNvSpPr>
            <p:nvPr/>
          </p:nvSpPr>
          <p:spPr bwMode="auto">
            <a:xfrm>
              <a:off x="7711978" y="3402023"/>
              <a:ext cx="122550" cy="218494"/>
            </a:xfrm>
            <a:custGeom>
              <a:avLst/>
              <a:gdLst>
                <a:gd name="T0" fmla="*/ 3 w 83"/>
                <a:gd name="T1" fmla="*/ 0 h 162"/>
                <a:gd name="T2" fmla="*/ 0 w 83"/>
                <a:gd name="T3" fmla="*/ 15 h 162"/>
                <a:gd name="T4" fmla="*/ 3 w 83"/>
                <a:gd name="T5" fmla="*/ 15 h 162"/>
                <a:gd name="T6" fmla="*/ 16 w 83"/>
                <a:gd name="T7" fmla="*/ 16 h 162"/>
                <a:gd name="T8" fmla="*/ 40 w 83"/>
                <a:gd name="T9" fmla="*/ 26 h 162"/>
                <a:gd name="T10" fmla="*/ 57 w 83"/>
                <a:gd name="T11" fmla="*/ 43 h 162"/>
                <a:gd name="T12" fmla="*/ 68 w 83"/>
                <a:gd name="T13" fmla="*/ 68 h 162"/>
                <a:gd name="T14" fmla="*/ 69 w 83"/>
                <a:gd name="T15" fmla="*/ 80 h 162"/>
                <a:gd name="T16" fmla="*/ 63 w 83"/>
                <a:gd name="T17" fmla="*/ 106 h 162"/>
                <a:gd name="T18" fmla="*/ 49 w 83"/>
                <a:gd name="T19" fmla="*/ 128 h 162"/>
                <a:gd name="T20" fmla="*/ 28 w 83"/>
                <a:gd name="T21" fmla="*/ 142 h 162"/>
                <a:gd name="T22" fmla="*/ 3 w 83"/>
                <a:gd name="T23" fmla="*/ 147 h 162"/>
                <a:gd name="T24" fmla="*/ 0 w 83"/>
                <a:gd name="T25" fmla="*/ 147 h 162"/>
                <a:gd name="T26" fmla="*/ 0 w 83"/>
                <a:gd name="T27" fmla="*/ 162 h 162"/>
                <a:gd name="T28" fmla="*/ 3 w 83"/>
                <a:gd name="T29" fmla="*/ 162 h 162"/>
                <a:gd name="T30" fmla="*/ 19 w 83"/>
                <a:gd name="T31" fmla="*/ 161 h 162"/>
                <a:gd name="T32" fmla="*/ 33 w 83"/>
                <a:gd name="T33" fmla="*/ 156 h 162"/>
                <a:gd name="T34" fmla="*/ 47 w 83"/>
                <a:gd name="T35" fmla="*/ 148 h 162"/>
                <a:gd name="T36" fmla="*/ 59 w 83"/>
                <a:gd name="T37" fmla="*/ 138 h 162"/>
                <a:gd name="T38" fmla="*/ 69 w 83"/>
                <a:gd name="T39" fmla="*/ 126 h 162"/>
                <a:gd name="T40" fmla="*/ 77 w 83"/>
                <a:gd name="T41" fmla="*/ 112 h 162"/>
                <a:gd name="T42" fmla="*/ 81 w 83"/>
                <a:gd name="T43" fmla="*/ 98 h 162"/>
                <a:gd name="T44" fmla="*/ 83 w 83"/>
                <a:gd name="T45" fmla="*/ 82 h 162"/>
                <a:gd name="T46" fmla="*/ 83 w 83"/>
                <a:gd name="T47" fmla="*/ 73 h 162"/>
                <a:gd name="T48" fmla="*/ 79 w 83"/>
                <a:gd name="T49" fmla="*/ 57 h 162"/>
                <a:gd name="T50" fmla="*/ 73 w 83"/>
                <a:gd name="T51" fmla="*/ 42 h 162"/>
                <a:gd name="T52" fmla="*/ 64 w 83"/>
                <a:gd name="T53" fmla="*/ 30 h 162"/>
                <a:gd name="T54" fmla="*/ 54 w 83"/>
                <a:gd name="T55" fmla="*/ 19 h 162"/>
                <a:gd name="T56" fmla="*/ 41 w 83"/>
                <a:gd name="T57" fmla="*/ 10 h 162"/>
                <a:gd name="T58" fmla="*/ 26 w 83"/>
                <a:gd name="T59" fmla="*/ 4 h 162"/>
                <a:gd name="T60" fmla="*/ 10 w 83"/>
                <a:gd name="T61" fmla="*/ 0 h 162"/>
                <a:gd name="T62" fmla="*/ 3 w 83"/>
                <a:gd name="T63"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 h="162">
                  <a:moveTo>
                    <a:pt x="3" y="0"/>
                  </a:moveTo>
                  <a:lnTo>
                    <a:pt x="3" y="0"/>
                  </a:lnTo>
                  <a:lnTo>
                    <a:pt x="0" y="0"/>
                  </a:lnTo>
                  <a:lnTo>
                    <a:pt x="0" y="15"/>
                  </a:lnTo>
                  <a:lnTo>
                    <a:pt x="0" y="15"/>
                  </a:lnTo>
                  <a:lnTo>
                    <a:pt x="3" y="15"/>
                  </a:lnTo>
                  <a:lnTo>
                    <a:pt x="3" y="15"/>
                  </a:lnTo>
                  <a:lnTo>
                    <a:pt x="16" y="16"/>
                  </a:lnTo>
                  <a:lnTo>
                    <a:pt x="28" y="20"/>
                  </a:lnTo>
                  <a:lnTo>
                    <a:pt x="40" y="26"/>
                  </a:lnTo>
                  <a:lnTo>
                    <a:pt x="49" y="33"/>
                  </a:lnTo>
                  <a:lnTo>
                    <a:pt x="57" y="43"/>
                  </a:lnTo>
                  <a:lnTo>
                    <a:pt x="63" y="56"/>
                  </a:lnTo>
                  <a:lnTo>
                    <a:pt x="68" y="68"/>
                  </a:lnTo>
                  <a:lnTo>
                    <a:pt x="69" y="80"/>
                  </a:lnTo>
                  <a:lnTo>
                    <a:pt x="69" y="80"/>
                  </a:lnTo>
                  <a:lnTo>
                    <a:pt x="68" y="94"/>
                  </a:lnTo>
                  <a:lnTo>
                    <a:pt x="63" y="106"/>
                  </a:lnTo>
                  <a:lnTo>
                    <a:pt x="57" y="119"/>
                  </a:lnTo>
                  <a:lnTo>
                    <a:pt x="49" y="128"/>
                  </a:lnTo>
                  <a:lnTo>
                    <a:pt x="40" y="136"/>
                  </a:lnTo>
                  <a:lnTo>
                    <a:pt x="28" y="142"/>
                  </a:lnTo>
                  <a:lnTo>
                    <a:pt x="16" y="146"/>
                  </a:lnTo>
                  <a:lnTo>
                    <a:pt x="3" y="147"/>
                  </a:lnTo>
                  <a:lnTo>
                    <a:pt x="3" y="147"/>
                  </a:lnTo>
                  <a:lnTo>
                    <a:pt x="0" y="147"/>
                  </a:lnTo>
                  <a:lnTo>
                    <a:pt x="0" y="162"/>
                  </a:lnTo>
                  <a:lnTo>
                    <a:pt x="0" y="162"/>
                  </a:lnTo>
                  <a:lnTo>
                    <a:pt x="3" y="162"/>
                  </a:lnTo>
                  <a:lnTo>
                    <a:pt x="3" y="162"/>
                  </a:lnTo>
                  <a:lnTo>
                    <a:pt x="10" y="162"/>
                  </a:lnTo>
                  <a:lnTo>
                    <a:pt x="19" y="161"/>
                  </a:lnTo>
                  <a:lnTo>
                    <a:pt x="26" y="158"/>
                  </a:lnTo>
                  <a:lnTo>
                    <a:pt x="33" y="156"/>
                  </a:lnTo>
                  <a:lnTo>
                    <a:pt x="41" y="152"/>
                  </a:lnTo>
                  <a:lnTo>
                    <a:pt x="47" y="148"/>
                  </a:lnTo>
                  <a:lnTo>
                    <a:pt x="54" y="143"/>
                  </a:lnTo>
                  <a:lnTo>
                    <a:pt x="59" y="138"/>
                  </a:lnTo>
                  <a:lnTo>
                    <a:pt x="64" y="132"/>
                  </a:lnTo>
                  <a:lnTo>
                    <a:pt x="69" y="126"/>
                  </a:lnTo>
                  <a:lnTo>
                    <a:pt x="73" y="120"/>
                  </a:lnTo>
                  <a:lnTo>
                    <a:pt x="77" y="112"/>
                  </a:lnTo>
                  <a:lnTo>
                    <a:pt x="79" y="105"/>
                  </a:lnTo>
                  <a:lnTo>
                    <a:pt x="81" y="98"/>
                  </a:lnTo>
                  <a:lnTo>
                    <a:pt x="83" y="89"/>
                  </a:lnTo>
                  <a:lnTo>
                    <a:pt x="83" y="82"/>
                  </a:lnTo>
                  <a:lnTo>
                    <a:pt x="83" y="82"/>
                  </a:lnTo>
                  <a:lnTo>
                    <a:pt x="83" y="73"/>
                  </a:lnTo>
                  <a:lnTo>
                    <a:pt x="81" y="64"/>
                  </a:lnTo>
                  <a:lnTo>
                    <a:pt x="79" y="57"/>
                  </a:lnTo>
                  <a:lnTo>
                    <a:pt x="77" y="50"/>
                  </a:lnTo>
                  <a:lnTo>
                    <a:pt x="73" y="42"/>
                  </a:lnTo>
                  <a:lnTo>
                    <a:pt x="69" y="36"/>
                  </a:lnTo>
                  <a:lnTo>
                    <a:pt x="64" y="30"/>
                  </a:lnTo>
                  <a:lnTo>
                    <a:pt x="59" y="24"/>
                  </a:lnTo>
                  <a:lnTo>
                    <a:pt x="54" y="19"/>
                  </a:lnTo>
                  <a:lnTo>
                    <a:pt x="47" y="14"/>
                  </a:lnTo>
                  <a:lnTo>
                    <a:pt x="41" y="10"/>
                  </a:lnTo>
                  <a:lnTo>
                    <a:pt x="33" y="6"/>
                  </a:lnTo>
                  <a:lnTo>
                    <a:pt x="26" y="4"/>
                  </a:lnTo>
                  <a:lnTo>
                    <a:pt x="19" y="1"/>
                  </a:lnTo>
                  <a:lnTo>
                    <a:pt x="10" y="0"/>
                  </a:lnTo>
                  <a:lnTo>
                    <a:pt x="3" y="0"/>
                  </a:lnTo>
                  <a:lnTo>
                    <a:pt x="3" y="0"/>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6" name="Freeform 274">
              <a:extLst>
                <a:ext uri="{FF2B5EF4-FFF2-40B4-BE49-F238E27FC236}">
                  <a16:creationId xmlns:a16="http://schemas.microsoft.com/office/drawing/2014/main" id="{E9BE0CEE-FB80-F49F-1EB5-C7385CCFFB8D}"/>
                </a:ext>
              </a:extLst>
            </p:cNvPr>
            <p:cNvSpPr>
              <a:spLocks/>
            </p:cNvSpPr>
            <p:nvPr/>
          </p:nvSpPr>
          <p:spPr bwMode="auto">
            <a:xfrm>
              <a:off x="7711978" y="3420905"/>
              <a:ext cx="103355" cy="180730"/>
            </a:xfrm>
            <a:custGeom>
              <a:avLst/>
              <a:gdLst>
                <a:gd name="T0" fmla="*/ 3 w 70"/>
                <a:gd name="T1" fmla="*/ 0 h 134"/>
                <a:gd name="T2" fmla="*/ 3 w 70"/>
                <a:gd name="T3" fmla="*/ 0 h 134"/>
                <a:gd name="T4" fmla="*/ 0 w 70"/>
                <a:gd name="T5" fmla="*/ 0 h 134"/>
                <a:gd name="T6" fmla="*/ 0 w 70"/>
                <a:gd name="T7" fmla="*/ 11 h 134"/>
                <a:gd name="T8" fmla="*/ 0 w 70"/>
                <a:gd name="T9" fmla="*/ 11 h 134"/>
                <a:gd name="T10" fmla="*/ 3 w 70"/>
                <a:gd name="T11" fmla="*/ 11 h 134"/>
                <a:gd name="T12" fmla="*/ 3 w 70"/>
                <a:gd name="T13" fmla="*/ 11 h 134"/>
                <a:gd name="T14" fmla="*/ 14 w 70"/>
                <a:gd name="T15" fmla="*/ 12 h 134"/>
                <a:gd name="T16" fmla="*/ 23 w 70"/>
                <a:gd name="T17" fmla="*/ 16 h 134"/>
                <a:gd name="T18" fmla="*/ 33 w 70"/>
                <a:gd name="T19" fmla="*/ 21 h 134"/>
                <a:gd name="T20" fmla="*/ 42 w 70"/>
                <a:gd name="T21" fmla="*/ 28 h 134"/>
                <a:gd name="T22" fmla="*/ 48 w 70"/>
                <a:gd name="T23" fmla="*/ 36 h 134"/>
                <a:gd name="T24" fmla="*/ 53 w 70"/>
                <a:gd name="T25" fmla="*/ 45 h 134"/>
                <a:gd name="T26" fmla="*/ 57 w 70"/>
                <a:gd name="T27" fmla="*/ 55 h 134"/>
                <a:gd name="T28" fmla="*/ 58 w 70"/>
                <a:gd name="T29" fmla="*/ 66 h 134"/>
                <a:gd name="T30" fmla="*/ 58 w 70"/>
                <a:gd name="T31" fmla="*/ 66 h 134"/>
                <a:gd name="T32" fmla="*/ 57 w 70"/>
                <a:gd name="T33" fmla="*/ 79 h 134"/>
                <a:gd name="T34" fmla="*/ 53 w 70"/>
                <a:gd name="T35" fmla="*/ 89 h 134"/>
                <a:gd name="T36" fmla="*/ 48 w 70"/>
                <a:gd name="T37" fmla="*/ 98 h 134"/>
                <a:gd name="T38" fmla="*/ 42 w 70"/>
                <a:gd name="T39" fmla="*/ 106 h 134"/>
                <a:gd name="T40" fmla="*/ 33 w 70"/>
                <a:gd name="T41" fmla="*/ 113 h 134"/>
                <a:gd name="T42" fmla="*/ 23 w 70"/>
                <a:gd name="T43" fmla="*/ 118 h 134"/>
                <a:gd name="T44" fmla="*/ 14 w 70"/>
                <a:gd name="T45" fmla="*/ 122 h 134"/>
                <a:gd name="T46" fmla="*/ 3 w 70"/>
                <a:gd name="T47" fmla="*/ 123 h 134"/>
                <a:gd name="T48" fmla="*/ 3 w 70"/>
                <a:gd name="T49" fmla="*/ 123 h 134"/>
                <a:gd name="T50" fmla="*/ 0 w 70"/>
                <a:gd name="T51" fmla="*/ 123 h 134"/>
                <a:gd name="T52" fmla="*/ 0 w 70"/>
                <a:gd name="T53" fmla="*/ 134 h 134"/>
                <a:gd name="T54" fmla="*/ 0 w 70"/>
                <a:gd name="T55" fmla="*/ 134 h 134"/>
                <a:gd name="T56" fmla="*/ 3 w 70"/>
                <a:gd name="T57" fmla="*/ 134 h 134"/>
                <a:gd name="T58" fmla="*/ 3 w 70"/>
                <a:gd name="T59" fmla="*/ 134 h 134"/>
                <a:gd name="T60" fmla="*/ 16 w 70"/>
                <a:gd name="T61" fmla="*/ 133 h 134"/>
                <a:gd name="T62" fmla="*/ 28 w 70"/>
                <a:gd name="T63" fmla="*/ 129 h 134"/>
                <a:gd name="T64" fmla="*/ 41 w 70"/>
                <a:gd name="T65" fmla="*/ 123 h 134"/>
                <a:gd name="T66" fmla="*/ 51 w 70"/>
                <a:gd name="T67" fmla="*/ 114 h 134"/>
                <a:gd name="T68" fmla="*/ 58 w 70"/>
                <a:gd name="T69" fmla="*/ 105 h 134"/>
                <a:gd name="T70" fmla="*/ 64 w 70"/>
                <a:gd name="T71" fmla="*/ 93 h 134"/>
                <a:gd name="T72" fmla="*/ 69 w 70"/>
                <a:gd name="T73" fmla="*/ 81 h 134"/>
                <a:gd name="T74" fmla="*/ 70 w 70"/>
                <a:gd name="T75" fmla="*/ 68 h 134"/>
                <a:gd name="T76" fmla="*/ 70 w 70"/>
                <a:gd name="T77" fmla="*/ 68 h 134"/>
                <a:gd name="T78" fmla="*/ 69 w 70"/>
                <a:gd name="T79" fmla="*/ 53 h 134"/>
                <a:gd name="T80" fmla="*/ 64 w 70"/>
                <a:gd name="T81" fmla="*/ 40 h 134"/>
                <a:gd name="T82" fmla="*/ 58 w 70"/>
                <a:gd name="T83" fmla="*/ 29 h 134"/>
                <a:gd name="T84" fmla="*/ 51 w 70"/>
                <a:gd name="T85" fmla="*/ 19 h 134"/>
                <a:gd name="T86" fmla="*/ 41 w 70"/>
                <a:gd name="T87" fmla="*/ 11 h 134"/>
                <a:gd name="T88" fmla="*/ 28 w 70"/>
                <a:gd name="T89" fmla="*/ 5 h 134"/>
                <a:gd name="T90" fmla="*/ 16 w 70"/>
                <a:gd name="T91" fmla="*/ 1 h 134"/>
                <a:gd name="T92" fmla="*/ 3 w 70"/>
                <a:gd name="T93" fmla="*/ 0 h 134"/>
                <a:gd name="T94" fmla="*/ 3 w 70"/>
                <a:gd name="T95"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0" h="134">
                  <a:moveTo>
                    <a:pt x="3" y="0"/>
                  </a:moveTo>
                  <a:lnTo>
                    <a:pt x="3" y="0"/>
                  </a:lnTo>
                  <a:lnTo>
                    <a:pt x="0" y="0"/>
                  </a:lnTo>
                  <a:lnTo>
                    <a:pt x="0" y="11"/>
                  </a:lnTo>
                  <a:lnTo>
                    <a:pt x="0" y="11"/>
                  </a:lnTo>
                  <a:lnTo>
                    <a:pt x="3" y="11"/>
                  </a:lnTo>
                  <a:lnTo>
                    <a:pt x="3" y="11"/>
                  </a:lnTo>
                  <a:lnTo>
                    <a:pt x="14" y="12"/>
                  </a:lnTo>
                  <a:lnTo>
                    <a:pt x="23" y="16"/>
                  </a:lnTo>
                  <a:lnTo>
                    <a:pt x="33" y="21"/>
                  </a:lnTo>
                  <a:lnTo>
                    <a:pt x="42" y="28"/>
                  </a:lnTo>
                  <a:lnTo>
                    <a:pt x="48" y="36"/>
                  </a:lnTo>
                  <a:lnTo>
                    <a:pt x="53" y="45"/>
                  </a:lnTo>
                  <a:lnTo>
                    <a:pt x="57" y="55"/>
                  </a:lnTo>
                  <a:lnTo>
                    <a:pt x="58" y="66"/>
                  </a:lnTo>
                  <a:lnTo>
                    <a:pt x="58" y="66"/>
                  </a:lnTo>
                  <a:lnTo>
                    <a:pt x="57" y="79"/>
                  </a:lnTo>
                  <a:lnTo>
                    <a:pt x="53" y="89"/>
                  </a:lnTo>
                  <a:lnTo>
                    <a:pt x="48" y="98"/>
                  </a:lnTo>
                  <a:lnTo>
                    <a:pt x="42" y="106"/>
                  </a:lnTo>
                  <a:lnTo>
                    <a:pt x="33" y="113"/>
                  </a:lnTo>
                  <a:lnTo>
                    <a:pt x="23" y="118"/>
                  </a:lnTo>
                  <a:lnTo>
                    <a:pt x="14" y="122"/>
                  </a:lnTo>
                  <a:lnTo>
                    <a:pt x="3" y="123"/>
                  </a:lnTo>
                  <a:lnTo>
                    <a:pt x="3" y="123"/>
                  </a:lnTo>
                  <a:lnTo>
                    <a:pt x="0" y="123"/>
                  </a:lnTo>
                  <a:lnTo>
                    <a:pt x="0" y="134"/>
                  </a:lnTo>
                  <a:lnTo>
                    <a:pt x="0" y="134"/>
                  </a:lnTo>
                  <a:lnTo>
                    <a:pt x="3" y="134"/>
                  </a:lnTo>
                  <a:lnTo>
                    <a:pt x="3" y="134"/>
                  </a:lnTo>
                  <a:lnTo>
                    <a:pt x="16" y="133"/>
                  </a:lnTo>
                  <a:lnTo>
                    <a:pt x="28" y="129"/>
                  </a:lnTo>
                  <a:lnTo>
                    <a:pt x="41" y="123"/>
                  </a:lnTo>
                  <a:lnTo>
                    <a:pt x="51" y="114"/>
                  </a:lnTo>
                  <a:lnTo>
                    <a:pt x="58" y="105"/>
                  </a:lnTo>
                  <a:lnTo>
                    <a:pt x="64" y="93"/>
                  </a:lnTo>
                  <a:lnTo>
                    <a:pt x="69" y="81"/>
                  </a:lnTo>
                  <a:lnTo>
                    <a:pt x="70" y="68"/>
                  </a:lnTo>
                  <a:lnTo>
                    <a:pt x="70" y="68"/>
                  </a:lnTo>
                  <a:lnTo>
                    <a:pt x="69" y="53"/>
                  </a:lnTo>
                  <a:lnTo>
                    <a:pt x="64" y="40"/>
                  </a:lnTo>
                  <a:lnTo>
                    <a:pt x="58" y="29"/>
                  </a:lnTo>
                  <a:lnTo>
                    <a:pt x="51" y="19"/>
                  </a:lnTo>
                  <a:lnTo>
                    <a:pt x="41" y="11"/>
                  </a:lnTo>
                  <a:lnTo>
                    <a:pt x="28" y="5"/>
                  </a:lnTo>
                  <a:lnTo>
                    <a:pt x="16" y="1"/>
                  </a:lnTo>
                  <a:lnTo>
                    <a:pt x="3" y="0"/>
                  </a:lnTo>
                  <a:lnTo>
                    <a:pt x="3" y="0"/>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grpSp>
        <p:nvGrpSpPr>
          <p:cNvPr id="455" name="Group 454">
            <a:extLst>
              <a:ext uri="{FF2B5EF4-FFF2-40B4-BE49-F238E27FC236}">
                <a16:creationId xmlns:a16="http://schemas.microsoft.com/office/drawing/2014/main" id="{93549622-0A9F-8A24-238D-AE2CA8EA3BB2}"/>
              </a:ext>
            </a:extLst>
          </p:cNvPr>
          <p:cNvGrpSpPr/>
          <p:nvPr/>
        </p:nvGrpSpPr>
        <p:grpSpPr>
          <a:xfrm>
            <a:off x="9501686" y="2629395"/>
            <a:ext cx="1285115" cy="1139420"/>
            <a:chOff x="8933974" y="1324350"/>
            <a:chExt cx="1112838" cy="1114425"/>
          </a:xfrm>
        </p:grpSpPr>
        <p:sp>
          <p:nvSpPr>
            <p:cNvPr id="442" name="Freeform 5">
              <a:extLst>
                <a:ext uri="{FF2B5EF4-FFF2-40B4-BE49-F238E27FC236}">
                  <a16:creationId xmlns:a16="http://schemas.microsoft.com/office/drawing/2014/main" id="{E45B3AFF-8726-4CF6-A6FF-E0F07C7E1A5E}"/>
                </a:ext>
              </a:extLst>
            </p:cNvPr>
            <p:cNvSpPr>
              <a:spLocks/>
            </p:cNvSpPr>
            <p:nvPr/>
          </p:nvSpPr>
          <p:spPr bwMode="auto">
            <a:xfrm>
              <a:off x="8933974" y="1324350"/>
              <a:ext cx="1112838" cy="1114425"/>
            </a:xfrm>
            <a:custGeom>
              <a:avLst/>
              <a:gdLst>
                <a:gd name="T0" fmla="*/ 333 w 701"/>
                <a:gd name="T1" fmla="*/ 701 h 702"/>
                <a:gd name="T2" fmla="*/ 280 w 701"/>
                <a:gd name="T3" fmla="*/ 695 h 702"/>
                <a:gd name="T4" fmla="*/ 231 w 701"/>
                <a:gd name="T5" fmla="*/ 680 h 702"/>
                <a:gd name="T6" fmla="*/ 184 w 701"/>
                <a:gd name="T7" fmla="*/ 659 h 702"/>
                <a:gd name="T8" fmla="*/ 141 w 701"/>
                <a:gd name="T9" fmla="*/ 632 h 702"/>
                <a:gd name="T10" fmla="*/ 102 w 701"/>
                <a:gd name="T11" fmla="*/ 598 h 702"/>
                <a:gd name="T12" fmla="*/ 70 w 701"/>
                <a:gd name="T13" fmla="*/ 561 h 702"/>
                <a:gd name="T14" fmla="*/ 43 w 701"/>
                <a:gd name="T15" fmla="*/ 518 h 702"/>
                <a:gd name="T16" fmla="*/ 21 w 701"/>
                <a:gd name="T17" fmla="*/ 471 h 702"/>
                <a:gd name="T18" fmla="*/ 7 w 701"/>
                <a:gd name="T19" fmla="*/ 422 h 702"/>
                <a:gd name="T20" fmla="*/ 1 w 701"/>
                <a:gd name="T21" fmla="*/ 369 h 702"/>
                <a:gd name="T22" fmla="*/ 1 w 701"/>
                <a:gd name="T23" fmla="*/ 333 h 702"/>
                <a:gd name="T24" fmla="*/ 7 w 701"/>
                <a:gd name="T25" fmla="*/ 280 h 702"/>
                <a:gd name="T26" fmla="*/ 21 w 701"/>
                <a:gd name="T27" fmla="*/ 231 h 702"/>
                <a:gd name="T28" fmla="*/ 43 w 701"/>
                <a:gd name="T29" fmla="*/ 184 h 702"/>
                <a:gd name="T30" fmla="*/ 70 w 701"/>
                <a:gd name="T31" fmla="*/ 142 h 702"/>
                <a:gd name="T32" fmla="*/ 102 w 701"/>
                <a:gd name="T33" fmla="*/ 104 h 702"/>
                <a:gd name="T34" fmla="*/ 141 w 701"/>
                <a:gd name="T35" fmla="*/ 70 h 702"/>
                <a:gd name="T36" fmla="*/ 184 w 701"/>
                <a:gd name="T37" fmla="*/ 43 h 702"/>
                <a:gd name="T38" fmla="*/ 231 w 701"/>
                <a:gd name="T39" fmla="*/ 22 h 702"/>
                <a:gd name="T40" fmla="*/ 280 w 701"/>
                <a:gd name="T41" fmla="*/ 7 h 702"/>
                <a:gd name="T42" fmla="*/ 333 w 701"/>
                <a:gd name="T43" fmla="*/ 1 h 702"/>
                <a:gd name="T44" fmla="*/ 369 w 701"/>
                <a:gd name="T45" fmla="*/ 1 h 702"/>
                <a:gd name="T46" fmla="*/ 422 w 701"/>
                <a:gd name="T47" fmla="*/ 7 h 702"/>
                <a:gd name="T48" fmla="*/ 471 w 701"/>
                <a:gd name="T49" fmla="*/ 22 h 702"/>
                <a:gd name="T50" fmla="*/ 518 w 701"/>
                <a:gd name="T51" fmla="*/ 43 h 702"/>
                <a:gd name="T52" fmla="*/ 560 w 701"/>
                <a:gd name="T53" fmla="*/ 70 h 702"/>
                <a:gd name="T54" fmla="*/ 598 w 701"/>
                <a:gd name="T55" fmla="*/ 104 h 702"/>
                <a:gd name="T56" fmla="*/ 631 w 701"/>
                <a:gd name="T57" fmla="*/ 142 h 702"/>
                <a:gd name="T58" fmla="*/ 659 w 701"/>
                <a:gd name="T59" fmla="*/ 184 h 702"/>
                <a:gd name="T60" fmla="*/ 680 w 701"/>
                <a:gd name="T61" fmla="*/ 231 h 702"/>
                <a:gd name="T62" fmla="*/ 694 w 701"/>
                <a:gd name="T63" fmla="*/ 280 h 702"/>
                <a:gd name="T64" fmla="*/ 701 w 701"/>
                <a:gd name="T65" fmla="*/ 333 h 702"/>
                <a:gd name="T66" fmla="*/ 701 w 701"/>
                <a:gd name="T67" fmla="*/ 369 h 702"/>
                <a:gd name="T68" fmla="*/ 694 w 701"/>
                <a:gd name="T69" fmla="*/ 422 h 702"/>
                <a:gd name="T70" fmla="*/ 680 w 701"/>
                <a:gd name="T71" fmla="*/ 471 h 702"/>
                <a:gd name="T72" fmla="*/ 659 w 701"/>
                <a:gd name="T73" fmla="*/ 518 h 702"/>
                <a:gd name="T74" fmla="*/ 631 w 701"/>
                <a:gd name="T75" fmla="*/ 561 h 702"/>
                <a:gd name="T76" fmla="*/ 598 w 701"/>
                <a:gd name="T77" fmla="*/ 598 h 702"/>
                <a:gd name="T78" fmla="*/ 560 w 701"/>
                <a:gd name="T79" fmla="*/ 632 h 702"/>
                <a:gd name="T80" fmla="*/ 518 w 701"/>
                <a:gd name="T81" fmla="*/ 659 h 702"/>
                <a:gd name="T82" fmla="*/ 471 w 701"/>
                <a:gd name="T83" fmla="*/ 680 h 702"/>
                <a:gd name="T84" fmla="*/ 422 w 701"/>
                <a:gd name="T85" fmla="*/ 695 h 702"/>
                <a:gd name="T86" fmla="*/ 369 w 701"/>
                <a:gd name="T87" fmla="*/ 70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2">
                  <a:moveTo>
                    <a:pt x="350" y="702"/>
                  </a:moveTo>
                  <a:lnTo>
                    <a:pt x="350" y="702"/>
                  </a:lnTo>
                  <a:lnTo>
                    <a:pt x="333" y="701"/>
                  </a:lnTo>
                  <a:lnTo>
                    <a:pt x="315" y="699"/>
                  </a:lnTo>
                  <a:lnTo>
                    <a:pt x="297" y="697"/>
                  </a:lnTo>
                  <a:lnTo>
                    <a:pt x="280" y="695"/>
                  </a:lnTo>
                  <a:lnTo>
                    <a:pt x="263" y="691"/>
                  </a:lnTo>
                  <a:lnTo>
                    <a:pt x="247" y="686"/>
                  </a:lnTo>
                  <a:lnTo>
                    <a:pt x="231" y="680"/>
                  </a:lnTo>
                  <a:lnTo>
                    <a:pt x="215" y="674"/>
                  </a:lnTo>
                  <a:lnTo>
                    <a:pt x="199" y="667"/>
                  </a:lnTo>
                  <a:lnTo>
                    <a:pt x="184" y="659"/>
                  </a:lnTo>
                  <a:lnTo>
                    <a:pt x="169" y="651"/>
                  </a:lnTo>
                  <a:lnTo>
                    <a:pt x="155" y="641"/>
                  </a:lnTo>
                  <a:lnTo>
                    <a:pt x="141" y="632"/>
                  </a:lnTo>
                  <a:lnTo>
                    <a:pt x="128" y="622"/>
                  </a:lnTo>
                  <a:lnTo>
                    <a:pt x="115" y="611"/>
                  </a:lnTo>
                  <a:lnTo>
                    <a:pt x="102" y="598"/>
                  </a:lnTo>
                  <a:lnTo>
                    <a:pt x="91" y="587"/>
                  </a:lnTo>
                  <a:lnTo>
                    <a:pt x="80" y="574"/>
                  </a:lnTo>
                  <a:lnTo>
                    <a:pt x="70" y="561"/>
                  </a:lnTo>
                  <a:lnTo>
                    <a:pt x="60" y="546"/>
                  </a:lnTo>
                  <a:lnTo>
                    <a:pt x="51" y="533"/>
                  </a:lnTo>
                  <a:lnTo>
                    <a:pt x="43" y="518"/>
                  </a:lnTo>
                  <a:lnTo>
                    <a:pt x="35" y="503"/>
                  </a:lnTo>
                  <a:lnTo>
                    <a:pt x="28" y="487"/>
                  </a:lnTo>
                  <a:lnTo>
                    <a:pt x="21" y="471"/>
                  </a:lnTo>
                  <a:lnTo>
                    <a:pt x="16" y="455"/>
                  </a:lnTo>
                  <a:lnTo>
                    <a:pt x="11" y="439"/>
                  </a:lnTo>
                  <a:lnTo>
                    <a:pt x="7" y="422"/>
                  </a:lnTo>
                  <a:lnTo>
                    <a:pt x="5" y="405"/>
                  </a:lnTo>
                  <a:lnTo>
                    <a:pt x="2" y="387"/>
                  </a:lnTo>
                  <a:lnTo>
                    <a:pt x="1" y="369"/>
                  </a:lnTo>
                  <a:lnTo>
                    <a:pt x="0" y="352"/>
                  </a:lnTo>
                  <a:lnTo>
                    <a:pt x="0" y="352"/>
                  </a:lnTo>
                  <a:lnTo>
                    <a:pt x="1" y="333"/>
                  </a:lnTo>
                  <a:lnTo>
                    <a:pt x="2" y="316"/>
                  </a:lnTo>
                  <a:lnTo>
                    <a:pt x="5" y="297"/>
                  </a:lnTo>
                  <a:lnTo>
                    <a:pt x="7" y="280"/>
                  </a:lnTo>
                  <a:lnTo>
                    <a:pt x="11" y="264"/>
                  </a:lnTo>
                  <a:lnTo>
                    <a:pt x="16" y="247"/>
                  </a:lnTo>
                  <a:lnTo>
                    <a:pt x="21" y="231"/>
                  </a:lnTo>
                  <a:lnTo>
                    <a:pt x="28" y="215"/>
                  </a:lnTo>
                  <a:lnTo>
                    <a:pt x="35" y="199"/>
                  </a:lnTo>
                  <a:lnTo>
                    <a:pt x="43" y="184"/>
                  </a:lnTo>
                  <a:lnTo>
                    <a:pt x="51" y="169"/>
                  </a:lnTo>
                  <a:lnTo>
                    <a:pt x="60" y="155"/>
                  </a:lnTo>
                  <a:lnTo>
                    <a:pt x="70" y="142"/>
                  </a:lnTo>
                  <a:lnTo>
                    <a:pt x="80" y="128"/>
                  </a:lnTo>
                  <a:lnTo>
                    <a:pt x="91" y="116"/>
                  </a:lnTo>
                  <a:lnTo>
                    <a:pt x="102" y="104"/>
                  </a:lnTo>
                  <a:lnTo>
                    <a:pt x="115" y="91"/>
                  </a:lnTo>
                  <a:lnTo>
                    <a:pt x="128" y="80"/>
                  </a:lnTo>
                  <a:lnTo>
                    <a:pt x="141" y="70"/>
                  </a:lnTo>
                  <a:lnTo>
                    <a:pt x="155" y="60"/>
                  </a:lnTo>
                  <a:lnTo>
                    <a:pt x="169" y="52"/>
                  </a:lnTo>
                  <a:lnTo>
                    <a:pt x="184" y="43"/>
                  </a:lnTo>
                  <a:lnTo>
                    <a:pt x="199" y="35"/>
                  </a:lnTo>
                  <a:lnTo>
                    <a:pt x="215" y="28"/>
                  </a:lnTo>
                  <a:lnTo>
                    <a:pt x="231" y="22"/>
                  </a:lnTo>
                  <a:lnTo>
                    <a:pt x="247" y="16"/>
                  </a:lnTo>
                  <a:lnTo>
                    <a:pt x="263" y="11"/>
                  </a:lnTo>
                  <a:lnTo>
                    <a:pt x="280" y="7"/>
                  </a:lnTo>
                  <a:lnTo>
                    <a:pt x="297" y="5"/>
                  </a:lnTo>
                  <a:lnTo>
                    <a:pt x="315" y="2"/>
                  </a:lnTo>
                  <a:lnTo>
                    <a:pt x="333" y="1"/>
                  </a:lnTo>
                  <a:lnTo>
                    <a:pt x="350" y="0"/>
                  </a:lnTo>
                  <a:lnTo>
                    <a:pt x="350" y="0"/>
                  </a:lnTo>
                  <a:lnTo>
                    <a:pt x="369" y="1"/>
                  </a:lnTo>
                  <a:lnTo>
                    <a:pt x="386" y="2"/>
                  </a:lnTo>
                  <a:lnTo>
                    <a:pt x="405" y="5"/>
                  </a:lnTo>
                  <a:lnTo>
                    <a:pt x="422" y="7"/>
                  </a:lnTo>
                  <a:lnTo>
                    <a:pt x="438" y="11"/>
                  </a:lnTo>
                  <a:lnTo>
                    <a:pt x="455" y="16"/>
                  </a:lnTo>
                  <a:lnTo>
                    <a:pt x="471" y="22"/>
                  </a:lnTo>
                  <a:lnTo>
                    <a:pt x="487" y="28"/>
                  </a:lnTo>
                  <a:lnTo>
                    <a:pt x="503" y="35"/>
                  </a:lnTo>
                  <a:lnTo>
                    <a:pt x="518" y="43"/>
                  </a:lnTo>
                  <a:lnTo>
                    <a:pt x="533" y="52"/>
                  </a:lnTo>
                  <a:lnTo>
                    <a:pt x="546" y="60"/>
                  </a:lnTo>
                  <a:lnTo>
                    <a:pt x="560" y="70"/>
                  </a:lnTo>
                  <a:lnTo>
                    <a:pt x="574" y="80"/>
                  </a:lnTo>
                  <a:lnTo>
                    <a:pt x="586" y="91"/>
                  </a:lnTo>
                  <a:lnTo>
                    <a:pt x="598" y="104"/>
                  </a:lnTo>
                  <a:lnTo>
                    <a:pt x="611" y="116"/>
                  </a:lnTo>
                  <a:lnTo>
                    <a:pt x="622" y="128"/>
                  </a:lnTo>
                  <a:lnTo>
                    <a:pt x="631" y="142"/>
                  </a:lnTo>
                  <a:lnTo>
                    <a:pt x="641" y="155"/>
                  </a:lnTo>
                  <a:lnTo>
                    <a:pt x="650" y="169"/>
                  </a:lnTo>
                  <a:lnTo>
                    <a:pt x="659" y="184"/>
                  </a:lnTo>
                  <a:lnTo>
                    <a:pt x="666" y="199"/>
                  </a:lnTo>
                  <a:lnTo>
                    <a:pt x="673" y="215"/>
                  </a:lnTo>
                  <a:lnTo>
                    <a:pt x="680" y="231"/>
                  </a:lnTo>
                  <a:lnTo>
                    <a:pt x="686" y="247"/>
                  </a:lnTo>
                  <a:lnTo>
                    <a:pt x="691" y="264"/>
                  </a:lnTo>
                  <a:lnTo>
                    <a:pt x="694" y="280"/>
                  </a:lnTo>
                  <a:lnTo>
                    <a:pt x="697" y="297"/>
                  </a:lnTo>
                  <a:lnTo>
                    <a:pt x="699" y="316"/>
                  </a:lnTo>
                  <a:lnTo>
                    <a:pt x="701" y="333"/>
                  </a:lnTo>
                  <a:lnTo>
                    <a:pt x="701" y="352"/>
                  </a:lnTo>
                  <a:lnTo>
                    <a:pt x="701" y="352"/>
                  </a:lnTo>
                  <a:lnTo>
                    <a:pt x="701" y="369"/>
                  </a:lnTo>
                  <a:lnTo>
                    <a:pt x="699" y="387"/>
                  </a:lnTo>
                  <a:lnTo>
                    <a:pt x="697" y="405"/>
                  </a:lnTo>
                  <a:lnTo>
                    <a:pt x="694" y="422"/>
                  </a:lnTo>
                  <a:lnTo>
                    <a:pt x="691" y="439"/>
                  </a:lnTo>
                  <a:lnTo>
                    <a:pt x="686" y="455"/>
                  </a:lnTo>
                  <a:lnTo>
                    <a:pt x="680" y="471"/>
                  </a:lnTo>
                  <a:lnTo>
                    <a:pt x="673" y="487"/>
                  </a:lnTo>
                  <a:lnTo>
                    <a:pt x="666" y="503"/>
                  </a:lnTo>
                  <a:lnTo>
                    <a:pt x="659" y="518"/>
                  </a:lnTo>
                  <a:lnTo>
                    <a:pt x="650" y="533"/>
                  </a:lnTo>
                  <a:lnTo>
                    <a:pt x="641" y="546"/>
                  </a:lnTo>
                  <a:lnTo>
                    <a:pt x="631" y="561"/>
                  </a:lnTo>
                  <a:lnTo>
                    <a:pt x="622" y="574"/>
                  </a:lnTo>
                  <a:lnTo>
                    <a:pt x="611" y="587"/>
                  </a:lnTo>
                  <a:lnTo>
                    <a:pt x="598" y="598"/>
                  </a:lnTo>
                  <a:lnTo>
                    <a:pt x="586" y="611"/>
                  </a:lnTo>
                  <a:lnTo>
                    <a:pt x="574" y="622"/>
                  </a:lnTo>
                  <a:lnTo>
                    <a:pt x="560" y="632"/>
                  </a:lnTo>
                  <a:lnTo>
                    <a:pt x="546" y="641"/>
                  </a:lnTo>
                  <a:lnTo>
                    <a:pt x="533" y="651"/>
                  </a:lnTo>
                  <a:lnTo>
                    <a:pt x="518" y="659"/>
                  </a:lnTo>
                  <a:lnTo>
                    <a:pt x="503" y="667"/>
                  </a:lnTo>
                  <a:lnTo>
                    <a:pt x="487" y="674"/>
                  </a:lnTo>
                  <a:lnTo>
                    <a:pt x="471" y="680"/>
                  </a:lnTo>
                  <a:lnTo>
                    <a:pt x="455" y="686"/>
                  </a:lnTo>
                  <a:lnTo>
                    <a:pt x="438" y="691"/>
                  </a:lnTo>
                  <a:lnTo>
                    <a:pt x="422" y="695"/>
                  </a:lnTo>
                  <a:lnTo>
                    <a:pt x="405" y="697"/>
                  </a:lnTo>
                  <a:lnTo>
                    <a:pt x="386" y="699"/>
                  </a:lnTo>
                  <a:lnTo>
                    <a:pt x="369" y="701"/>
                  </a:lnTo>
                  <a:lnTo>
                    <a:pt x="350" y="702"/>
                  </a:lnTo>
                  <a:lnTo>
                    <a:pt x="350" y="702"/>
                  </a:lnTo>
                  <a:close/>
                </a:path>
              </a:pathLst>
            </a:custGeom>
            <a:solidFill>
              <a:srgbClr val="470A6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4" name="Rectangle 127">
              <a:extLst>
                <a:ext uri="{FF2B5EF4-FFF2-40B4-BE49-F238E27FC236}">
                  <a16:creationId xmlns:a16="http://schemas.microsoft.com/office/drawing/2014/main" id="{6432ABE3-2AC8-1B00-F3C7-41B91B33969C}"/>
                </a:ext>
              </a:extLst>
            </p:cNvPr>
            <p:cNvSpPr>
              <a:spLocks noChangeArrowheads="1"/>
            </p:cNvSpPr>
            <p:nvPr/>
          </p:nvSpPr>
          <p:spPr bwMode="auto">
            <a:xfrm>
              <a:off x="9438799" y="1997450"/>
              <a:ext cx="131763" cy="42863"/>
            </a:xfrm>
            <a:prstGeom prst="rect">
              <a:avLst/>
            </a:prstGeom>
            <a:solidFill>
              <a:srgbClr val="F99B1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5" name="Freeform 128">
              <a:extLst>
                <a:ext uri="{FF2B5EF4-FFF2-40B4-BE49-F238E27FC236}">
                  <a16:creationId xmlns:a16="http://schemas.microsoft.com/office/drawing/2014/main" id="{4454BEB6-7DFB-98F4-B2AE-C0D75774CD01}"/>
                </a:ext>
              </a:extLst>
            </p:cNvPr>
            <p:cNvSpPr>
              <a:spLocks/>
            </p:cNvSpPr>
            <p:nvPr/>
          </p:nvSpPr>
          <p:spPr bwMode="auto">
            <a:xfrm>
              <a:off x="9356249" y="1595813"/>
              <a:ext cx="296863" cy="309563"/>
            </a:xfrm>
            <a:custGeom>
              <a:avLst/>
              <a:gdLst>
                <a:gd name="T0" fmla="*/ 8 w 187"/>
                <a:gd name="T1" fmla="*/ 0 h 195"/>
                <a:gd name="T2" fmla="*/ 8 w 187"/>
                <a:gd name="T3" fmla="*/ 0 h 195"/>
                <a:gd name="T4" fmla="*/ 4 w 187"/>
                <a:gd name="T5" fmla="*/ 12 h 195"/>
                <a:gd name="T6" fmla="*/ 2 w 187"/>
                <a:gd name="T7" fmla="*/ 24 h 195"/>
                <a:gd name="T8" fmla="*/ 0 w 187"/>
                <a:gd name="T9" fmla="*/ 36 h 195"/>
                <a:gd name="T10" fmla="*/ 0 w 187"/>
                <a:gd name="T11" fmla="*/ 49 h 195"/>
                <a:gd name="T12" fmla="*/ 0 w 187"/>
                <a:gd name="T13" fmla="*/ 49 h 195"/>
                <a:gd name="T14" fmla="*/ 0 w 187"/>
                <a:gd name="T15" fmla="*/ 61 h 195"/>
                <a:gd name="T16" fmla="*/ 2 w 187"/>
                <a:gd name="T17" fmla="*/ 72 h 195"/>
                <a:gd name="T18" fmla="*/ 4 w 187"/>
                <a:gd name="T19" fmla="*/ 84 h 195"/>
                <a:gd name="T20" fmla="*/ 7 w 187"/>
                <a:gd name="T21" fmla="*/ 95 h 195"/>
                <a:gd name="T22" fmla="*/ 10 w 187"/>
                <a:gd name="T23" fmla="*/ 107 h 195"/>
                <a:gd name="T24" fmla="*/ 15 w 187"/>
                <a:gd name="T25" fmla="*/ 116 h 195"/>
                <a:gd name="T26" fmla="*/ 20 w 187"/>
                <a:gd name="T27" fmla="*/ 128 h 195"/>
                <a:gd name="T28" fmla="*/ 26 w 187"/>
                <a:gd name="T29" fmla="*/ 137 h 195"/>
                <a:gd name="T30" fmla="*/ 32 w 187"/>
                <a:gd name="T31" fmla="*/ 146 h 195"/>
                <a:gd name="T32" fmla="*/ 40 w 187"/>
                <a:gd name="T33" fmla="*/ 155 h 195"/>
                <a:gd name="T34" fmla="*/ 47 w 187"/>
                <a:gd name="T35" fmla="*/ 163 h 195"/>
                <a:gd name="T36" fmla="*/ 56 w 187"/>
                <a:gd name="T37" fmla="*/ 171 h 195"/>
                <a:gd name="T38" fmla="*/ 65 w 187"/>
                <a:gd name="T39" fmla="*/ 178 h 195"/>
                <a:gd name="T40" fmla="*/ 73 w 187"/>
                <a:gd name="T41" fmla="*/ 184 h 195"/>
                <a:gd name="T42" fmla="*/ 83 w 187"/>
                <a:gd name="T43" fmla="*/ 190 h 195"/>
                <a:gd name="T44" fmla="*/ 93 w 187"/>
                <a:gd name="T45" fmla="*/ 195 h 195"/>
                <a:gd name="T46" fmla="*/ 93 w 187"/>
                <a:gd name="T47" fmla="*/ 195 h 195"/>
                <a:gd name="T48" fmla="*/ 103 w 187"/>
                <a:gd name="T49" fmla="*/ 190 h 195"/>
                <a:gd name="T50" fmla="*/ 113 w 187"/>
                <a:gd name="T51" fmla="*/ 184 h 195"/>
                <a:gd name="T52" fmla="*/ 123 w 187"/>
                <a:gd name="T53" fmla="*/ 178 h 195"/>
                <a:gd name="T54" fmla="*/ 131 w 187"/>
                <a:gd name="T55" fmla="*/ 171 h 195"/>
                <a:gd name="T56" fmla="*/ 139 w 187"/>
                <a:gd name="T57" fmla="*/ 163 h 195"/>
                <a:gd name="T58" fmla="*/ 147 w 187"/>
                <a:gd name="T59" fmla="*/ 155 h 195"/>
                <a:gd name="T60" fmla="*/ 153 w 187"/>
                <a:gd name="T61" fmla="*/ 146 h 195"/>
                <a:gd name="T62" fmla="*/ 161 w 187"/>
                <a:gd name="T63" fmla="*/ 137 h 195"/>
                <a:gd name="T64" fmla="*/ 166 w 187"/>
                <a:gd name="T65" fmla="*/ 128 h 195"/>
                <a:gd name="T66" fmla="*/ 172 w 187"/>
                <a:gd name="T67" fmla="*/ 116 h 195"/>
                <a:gd name="T68" fmla="*/ 176 w 187"/>
                <a:gd name="T69" fmla="*/ 107 h 195"/>
                <a:gd name="T70" fmla="*/ 179 w 187"/>
                <a:gd name="T71" fmla="*/ 95 h 195"/>
                <a:gd name="T72" fmla="*/ 183 w 187"/>
                <a:gd name="T73" fmla="*/ 84 h 195"/>
                <a:gd name="T74" fmla="*/ 184 w 187"/>
                <a:gd name="T75" fmla="*/ 72 h 195"/>
                <a:gd name="T76" fmla="*/ 185 w 187"/>
                <a:gd name="T77" fmla="*/ 61 h 195"/>
                <a:gd name="T78" fmla="*/ 187 w 187"/>
                <a:gd name="T79" fmla="*/ 49 h 195"/>
                <a:gd name="T80" fmla="*/ 187 w 187"/>
                <a:gd name="T81" fmla="*/ 49 h 195"/>
                <a:gd name="T82" fmla="*/ 185 w 187"/>
                <a:gd name="T83" fmla="*/ 36 h 195"/>
                <a:gd name="T84" fmla="*/ 184 w 187"/>
                <a:gd name="T85" fmla="*/ 24 h 195"/>
                <a:gd name="T86" fmla="*/ 182 w 187"/>
                <a:gd name="T87" fmla="*/ 12 h 195"/>
                <a:gd name="T88" fmla="*/ 179 w 187"/>
                <a:gd name="T89" fmla="*/ 0 h 195"/>
                <a:gd name="T90" fmla="*/ 8 w 187"/>
                <a:gd name="T91"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7" h="195">
                  <a:moveTo>
                    <a:pt x="8" y="0"/>
                  </a:moveTo>
                  <a:lnTo>
                    <a:pt x="8" y="0"/>
                  </a:lnTo>
                  <a:lnTo>
                    <a:pt x="4" y="12"/>
                  </a:lnTo>
                  <a:lnTo>
                    <a:pt x="2" y="24"/>
                  </a:lnTo>
                  <a:lnTo>
                    <a:pt x="0" y="36"/>
                  </a:lnTo>
                  <a:lnTo>
                    <a:pt x="0" y="49"/>
                  </a:lnTo>
                  <a:lnTo>
                    <a:pt x="0" y="49"/>
                  </a:lnTo>
                  <a:lnTo>
                    <a:pt x="0" y="61"/>
                  </a:lnTo>
                  <a:lnTo>
                    <a:pt x="2" y="72"/>
                  </a:lnTo>
                  <a:lnTo>
                    <a:pt x="4" y="84"/>
                  </a:lnTo>
                  <a:lnTo>
                    <a:pt x="7" y="95"/>
                  </a:lnTo>
                  <a:lnTo>
                    <a:pt x="10" y="107"/>
                  </a:lnTo>
                  <a:lnTo>
                    <a:pt x="15" y="116"/>
                  </a:lnTo>
                  <a:lnTo>
                    <a:pt x="20" y="128"/>
                  </a:lnTo>
                  <a:lnTo>
                    <a:pt x="26" y="137"/>
                  </a:lnTo>
                  <a:lnTo>
                    <a:pt x="32" y="146"/>
                  </a:lnTo>
                  <a:lnTo>
                    <a:pt x="40" y="155"/>
                  </a:lnTo>
                  <a:lnTo>
                    <a:pt x="47" y="163"/>
                  </a:lnTo>
                  <a:lnTo>
                    <a:pt x="56" y="171"/>
                  </a:lnTo>
                  <a:lnTo>
                    <a:pt x="65" y="178"/>
                  </a:lnTo>
                  <a:lnTo>
                    <a:pt x="73" y="184"/>
                  </a:lnTo>
                  <a:lnTo>
                    <a:pt x="83" y="190"/>
                  </a:lnTo>
                  <a:lnTo>
                    <a:pt x="93" y="195"/>
                  </a:lnTo>
                  <a:lnTo>
                    <a:pt x="93" y="195"/>
                  </a:lnTo>
                  <a:lnTo>
                    <a:pt x="103" y="190"/>
                  </a:lnTo>
                  <a:lnTo>
                    <a:pt x="113" y="184"/>
                  </a:lnTo>
                  <a:lnTo>
                    <a:pt x="123" y="178"/>
                  </a:lnTo>
                  <a:lnTo>
                    <a:pt x="131" y="171"/>
                  </a:lnTo>
                  <a:lnTo>
                    <a:pt x="139" y="163"/>
                  </a:lnTo>
                  <a:lnTo>
                    <a:pt x="147" y="155"/>
                  </a:lnTo>
                  <a:lnTo>
                    <a:pt x="153" y="146"/>
                  </a:lnTo>
                  <a:lnTo>
                    <a:pt x="161" y="137"/>
                  </a:lnTo>
                  <a:lnTo>
                    <a:pt x="166" y="128"/>
                  </a:lnTo>
                  <a:lnTo>
                    <a:pt x="172" y="116"/>
                  </a:lnTo>
                  <a:lnTo>
                    <a:pt x="176" y="107"/>
                  </a:lnTo>
                  <a:lnTo>
                    <a:pt x="179" y="95"/>
                  </a:lnTo>
                  <a:lnTo>
                    <a:pt x="183" y="84"/>
                  </a:lnTo>
                  <a:lnTo>
                    <a:pt x="184" y="72"/>
                  </a:lnTo>
                  <a:lnTo>
                    <a:pt x="185" y="61"/>
                  </a:lnTo>
                  <a:lnTo>
                    <a:pt x="187" y="49"/>
                  </a:lnTo>
                  <a:lnTo>
                    <a:pt x="187" y="49"/>
                  </a:lnTo>
                  <a:lnTo>
                    <a:pt x="185" y="36"/>
                  </a:lnTo>
                  <a:lnTo>
                    <a:pt x="184" y="24"/>
                  </a:lnTo>
                  <a:lnTo>
                    <a:pt x="182" y="12"/>
                  </a:lnTo>
                  <a:lnTo>
                    <a:pt x="179" y="0"/>
                  </a:lnTo>
                  <a:lnTo>
                    <a:pt x="8" y="0"/>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6" name="Freeform 129">
              <a:extLst>
                <a:ext uri="{FF2B5EF4-FFF2-40B4-BE49-F238E27FC236}">
                  <a16:creationId xmlns:a16="http://schemas.microsoft.com/office/drawing/2014/main" id="{C8BEF39D-C145-5334-F0D0-36CC4F788F55}"/>
                </a:ext>
              </a:extLst>
            </p:cNvPr>
            <p:cNvSpPr>
              <a:spLocks noEditPoints="1"/>
            </p:cNvSpPr>
            <p:nvPr/>
          </p:nvSpPr>
          <p:spPr bwMode="auto">
            <a:xfrm>
              <a:off x="9272112" y="1610100"/>
              <a:ext cx="204788" cy="252413"/>
            </a:xfrm>
            <a:custGeom>
              <a:avLst/>
              <a:gdLst>
                <a:gd name="T0" fmla="*/ 129 w 129"/>
                <a:gd name="T1" fmla="*/ 159 h 159"/>
                <a:gd name="T2" fmla="*/ 119 w 129"/>
                <a:gd name="T3" fmla="*/ 158 h 159"/>
                <a:gd name="T4" fmla="*/ 119 w 129"/>
                <a:gd name="T5" fmla="*/ 158 h 159"/>
                <a:gd name="T6" fmla="*/ 106 w 129"/>
                <a:gd name="T7" fmla="*/ 157 h 159"/>
                <a:gd name="T8" fmla="*/ 94 w 129"/>
                <a:gd name="T9" fmla="*/ 153 h 159"/>
                <a:gd name="T10" fmla="*/ 83 w 129"/>
                <a:gd name="T11" fmla="*/ 149 h 159"/>
                <a:gd name="T12" fmla="*/ 72 w 129"/>
                <a:gd name="T13" fmla="*/ 143 h 159"/>
                <a:gd name="T14" fmla="*/ 62 w 129"/>
                <a:gd name="T15" fmla="*/ 137 h 159"/>
                <a:gd name="T16" fmla="*/ 52 w 129"/>
                <a:gd name="T17" fmla="*/ 130 h 159"/>
                <a:gd name="T18" fmla="*/ 42 w 129"/>
                <a:gd name="T19" fmla="*/ 121 h 159"/>
                <a:gd name="T20" fmla="*/ 35 w 129"/>
                <a:gd name="T21" fmla="*/ 112 h 159"/>
                <a:gd name="T22" fmla="*/ 26 w 129"/>
                <a:gd name="T23" fmla="*/ 102 h 159"/>
                <a:gd name="T24" fmla="*/ 20 w 129"/>
                <a:gd name="T25" fmla="*/ 91 h 159"/>
                <a:gd name="T26" fmla="*/ 14 w 129"/>
                <a:gd name="T27" fmla="*/ 80 h 159"/>
                <a:gd name="T28" fmla="*/ 9 w 129"/>
                <a:gd name="T29" fmla="*/ 69 h 159"/>
                <a:gd name="T30" fmla="*/ 5 w 129"/>
                <a:gd name="T31" fmla="*/ 57 h 159"/>
                <a:gd name="T32" fmla="*/ 3 w 129"/>
                <a:gd name="T33" fmla="*/ 43 h 159"/>
                <a:gd name="T34" fmla="*/ 2 w 129"/>
                <a:gd name="T35" fmla="*/ 30 h 159"/>
                <a:gd name="T36" fmla="*/ 0 w 129"/>
                <a:gd name="T37" fmla="*/ 16 h 159"/>
                <a:gd name="T38" fmla="*/ 0 w 129"/>
                <a:gd name="T39" fmla="*/ 16 h 159"/>
                <a:gd name="T40" fmla="*/ 0 w 129"/>
                <a:gd name="T41" fmla="*/ 9 h 159"/>
                <a:gd name="T42" fmla="*/ 2 w 129"/>
                <a:gd name="T43" fmla="*/ 0 h 159"/>
                <a:gd name="T44" fmla="*/ 129 w 129"/>
                <a:gd name="T45" fmla="*/ 0 h 159"/>
                <a:gd name="T46" fmla="*/ 129 w 129"/>
                <a:gd name="T47" fmla="*/ 159 h 159"/>
                <a:gd name="T48" fmla="*/ 129 w 129"/>
                <a:gd name="T49" fmla="*/ 159 h 159"/>
                <a:gd name="T50" fmla="*/ 18 w 129"/>
                <a:gd name="T51" fmla="*/ 17 h 159"/>
                <a:gd name="T52" fmla="*/ 18 w 129"/>
                <a:gd name="T53" fmla="*/ 17 h 159"/>
                <a:gd name="T54" fmla="*/ 19 w 129"/>
                <a:gd name="T55" fmla="*/ 28 h 159"/>
                <a:gd name="T56" fmla="*/ 20 w 129"/>
                <a:gd name="T57" fmla="*/ 40 h 159"/>
                <a:gd name="T58" fmla="*/ 23 w 129"/>
                <a:gd name="T59" fmla="*/ 51 h 159"/>
                <a:gd name="T60" fmla="*/ 25 w 129"/>
                <a:gd name="T61" fmla="*/ 61 h 159"/>
                <a:gd name="T62" fmla="*/ 29 w 129"/>
                <a:gd name="T63" fmla="*/ 70 h 159"/>
                <a:gd name="T64" fmla="*/ 34 w 129"/>
                <a:gd name="T65" fmla="*/ 80 h 159"/>
                <a:gd name="T66" fmla="*/ 39 w 129"/>
                <a:gd name="T67" fmla="*/ 89 h 159"/>
                <a:gd name="T68" fmla="*/ 45 w 129"/>
                <a:gd name="T69" fmla="*/ 98 h 159"/>
                <a:gd name="T70" fmla="*/ 51 w 129"/>
                <a:gd name="T71" fmla="*/ 105 h 159"/>
                <a:gd name="T72" fmla="*/ 58 w 129"/>
                <a:gd name="T73" fmla="*/ 112 h 159"/>
                <a:gd name="T74" fmla="*/ 66 w 129"/>
                <a:gd name="T75" fmla="*/ 119 h 159"/>
                <a:gd name="T76" fmla="*/ 74 w 129"/>
                <a:gd name="T77" fmla="*/ 125 h 159"/>
                <a:gd name="T78" fmla="*/ 83 w 129"/>
                <a:gd name="T79" fmla="*/ 130 h 159"/>
                <a:gd name="T80" fmla="*/ 92 w 129"/>
                <a:gd name="T81" fmla="*/ 133 h 159"/>
                <a:gd name="T82" fmla="*/ 102 w 129"/>
                <a:gd name="T83" fmla="*/ 137 h 159"/>
                <a:gd name="T84" fmla="*/ 111 w 129"/>
                <a:gd name="T85" fmla="*/ 139 h 159"/>
                <a:gd name="T86" fmla="*/ 111 w 129"/>
                <a:gd name="T87" fmla="*/ 17 h 159"/>
                <a:gd name="T88" fmla="*/ 18 w 129"/>
                <a:gd name="T89" fmla="*/ 17 h 159"/>
                <a:gd name="T90" fmla="*/ 18 w 129"/>
                <a:gd name="T91" fmla="*/ 1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9" h="159">
                  <a:moveTo>
                    <a:pt x="129" y="159"/>
                  </a:moveTo>
                  <a:lnTo>
                    <a:pt x="119" y="158"/>
                  </a:lnTo>
                  <a:lnTo>
                    <a:pt x="119" y="158"/>
                  </a:lnTo>
                  <a:lnTo>
                    <a:pt x="106" y="157"/>
                  </a:lnTo>
                  <a:lnTo>
                    <a:pt x="94" y="153"/>
                  </a:lnTo>
                  <a:lnTo>
                    <a:pt x="83" y="149"/>
                  </a:lnTo>
                  <a:lnTo>
                    <a:pt x="72" y="143"/>
                  </a:lnTo>
                  <a:lnTo>
                    <a:pt x="62" y="137"/>
                  </a:lnTo>
                  <a:lnTo>
                    <a:pt x="52" y="130"/>
                  </a:lnTo>
                  <a:lnTo>
                    <a:pt x="42" y="121"/>
                  </a:lnTo>
                  <a:lnTo>
                    <a:pt x="35" y="112"/>
                  </a:lnTo>
                  <a:lnTo>
                    <a:pt x="26" y="102"/>
                  </a:lnTo>
                  <a:lnTo>
                    <a:pt x="20" y="91"/>
                  </a:lnTo>
                  <a:lnTo>
                    <a:pt x="14" y="80"/>
                  </a:lnTo>
                  <a:lnTo>
                    <a:pt x="9" y="69"/>
                  </a:lnTo>
                  <a:lnTo>
                    <a:pt x="5" y="57"/>
                  </a:lnTo>
                  <a:lnTo>
                    <a:pt x="3" y="43"/>
                  </a:lnTo>
                  <a:lnTo>
                    <a:pt x="2" y="30"/>
                  </a:lnTo>
                  <a:lnTo>
                    <a:pt x="0" y="16"/>
                  </a:lnTo>
                  <a:lnTo>
                    <a:pt x="0" y="16"/>
                  </a:lnTo>
                  <a:lnTo>
                    <a:pt x="0" y="9"/>
                  </a:lnTo>
                  <a:lnTo>
                    <a:pt x="2" y="0"/>
                  </a:lnTo>
                  <a:lnTo>
                    <a:pt x="129" y="0"/>
                  </a:lnTo>
                  <a:lnTo>
                    <a:pt x="129" y="159"/>
                  </a:lnTo>
                  <a:lnTo>
                    <a:pt x="129" y="159"/>
                  </a:lnTo>
                  <a:close/>
                  <a:moveTo>
                    <a:pt x="18" y="17"/>
                  </a:moveTo>
                  <a:lnTo>
                    <a:pt x="18" y="17"/>
                  </a:lnTo>
                  <a:lnTo>
                    <a:pt x="19" y="28"/>
                  </a:lnTo>
                  <a:lnTo>
                    <a:pt x="20" y="40"/>
                  </a:lnTo>
                  <a:lnTo>
                    <a:pt x="23" y="51"/>
                  </a:lnTo>
                  <a:lnTo>
                    <a:pt x="25" y="61"/>
                  </a:lnTo>
                  <a:lnTo>
                    <a:pt x="29" y="70"/>
                  </a:lnTo>
                  <a:lnTo>
                    <a:pt x="34" y="80"/>
                  </a:lnTo>
                  <a:lnTo>
                    <a:pt x="39" y="89"/>
                  </a:lnTo>
                  <a:lnTo>
                    <a:pt x="45" y="98"/>
                  </a:lnTo>
                  <a:lnTo>
                    <a:pt x="51" y="105"/>
                  </a:lnTo>
                  <a:lnTo>
                    <a:pt x="58" y="112"/>
                  </a:lnTo>
                  <a:lnTo>
                    <a:pt x="66" y="119"/>
                  </a:lnTo>
                  <a:lnTo>
                    <a:pt x="74" y="125"/>
                  </a:lnTo>
                  <a:lnTo>
                    <a:pt x="83" y="130"/>
                  </a:lnTo>
                  <a:lnTo>
                    <a:pt x="92" y="133"/>
                  </a:lnTo>
                  <a:lnTo>
                    <a:pt x="102" y="137"/>
                  </a:lnTo>
                  <a:lnTo>
                    <a:pt x="111" y="139"/>
                  </a:lnTo>
                  <a:lnTo>
                    <a:pt x="111" y="17"/>
                  </a:lnTo>
                  <a:lnTo>
                    <a:pt x="18" y="17"/>
                  </a:lnTo>
                  <a:lnTo>
                    <a:pt x="18" y="17"/>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7" name="Freeform 130">
              <a:extLst>
                <a:ext uri="{FF2B5EF4-FFF2-40B4-BE49-F238E27FC236}">
                  <a16:creationId xmlns:a16="http://schemas.microsoft.com/office/drawing/2014/main" id="{4EA0AFC3-0A46-389A-E249-3DDCF709C73A}"/>
                </a:ext>
              </a:extLst>
            </p:cNvPr>
            <p:cNvSpPr>
              <a:spLocks noEditPoints="1"/>
            </p:cNvSpPr>
            <p:nvPr/>
          </p:nvSpPr>
          <p:spPr bwMode="auto">
            <a:xfrm>
              <a:off x="9530874" y="1610100"/>
              <a:ext cx="206375" cy="252413"/>
            </a:xfrm>
            <a:custGeom>
              <a:avLst/>
              <a:gdLst>
                <a:gd name="T0" fmla="*/ 0 w 130"/>
                <a:gd name="T1" fmla="*/ 159 h 159"/>
                <a:gd name="T2" fmla="*/ 0 w 130"/>
                <a:gd name="T3" fmla="*/ 0 h 159"/>
                <a:gd name="T4" fmla="*/ 128 w 130"/>
                <a:gd name="T5" fmla="*/ 0 h 159"/>
                <a:gd name="T6" fmla="*/ 128 w 130"/>
                <a:gd name="T7" fmla="*/ 9 h 159"/>
                <a:gd name="T8" fmla="*/ 128 w 130"/>
                <a:gd name="T9" fmla="*/ 9 h 159"/>
                <a:gd name="T10" fmla="*/ 130 w 130"/>
                <a:gd name="T11" fmla="*/ 16 h 159"/>
                <a:gd name="T12" fmla="*/ 130 w 130"/>
                <a:gd name="T13" fmla="*/ 16 h 159"/>
                <a:gd name="T14" fmla="*/ 128 w 130"/>
                <a:gd name="T15" fmla="*/ 30 h 159"/>
                <a:gd name="T16" fmla="*/ 127 w 130"/>
                <a:gd name="T17" fmla="*/ 43 h 159"/>
                <a:gd name="T18" fmla="*/ 124 w 130"/>
                <a:gd name="T19" fmla="*/ 57 h 159"/>
                <a:gd name="T20" fmla="*/ 120 w 130"/>
                <a:gd name="T21" fmla="*/ 69 h 159"/>
                <a:gd name="T22" fmla="*/ 115 w 130"/>
                <a:gd name="T23" fmla="*/ 80 h 159"/>
                <a:gd name="T24" fmla="*/ 110 w 130"/>
                <a:gd name="T25" fmla="*/ 91 h 159"/>
                <a:gd name="T26" fmla="*/ 103 w 130"/>
                <a:gd name="T27" fmla="*/ 102 h 159"/>
                <a:gd name="T28" fmla="*/ 95 w 130"/>
                <a:gd name="T29" fmla="*/ 112 h 159"/>
                <a:gd name="T30" fmla="*/ 87 w 130"/>
                <a:gd name="T31" fmla="*/ 121 h 159"/>
                <a:gd name="T32" fmla="*/ 78 w 130"/>
                <a:gd name="T33" fmla="*/ 130 h 159"/>
                <a:gd name="T34" fmla="*/ 68 w 130"/>
                <a:gd name="T35" fmla="*/ 137 h 159"/>
                <a:gd name="T36" fmla="*/ 57 w 130"/>
                <a:gd name="T37" fmla="*/ 143 h 159"/>
                <a:gd name="T38" fmla="*/ 47 w 130"/>
                <a:gd name="T39" fmla="*/ 149 h 159"/>
                <a:gd name="T40" fmla="*/ 35 w 130"/>
                <a:gd name="T41" fmla="*/ 153 h 159"/>
                <a:gd name="T42" fmla="*/ 22 w 130"/>
                <a:gd name="T43" fmla="*/ 157 h 159"/>
                <a:gd name="T44" fmla="*/ 10 w 130"/>
                <a:gd name="T45" fmla="*/ 158 h 159"/>
                <a:gd name="T46" fmla="*/ 0 w 130"/>
                <a:gd name="T47" fmla="*/ 159 h 159"/>
                <a:gd name="T48" fmla="*/ 0 w 130"/>
                <a:gd name="T49" fmla="*/ 159 h 159"/>
                <a:gd name="T50" fmla="*/ 19 w 130"/>
                <a:gd name="T51" fmla="*/ 17 h 159"/>
                <a:gd name="T52" fmla="*/ 19 w 130"/>
                <a:gd name="T53" fmla="*/ 139 h 159"/>
                <a:gd name="T54" fmla="*/ 19 w 130"/>
                <a:gd name="T55" fmla="*/ 139 h 159"/>
                <a:gd name="T56" fmla="*/ 29 w 130"/>
                <a:gd name="T57" fmla="*/ 137 h 159"/>
                <a:gd name="T58" fmla="*/ 37 w 130"/>
                <a:gd name="T59" fmla="*/ 133 h 159"/>
                <a:gd name="T60" fmla="*/ 47 w 130"/>
                <a:gd name="T61" fmla="*/ 130 h 159"/>
                <a:gd name="T62" fmla="*/ 56 w 130"/>
                <a:gd name="T63" fmla="*/ 125 h 159"/>
                <a:gd name="T64" fmla="*/ 63 w 130"/>
                <a:gd name="T65" fmla="*/ 119 h 159"/>
                <a:gd name="T66" fmla="*/ 70 w 130"/>
                <a:gd name="T67" fmla="*/ 112 h 159"/>
                <a:gd name="T68" fmla="*/ 78 w 130"/>
                <a:gd name="T69" fmla="*/ 105 h 159"/>
                <a:gd name="T70" fmla="*/ 85 w 130"/>
                <a:gd name="T71" fmla="*/ 98 h 159"/>
                <a:gd name="T72" fmla="*/ 90 w 130"/>
                <a:gd name="T73" fmla="*/ 89 h 159"/>
                <a:gd name="T74" fmla="*/ 96 w 130"/>
                <a:gd name="T75" fmla="*/ 80 h 159"/>
                <a:gd name="T76" fmla="*/ 100 w 130"/>
                <a:gd name="T77" fmla="*/ 70 h 159"/>
                <a:gd name="T78" fmla="*/ 104 w 130"/>
                <a:gd name="T79" fmla="*/ 61 h 159"/>
                <a:gd name="T80" fmla="*/ 107 w 130"/>
                <a:gd name="T81" fmla="*/ 51 h 159"/>
                <a:gd name="T82" fmla="*/ 110 w 130"/>
                <a:gd name="T83" fmla="*/ 40 h 159"/>
                <a:gd name="T84" fmla="*/ 111 w 130"/>
                <a:gd name="T85" fmla="*/ 28 h 159"/>
                <a:gd name="T86" fmla="*/ 111 w 130"/>
                <a:gd name="T87" fmla="*/ 17 h 159"/>
                <a:gd name="T88" fmla="*/ 19 w 130"/>
                <a:gd name="T89" fmla="*/ 17 h 159"/>
                <a:gd name="T90" fmla="*/ 19 w 130"/>
                <a:gd name="T91" fmla="*/ 1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 h="159">
                  <a:moveTo>
                    <a:pt x="0" y="159"/>
                  </a:moveTo>
                  <a:lnTo>
                    <a:pt x="0" y="0"/>
                  </a:lnTo>
                  <a:lnTo>
                    <a:pt x="128" y="0"/>
                  </a:lnTo>
                  <a:lnTo>
                    <a:pt x="128" y="9"/>
                  </a:lnTo>
                  <a:lnTo>
                    <a:pt x="128" y="9"/>
                  </a:lnTo>
                  <a:lnTo>
                    <a:pt x="130" y="16"/>
                  </a:lnTo>
                  <a:lnTo>
                    <a:pt x="130" y="16"/>
                  </a:lnTo>
                  <a:lnTo>
                    <a:pt x="128" y="30"/>
                  </a:lnTo>
                  <a:lnTo>
                    <a:pt x="127" y="43"/>
                  </a:lnTo>
                  <a:lnTo>
                    <a:pt x="124" y="57"/>
                  </a:lnTo>
                  <a:lnTo>
                    <a:pt x="120" y="69"/>
                  </a:lnTo>
                  <a:lnTo>
                    <a:pt x="115" y="80"/>
                  </a:lnTo>
                  <a:lnTo>
                    <a:pt x="110" y="91"/>
                  </a:lnTo>
                  <a:lnTo>
                    <a:pt x="103" y="102"/>
                  </a:lnTo>
                  <a:lnTo>
                    <a:pt x="95" y="112"/>
                  </a:lnTo>
                  <a:lnTo>
                    <a:pt x="87" y="121"/>
                  </a:lnTo>
                  <a:lnTo>
                    <a:pt x="78" y="130"/>
                  </a:lnTo>
                  <a:lnTo>
                    <a:pt x="68" y="137"/>
                  </a:lnTo>
                  <a:lnTo>
                    <a:pt x="57" y="143"/>
                  </a:lnTo>
                  <a:lnTo>
                    <a:pt x="47" y="149"/>
                  </a:lnTo>
                  <a:lnTo>
                    <a:pt x="35" y="153"/>
                  </a:lnTo>
                  <a:lnTo>
                    <a:pt x="22" y="157"/>
                  </a:lnTo>
                  <a:lnTo>
                    <a:pt x="10" y="158"/>
                  </a:lnTo>
                  <a:lnTo>
                    <a:pt x="0" y="159"/>
                  </a:lnTo>
                  <a:lnTo>
                    <a:pt x="0" y="159"/>
                  </a:lnTo>
                  <a:close/>
                  <a:moveTo>
                    <a:pt x="19" y="17"/>
                  </a:moveTo>
                  <a:lnTo>
                    <a:pt x="19" y="139"/>
                  </a:lnTo>
                  <a:lnTo>
                    <a:pt x="19" y="139"/>
                  </a:lnTo>
                  <a:lnTo>
                    <a:pt x="29" y="137"/>
                  </a:lnTo>
                  <a:lnTo>
                    <a:pt x="37" y="133"/>
                  </a:lnTo>
                  <a:lnTo>
                    <a:pt x="47" y="130"/>
                  </a:lnTo>
                  <a:lnTo>
                    <a:pt x="56" y="125"/>
                  </a:lnTo>
                  <a:lnTo>
                    <a:pt x="63" y="119"/>
                  </a:lnTo>
                  <a:lnTo>
                    <a:pt x="70" y="112"/>
                  </a:lnTo>
                  <a:lnTo>
                    <a:pt x="78" y="105"/>
                  </a:lnTo>
                  <a:lnTo>
                    <a:pt x="85" y="98"/>
                  </a:lnTo>
                  <a:lnTo>
                    <a:pt x="90" y="89"/>
                  </a:lnTo>
                  <a:lnTo>
                    <a:pt x="96" y="80"/>
                  </a:lnTo>
                  <a:lnTo>
                    <a:pt x="100" y="70"/>
                  </a:lnTo>
                  <a:lnTo>
                    <a:pt x="104" y="61"/>
                  </a:lnTo>
                  <a:lnTo>
                    <a:pt x="107" y="51"/>
                  </a:lnTo>
                  <a:lnTo>
                    <a:pt x="110" y="40"/>
                  </a:lnTo>
                  <a:lnTo>
                    <a:pt x="111" y="28"/>
                  </a:lnTo>
                  <a:lnTo>
                    <a:pt x="111" y="17"/>
                  </a:lnTo>
                  <a:lnTo>
                    <a:pt x="19" y="17"/>
                  </a:lnTo>
                  <a:lnTo>
                    <a:pt x="19" y="17"/>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8" name="Rectangle 131">
              <a:extLst>
                <a:ext uri="{FF2B5EF4-FFF2-40B4-BE49-F238E27FC236}">
                  <a16:creationId xmlns:a16="http://schemas.microsoft.com/office/drawing/2014/main" id="{96E832FC-02F0-E7F2-6644-5D603889B61A}"/>
                </a:ext>
              </a:extLst>
            </p:cNvPr>
            <p:cNvSpPr>
              <a:spLocks noChangeArrowheads="1"/>
            </p:cNvSpPr>
            <p:nvPr/>
          </p:nvSpPr>
          <p:spPr bwMode="auto">
            <a:xfrm>
              <a:off x="9484837" y="1852988"/>
              <a:ext cx="39688" cy="174625"/>
            </a:xfrm>
            <a:prstGeom prst="rect">
              <a:avLst/>
            </a:prstGeom>
            <a:solidFill>
              <a:srgbClr val="F99B1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9" name="Freeform 132">
              <a:extLst>
                <a:ext uri="{FF2B5EF4-FFF2-40B4-BE49-F238E27FC236}">
                  <a16:creationId xmlns:a16="http://schemas.microsoft.com/office/drawing/2014/main" id="{CD66BB9F-C88A-6BA1-D90A-527353B15322}"/>
                </a:ext>
              </a:extLst>
            </p:cNvPr>
            <p:cNvSpPr>
              <a:spLocks/>
            </p:cNvSpPr>
            <p:nvPr/>
          </p:nvSpPr>
          <p:spPr bwMode="auto">
            <a:xfrm>
              <a:off x="9389587" y="2011738"/>
              <a:ext cx="230188" cy="31750"/>
            </a:xfrm>
            <a:custGeom>
              <a:avLst/>
              <a:gdLst>
                <a:gd name="T0" fmla="*/ 145 w 145"/>
                <a:gd name="T1" fmla="*/ 20 h 20"/>
                <a:gd name="T2" fmla="*/ 145 w 145"/>
                <a:gd name="T3" fmla="*/ 11 h 20"/>
                <a:gd name="T4" fmla="*/ 145 w 145"/>
                <a:gd name="T5" fmla="*/ 11 h 20"/>
                <a:gd name="T6" fmla="*/ 143 w 145"/>
                <a:gd name="T7" fmla="*/ 6 h 20"/>
                <a:gd name="T8" fmla="*/ 142 w 145"/>
                <a:gd name="T9" fmla="*/ 4 h 20"/>
                <a:gd name="T10" fmla="*/ 139 w 145"/>
                <a:gd name="T11" fmla="*/ 1 h 20"/>
                <a:gd name="T12" fmla="*/ 136 w 145"/>
                <a:gd name="T13" fmla="*/ 0 h 20"/>
                <a:gd name="T14" fmla="*/ 9 w 145"/>
                <a:gd name="T15" fmla="*/ 0 h 20"/>
                <a:gd name="T16" fmla="*/ 9 w 145"/>
                <a:gd name="T17" fmla="*/ 0 h 20"/>
                <a:gd name="T18" fmla="*/ 5 w 145"/>
                <a:gd name="T19" fmla="*/ 1 h 20"/>
                <a:gd name="T20" fmla="*/ 3 w 145"/>
                <a:gd name="T21" fmla="*/ 4 h 20"/>
                <a:gd name="T22" fmla="*/ 0 w 145"/>
                <a:gd name="T23" fmla="*/ 6 h 20"/>
                <a:gd name="T24" fmla="*/ 0 w 145"/>
                <a:gd name="T25" fmla="*/ 11 h 20"/>
                <a:gd name="T26" fmla="*/ 0 w 145"/>
                <a:gd name="T27" fmla="*/ 20 h 20"/>
                <a:gd name="T28" fmla="*/ 145 w 145"/>
                <a:gd name="T2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5" h="20">
                  <a:moveTo>
                    <a:pt x="145" y="20"/>
                  </a:moveTo>
                  <a:lnTo>
                    <a:pt x="145" y="11"/>
                  </a:lnTo>
                  <a:lnTo>
                    <a:pt x="145" y="11"/>
                  </a:lnTo>
                  <a:lnTo>
                    <a:pt x="143" y="6"/>
                  </a:lnTo>
                  <a:lnTo>
                    <a:pt x="142" y="4"/>
                  </a:lnTo>
                  <a:lnTo>
                    <a:pt x="139" y="1"/>
                  </a:lnTo>
                  <a:lnTo>
                    <a:pt x="136" y="0"/>
                  </a:lnTo>
                  <a:lnTo>
                    <a:pt x="9" y="0"/>
                  </a:lnTo>
                  <a:lnTo>
                    <a:pt x="9" y="0"/>
                  </a:lnTo>
                  <a:lnTo>
                    <a:pt x="5" y="1"/>
                  </a:lnTo>
                  <a:lnTo>
                    <a:pt x="3" y="4"/>
                  </a:lnTo>
                  <a:lnTo>
                    <a:pt x="0" y="6"/>
                  </a:lnTo>
                  <a:lnTo>
                    <a:pt x="0" y="11"/>
                  </a:lnTo>
                  <a:lnTo>
                    <a:pt x="0" y="20"/>
                  </a:lnTo>
                  <a:lnTo>
                    <a:pt x="145" y="20"/>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50" name="Freeform 133">
              <a:extLst>
                <a:ext uri="{FF2B5EF4-FFF2-40B4-BE49-F238E27FC236}">
                  <a16:creationId xmlns:a16="http://schemas.microsoft.com/office/drawing/2014/main" id="{97E8BBAD-70C3-20A3-EC48-76878A1AB9FB}"/>
                </a:ext>
              </a:extLst>
            </p:cNvPr>
            <p:cNvSpPr>
              <a:spLocks/>
            </p:cNvSpPr>
            <p:nvPr/>
          </p:nvSpPr>
          <p:spPr bwMode="auto">
            <a:xfrm>
              <a:off x="9356249" y="1595813"/>
              <a:ext cx="146050" cy="401638"/>
            </a:xfrm>
            <a:custGeom>
              <a:avLst/>
              <a:gdLst>
                <a:gd name="T0" fmla="*/ 8 w 92"/>
                <a:gd name="T1" fmla="*/ 0 h 253"/>
                <a:gd name="T2" fmla="*/ 8 w 92"/>
                <a:gd name="T3" fmla="*/ 0 h 253"/>
                <a:gd name="T4" fmla="*/ 4 w 92"/>
                <a:gd name="T5" fmla="*/ 12 h 253"/>
                <a:gd name="T6" fmla="*/ 2 w 92"/>
                <a:gd name="T7" fmla="*/ 24 h 253"/>
                <a:gd name="T8" fmla="*/ 0 w 92"/>
                <a:gd name="T9" fmla="*/ 36 h 253"/>
                <a:gd name="T10" fmla="*/ 0 w 92"/>
                <a:gd name="T11" fmla="*/ 49 h 253"/>
                <a:gd name="T12" fmla="*/ 0 w 92"/>
                <a:gd name="T13" fmla="*/ 49 h 253"/>
                <a:gd name="T14" fmla="*/ 0 w 92"/>
                <a:gd name="T15" fmla="*/ 60 h 253"/>
                <a:gd name="T16" fmla="*/ 2 w 92"/>
                <a:gd name="T17" fmla="*/ 71 h 253"/>
                <a:gd name="T18" fmla="*/ 7 w 92"/>
                <a:gd name="T19" fmla="*/ 92 h 253"/>
                <a:gd name="T20" fmla="*/ 13 w 92"/>
                <a:gd name="T21" fmla="*/ 111 h 253"/>
                <a:gd name="T22" fmla="*/ 23 w 92"/>
                <a:gd name="T23" fmla="*/ 130 h 253"/>
                <a:gd name="T24" fmla="*/ 34 w 92"/>
                <a:gd name="T25" fmla="*/ 147 h 253"/>
                <a:gd name="T26" fmla="*/ 47 w 92"/>
                <a:gd name="T27" fmla="*/ 163 h 253"/>
                <a:gd name="T28" fmla="*/ 63 w 92"/>
                <a:gd name="T29" fmla="*/ 177 h 253"/>
                <a:gd name="T30" fmla="*/ 81 w 92"/>
                <a:gd name="T31" fmla="*/ 189 h 253"/>
                <a:gd name="T32" fmla="*/ 81 w 92"/>
                <a:gd name="T33" fmla="*/ 253 h 253"/>
                <a:gd name="T34" fmla="*/ 92 w 92"/>
                <a:gd name="T35" fmla="*/ 253 h 253"/>
                <a:gd name="T36" fmla="*/ 92 w 92"/>
                <a:gd name="T37" fmla="*/ 162 h 253"/>
                <a:gd name="T38" fmla="*/ 92 w 92"/>
                <a:gd name="T39" fmla="*/ 0 h 253"/>
                <a:gd name="T40" fmla="*/ 8 w 92"/>
                <a:gd name="T4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253">
                  <a:moveTo>
                    <a:pt x="8" y="0"/>
                  </a:moveTo>
                  <a:lnTo>
                    <a:pt x="8" y="0"/>
                  </a:lnTo>
                  <a:lnTo>
                    <a:pt x="4" y="12"/>
                  </a:lnTo>
                  <a:lnTo>
                    <a:pt x="2" y="24"/>
                  </a:lnTo>
                  <a:lnTo>
                    <a:pt x="0" y="36"/>
                  </a:lnTo>
                  <a:lnTo>
                    <a:pt x="0" y="49"/>
                  </a:lnTo>
                  <a:lnTo>
                    <a:pt x="0" y="49"/>
                  </a:lnTo>
                  <a:lnTo>
                    <a:pt x="0" y="60"/>
                  </a:lnTo>
                  <a:lnTo>
                    <a:pt x="2" y="71"/>
                  </a:lnTo>
                  <a:lnTo>
                    <a:pt x="7" y="92"/>
                  </a:lnTo>
                  <a:lnTo>
                    <a:pt x="13" y="111"/>
                  </a:lnTo>
                  <a:lnTo>
                    <a:pt x="23" y="130"/>
                  </a:lnTo>
                  <a:lnTo>
                    <a:pt x="34" y="147"/>
                  </a:lnTo>
                  <a:lnTo>
                    <a:pt x="47" y="163"/>
                  </a:lnTo>
                  <a:lnTo>
                    <a:pt x="63" y="177"/>
                  </a:lnTo>
                  <a:lnTo>
                    <a:pt x="81" y="189"/>
                  </a:lnTo>
                  <a:lnTo>
                    <a:pt x="81" y="253"/>
                  </a:lnTo>
                  <a:lnTo>
                    <a:pt x="92" y="253"/>
                  </a:lnTo>
                  <a:lnTo>
                    <a:pt x="92" y="162"/>
                  </a:lnTo>
                  <a:lnTo>
                    <a:pt x="92" y="0"/>
                  </a:lnTo>
                  <a:lnTo>
                    <a:pt x="8" y="0"/>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51" name="Freeform 134">
              <a:extLst>
                <a:ext uri="{FF2B5EF4-FFF2-40B4-BE49-F238E27FC236}">
                  <a16:creationId xmlns:a16="http://schemas.microsoft.com/office/drawing/2014/main" id="{73BFBA3B-AD09-8087-64C4-5C5CA17FA7F7}"/>
                </a:ext>
              </a:extLst>
            </p:cNvPr>
            <p:cNvSpPr>
              <a:spLocks/>
            </p:cNvSpPr>
            <p:nvPr/>
          </p:nvSpPr>
          <p:spPr bwMode="auto">
            <a:xfrm>
              <a:off x="9389587" y="2011738"/>
              <a:ext cx="112713" cy="31750"/>
            </a:xfrm>
            <a:custGeom>
              <a:avLst/>
              <a:gdLst>
                <a:gd name="T0" fmla="*/ 31 w 71"/>
                <a:gd name="T1" fmla="*/ 0 h 20"/>
                <a:gd name="T2" fmla="*/ 9 w 71"/>
                <a:gd name="T3" fmla="*/ 0 h 20"/>
                <a:gd name="T4" fmla="*/ 9 w 71"/>
                <a:gd name="T5" fmla="*/ 0 h 20"/>
                <a:gd name="T6" fmla="*/ 5 w 71"/>
                <a:gd name="T7" fmla="*/ 1 h 20"/>
                <a:gd name="T8" fmla="*/ 3 w 71"/>
                <a:gd name="T9" fmla="*/ 4 h 20"/>
                <a:gd name="T10" fmla="*/ 0 w 71"/>
                <a:gd name="T11" fmla="*/ 6 h 20"/>
                <a:gd name="T12" fmla="*/ 0 w 71"/>
                <a:gd name="T13" fmla="*/ 11 h 20"/>
                <a:gd name="T14" fmla="*/ 0 w 71"/>
                <a:gd name="T15" fmla="*/ 20 h 20"/>
                <a:gd name="T16" fmla="*/ 71 w 71"/>
                <a:gd name="T17" fmla="*/ 20 h 20"/>
                <a:gd name="T18" fmla="*/ 71 w 71"/>
                <a:gd name="T19" fmla="*/ 0 h 20"/>
                <a:gd name="T20" fmla="*/ 60 w 71"/>
                <a:gd name="T21" fmla="*/ 0 h 20"/>
                <a:gd name="T22" fmla="*/ 31 w 71"/>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20">
                  <a:moveTo>
                    <a:pt x="31" y="0"/>
                  </a:moveTo>
                  <a:lnTo>
                    <a:pt x="9" y="0"/>
                  </a:lnTo>
                  <a:lnTo>
                    <a:pt x="9" y="0"/>
                  </a:lnTo>
                  <a:lnTo>
                    <a:pt x="5" y="1"/>
                  </a:lnTo>
                  <a:lnTo>
                    <a:pt x="3" y="4"/>
                  </a:lnTo>
                  <a:lnTo>
                    <a:pt x="0" y="6"/>
                  </a:lnTo>
                  <a:lnTo>
                    <a:pt x="0" y="11"/>
                  </a:lnTo>
                  <a:lnTo>
                    <a:pt x="0" y="20"/>
                  </a:lnTo>
                  <a:lnTo>
                    <a:pt x="71" y="20"/>
                  </a:lnTo>
                  <a:lnTo>
                    <a:pt x="71" y="0"/>
                  </a:lnTo>
                  <a:lnTo>
                    <a:pt x="60" y="0"/>
                  </a:lnTo>
                  <a:lnTo>
                    <a:pt x="31" y="0"/>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52" name="Rectangle 135">
              <a:extLst>
                <a:ext uri="{FF2B5EF4-FFF2-40B4-BE49-F238E27FC236}">
                  <a16:creationId xmlns:a16="http://schemas.microsoft.com/office/drawing/2014/main" id="{F4F5DBE2-CF1F-2E9E-1C8C-F115282C7E93}"/>
                </a:ext>
              </a:extLst>
            </p:cNvPr>
            <p:cNvSpPr>
              <a:spLocks noChangeArrowheads="1"/>
            </p:cNvSpPr>
            <p:nvPr/>
          </p:nvSpPr>
          <p:spPr bwMode="auto">
            <a:xfrm>
              <a:off x="9361012" y="2040313"/>
              <a:ext cx="287338" cy="141288"/>
            </a:xfrm>
            <a:prstGeom prst="rect">
              <a:avLst/>
            </a:prstGeom>
            <a:solidFill>
              <a:srgbClr val="15B0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53" name="Rectangle 136">
              <a:extLst>
                <a:ext uri="{FF2B5EF4-FFF2-40B4-BE49-F238E27FC236}">
                  <a16:creationId xmlns:a16="http://schemas.microsoft.com/office/drawing/2014/main" id="{AB71E4A7-7442-5353-16FB-C709CD1B59A8}"/>
                </a:ext>
              </a:extLst>
            </p:cNvPr>
            <p:cNvSpPr>
              <a:spLocks noChangeArrowheads="1"/>
            </p:cNvSpPr>
            <p:nvPr/>
          </p:nvSpPr>
          <p:spPr bwMode="auto">
            <a:xfrm>
              <a:off x="9394349" y="2073650"/>
              <a:ext cx="219075" cy="74613"/>
            </a:xfrm>
            <a:prstGeom prst="rect">
              <a:avLst/>
            </a:prstGeom>
            <a:solidFill>
              <a:srgbClr val="1695A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54" name="Rectangle 137">
              <a:extLst>
                <a:ext uri="{FF2B5EF4-FFF2-40B4-BE49-F238E27FC236}">
                  <a16:creationId xmlns:a16="http://schemas.microsoft.com/office/drawing/2014/main" id="{62DE5E67-6589-F322-A861-D5D3D20BD860}"/>
                </a:ext>
              </a:extLst>
            </p:cNvPr>
            <p:cNvSpPr>
              <a:spLocks noChangeArrowheads="1"/>
            </p:cNvSpPr>
            <p:nvPr/>
          </p:nvSpPr>
          <p:spPr bwMode="auto">
            <a:xfrm>
              <a:off x="9348312" y="2176838"/>
              <a:ext cx="309563" cy="34925"/>
            </a:xfrm>
            <a:prstGeom prst="rect">
              <a:avLst/>
            </a:prstGeom>
            <a:solidFill>
              <a:srgbClr val="1695A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sp>
        <p:nvSpPr>
          <p:cNvPr id="2" name="Rectangle 1">
            <a:extLst>
              <a:ext uri="{FF2B5EF4-FFF2-40B4-BE49-F238E27FC236}">
                <a16:creationId xmlns:a16="http://schemas.microsoft.com/office/drawing/2014/main" id="{ED8920A1-2DE9-F200-35EB-C0D4EEFBBC62}"/>
              </a:ext>
            </a:extLst>
          </p:cNvPr>
          <p:cNvSpPr/>
          <p:nvPr/>
        </p:nvSpPr>
        <p:spPr>
          <a:xfrm>
            <a:off x="1186855" y="1985496"/>
            <a:ext cx="5942573" cy="3825534"/>
          </a:xfrm>
          <a:prstGeom prst="rect">
            <a:avLst/>
          </a:prstGeom>
          <a:solidFill>
            <a:schemeClr val="bg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Arial" panose="020B0604020202020204" pitchFamily="34" charset="0"/>
            </a:endParaRPr>
          </a:p>
        </p:txBody>
      </p:sp>
      <p:sp>
        <p:nvSpPr>
          <p:cNvPr id="3" name="Rectangle 2">
            <a:extLst>
              <a:ext uri="{FF2B5EF4-FFF2-40B4-BE49-F238E27FC236}">
                <a16:creationId xmlns:a16="http://schemas.microsoft.com/office/drawing/2014/main" id="{FBCA856F-72FD-ACB3-ED00-2F892AFDB025}"/>
              </a:ext>
            </a:extLst>
          </p:cNvPr>
          <p:cNvSpPr/>
          <p:nvPr/>
        </p:nvSpPr>
        <p:spPr>
          <a:xfrm>
            <a:off x="9113158" y="1995818"/>
            <a:ext cx="2020326" cy="3815212"/>
          </a:xfrm>
          <a:prstGeom prst="rect">
            <a:avLst/>
          </a:prstGeom>
          <a:solidFill>
            <a:schemeClr val="bg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Arial" panose="020B0604020202020204" pitchFamily="34" charset="0"/>
            </a:endParaRPr>
          </a:p>
        </p:txBody>
      </p:sp>
    </p:spTree>
    <p:custDataLst>
      <p:tags r:id="rId1"/>
    </p:custDataLst>
    <p:extLst>
      <p:ext uri="{BB962C8B-B14F-4D97-AF65-F5344CB8AC3E}">
        <p14:creationId xmlns:p14="http://schemas.microsoft.com/office/powerpoint/2010/main" val="400094819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866B0A-1903-4773-984F-54753D1F66A9}"/>
              </a:ext>
            </a:extLst>
          </p:cNvPr>
          <p:cNvSpPr>
            <a:spLocks noGrp="1"/>
          </p:cNvSpPr>
          <p:nvPr>
            <p:ph type="title"/>
          </p:nvPr>
        </p:nvSpPr>
        <p:spPr/>
        <p:txBody>
          <a:bodyPr/>
          <a:lstStyle/>
          <a:p>
            <a:r>
              <a:rPr lang="en-US">
                <a:latin typeface="+mn-lt"/>
              </a:rPr>
              <a:t>Customized Abatement Plan</a:t>
            </a:r>
          </a:p>
        </p:txBody>
      </p:sp>
      <p:sp>
        <p:nvSpPr>
          <p:cNvPr id="6" name="TextBox 5">
            <a:extLst>
              <a:ext uri="{FF2B5EF4-FFF2-40B4-BE49-F238E27FC236}">
                <a16:creationId xmlns:a16="http://schemas.microsoft.com/office/drawing/2014/main" id="{40B5CFE1-D1D1-C205-3849-FB13BAE65C75}"/>
              </a:ext>
            </a:extLst>
          </p:cNvPr>
          <p:cNvSpPr txBox="1"/>
          <p:nvPr/>
        </p:nvSpPr>
        <p:spPr>
          <a:xfrm>
            <a:off x="429490" y="1565565"/>
            <a:ext cx="7391401" cy="3477875"/>
          </a:xfrm>
          <a:prstGeom prst="rect">
            <a:avLst/>
          </a:prstGeom>
          <a:noFill/>
        </p:spPr>
        <p:txBody>
          <a:bodyPr wrap="square" rtlCol="0">
            <a:spAutoFit/>
          </a:bodyPr>
          <a:lstStyle/>
          <a:p>
            <a:r>
              <a:rPr lang="en-US" sz="2400" b="1"/>
              <a:t>Customized Abatement Plan activity:</a:t>
            </a:r>
          </a:p>
          <a:p>
            <a:endParaRPr lang="en-US"/>
          </a:p>
          <a:p>
            <a:pPr marL="574675" indent="-290513">
              <a:buFont typeface="+mj-lt"/>
              <a:buAutoNum type="arabicPeriod"/>
            </a:pPr>
            <a:r>
              <a:rPr lang="en-US" sz="2000"/>
              <a:t>Review the two Customized Abatement Plans</a:t>
            </a:r>
          </a:p>
          <a:p>
            <a:pPr marL="574675" indent="-290513">
              <a:buFont typeface="+mj-lt"/>
              <a:buAutoNum type="arabicPeriod"/>
            </a:pPr>
            <a:r>
              <a:rPr lang="en-US" sz="2000"/>
              <a:t>In your group, respond to the following questions:</a:t>
            </a:r>
          </a:p>
          <a:p>
            <a:pPr marL="1031875" lvl="1" indent="-290513">
              <a:buFont typeface="+mj-lt"/>
              <a:buAutoNum type="arabicPeriod"/>
            </a:pPr>
            <a:r>
              <a:rPr lang="en-US" sz="2000"/>
              <a:t>What are some current areas of opportunity that your organization may need to address?</a:t>
            </a:r>
          </a:p>
          <a:p>
            <a:pPr marL="1031875" lvl="1" indent="-290513">
              <a:buFont typeface="+mj-lt"/>
              <a:buAutoNum type="arabicPeriod"/>
            </a:pPr>
            <a:r>
              <a:rPr lang="en-US" sz="2000"/>
              <a:t>Based on the examples, do you see any similarities between these two organizations and your organization?</a:t>
            </a:r>
          </a:p>
          <a:p>
            <a:pPr marL="1031875" lvl="1" indent="-290513">
              <a:buFont typeface="+mj-lt"/>
              <a:buAutoNum type="arabicPeriod"/>
            </a:pPr>
            <a:r>
              <a:rPr lang="en-US" sz="2000"/>
              <a:t>How will you share and review the Abatement Plan within your organization.</a:t>
            </a:r>
          </a:p>
          <a:p>
            <a:pPr marL="1031875" lvl="1" indent="-290513">
              <a:buFont typeface="+mj-lt"/>
              <a:buAutoNum type="arabicPeriod"/>
            </a:pPr>
            <a:endParaRPr lang="en-US"/>
          </a:p>
        </p:txBody>
      </p:sp>
      <p:pic>
        <p:nvPicPr>
          <p:cNvPr id="10" name="Picture 9">
            <a:extLst>
              <a:ext uri="{FF2B5EF4-FFF2-40B4-BE49-F238E27FC236}">
                <a16:creationId xmlns:a16="http://schemas.microsoft.com/office/drawing/2014/main" id="{5A6DB7E9-6E0D-B016-E020-D88FF889FD81}"/>
              </a:ext>
            </a:extLst>
          </p:cNvPr>
          <p:cNvPicPr>
            <a:picLocks noChangeAspect="1"/>
          </p:cNvPicPr>
          <p:nvPr/>
        </p:nvPicPr>
        <p:blipFill>
          <a:blip r:embed="rId3"/>
          <a:stretch>
            <a:fillRect/>
          </a:stretch>
        </p:blipFill>
        <p:spPr>
          <a:xfrm>
            <a:off x="7974813" y="1484622"/>
            <a:ext cx="3727642" cy="4775445"/>
          </a:xfrm>
          <a:prstGeom prst="rect">
            <a:avLst/>
          </a:prstGeom>
          <a:effectLst>
            <a:outerShdw blurRad="50800" dist="38100" dir="2700000" algn="tl" rotWithShape="0">
              <a:prstClr val="black">
                <a:alpha val="40000"/>
              </a:prstClr>
            </a:outerShdw>
          </a:effectLst>
        </p:spPr>
      </p:pic>
    </p:spTree>
    <p:custDataLst>
      <p:tags r:id="rId1"/>
    </p:custDataLst>
    <p:extLst>
      <p:ext uri="{BB962C8B-B14F-4D97-AF65-F5344CB8AC3E}">
        <p14:creationId xmlns:p14="http://schemas.microsoft.com/office/powerpoint/2010/main" val="55560037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661C941-9F63-0333-BD70-53A90D46A7DA}"/>
              </a:ext>
            </a:extLst>
          </p:cNvPr>
          <p:cNvSpPr/>
          <p:nvPr/>
        </p:nvSpPr>
        <p:spPr>
          <a:xfrm>
            <a:off x="-1821" y="1166604"/>
            <a:ext cx="12183122" cy="569139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AD2ECCA3-03D9-E235-DA4D-24F08577C104}"/>
              </a:ext>
            </a:extLst>
          </p:cNvPr>
          <p:cNvSpPr>
            <a:spLocks noGrp="1"/>
          </p:cNvSpPr>
          <p:nvPr>
            <p:ph type="title"/>
          </p:nvPr>
        </p:nvSpPr>
        <p:spPr/>
        <p:txBody>
          <a:bodyPr/>
          <a:lstStyle/>
          <a:p>
            <a:r>
              <a:rPr lang="en-US">
                <a:latin typeface="+mn-lt"/>
              </a:rPr>
              <a:t>F-ROC Applicant Process</a:t>
            </a:r>
          </a:p>
        </p:txBody>
      </p:sp>
      <p:sp>
        <p:nvSpPr>
          <p:cNvPr id="7" name="Rectangle 6">
            <a:extLst>
              <a:ext uri="{FF2B5EF4-FFF2-40B4-BE49-F238E27FC236}">
                <a16:creationId xmlns:a16="http://schemas.microsoft.com/office/drawing/2014/main" id="{25C30CE7-C5C8-EFD5-D053-584693747171}"/>
              </a:ext>
            </a:extLst>
          </p:cNvPr>
          <p:cNvSpPr/>
          <p:nvPr/>
        </p:nvSpPr>
        <p:spPr>
          <a:xfrm>
            <a:off x="1238008" y="2016578"/>
            <a:ext cx="1912181" cy="3773693"/>
          </a:xfrm>
          <a:prstGeom prst="rect">
            <a:avLst/>
          </a:prstGeom>
          <a:solidFill>
            <a:sysClr val="window" lastClr="FFFFFF"/>
          </a:solidFill>
          <a:ln w="6350" cap="flat" cmpd="sng" algn="ctr">
            <a:solidFill>
              <a:srgbClr val="00338D"/>
            </a:solidFill>
            <a:prstDash val="solid"/>
          </a:ln>
          <a:effectLst/>
        </p:spPr>
        <p:txBody>
          <a:bodyPr lIns="84406" tIns="1941342" rIns="84406" rtlCol="0" anchor="t"/>
          <a:lstStyle/>
          <a:p>
            <a:pPr marL="4397" algn="ctr"/>
            <a:r>
              <a:rPr lang="en-US" sz="2000" b="1">
                <a:solidFill>
                  <a:srgbClr val="00338D"/>
                </a:solidFill>
                <a:cs typeface="Arial" panose="020B0604020202020204" pitchFamily="34" charset="0"/>
              </a:rPr>
              <a:t>Complete Opt-in Course</a:t>
            </a:r>
          </a:p>
        </p:txBody>
      </p:sp>
      <p:sp>
        <p:nvSpPr>
          <p:cNvPr id="8" name="Pentagon 7">
            <a:extLst>
              <a:ext uri="{FF2B5EF4-FFF2-40B4-BE49-F238E27FC236}">
                <a16:creationId xmlns:a16="http://schemas.microsoft.com/office/drawing/2014/main" id="{A6F79AC1-6481-5218-6686-7778CFFC5582}"/>
              </a:ext>
            </a:extLst>
          </p:cNvPr>
          <p:cNvSpPr/>
          <p:nvPr/>
        </p:nvSpPr>
        <p:spPr>
          <a:xfrm>
            <a:off x="1213182" y="2119526"/>
            <a:ext cx="1397821" cy="294439"/>
          </a:xfrm>
          <a:prstGeom prst="homePlate">
            <a:avLst/>
          </a:prstGeom>
          <a:solidFill>
            <a:srgbClr val="00338D"/>
          </a:solidFill>
          <a:ln w="25400" cap="flat" cmpd="sng" algn="ctr">
            <a:solidFill>
              <a:srgbClr val="00338D"/>
            </a:solidFill>
            <a:prstDash val="solid"/>
          </a:ln>
          <a:effectLst/>
        </p:spPr>
        <p:txBody>
          <a:bodyPr rtlCol="0" anchor="ctr"/>
          <a:lstStyle/>
          <a:p>
            <a:pPr algn="ctr" defTabSz="844083">
              <a:defRPr/>
            </a:pPr>
            <a:r>
              <a:rPr lang="en-US" sz="1846" b="1" kern="0">
                <a:solidFill>
                  <a:sysClr val="window" lastClr="FFFFFF"/>
                </a:solidFill>
                <a:cs typeface="Arial" pitchFamily="34" charset="0"/>
              </a:rPr>
              <a:t>1</a:t>
            </a:r>
          </a:p>
        </p:txBody>
      </p:sp>
      <p:sp>
        <p:nvSpPr>
          <p:cNvPr id="11" name="Rectangle 10">
            <a:extLst>
              <a:ext uri="{FF2B5EF4-FFF2-40B4-BE49-F238E27FC236}">
                <a16:creationId xmlns:a16="http://schemas.microsoft.com/office/drawing/2014/main" id="{85C03193-E826-C1FC-7A27-53EC3951225F}"/>
              </a:ext>
            </a:extLst>
          </p:cNvPr>
          <p:cNvSpPr/>
          <p:nvPr/>
        </p:nvSpPr>
        <p:spPr>
          <a:xfrm>
            <a:off x="3216914" y="2021025"/>
            <a:ext cx="1912181" cy="3773693"/>
          </a:xfrm>
          <a:prstGeom prst="rect">
            <a:avLst/>
          </a:prstGeom>
          <a:solidFill>
            <a:sysClr val="window" lastClr="FFFFFF"/>
          </a:solidFill>
          <a:ln w="6350" cap="flat" cmpd="sng" algn="ctr">
            <a:solidFill>
              <a:srgbClr val="005EB8"/>
            </a:solidFill>
            <a:prstDash val="solid"/>
          </a:ln>
          <a:effectLst/>
        </p:spPr>
        <p:txBody>
          <a:bodyPr lIns="84406" tIns="1941342" rIns="84406" rtlCol="0" anchor="t"/>
          <a:lstStyle/>
          <a:p>
            <a:pPr marL="4397" algn="ctr"/>
            <a:r>
              <a:rPr lang="en-US" sz="2000" b="1">
                <a:solidFill>
                  <a:srgbClr val="005EB8"/>
                </a:solidFill>
                <a:cs typeface="Arial" panose="020B0604020202020204" pitchFamily="34" charset="0"/>
              </a:rPr>
              <a:t>Sign Participation Request Form </a:t>
            </a:r>
          </a:p>
        </p:txBody>
      </p:sp>
      <p:sp>
        <p:nvSpPr>
          <p:cNvPr id="12" name="Pentagon 11">
            <a:extLst>
              <a:ext uri="{FF2B5EF4-FFF2-40B4-BE49-F238E27FC236}">
                <a16:creationId xmlns:a16="http://schemas.microsoft.com/office/drawing/2014/main" id="{DEA40AF6-C61D-49A3-0DC7-7EE8DA585431}"/>
              </a:ext>
            </a:extLst>
          </p:cNvPr>
          <p:cNvSpPr/>
          <p:nvPr/>
        </p:nvSpPr>
        <p:spPr>
          <a:xfrm>
            <a:off x="3184292" y="2119526"/>
            <a:ext cx="1397821" cy="294438"/>
          </a:xfrm>
          <a:prstGeom prst="homePlate">
            <a:avLst/>
          </a:prstGeom>
          <a:solidFill>
            <a:srgbClr val="005EB8"/>
          </a:solidFill>
          <a:ln w="25400" cap="flat" cmpd="sng" algn="ctr">
            <a:noFill/>
            <a:prstDash val="solid"/>
          </a:ln>
          <a:effectLst/>
        </p:spPr>
        <p:txBody>
          <a:bodyPr rtlCol="0" anchor="ctr"/>
          <a:lstStyle/>
          <a:p>
            <a:pPr algn="ctr" defTabSz="844083">
              <a:defRPr/>
            </a:pPr>
            <a:r>
              <a:rPr lang="en-US" sz="1846" b="1" kern="0">
                <a:solidFill>
                  <a:sysClr val="window" lastClr="FFFFFF"/>
                </a:solidFill>
                <a:cs typeface="Arial" pitchFamily="34" charset="0"/>
              </a:rPr>
              <a:t>2</a:t>
            </a:r>
          </a:p>
        </p:txBody>
      </p:sp>
      <p:sp>
        <p:nvSpPr>
          <p:cNvPr id="14" name="Rectangle 13">
            <a:extLst>
              <a:ext uri="{FF2B5EF4-FFF2-40B4-BE49-F238E27FC236}">
                <a16:creationId xmlns:a16="http://schemas.microsoft.com/office/drawing/2014/main" id="{7D5159CA-4E9A-8FE6-3EEF-FD4FA095A2BB}"/>
              </a:ext>
            </a:extLst>
          </p:cNvPr>
          <p:cNvSpPr/>
          <p:nvPr/>
        </p:nvSpPr>
        <p:spPr>
          <a:xfrm>
            <a:off x="5198164" y="2016578"/>
            <a:ext cx="1912181" cy="3773693"/>
          </a:xfrm>
          <a:prstGeom prst="rect">
            <a:avLst/>
          </a:prstGeom>
          <a:solidFill>
            <a:sysClr val="window" lastClr="FFFFFF"/>
          </a:solidFill>
          <a:ln w="6350" cap="flat" cmpd="sng" algn="ctr">
            <a:solidFill>
              <a:srgbClr val="0091DA"/>
            </a:solidFill>
            <a:prstDash val="solid"/>
          </a:ln>
          <a:effectLst/>
        </p:spPr>
        <p:txBody>
          <a:bodyPr lIns="84406" tIns="1941342" rIns="84406" rtlCol="0" anchor="t"/>
          <a:lstStyle/>
          <a:p>
            <a:pPr marL="4397" algn="ctr"/>
            <a:r>
              <a:rPr lang="en-US" sz="2000" b="1">
                <a:solidFill>
                  <a:srgbClr val="0091DA"/>
                </a:solidFill>
                <a:cs typeface="Arial" panose="020B0604020202020204" pitchFamily="34" charset="0"/>
              </a:rPr>
              <a:t>Complete Disaster Readiness Assessment</a:t>
            </a:r>
          </a:p>
        </p:txBody>
      </p:sp>
      <p:sp>
        <p:nvSpPr>
          <p:cNvPr id="15" name="Pentagon 14">
            <a:extLst>
              <a:ext uri="{FF2B5EF4-FFF2-40B4-BE49-F238E27FC236}">
                <a16:creationId xmlns:a16="http://schemas.microsoft.com/office/drawing/2014/main" id="{2F25347C-B6B3-93AC-E1A8-25D3E8FE4DDA}"/>
              </a:ext>
            </a:extLst>
          </p:cNvPr>
          <p:cNvSpPr/>
          <p:nvPr/>
        </p:nvSpPr>
        <p:spPr>
          <a:xfrm>
            <a:off x="5166022" y="2119526"/>
            <a:ext cx="1397821" cy="294438"/>
          </a:xfrm>
          <a:prstGeom prst="homePlate">
            <a:avLst/>
          </a:prstGeom>
          <a:solidFill>
            <a:srgbClr val="0091DA"/>
          </a:solidFill>
          <a:ln w="25400" cap="flat" cmpd="sng" algn="ctr">
            <a:noFill/>
            <a:prstDash val="solid"/>
          </a:ln>
          <a:effectLst/>
        </p:spPr>
        <p:txBody>
          <a:bodyPr rtlCol="0" anchor="ctr"/>
          <a:lstStyle/>
          <a:p>
            <a:pPr algn="ctr" defTabSz="844083">
              <a:defRPr/>
            </a:pPr>
            <a:r>
              <a:rPr lang="en-US" sz="1846" b="1" kern="0">
                <a:solidFill>
                  <a:sysClr val="window" lastClr="FFFFFF"/>
                </a:solidFill>
                <a:cs typeface="Arial" pitchFamily="34" charset="0"/>
              </a:rPr>
              <a:t>3</a:t>
            </a:r>
          </a:p>
        </p:txBody>
      </p:sp>
      <p:sp>
        <p:nvSpPr>
          <p:cNvPr id="17" name="Rectangle 16">
            <a:extLst>
              <a:ext uri="{FF2B5EF4-FFF2-40B4-BE49-F238E27FC236}">
                <a16:creationId xmlns:a16="http://schemas.microsoft.com/office/drawing/2014/main" id="{F0C1E350-F1CF-B835-1256-FD3AB2931220}"/>
              </a:ext>
            </a:extLst>
          </p:cNvPr>
          <p:cNvSpPr/>
          <p:nvPr/>
        </p:nvSpPr>
        <p:spPr>
          <a:xfrm>
            <a:off x="7171732" y="2016578"/>
            <a:ext cx="1912181" cy="3773693"/>
          </a:xfrm>
          <a:prstGeom prst="rect">
            <a:avLst/>
          </a:prstGeom>
          <a:solidFill>
            <a:sysClr val="window" lastClr="FFFFFF"/>
          </a:solidFill>
          <a:ln w="6350" cap="flat" cmpd="sng" algn="ctr">
            <a:solidFill>
              <a:srgbClr val="483698"/>
            </a:solidFill>
            <a:prstDash val="solid"/>
          </a:ln>
          <a:effectLst/>
        </p:spPr>
        <p:txBody>
          <a:bodyPr lIns="84406" tIns="1941342" rIns="84406" rtlCol="0" anchor="t"/>
          <a:lstStyle/>
          <a:p>
            <a:pPr marL="4397" algn="ctr"/>
            <a:r>
              <a:rPr lang="en-US" sz="2000" b="1">
                <a:solidFill>
                  <a:srgbClr val="483698"/>
                </a:solidFill>
                <a:cs typeface="Arial" panose="020B0604020202020204" pitchFamily="34" charset="0"/>
              </a:rPr>
              <a:t>Create Customized Abatement Plan (based on your options)</a:t>
            </a:r>
          </a:p>
        </p:txBody>
      </p:sp>
      <p:sp>
        <p:nvSpPr>
          <p:cNvPr id="18" name="Pentagon 17">
            <a:extLst>
              <a:ext uri="{FF2B5EF4-FFF2-40B4-BE49-F238E27FC236}">
                <a16:creationId xmlns:a16="http://schemas.microsoft.com/office/drawing/2014/main" id="{814A4920-3EE0-7729-71BA-266602FCDC35}"/>
              </a:ext>
            </a:extLst>
          </p:cNvPr>
          <p:cNvSpPr/>
          <p:nvPr/>
        </p:nvSpPr>
        <p:spPr>
          <a:xfrm>
            <a:off x="7142487" y="2119526"/>
            <a:ext cx="1397821" cy="294438"/>
          </a:xfrm>
          <a:prstGeom prst="homePlate">
            <a:avLst/>
          </a:prstGeom>
          <a:solidFill>
            <a:srgbClr val="483698"/>
          </a:solidFill>
          <a:ln w="25400" cap="flat" cmpd="sng" algn="ctr">
            <a:noFill/>
            <a:prstDash val="solid"/>
          </a:ln>
          <a:effectLst/>
        </p:spPr>
        <p:txBody>
          <a:bodyPr rtlCol="0" anchor="ctr"/>
          <a:lstStyle/>
          <a:p>
            <a:pPr algn="ctr" defTabSz="844083">
              <a:defRPr/>
            </a:pPr>
            <a:r>
              <a:rPr lang="en-US" sz="1846" b="1" kern="0">
                <a:solidFill>
                  <a:sysClr val="window" lastClr="FFFFFF"/>
                </a:solidFill>
                <a:cs typeface="Arial" pitchFamily="34" charset="0"/>
              </a:rPr>
              <a:t>4</a:t>
            </a:r>
          </a:p>
        </p:txBody>
      </p:sp>
      <p:sp>
        <p:nvSpPr>
          <p:cNvPr id="20" name="Rectangle 19">
            <a:extLst>
              <a:ext uri="{FF2B5EF4-FFF2-40B4-BE49-F238E27FC236}">
                <a16:creationId xmlns:a16="http://schemas.microsoft.com/office/drawing/2014/main" id="{26138A86-4184-02A1-42CA-B26D25A8DEC8}"/>
              </a:ext>
            </a:extLst>
          </p:cNvPr>
          <p:cNvSpPr/>
          <p:nvPr/>
        </p:nvSpPr>
        <p:spPr>
          <a:xfrm>
            <a:off x="9152983" y="2019221"/>
            <a:ext cx="1913915" cy="3773693"/>
          </a:xfrm>
          <a:prstGeom prst="rect">
            <a:avLst/>
          </a:prstGeom>
          <a:solidFill>
            <a:sysClr val="window" lastClr="FFFFFF"/>
          </a:solidFill>
          <a:ln w="6350" cap="flat" cmpd="sng" algn="ctr">
            <a:solidFill>
              <a:srgbClr val="470A68"/>
            </a:solidFill>
            <a:prstDash val="solid"/>
          </a:ln>
          <a:effectLst/>
        </p:spPr>
        <p:txBody>
          <a:bodyPr lIns="84406" tIns="1941342" rIns="84406" rtlCol="0" anchor="t"/>
          <a:lstStyle/>
          <a:p>
            <a:pPr marL="4397" algn="ctr"/>
            <a:r>
              <a:rPr lang="en-US" sz="2000" b="1">
                <a:solidFill>
                  <a:srgbClr val="470A68"/>
                </a:solidFill>
                <a:cs typeface="Arial" panose="020B0604020202020204" pitchFamily="34" charset="0"/>
              </a:rPr>
              <a:t>Complete and Submit Post Disaster Questionnaire</a:t>
            </a:r>
          </a:p>
        </p:txBody>
      </p:sp>
      <p:sp>
        <p:nvSpPr>
          <p:cNvPr id="21" name="Pentagon 20">
            <a:extLst>
              <a:ext uri="{FF2B5EF4-FFF2-40B4-BE49-F238E27FC236}">
                <a16:creationId xmlns:a16="http://schemas.microsoft.com/office/drawing/2014/main" id="{F890A4B6-17D0-DADD-B1A2-6432B9B20335}"/>
              </a:ext>
            </a:extLst>
          </p:cNvPr>
          <p:cNvSpPr/>
          <p:nvPr/>
        </p:nvSpPr>
        <p:spPr>
          <a:xfrm>
            <a:off x="9128489" y="2119526"/>
            <a:ext cx="1397821" cy="294438"/>
          </a:xfrm>
          <a:prstGeom prst="homePlate">
            <a:avLst/>
          </a:prstGeom>
          <a:solidFill>
            <a:srgbClr val="470A68"/>
          </a:solidFill>
          <a:ln w="25400" cap="flat" cmpd="sng" algn="ctr">
            <a:noFill/>
            <a:prstDash val="solid"/>
          </a:ln>
          <a:effectLst/>
        </p:spPr>
        <p:txBody>
          <a:bodyPr rtlCol="0" anchor="ctr"/>
          <a:lstStyle/>
          <a:p>
            <a:pPr algn="ctr" defTabSz="844083">
              <a:defRPr/>
            </a:pPr>
            <a:r>
              <a:rPr lang="en-US" sz="1846" b="1" kern="0">
                <a:solidFill>
                  <a:sysClr val="window" lastClr="FFFFFF"/>
                </a:solidFill>
                <a:cs typeface="Arial" pitchFamily="34" charset="0"/>
              </a:rPr>
              <a:t>5</a:t>
            </a:r>
          </a:p>
        </p:txBody>
      </p:sp>
      <p:grpSp>
        <p:nvGrpSpPr>
          <p:cNvPr id="438" name="Group 437">
            <a:extLst>
              <a:ext uri="{FF2B5EF4-FFF2-40B4-BE49-F238E27FC236}">
                <a16:creationId xmlns:a16="http://schemas.microsoft.com/office/drawing/2014/main" id="{FD30B32F-BD69-8F16-1F24-D5E6D2DB961D}"/>
              </a:ext>
            </a:extLst>
          </p:cNvPr>
          <p:cNvGrpSpPr/>
          <p:nvPr/>
        </p:nvGrpSpPr>
        <p:grpSpPr>
          <a:xfrm>
            <a:off x="3502725" y="2594832"/>
            <a:ext cx="1279601" cy="1141859"/>
            <a:chOff x="503700" y="2768118"/>
            <a:chExt cx="1015408" cy="946810"/>
          </a:xfrm>
        </p:grpSpPr>
        <p:sp>
          <p:nvSpPr>
            <p:cNvPr id="368" name="Freeform 23">
              <a:extLst>
                <a:ext uri="{FF2B5EF4-FFF2-40B4-BE49-F238E27FC236}">
                  <a16:creationId xmlns:a16="http://schemas.microsoft.com/office/drawing/2014/main" id="{1CFC8EEE-8A93-24E0-102F-4EE63D14096E}"/>
                </a:ext>
              </a:extLst>
            </p:cNvPr>
            <p:cNvSpPr>
              <a:spLocks/>
            </p:cNvSpPr>
            <p:nvPr/>
          </p:nvSpPr>
          <p:spPr bwMode="auto">
            <a:xfrm>
              <a:off x="503700" y="2768118"/>
              <a:ext cx="1015408" cy="946810"/>
            </a:xfrm>
            <a:custGeom>
              <a:avLst/>
              <a:gdLst>
                <a:gd name="T0" fmla="*/ 332 w 701"/>
                <a:gd name="T1" fmla="*/ 701 h 701"/>
                <a:gd name="T2" fmla="*/ 280 w 701"/>
                <a:gd name="T3" fmla="*/ 694 h 701"/>
                <a:gd name="T4" fmla="*/ 230 w 701"/>
                <a:gd name="T5" fmla="*/ 680 h 701"/>
                <a:gd name="T6" fmla="*/ 184 w 701"/>
                <a:gd name="T7" fmla="*/ 659 h 701"/>
                <a:gd name="T8" fmla="*/ 141 w 701"/>
                <a:gd name="T9" fmla="*/ 631 h 701"/>
                <a:gd name="T10" fmla="*/ 103 w 701"/>
                <a:gd name="T11" fmla="*/ 598 h 701"/>
                <a:gd name="T12" fmla="*/ 69 w 701"/>
                <a:gd name="T13" fmla="*/ 560 h 701"/>
                <a:gd name="T14" fmla="*/ 42 w 701"/>
                <a:gd name="T15" fmla="*/ 518 h 701"/>
                <a:gd name="T16" fmla="*/ 21 w 701"/>
                <a:gd name="T17" fmla="*/ 471 h 701"/>
                <a:gd name="T18" fmla="*/ 8 w 701"/>
                <a:gd name="T19" fmla="*/ 421 h 701"/>
                <a:gd name="T20" fmla="*/ 0 w 701"/>
                <a:gd name="T21" fmla="*/ 369 h 701"/>
                <a:gd name="T22" fmla="*/ 0 w 701"/>
                <a:gd name="T23" fmla="*/ 333 h 701"/>
                <a:gd name="T24" fmla="*/ 8 w 701"/>
                <a:gd name="T25" fmla="*/ 280 h 701"/>
                <a:gd name="T26" fmla="*/ 21 w 701"/>
                <a:gd name="T27" fmla="*/ 231 h 701"/>
                <a:gd name="T28" fmla="*/ 42 w 701"/>
                <a:gd name="T29" fmla="*/ 184 h 701"/>
                <a:gd name="T30" fmla="*/ 69 w 701"/>
                <a:gd name="T31" fmla="*/ 141 h 701"/>
                <a:gd name="T32" fmla="*/ 103 w 701"/>
                <a:gd name="T33" fmla="*/ 102 h 701"/>
                <a:gd name="T34" fmla="*/ 141 w 701"/>
                <a:gd name="T35" fmla="*/ 70 h 701"/>
                <a:gd name="T36" fmla="*/ 184 w 701"/>
                <a:gd name="T37" fmla="*/ 42 h 701"/>
                <a:gd name="T38" fmla="*/ 230 w 701"/>
                <a:gd name="T39" fmla="*/ 21 h 701"/>
                <a:gd name="T40" fmla="*/ 280 w 701"/>
                <a:gd name="T41" fmla="*/ 7 h 701"/>
                <a:gd name="T42" fmla="*/ 332 w 701"/>
                <a:gd name="T43" fmla="*/ 0 h 701"/>
                <a:gd name="T44" fmla="*/ 369 w 701"/>
                <a:gd name="T45" fmla="*/ 0 h 701"/>
                <a:gd name="T46" fmla="*/ 421 w 701"/>
                <a:gd name="T47" fmla="*/ 7 h 701"/>
                <a:gd name="T48" fmla="*/ 472 w 701"/>
                <a:gd name="T49" fmla="*/ 21 h 701"/>
                <a:gd name="T50" fmla="*/ 517 w 701"/>
                <a:gd name="T51" fmla="*/ 42 h 701"/>
                <a:gd name="T52" fmla="*/ 560 w 701"/>
                <a:gd name="T53" fmla="*/ 70 h 701"/>
                <a:gd name="T54" fmla="*/ 599 w 701"/>
                <a:gd name="T55" fmla="*/ 102 h 701"/>
                <a:gd name="T56" fmla="*/ 632 w 701"/>
                <a:gd name="T57" fmla="*/ 141 h 701"/>
                <a:gd name="T58" fmla="*/ 659 w 701"/>
                <a:gd name="T59" fmla="*/ 184 h 701"/>
                <a:gd name="T60" fmla="*/ 680 w 701"/>
                <a:gd name="T61" fmla="*/ 231 h 701"/>
                <a:gd name="T62" fmla="*/ 694 w 701"/>
                <a:gd name="T63" fmla="*/ 280 h 701"/>
                <a:gd name="T64" fmla="*/ 701 w 701"/>
                <a:gd name="T65" fmla="*/ 333 h 701"/>
                <a:gd name="T66" fmla="*/ 701 w 701"/>
                <a:gd name="T67" fmla="*/ 369 h 701"/>
                <a:gd name="T68" fmla="*/ 694 w 701"/>
                <a:gd name="T69" fmla="*/ 421 h 701"/>
                <a:gd name="T70" fmla="*/ 680 w 701"/>
                <a:gd name="T71" fmla="*/ 471 h 701"/>
                <a:gd name="T72" fmla="*/ 659 w 701"/>
                <a:gd name="T73" fmla="*/ 518 h 701"/>
                <a:gd name="T74" fmla="*/ 632 w 701"/>
                <a:gd name="T75" fmla="*/ 560 h 701"/>
                <a:gd name="T76" fmla="*/ 599 w 701"/>
                <a:gd name="T77" fmla="*/ 598 h 701"/>
                <a:gd name="T78" fmla="*/ 560 w 701"/>
                <a:gd name="T79" fmla="*/ 631 h 701"/>
                <a:gd name="T80" fmla="*/ 517 w 701"/>
                <a:gd name="T81" fmla="*/ 659 h 701"/>
                <a:gd name="T82" fmla="*/ 472 w 701"/>
                <a:gd name="T83" fmla="*/ 680 h 701"/>
                <a:gd name="T84" fmla="*/ 421 w 701"/>
                <a:gd name="T85" fmla="*/ 694 h 701"/>
                <a:gd name="T86" fmla="*/ 369 w 701"/>
                <a:gd name="T87" fmla="*/ 701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1">
                  <a:moveTo>
                    <a:pt x="351" y="701"/>
                  </a:moveTo>
                  <a:lnTo>
                    <a:pt x="351" y="701"/>
                  </a:lnTo>
                  <a:lnTo>
                    <a:pt x="332" y="701"/>
                  </a:lnTo>
                  <a:lnTo>
                    <a:pt x="315" y="699"/>
                  </a:lnTo>
                  <a:lnTo>
                    <a:pt x="298" y="697"/>
                  </a:lnTo>
                  <a:lnTo>
                    <a:pt x="280" y="694"/>
                  </a:lnTo>
                  <a:lnTo>
                    <a:pt x="263" y="689"/>
                  </a:lnTo>
                  <a:lnTo>
                    <a:pt x="247" y="686"/>
                  </a:lnTo>
                  <a:lnTo>
                    <a:pt x="230" y="680"/>
                  </a:lnTo>
                  <a:lnTo>
                    <a:pt x="214" y="673"/>
                  </a:lnTo>
                  <a:lnTo>
                    <a:pt x="199" y="666"/>
                  </a:lnTo>
                  <a:lnTo>
                    <a:pt x="184" y="659"/>
                  </a:lnTo>
                  <a:lnTo>
                    <a:pt x="169" y="650"/>
                  </a:lnTo>
                  <a:lnTo>
                    <a:pt x="155" y="641"/>
                  </a:lnTo>
                  <a:lnTo>
                    <a:pt x="141" y="631"/>
                  </a:lnTo>
                  <a:lnTo>
                    <a:pt x="127" y="620"/>
                  </a:lnTo>
                  <a:lnTo>
                    <a:pt x="115" y="611"/>
                  </a:lnTo>
                  <a:lnTo>
                    <a:pt x="103" y="598"/>
                  </a:lnTo>
                  <a:lnTo>
                    <a:pt x="92" y="586"/>
                  </a:lnTo>
                  <a:lnTo>
                    <a:pt x="81" y="573"/>
                  </a:lnTo>
                  <a:lnTo>
                    <a:pt x="69" y="560"/>
                  </a:lnTo>
                  <a:lnTo>
                    <a:pt x="60" y="546"/>
                  </a:lnTo>
                  <a:lnTo>
                    <a:pt x="51" y="533"/>
                  </a:lnTo>
                  <a:lnTo>
                    <a:pt x="42" y="518"/>
                  </a:lnTo>
                  <a:lnTo>
                    <a:pt x="35" y="502"/>
                  </a:lnTo>
                  <a:lnTo>
                    <a:pt x="28" y="487"/>
                  </a:lnTo>
                  <a:lnTo>
                    <a:pt x="21" y="471"/>
                  </a:lnTo>
                  <a:lnTo>
                    <a:pt x="16" y="455"/>
                  </a:lnTo>
                  <a:lnTo>
                    <a:pt x="11" y="438"/>
                  </a:lnTo>
                  <a:lnTo>
                    <a:pt x="8" y="421"/>
                  </a:lnTo>
                  <a:lnTo>
                    <a:pt x="4" y="403"/>
                  </a:lnTo>
                  <a:lnTo>
                    <a:pt x="2" y="386"/>
                  </a:lnTo>
                  <a:lnTo>
                    <a:pt x="0" y="369"/>
                  </a:lnTo>
                  <a:lnTo>
                    <a:pt x="0" y="350"/>
                  </a:lnTo>
                  <a:lnTo>
                    <a:pt x="0" y="350"/>
                  </a:lnTo>
                  <a:lnTo>
                    <a:pt x="0" y="333"/>
                  </a:lnTo>
                  <a:lnTo>
                    <a:pt x="2" y="314"/>
                  </a:lnTo>
                  <a:lnTo>
                    <a:pt x="4" y="297"/>
                  </a:lnTo>
                  <a:lnTo>
                    <a:pt x="8" y="280"/>
                  </a:lnTo>
                  <a:lnTo>
                    <a:pt x="11" y="263"/>
                  </a:lnTo>
                  <a:lnTo>
                    <a:pt x="16" y="247"/>
                  </a:lnTo>
                  <a:lnTo>
                    <a:pt x="21" y="231"/>
                  </a:lnTo>
                  <a:lnTo>
                    <a:pt x="28" y="215"/>
                  </a:lnTo>
                  <a:lnTo>
                    <a:pt x="35" y="198"/>
                  </a:lnTo>
                  <a:lnTo>
                    <a:pt x="42" y="184"/>
                  </a:lnTo>
                  <a:lnTo>
                    <a:pt x="51" y="169"/>
                  </a:lnTo>
                  <a:lnTo>
                    <a:pt x="60" y="154"/>
                  </a:lnTo>
                  <a:lnTo>
                    <a:pt x="69" y="141"/>
                  </a:lnTo>
                  <a:lnTo>
                    <a:pt x="81" y="127"/>
                  </a:lnTo>
                  <a:lnTo>
                    <a:pt x="92" y="115"/>
                  </a:lnTo>
                  <a:lnTo>
                    <a:pt x="103" y="102"/>
                  </a:lnTo>
                  <a:lnTo>
                    <a:pt x="115" y="91"/>
                  </a:lnTo>
                  <a:lnTo>
                    <a:pt x="127" y="80"/>
                  </a:lnTo>
                  <a:lnTo>
                    <a:pt x="141" y="70"/>
                  </a:lnTo>
                  <a:lnTo>
                    <a:pt x="155" y="60"/>
                  </a:lnTo>
                  <a:lnTo>
                    <a:pt x="169" y="50"/>
                  </a:lnTo>
                  <a:lnTo>
                    <a:pt x="184" y="42"/>
                  </a:lnTo>
                  <a:lnTo>
                    <a:pt x="199" y="34"/>
                  </a:lnTo>
                  <a:lnTo>
                    <a:pt x="214" y="27"/>
                  </a:lnTo>
                  <a:lnTo>
                    <a:pt x="230" y="21"/>
                  </a:lnTo>
                  <a:lnTo>
                    <a:pt x="247" y="16"/>
                  </a:lnTo>
                  <a:lnTo>
                    <a:pt x="263" y="11"/>
                  </a:lnTo>
                  <a:lnTo>
                    <a:pt x="280" y="7"/>
                  </a:lnTo>
                  <a:lnTo>
                    <a:pt x="298" y="4"/>
                  </a:lnTo>
                  <a:lnTo>
                    <a:pt x="315" y="2"/>
                  </a:lnTo>
                  <a:lnTo>
                    <a:pt x="332" y="0"/>
                  </a:lnTo>
                  <a:lnTo>
                    <a:pt x="351" y="0"/>
                  </a:lnTo>
                  <a:lnTo>
                    <a:pt x="351" y="0"/>
                  </a:lnTo>
                  <a:lnTo>
                    <a:pt x="369" y="0"/>
                  </a:lnTo>
                  <a:lnTo>
                    <a:pt x="386" y="2"/>
                  </a:lnTo>
                  <a:lnTo>
                    <a:pt x="404" y="4"/>
                  </a:lnTo>
                  <a:lnTo>
                    <a:pt x="421" y="7"/>
                  </a:lnTo>
                  <a:lnTo>
                    <a:pt x="438" y="11"/>
                  </a:lnTo>
                  <a:lnTo>
                    <a:pt x="456" y="16"/>
                  </a:lnTo>
                  <a:lnTo>
                    <a:pt x="472" y="21"/>
                  </a:lnTo>
                  <a:lnTo>
                    <a:pt x="488" y="27"/>
                  </a:lnTo>
                  <a:lnTo>
                    <a:pt x="502" y="34"/>
                  </a:lnTo>
                  <a:lnTo>
                    <a:pt x="517" y="42"/>
                  </a:lnTo>
                  <a:lnTo>
                    <a:pt x="532" y="50"/>
                  </a:lnTo>
                  <a:lnTo>
                    <a:pt x="547" y="60"/>
                  </a:lnTo>
                  <a:lnTo>
                    <a:pt x="560" y="70"/>
                  </a:lnTo>
                  <a:lnTo>
                    <a:pt x="574" y="80"/>
                  </a:lnTo>
                  <a:lnTo>
                    <a:pt x="586" y="91"/>
                  </a:lnTo>
                  <a:lnTo>
                    <a:pt x="599" y="102"/>
                  </a:lnTo>
                  <a:lnTo>
                    <a:pt x="610" y="115"/>
                  </a:lnTo>
                  <a:lnTo>
                    <a:pt x="621" y="127"/>
                  </a:lnTo>
                  <a:lnTo>
                    <a:pt x="632" y="141"/>
                  </a:lnTo>
                  <a:lnTo>
                    <a:pt x="642" y="154"/>
                  </a:lnTo>
                  <a:lnTo>
                    <a:pt x="650" y="169"/>
                  </a:lnTo>
                  <a:lnTo>
                    <a:pt x="659" y="184"/>
                  </a:lnTo>
                  <a:lnTo>
                    <a:pt x="666" y="198"/>
                  </a:lnTo>
                  <a:lnTo>
                    <a:pt x="674" y="215"/>
                  </a:lnTo>
                  <a:lnTo>
                    <a:pt x="680" y="231"/>
                  </a:lnTo>
                  <a:lnTo>
                    <a:pt x="685" y="247"/>
                  </a:lnTo>
                  <a:lnTo>
                    <a:pt x="690" y="263"/>
                  </a:lnTo>
                  <a:lnTo>
                    <a:pt x="694" y="280"/>
                  </a:lnTo>
                  <a:lnTo>
                    <a:pt x="697" y="297"/>
                  </a:lnTo>
                  <a:lnTo>
                    <a:pt x="700" y="314"/>
                  </a:lnTo>
                  <a:lnTo>
                    <a:pt x="701" y="333"/>
                  </a:lnTo>
                  <a:lnTo>
                    <a:pt x="701" y="350"/>
                  </a:lnTo>
                  <a:lnTo>
                    <a:pt x="701" y="350"/>
                  </a:lnTo>
                  <a:lnTo>
                    <a:pt x="701" y="369"/>
                  </a:lnTo>
                  <a:lnTo>
                    <a:pt x="700" y="386"/>
                  </a:lnTo>
                  <a:lnTo>
                    <a:pt x="697" y="403"/>
                  </a:lnTo>
                  <a:lnTo>
                    <a:pt x="694" y="421"/>
                  </a:lnTo>
                  <a:lnTo>
                    <a:pt x="690" y="438"/>
                  </a:lnTo>
                  <a:lnTo>
                    <a:pt x="685" y="455"/>
                  </a:lnTo>
                  <a:lnTo>
                    <a:pt x="680" y="471"/>
                  </a:lnTo>
                  <a:lnTo>
                    <a:pt x="674" y="487"/>
                  </a:lnTo>
                  <a:lnTo>
                    <a:pt x="666" y="502"/>
                  </a:lnTo>
                  <a:lnTo>
                    <a:pt x="659" y="518"/>
                  </a:lnTo>
                  <a:lnTo>
                    <a:pt x="650" y="533"/>
                  </a:lnTo>
                  <a:lnTo>
                    <a:pt x="642" y="546"/>
                  </a:lnTo>
                  <a:lnTo>
                    <a:pt x="632" y="560"/>
                  </a:lnTo>
                  <a:lnTo>
                    <a:pt x="621" y="573"/>
                  </a:lnTo>
                  <a:lnTo>
                    <a:pt x="610" y="586"/>
                  </a:lnTo>
                  <a:lnTo>
                    <a:pt x="599" y="598"/>
                  </a:lnTo>
                  <a:lnTo>
                    <a:pt x="586" y="611"/>
                  </a:lnTo>
                  <a:lnTo>
                    <a:pt x="574" y="620"/>
                  </a:lnTo>
                  <a:lnTo>
                    <a:pt x="560" y="631"/>
                  </a:lnTo>
                  <a:lnTo>
                    <a:pt x="547" y="641"/>
                  </a:lnTo>
                  <a:lnTo>
                    <a:pt x="532" y="650"/>
                  </a:lnTo>
                  <a:lnTo>
                    <a:pt x="517" y="659"/>
                  </a:lnTo>
                  <a:lnTo>
                    <a:pt x="502" y="666"/>
                  </a:lnTo>
                  <a:lnTo>
                    <a:pt x="488" y="673"/>
                  </a:lnTo>
                  <a:lnTo>
                    <a:pt x="472" y="680"/>
                  </a:lnTo>
                  <a:lnTo>
                    <a:pt x="456" y="686"/>
                  </a:lnTo>
                  <a:lnTo>
                    <a:pt x="438" y="689"/>
                  </a:lnTo>
                  <a:lnTo>
                    <a:pt x="421" y="694"/>
                  </a:lnTo>
                  <a:lnTo>
                    <a:pt x="404" y="697"/>
                  </a:lnTo>
                  <a:lnTo>
                    <a:pt x="386" y="699"/>
                  </a:lnTo>
                  <a:lnTo>
                    <a:pt x="369" y="701"/>
                  </a:lnTo>
                  <a:lnTo>
                    <a:pt x="351" y="701"/>
                  </a:lnTo>
                  <a:lnTo>
                    <a:pt x="351" y="701"/>
                  </a:lnTo>
                  <a:close/>
                </a:path>
              </a:pathLst>
            </a:custGeom>
            <a:solidFill>
              <a:srgbClr val="005EB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0" name="Freeform 325">
              <a:extLst>
                <a:ext uri="{FF2B5EF4-FFF2-40B4-BE49-F238E27FC236}">
                  <a16:creationId xmlns:a16="http://schemas.microsoft.com/office/drawing/2014/main" id="{68EAA97D-F64E-15DA-F2A6-839F06F2152A}"/>
                </a:ext>
              </a:extLst>
            </p:cNvPr>
            <p:cNvSpPr>
              <a:spLocks/>
            </p:cNvSpPr>
            <p:nvPr/>
          </p:nvSpPr>
          <p:spPr bwMode="auto">
            <a:xfrm>
              <a:off x="776020" y="2990977"/>
              <a:ext cx="398342" cy="507847"/>
            </a:xfrm>
            <a:custGeom>
              <a:avLst/>
              <a:gdLst>
                <a:gd name="T0" fmla="*/ 0 w 275"/>
                <a:gd name="T1" fmla="*/ 376 h 376"/>
                <a:gd name="T2" fmla="*/ 0 w 275"/>
                <a:gd name="T3" fmla="*/ 174 h 376"/>
                <a:gd name="T4" fmla="*/ 0 w 275"/>
                <a:gd name="T5" fmla="*/ 73 h 376"/>
                <a:gd name="T6" fmla="*/ 71 w 275"/>
                <a:gd name="T7" fmla="*/ 0 h 376"/>
                <a:gd name="T8" fmla="*/ 275 w 275"/>
                <a:gd name="T9" fmla="*/ 0 h 376"/>
                <a:gd name="T10" fmla="*/ 275 w 275"/>
                <a:gd name="T11" fmla="*/ 75 h 376"/>
                <a:gd name="T12" fmla="*/ 275 w 275"/>
                <a:gd name="T13" fmla="*/ 174 h 376"/>
                <a:gd name="T14" fmla="*/ 275 w 275"/>
                <a:gd name="T15" fmla="*/ 376 h 376"/>
                <a:gd name="T16" fmla="*/ 0 w 275"/>
                <a:gd name="T17" fmla="*/ 37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 h="376">
                  <a:moveTo>
                    <a:pt x="0" y="376"/>
                  </a:moveTo>
                  <a:lnTo>
                    <a:pt x="0" y="174"/>
                  </a:lnTo>
                  <a:lnTo>
                    <a:pt x="0" y="73"/>
                  </a:lnTo>
                  <a:lnTo>
                    <a:pt x="71" y="0"/>
                  </a:lnTo>
                  <a:lnTo>
                    <a:pt x="275" y="0"/>
                  </a:lnTo>
                  <a:lnTo>
                    <a:pt x="275" y="75"/>
                  </a:lnTo>
                  <a:lnTo>
                    <a:pt x="275" y="174"/>
                  </a:lnTo>
                  <a:lnTo>
                    <a:pt x="275" y="376"/>
                  </a:lnTo>
                  <a:lnTo>
                    <a:pt x="0" y="3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1" name="Freeform 326">
              <a:extLst>
                <a:ext uri="{FF2B5EF4-FFF2-40B4-BE49-F238E27FC236}">
                  <a16:creationId xmlns:a16="http://schemas.microsoft.com/office/drawing/2014/main" id="{87C7CDF8-AAE3-3215-7FD2-1A97B7E3D2A2}"/>
                </a:ext>
              </a:extLst>
            </p:cNvPr>
            <p:cNvSpPr>
              <a:spLocks/>
            </p:cNvSpPr>
            <p:nvPr/>
          </p:nvSpPr>
          <p:spPr bwMode="auto">
            <a:xfrm>
              <a:off x="776020" y="2990977"/>
              <a:ext cx="102845" cy="98598"/>
            </a:xfrm>
            <a:custGeom>
              <a:avLst/>
              <a:gdLst>
                <a:gd name="T0" fmla="*/ 71 w 71"/>
                <a:gd name="T1" fmla="*/ 73 h 73"/>
                <a:gd name="T2" fmla="*/ 0 w 71"/>
                <a:gd name="T3" fmla="*/ 73 h 73"/>
                <a:gd name="T4" fmla="*/ 71 w 71"/>
                <a:gd name="T5" fmla="*/ 0 h 73"/>
                <a:gd name="T6" fmla="*/ 71 w 71"/>
                <a:gd name="T7" fmla="*/ 73 h 73"/>
              </a:gdLst>
              <a:ahLst/>
              <a:cxnLst>
                <a:cxn ang="0">
                  <a:pos x="T0" y="T1"/>
                </a:cxn>
                <a:cxn ang="0">
                  <a:pos x="T2" y="T3"/>
                </a:cxn>
                <a:cxn ang="0">
                  <a:pos x="T4" y="T5"/>
                </a:cxn>
                <a:cxn ang="0">
                  <a:pos x="T6" y="T7"/>
                </a:cxn>
              </a:cxnLst>
              <a:rect l="0" t="0" r="r" b="b"/>
              <a:pathLst>
                <a:path w="71" h="73">
                  <a:moveTo>
                    <a:pt x="71" y="73"/>
                  </a:moveTo>
                  <a:lnTo>
                    <a:pt x="0" y="73"/>
                  </a:lnTo>
                  <a:lnTo>
                    <a:pt x="71" y="0"/>
                  </a:lnTo>
                  <a:lnTo>
                    <a:pt x="71" y="73"/>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2" name="Freeform 327">
              <a:extLst>
                <a:ext uri="{FF2B5EF4-FFF2-40B4-BE49-F238E27FC236}">
                  <a16:creationId xmlns:a16="http://schemas.microsoft.com/office/drawing/2014/main" id="{FA31AB41-0E90-AAA3-F534-0DFC3AB46707}"/>
                </a:ext>
              </a:extLst>
            </p:cNvPr>
            <p:cNvSpPr>
              <a:spLocks/>
            </p:cNvSpPr>
            <p:nvPr/>
          </p:nvSpPr>
          <p:spPr bwMode="auto">
            <a:xfrm>
              <a:off x="776020" y="3089574"/>
              <a:ext cx="102845" cy="98598"/>
            </a:xfrm>
            <a:custGeom>
              <a:avLst/>
              <a:gdLst>
                <a:gd name="T0" fmla="*/ 0 w 71"/>
                <a:gd name="T1" fmla="*/ 0 h 73"/>
                <a:gd name="T2" fmla="*/ 71 w 71"/>
                <a:gd name="T3" fmla="*/ 0 h 73"/>
                <a:gd name="T4" fmla="*/ 0 w 71"/>
                <a:gd name="T5" fmla="*/ 73 h 73"/>
                <a:gd name="T6" fmla="*/ 0 w 71"/>
                <a:gd name="T7" fmla="*/ 0 h 73"/>
              </a:gdLst>
              <a:ahLst/>
              <a:cxnLst>
                <a:cxn ang="0">
                  <a:pos x="T0" y="T1"/>
                </a:cxn>
                <a:cxn ang="0">
                  <a:pos x="T2" y="T3"/>
                </a:cxn>
                <a:cxn ang="0">
                  <a:pos x="T4" y="T5"/>
                </a:cxn>
                <a:cxn ang="0">
                  <a:pos x="T6" y="T7"/>
                </a:cxn>
              </a:cxnLst>
              <a:rect l="0" t="0" r="r" b="b"/>
              <a:pathLst>
                <a:path w="71" h="73">
                  <a:moveTo>
                    <a:pt x="0" y="0"/>
                  </a:moveTo>
                  <a:lnTo>
                    <a:pt x="71" y="0"/>
                  </a:lnTo>
                  <a:lnTo>
                    <a:pt x="0" y="73"/>
                  </a:lnTo>
                  <a:lnTo>
                    <a:pt x="0" y="0"/>
                  </a:lnTo>
                  <a:close/>
                </a:path>
              </a:pathLst>
            </a:custGeom>
            <a:solidFill>
              <a:srgbClr val="D1E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3" name="Freeform 328">
              <a:extLst>
                <a:ext uri="{FF2B5EF4-FFF2-40B4-BE49-F238E27FC236}">
                  <a16:creationId xmlns:a16="http://schemas.microsoft.com/office/drawing/2014/main" id="{6086F631-692B-9E16-E0DE-E23BAE157A3F}"/>
                </a:ext>
              </a:extLst>
            </p:cNvPr>
            <p:cNvSpPr>
              <a:spLocks/>
            </p:cNvSpPr>
            <p:nvPr/>
          </p:nvSpPr>
          <p:spPr bwMode="auto">
            <a:xfrm>
              <a:off x="897696" y="3296225"/>
              <a:ext cx="163682" cy="155326"/>
            </a:xfrm>
            <a:custGeom>
              <a:avLst/>
              <a:gdLst>
                <a:gd name="T0" fmla="*/ 18 w 113"/>
                <a:gd name="T1" fmla="*/ 43 h 115"/>
                <a:gd name="T2" fmla="*/ 18 w 113"/>
                <a:gd name="T3" fmla="*/ 43 h 115"/>
                <a:gd name="T4" fmla="*/ 21 w 113"/>
                <a:gd name="T5" fmla="*/ 49 h 115"/>
                <a:gd name="T6" fmla="*/ 22 w 113"/>
                <a:gd name="T7" fmla="*/ 55 h 115"/>
                <a:gd name="T8" fmla="*/ 21 w 113"/>
                <a:gd name="T9" fmla="*/ 63 h 115"/>
                <a:gd name="T10" fmla="*/ 19 w 113"/>
                <a:gd name="T11" fmla="*/ 71 h 115"/>
                <a:gd name="T12" fmla="*/ 16 w 113"/>
                <a:gd name="T13" fmla="*/ 80 h 115"/>
                <a:gd name="T14" fmla="*/ 12 w 113"/>
                <a:gd name="T15" fmla="*/ 89 h 115"/>
                <a:gd name="T16" fmla="*/ 6 w 113"/>
                <a:gd name="T17" fmla="*/ 97 h 115"/>
                <a:gd name="T18" fmla="*/ 0 w 113"/>
                <a:gd name="T19" fmla="*/ 106 h 115"/>
                <a:gd name="T20" fmla="*/ 2 w 113"/>
                <a:gd name="T21" fmla="*/ 108 h 115"/>
                <a:gd name="T22" fmla="*/ 2 w 113"/>
                <a:gd name="T23" fmla="*/ 108 h 115"/>
                <a:gd name="T24" fmla="*/ 48 w 113"/>
                <a:gd name="T25" fmla="*/ 63 h 115"/>
                <a:gd name="T26" fmla="*/ 48 w 113"/>
                <a:gd name="T27" fmla="*/ 63 h 115"/>
                <a:gd name="T28" fmla="*/ 47 w 113"/>
                <a:gd name="T29" fmla="*/ 59 h 115"/>
                <a:gd name="T30" fmla="*/ 49 w 113"/>
                <a:gd name="T31" fmla="*/ 55 h 115"/>
                <a:gd name="T32" fmla="*/ 49 w 113"/>
                <a:gd name="T33" fmla="*/ 55 h 115"/>
                <a:gd name="T34" fmla="*/ 50 w 113"/>
                <a:gd name="T35" fmla="*/ 54 h 115"/>
                <a:gd name="T36" fmla="*/ 53 w 113"/>
                <a:gd name="T37" fmla="*/ 54 h 115"/>
                <a:gd name="T38" fmla="*/ 55 w 113"/>
                <a:gd name="T39" fmla="*/ 54 h 115"/>
                <a:gd name="T40" fmla="*/ 58 w 113"/>
                <a:gd name="T41" fmla="*/ 55 h 115"/>
                <a:gd name="T42" fmla="*/ 58 w 113"/>
                <a:gd name="T43" fmla="*/ 55 h 115"/>
                <a:gd name="T44" fmla="*/ 59 w 113"/>
                <a:gd name="T45" fmla="*/ 58 h 115"/>
                <a:gd name="T46" fmla="*/ 59 w 113"/>
                <a:gd name="T47" fmla="*/ 60 h 115"/>
                <a:gd name="T48" fmla="*/ 59 w 113"/>
                <a:gd name="T49" fmla="*/ 63 h 115"/>
                <a:gd name="T50" fmla="*/ 58 w 113"/>
                <a:gd name="T51" fmla="*/ 64 h 115"/>
                <a:gd name="T52" fmla="*/ 58 w 113"/>
                <a:gd name="T53" fmla="*/ 64 h 115"/>
                <a:gd name="T54" fmla="*/ 54 w 113"/>
                <a:gd name="T55" fmla="*/ 67 h 115"/>
                <a:gd name="T56" fmla="*/ 50 w 113"/>
                <a:gd name="T57" fmla="*/ 65 h 115"/>
                <a:gd name="T58" fmla="*/ 5 w 113"/>
                <a:gd name="T59" fmla="*/ 111 h 115"/>
                <a:gd name="T60" fmla="*/ 5 w 113"/>
                <a:gd name="T61" fmla="*/ 111 h 115"/>
                <a:gd name="T62" fmla="*/ 7 w 113"/>
                <a:gd name="T63" fmla="*/ 115 h 115"/>
                <a:gd name="T64" fmla="*/ 7 w 113"/>
                <a:gd name="T65" fmla="*/ 115 h 115"/>
                <a:gd name="T66" fmla="*/ 16 w 113"/>
                <a:gd name="T67" fmla="*/ 107 h 115"/>
                <a:gd name="T68" fmla="*/ 24 w 113"/>
                <a:gd name="T69" fmla="*/ 102 h 115"/>
                <a:gd name="T70" fmla="*/ 33 w 113"/>
                <a:gd name="T71" fmla="*/ 97 h 115"/>
                <a:gd name="T72" fmla="*/ 42 w 113"/>
                <a:gd name="T73" fmla="*/ 94 h 115"/>
                <a:gd name="T74" fmla="*/ 50 w 113"/>
                <a:gd name="T75" fmla="*/ 92 h 115"/>
                <a:gd name="T76" fmla="*/ 58 w 113"/>
                <a:gd name="T77" fmla="*/ 91 h 115"/>
                <a:gd name="T78" fmla="*/ 65 w 113"/>
                <a:gd name="T79" fmla="*/ 92 h 115"/>
                <a:gd name="T80" fmla="*/ 71 w 113"/>
                <a:gd name="T81" fmla="*/ 95 h 115"/>
                <a:gd name="T82" fmla="*/ 71 w 113"/>
                <a:gd name="T83" fmla="*/ 95 h 115"/>
                <a:gd name="T84" fmla="*/ 80 w 113"/>
                <a:gd name="T85" fmla="*/ 81 h 115"/>
                <a:gd name="T86" fmla="*/ 90 w 113"/>
                <a:gd name="T87" fmla="*/ 67 h 115"/>
                <a:gd name="T88" fmla="*/ 90 w 113"/>
                <a:gd name="T89" fmla="*/ 67 h 115"/>
                <a:gd name="T90" fmla="*/ 102 w 113"/>
                <a:gd name="T91" fmla="*/ 54 h 115"/>
                <a:gd name="T92" fmla="*/ 113 w 113"/>
                <a:gd name="T93" fmla="*/ 43 h 115"/>
                <a:gd name="T94" fmla="*/ 113 w 113"/>
                <a:gd name="T95" fmla="*/ 43 h 115"/>
                <a:gd name="T96" fmla="*/ 102 w 113"/>
                <a:gd name="T97" fmla="*/ 34 h 115"/>
                <a:gd name="T98" fmla="*/ 90 w 113"/>
                <a:gd name="T99" fmla="*/ 23 h 115"/>
                <a:gd name="T100" fmla="*/ 90 w 113"/>
                <a:gd name="T101" fmla="*/ 23 h 115"/>
                <a:gd name="T102" fmla="*/ 80 w 113"/>
                <a:gd name="T103" fmla="*/ 12 h 115"/>
                <a:gd name="T104" fmla="*/ 70 w 113"/>
                <a:gd name="T105" fmla="*/ 0 h 115"/>
                <a:gd name="T106" fmla="*/ 70 w 113"/>
                <a:gd name="T107" fmla="*/ 0 h 115"/>
                <a:gd name="T108" fmla="*/ 59 w 113"/>
                <a:gd name="T109" fmla="*/ 12 h 115"/>
                <a:gd name="T110" fmla="*/ 47 w 113"/>
                <a:gd name="T111" fmla="*/ 23 h 115"/>
                <a:gd name="T112" fmla="*/ 47 w 113"/>
                <a:gd name="T113" fmla="*/ 23 h 115"/>
                <a:gd name="T114" fmla="*/ 33 w 113"/>
                <a:gd name="T115" fmla="*/ 33 h 115"/>
                <a:gd name="T116" fmla="*/ 18 w 113"/>
                <a:gd name="T117" fmla="*/ 43 h 115"/>
                <a:gd name="T118" fmla="*/ 18 w 113"/>
                <a:gd name="T119" fmla="*/ 4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 h="115">
                  <a:moveTo>
                    <a:pt x="18" y="43"/>
                  </a:moveTo>
                  <a:lnTo>
                    <a:pt x="18" y="43"/>
                  </a:lnTo>
                  <a:lnTo>
                    <a:pt x="21" y="49"/>
                  </a:lnTo>
                  <a:lnTo>
                    <a:pt x="22" y="55"/>
                  </a:lnTo>
                  <a:lnTo>
                    <a:pt x="21" y="63"/>
                  </a:lnTo>
                  <a:lnTo>
                    <a:pt x="19" y="71"/>
                  </a:lnTo>
                  <a:lnTo>
                    <a:pt x="16" y="80"/>
                  </a:lnTo>
                  <a:lnTo>
                    <a:pt x="12" y="89"/>
                  </a:lnTo>
                  <a:lnTo>
                    <a:pt x="6" y="97"/>
                  </a:lnTo>
                  <a:lnTo>
                    <a:pt x="0" y="106"/>
                  </a:lnTo>
                  <a:lnTo>
                    <a:pt x="2" y="108"/>
                  </a:lnTo>
                  <a:lnTo>
                    <a:pt x="2" y="108"/>
                  </a:lnTo>
                  <a:lnTo>
                    <a:pt x="48" y="63"/>
                  </a:lnTo>
                  <a:lnTo>
                    <a:pt x="48" y="63"/>
                  </a:lnTo>
                  <a:lnTo>
                    <a:pt x="47" y="59"/>
                  </a:lnTo>
                  <a:lnTo>
                    <a:pt x="49" y="55"/>
                  </a:lnTo>
                  <a:lnTo>
                    <a:pt x="49" y="55"/>
                  </a:lnTo>
                  <a:lnTo>
                    <a:pt x="50" y="54"/>
                  </a:lnTo>
                  <a:lnTo>
                    <a:pt x="53" y="54"/>
                  </a:lnTo>
                  <a:lnTo>
                    <a:pt x="55" y="54"/>
                  </a:lnTo>
                  <a:lnTo>
                    <a:pt x="58" y="55"/>
                  </a:lnTo>
                  <a:lnTo>
                    <a:pt x="58" y="55"/>
                  </a:lnTo>
                  <a:lnTo>
                    <a:pt x="59" y="58"/>
                  </a:lnTo>
                  <a:lnTo>
                    <a:pt x="59" y="60"/>
                  </a:lnTo>
                  <a:lnTo>
                    <a:pt x="59" y="63"/>
                  </a:lnTo>
                  <a:lnTo>
                    <a:pt x="58" y="64"/>
                  </a:lnTo>
                  <a:lnTo>
                    <a:pt x="58" y="64"/>
                  </a:lnTo>
                  <a:lnTo>
                    <a:pt x="54" y="67"/>
                  </a:lnTo>
                  <a:lnTo>
                    <a:pt x="50" y="65"/>
                  </a:lnTo>
                  <a:lnTo>
                    <a:pt x="5" y="111"/>
                  </a:lnTo>
                  <a:lnTo>
                    <a:pt x="5" y="111"/>
                  </a:lnTo>
                  <a:lnTo>
                    <a:pt x="7" y="115"/>
                  </a:lnTo>
                  <a:lnTo>
                    <a:pt x="7" y="115"/>
                  </a:lnTo>
                  <a:lnTo>
                    <a:pt x="16" y="107"/>
                  </a:lnTo>
                  <a:lnTo>
                    <a:pt x="24" y="102"/>
                  </a:lnTo>
                  <a:lnTo>
                    <a:pt x="33" y="97"/>
                  </a:lnTo>
                  <a:lnTo>
                    <a:pt x="42" y="94"/>
                  </a:lnTo>
                  <a:lnTo>
                    <a:pt x="50" y="92"/>
                  </a:lnTo>
                  <a:lnTo>
                    <a:pt x="58" y="91"/>
                  </a:lnTo>
                  <a:lnTo>
                    <a:pt x="65" y="92"/>
                  </a:lnTo>
                  <a:lnTo>
                    <a:pt x="71" y="95"/>
                  </a:lnTo>
                  <a:lnTo>
                    <a:pt x="71" y="95"/>
                  </a:lnTo>
                  <a:lnTo>
                    <a:pt x="80" y="81"/>
                  </a:lnTo>
                  <a:lnTo>
                    <a:pt x="90" y="67"/>
                  </a:lnTo>
                  <a:lnTo>
                    <a:pt x="90" y="67"/>
                  </a:lnTo>
                  <a:lnTo>
                    <a:pt x="102" y="54"/>
                  </a:lnTo>
                  <a:lnTo>
                    <a:pt x="113" y="43"/>
                  </a:lnTo>
                  <a:lnTo>
                    <a:pt x="113" y="43"/>
                  </a:lnTo>
                  <a:lnTo>
                    <a:pt x="102" y="34"/>
                  </a:lnTo>
                  <a:lnTo>
                    <a:pt x="90" y="23"/>
                  </a:lnTo>
                  <a:lnTo>
                    <a:pt x="90" y="23"/>
                  </a:lnTo>
                  <a:lnTo>
                    <a:pt x="80" y="12"/>
                  </a:lnTo>
                  <a:lnTo>
                    <a:pt x="70" y="0"/>
                  </a:lnTo>
                  <a:lnTo>
                    <a:pt x="70" y="0"/>
                  </a:lnTo>
                  <a:lnTo>
                    <a:pt x="59" y="12"/>
                  </a:lnTo>
                  <a:lnTo>
                    <a:pt x="47" y="23"/>
                  </a:lnTo>
                  <a:lnTo>
                    <a:pt x="47" y="23"/>
                  </a:lnTo>
                  <a:lnTo>
                    <a:pt x="33" y="33"/>
                  </a:lnTo>
                  <a:lnTo>
                    <a:pt x="18" y="43"/>
                  </a:lnTo>
                  <a:lnTo>
                    <a:pt x="18" y="43"/>
                  </a:lnTo>
                  <a:close/>
                </a:path>
              </a:pathLst>
            </a:custGeom>
            <a:solidFill>
              <a:srgbClr val="0E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4" name="Freeform 329">
              <a:extLst>
                <a:ext uri="{FF2B5EF4-FFF2-40B4-BE49-F238E27FC236}">
                  <a16:creationId xmlns:a16="http://schemas.microsoft.com/office/drawing/2014/main" id="{DB0329E2-41D0-3D1C-3B79-F87226C94258}"/>
                </a:ext>
              </a:extLst>
            </p:cNvPr>
            <p:cNvSpPr>
              <a:spLocks/>
            </p:cNvSpPr>
            <p:nvPr/>
          </p:nvSpPr>
          <p:spPr bwMode="auto">
            <a:xfrm>
              <a:off x="1000539" y="3131445"/>
              <a:ext cx="237556" cy="222859"/>
            </a:xfrm>
            <a:custGeom>
              <a:avLst/>
              <a:gdLst>
                <a:gd name="T0" fmla="*/ 156 w 164"/>
                <a:gd name="T1" fmla="*/ 45 h 165"/>
                <a:gd name="T2" fmla="*/ 156 w 164"/>
                <a:gd name="T3" fmla="*/ 45 h 165"/>
                <a:gd name="T4" fmla="*/ 159 w 164"/>
                <a:gd name="T5" fmla="*/ 41 h 165"/>
                <a:gd name="T6" fmla="*/ 162 w 164"/>
                <a:gd name="T7" fmla="*/ 36 h 165"/>
                <a:gd name="T8" fmla="*/ 164 w 164"/>
                <a:gd name="T9" fmla="*/ 31 h 165"/>
                <a:gd name="T10" fmla="*/ 164 w 164"/>
                <a:gd name="T11" fmla="*/ 24 h 165"/>
                <a:gd name="T12" fmla="*/ 164 w 164"/>
                <a:gd name="T13" fmla="*/ 20 h 165"/>
                <a:gd name="T14" fmla="*/ 162 w 164"/>
                <a:gd name="T15" fmla="*/ 16 h 165"/>
                <a:gd name="T16" fmla="*/ 159 w 164"/>
                <a:gd name="T17" fmla="*/ 11 h 165"/>
                <a:gd name="T18" fmla="*/ 157 w 164"/>
                <a:gd name="T19" fmla="*/ 7 h 165"/>
                <a:gd name="T20" fmla="*/ 153 w 164"/>
                <a:gd name="T21" fmla="*/ 5 h 165"/>
                <a:gd name="T22" fmla="*/ 148 w 164"/>
                <a:gd name="T23" fmla="*/ 2 h 165"/>
                <a:gd name="T24" fmla="*/ 145 w 164"/>
                <a:gd name="T25" fmla="*/ 1 h 165"/>
                <a:gd name="T26" fmla="*/ 140 w 164"/>
                <a:gd name="T27" fmla="*/ 0 h 165"/>
                <a:gd name="T28" fmla="*/ 135 w 164"/>
                <a:gd name="T29" fmla="*/ 0 h 165"/>
                <a:gd name="T30" fmla="*/ 129 w 164"/>
                <a:gd name="T31" fmla="*/ 2 h 165"/>
                <a:gd name="T32" fmla="*/ 124 w 164"/>
                <a:gd name="T33" fmla="*/ 5 h 165"/>
                <a:gd name="T34" fmla="*/ 119 w 164"/>
                <a:gd name="T35" fmla="*/ 8 h 165"/>
                <a:gd name="T36" fmla="*/ 119 w 164"/>
                <a:gd name="T37" fmla="*/ 8 h 165"/>
                <a:gd name="T38" fmla="*/ 0 w 164"/>
                <a:gd name="T39" fmla="*/ 123 h 165"/>
                <a:gd name="T40" fmla="*/ 0 w 164"/>
                <a:gd name="T41" fmla="*/ 123 h 165"/>
                <a:gd name="T42" fmla="*/ 42 w 164"/>
                <a:gd name="T43" fmla="*/ 165 h 165"/>
                <a:gd name="T44" fmla="*/ 42 w 164"/>
                <a:gd name="T45" fmla="*/ 165 h 165"/>
                <a:gd name="T46" fmla="*/ 156 w 164"/>
                <a:gd name="T47" fmla="*/ 45 h 165"/>
                <a:gd name="T48" fmla="*/ 156 w 164"/>
                <a:gd name="T49" fmla="*/ 4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4" h="165">
                  <a:moveTo>
                    <a:pt x="156" y="45"/>
                  </a:moveTo>
                  <a:lnTo>
                    <a:pt x="156" y="45"/>
                  </a:lnTo>
                  <a:lnTo>
                    <a:pt x="159" y="41"/>
                  </a:lnTo>
                  <a:lnTo>
                    <a:pt x="162" y="36"/>
                  </a:lnTo>
                  <a:lnTo>
                    <a:pt x="164" y="31"/>
                  </a:lnTo>
                  <a:lnTo>
                    <a:pt x="164" y="24"/>
                  </a:lnTo>
                  <a:lnTo>
                    <a:pt x="164" y="20"/>
                  </a:lnTo>
                  <a:lnTo>
                    <a:pt x="162" y="16"/>
                  </a:lnTo>
                  <a:lnTo>
                    <a:pt x="159" y="11"/>
                  </a:lnTo>
                  <a:lnTo>
                    <a:pt x="157" y="7"/>
                  </a:lnTo>
                  <a:lnTo>
                    <a:pt x="153" y="5"/>
                  </a:lnTo>
                  <a:lnTo>
                    <a:pt x="148" y="2"/>
                  </a:lnTo>
                  <a:lnTo>
                    <a:pt x="145" y="1"/>
                  </a:lnTo>
                  <a:lnTo>
                    <a:pt x="140" y="0"/>
                  </a:lnTo>
                  <a:lnTo>
                    <a:pt x="135" y="0"/>
                  </a:lnTo>
                  <a:lnTo>
                    <a:pt x="129" y="2"/>
                  </a:lnTo>
                  <a:lnTo>
                    <a:pt x="124" y="5"/>
                  </a:lnTo>
                  <a:lnTo>
                    <a:pt x="119" y="8"/>
                  </a:lnTo>
                  <a:lnTo>
                    <a:pt x="119" y="8"/>
                  </a:lnTo>
                  <a:lnTo>
                    <a:pt x="0" y="123"/>
                  </a:lnTo>
                  <a:lnTo>
                    <a:pt x="0" y="123"/>
                  </a:lnTo>
                  <a:lnTo>
                    <a:pt x="42" y="165"/>
                  </a:lnTo>
                  <a:lnTo>
                    <a:pt x="42" y="165"/>
                  </a:lnTo>
                  <a:lnTo>
                    <a:pt x="156" y="45"/>
                  </a:lnTo>
                  <a:lnTo>
                    <a:pt x="156" y="45"/>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5" name="Freeform 330">
              <a:extLst>
                <a:ext uri="{FF2B5EF4-FFF2-40B4-BE49-F238E27FC236}">
                  <a16:creationId xmlns:a16="http://schemas.microsoft.com/office/drawing/2014/main" id="{CD3EEAC0-3B59-86FD-5244-16D778DB5BA9}"/>
                </a:ext>
              </a:extLst>
            </p:cNvPr>
            <p:cNvSpPr>
              <a:spLocks/>
            </p:cNvSpPr>
            <p:nvPr/>
          </p:nvSpPr>
          <p:spPr bwMode="auto">
            <a:xfrm>
              <a:off x="990400" y="3296225"/>
              <a:ext cx="70978" cy="66183"/>
            </a:xfrm>
            <a:custGeom>
              <a:avLst/>
              <a:gdLst>
                <a:gd name="T0" fmla="*/ 49 w 49"/>
                <a:gd name="T1" fmla="*/ 43 h 49"/>
                <a:gd name="T2" fmla="*/ 6 w 49"/>
                <a:gd name="T3" fmla="*/ 0 h 49"/>
                <a:gd name="T4" fmla="*/ 0 w 49"/>
                <a:gd name="T5" fmla="*/ 6 h 49"/>
                <a:gd name="T6" fmla="*/ 43 w 49"/>
                <a:gd name="T7" fmla="*/ 49 h 49"/>
                <a:gd name="T8" fmla="*/ 49 w 49"/>
                <a:gd name="T9" fmla="*/ 43 h 49"/>
              </a:gdLst>
              <a:ahLst/>
              <a:cxnLst>
                <a:cxn ang="0">
                  <a:pos x="T0" y="T1"/>
                </a:cxn>
                <a:cxn ang="0">
                  <a:pos x="T2" y="T3"/>
                </a:cxn>
                <a:cxn ang="0">
                  <a:pos x="T4" y="T5"/>
                </a:cxn>
                <a:cxn ang="0">
                  <a:pos x="T6" y="T7"/>
                </a:cxn>
                <a:cxn ang="0">
                  <a:pos x="T8" y="T9"/>
                </a:cxn>
              </a:cxnLst>
              <a:rect l="0" t="0" r="r" b="b"/>
              <a:pathLst>
                <a:path w="49" h="49">
                  <a:moveTo>
                    <a:pt x="49" y="43"/>
                  </a:moveTo>
                  <a:lnTo>
                    <a:pt x="6" y="0"/>
                  </a:lnTo>
                  <a:lnTo>
                    <a:pt x="0" y="6"/>
                  </a:lnTo>
                  <a:lnTo>
                    <a:pt x="43" y="49"/>
                  </a:lnTo>
                  <a:lnTo>
                    <a:pt x="49" y="43"/>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6" name="Freeform 331">
              <a:extLst>
                <a:ext uri="{FF2B5EF4-FFF2-40B4-BE49-F238E27FC236}">
                  <a16:creationId xmlns:a16="http://schemas.microsoft.com/office/drawing/2014/main" id="{4BEEFC0A-1F42-65F3-2948-D33224628389}"/>
                </a:ext>
              </a:extLst>
            </p:cNvPr>
            <p:cNvSpPr>
              <a:spLocks/>
            </p:cNvSpPr>
            <p:nvPr/>
          </p:nvSpPr>
          <p:spPr bwMode="auto">
            <a:xfrm>
              <a:off x="1083105" y="3067964"/>
              <a:ext cx="224520" cy="209352"/>
            </a:xfrm>
            <a:custGeom>
              <a:avLst/>
              <a:gdLst>
                <a:gd name="T0" fmla="*/ 52 w 155"/>
                <a:gd name="T1" fmla="*/ 155 h 155"/>
                <a:gd name="T2" fmla="*/ 148 w 155"/>
                <a:gd name="T3" fmla="*/ 59 h 155"/>
                <a:gd name="T4" fmla="*/ 148 w 155"/>
                <a:gd name="T5" fmla="*/ 59 h 155"/>
                <a:gd name="T6" fmla="*/ 150 w 155"/>
                <a:gd name="T7" fmla="*/ 55 h 155"/>
                <a:gd name="T8" fmla="*/ 153 w 155"/>
                <a:gd name="T9" fmla="*/ 50 h 155"/>
                <a:gd name="T10" fmla="*/ 154 w 155"/>
                <a:gd name="T11" fmla="*/ 46 h 155"/>
                <a:gd name="T12" fmla="*/ 155 w 155"/>
                <a:gd name="T13" fmla="*/ 41 h 155"/>
                <a:gd name="T14" fmla="*/ 154 w 155"/>
                <a:gd name="T15" fmla="*/ 36 h 155"/>
                <a:gd name="T16" fmla="*/ 153 w 155"/>
                <a:gd name="T17" fmla="*/ 31 h 155"/>
                <a:gd name="T18" fmla="*/ 150 w 155"/>
                <a:gd name="T19" fmla="*/ 26 h 155"/>
                <a:gd name="T20" fmla="*/ 147 w 155"/>
                <a:gd name="T21" fmla="*/ 21 h 155"/>
                <a:gd name="T22" fmla="*/ 133 w 155"/>
                <a:gd name="T23" fmla="*/ 9 h 155"/>
                <a:gd name="T24" fmla="*/ 133 w 155"/>
                <a:gd name="T25" fmla="*/ 9 h 155"/>
                <a:gd name="T26" fmla="*/ 130 w 155"/>
                <a:gd name="T27" fmla="*/ 5 h 155"/>
                <a:gd name="T28" fmla="*/ 125 w 155"/>
                <a:gd name="T29" fmla="*/ 2 h 155"/>
                <a:gd name="T30" fmla="*/ 120 w 155"/>
                <a:gd name="T31" fmla="*/ 1 h 155"/>
                <a:gd name="T32" fmla="*/ 115 w 155"/>
                <a:gd name="T33" fmla="*/ 0 h 155"/>
                <a:gd name="T34" fmla="*/ 110 w 155"/>
                <a:gd name="T35" fmla="*/ 1 h 155"/>
                <a:gd name="T36" fmla="*/ 105 w 155"/>
                <a:gd name="T37" fmla="*/ 2 h 155"/>
                <a:gd name="T38" fmla="*/ 100 w 155"/>
                <a:gd name="T39" fmla="*/ 5 h 155"/>
                <a:gd name="T40" fmla="*/ 96 w 155"/>
                <a:gd name="T41" fmla="*/ 7 h 155"/>
                <a:gd name="T42" fmla="*/ 0 w 155"/>
                <a:gd name="T43" fmla="*/ 104 h 155"/>
                <a:gd name="T44" fmla="*/ 52 w 155"/>
                <a:gd name="T45"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5" h="155">
                  <a:moveTo>
                    <a:pt x="52" y="155"/>
                  </a:moveTo>
                  <a:lnTo>
                    <a:pt x="148" y="59"/>
                  </a:lnTo>
                  <a:lnTo>
                    <a:pt x="148" y="59"/>
                  </a:lnTo>
                  <a:lnTo>
                    <a:pt x="150" y="55"/>
                  </a:lnTo>
                  <a:lnTo>
                    <a:pt x="153" y="50"/>
                  </a:lnTo>
                  <a:lnTo>
                    <a:pt x="154" y="46"/>
                  </a:lnTo>
                  <a:lnTo>
                    <a:pt x="155" y="41"/>
                  </a:lnTo>
                  <a:lnTo>
                    <a:pt x="154" y="36"/>
                  </a:lnTo>
                  <a:lnTo>
                    <a:pt x="153" y="31"/>
                  </a:lnTo>
                  <a:lnTo>
                    <a:pt x="150" y="26"/>
                  </a:lnTo>
                  <a:lnTo>
                    <a:pt x="147" y="21"/>
                  </a:lnTo>
                  <a:lnTo>
                    <a:pt x="133" y="9"/>
                  </a:lnTo>
                  <a:lnTo>
                    <a:pt x="133" y="9"/>
                  </a:lnTo>
                  <a:lnTo>
                    <a:pt x="130" y="5"/>
                  </a:lnTo>
                  <a:lnTo>
                    <a:pt x="125" y="2"/>
                  </a:lnTo>
                  <a:lnTo>
                    <a:pt x="120" y="1"/>
                  </a:lnTo>
                  <a:lnTo>
                    <a:pt x="115" y="0"/>
                  </a:lnTo>
                  <a:lnTo>
                    <a:pt x="110" y="1"/>
                  </a:lnTo>
                  <a:lnTo>
                    <a:pt x="105" y="2"/>
                  </a:lnTo>
                  <a:lnTo>
                    <a:pt x="100" y="5"/>
                  </a:lnTo>
                  <a:lnTo>
                    <a:pt x="96" y="7"/>
                  </a:lnTo>
                  <a:lnTo>
                    <a:pt x="0" y="104"/>
                  </a:lnTo>
                  <a:lnTo>
                    <a:pt x="52" y="155"/>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77" name="Freeform 332">
              <a:extLst>
                <a:ext uri="{FF2B5EF4-FFF2-40B4-BE49-F238E27FC236}">
                  <a16:creationId xmlns:a16="http://schemas.microsoft.com/office/drawing/2014/main" id="{6D0D0B8D-0D91-7CFA-9D23-3AE4785A944A}"/>
                </a:ext>
              </a:extLst>
            </p:cNvPr>
            <p:cNvSpPr>
              <a:spLocks/>
            </p:cNvSpPr>
            <p:nvPr/>
          </p:nvSpPr>
          <p:spPr bwMode="auto">
            <a:xfrm>
              <a:off x="1083105" y="3074717"/>
              <a:ext cx="215829" cy="99949"/>
            </a:xfrm>
            <a:custGeom>
              <a:avLst/>
              <a:gdLst>
                <a:gd name="T0" fmla="*/ 148 w 149"/>
                <a:gd name="T1" fmla="*/ 59 h 74"/>
                <a:gd name="T2" fmla="*/ 96 w 149"/>
                <a:gd name="T3" fmla="*/ 7 h 74"/>
                <a:gd name="T4" fmla="*/ 96 w 149"/>
                <a:gd name="T5" fmla="*/ 7 h 74"/>
                <a:gd name="T6" fmla="*/ 93 w 149"/>
                <a:gd name="T7" fmla="*/ 5 h 74"/>
                <a:gd name="T8" fmla="*/ 89 w 149"/>
                <a:gd name="T9" fmla="*/ 2 h 74"/>
                <a:gd name="T10" fmla="*/ 84 w 149"/>
                <a:gd name="T11" fmla="*/ 1 h 74"/>
                <a:gd name="T12" fmla="*/ 80 w 149"/>
                <a:gd name="T13" fmla="*/ 0 h 74"/>
                <a:gd name="T14" fmla="*/ 75 w 149"/>
                <a:gd name="T15" fmla="*/ 0 h 74"/>
                <a:gd name="T16" fmla="*/ 72 w 149"/>
                <a:gd name="T17" fmla="*/ 1 h 74"/>
                <a:gd name="T18" fmla="*/ 68 w 149"/>
                <a:gd name="T19" fmla="*/ 2 h 74"/>
                <a:gd name="T20" fmla="*/ 64 w 149"/>
                <a:gd name="T21" fmla="*/ 6 h 74"/>
                <a:gd name="T22" fmla="*/ 9 w 149"/>
                <a:gd name="T23" fmla="*/ 60 h 74"/>
                <a:gd name="T24" fmla="*/ 9 w 149"/>
                <a:gd name="T25" fmla="*/ 60 h 74"/>
                <a:gd name="T26" fmla="*/ 0 w 149"/>
                <a:gd name="T27" fmla="*/ 70 h 74"/>
                <a:gd name="T28" fmla="*/ 0 w 149"/>
                <a:gd name="T29" fmla="*/ 70 h 74"/>
                <a:gd name="T30" fmla="*/ 6 w 149"/>
                <a:gd name="T31" fmla="*/ 73 h 74"/>
                <a:gd name="T32" fmla="*/ 12 w 149"/>
                <a:gd name="T33" fmla="*/ 74 h 74"/>
                <a:gd name="T34" fmla="*/ 19 w 149"/>
                <a:gd name="T35" fmla="*/ 73 h 74"/>
                <a:gd name="T36" fmla="*/ 22 w 149"/>
                <a:gd name="T37" fmla="*/ 70 h 74"/>
                <a:gd name="T38" fmla="*/ 22 w 149"/>
                <a:gd name="T39" fmla="*/ 70 h 74"/>
                <a:gd name="T40" fmla="*/ 25 w 149"/>
                <a:gd name="T41" fmla="*/ 65 h 74"/>
                <a:gd name="T42" fmla="*/ 25 w 149"/>
                <a:gd name="T43" fmla="*/ 62 h 74"/>
                <a:gd name="T44" fmla="*/ 73 w 149"/>
                <a:gd name="T45" fmla="*/ 13 h 74"/>
                <a:gd name="T46" fmla="*/ 73 w 149"/>
                <a:gd name="T47" fmla="*/ 13 h 74"/>
                <a:gd name="T48" fmla="*/ 76 w 149"/>
                <a:gd name="T49" fmla="*/ 11 h 74"/>
                <a:gd name="T50" fmla="*/ 80 w 149"/>
                <a:gd name="T51" fmla="*/ 11 h 74"/>
                <a:gd name="T52" fmla="*/ 85 w 149"/>
                <a:gd name="T53" fmla="*/ 11 h 74"/>
                <a:gd name="T54" fmla="*/ 90 w 149"/>
                <a:gd name="T55" fmla="*/ 15 h 74"/>
                <a:gd name="T56" fmla="*/ 141 w 149"/>
                <a:gd name="T57" fmla="*/ 66 h 74"/>
                <a:gd name="T58" fmla="*/ 141 w 149"/>
                <a:gd name="T59" fmla="*/ 66 h 74"/>
                <a:gd name="T60" fmla="*/ 143 w 149"/>
                <a:gd name="T61" fmla="*/ 68 h 74"/>
                <a:gd name="T62" fmla="*/ 144 w 149"/>
                <a:gd name="T63" fmla="*/ 68 h 74"/>
                <a:gd name="T64" fmla="*/ 147 w 149"/>
                <a:gd name="T65" fmla="*/ 68 h 74"/>
                <a:gd name="T66" fmla="*/ 148 w 149"/>
                <a:gd name="T67" fmla="*/ 66 h 74"/>
                <a:gd name="T68" fmla="*/ 148 w 149"/>
                <a:gd name="T69" fmla="*/ 66 h 74"/>
                <a:gd name="T70" fmla="*/ 149 w 149"/>
                <a:gd name="T71" fmla="*/ 65 h 74"/>
                <a:gd name="T72" fmla="*/ 149 w 149"/>
                <a:gd name="T73" fmla="*/ 63 h 74"/>
                <a:gd name="T74" fmla="*/ 149 w 149"/>
                <a:gd name="T75" fmla="*/ 60 h 74"/>
                <a:gd name="T76" fmla="*/ 148 w 149"/>
                <a:gd name="T77" fmla="*/ 59 h 74"/>
                <a:gd name="T78" fmla="*/ 148 w 149"/>
                <a:gd name="T79" fmla="*/ 5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9" h="74">
                  <a:moveTo>
                    <a:pt x="148" y="59"/>
                  </a:moveTo>
                  <a:lnTo>
                    <a:pt x="96" y="7"/>
                  </a:lnTo>
                  <a:lnTo>
                    <a:pt x="96" y="7"/>
                  </a:lnTo>
                  <a:lnTo>
                    <a:pt x="93" y="5"/>
                  </a:lnTo>
                  <a:lnTo>
                    <a:pt x="89" y="2"/>
                  </a:lnTo>
                  <a:lnTo>
                    <a:pt x="84" y="1"/>
                  </a:lnTo>
                  <a:lnTo>
                    <a:pt x="80" y="0"/>
                  </a:lnTo>
                  <a:lnTo>
                    <a:pt x="75" y="0"/>
                  </a:lnTo>
                  <a:lnTo>
                    <a:pt x="72" y="1"/>
                  </a:lnTo>
                  <a:lnTo>
                    <a:pt x="68" y="2"/>
                  </a:lnTo>
                  <a:lnTo>
                    <a:pt x="64" y="6"/>
                  </a:lnTo>
                  <a:lnTo>
                    <a:pt x="9" y="60"/>
                  </a:lnTo>
                  <a:lnTo>
                    <a:pt x="9" y="60"/>
                  </a:lnTo>
                  <a:lnTo>
                    <a:pt x="0" y="70"/>
                  </a:lnTo>
                  <a:lnTo>
                    <a:pt x="0" y="70"/>
                  </a:lnTo>
                  <a:lnTo>
                    <a:pt x="6" y="73"/>
                  </a:lnTo>
                  <a:lnTo>
                    <a:pt x="12" y="74"/>
                  </a:lnTo>
                  <a:lnTo>
                    <a:pt x="19" y="73"/>
                  </a:lnTo>
                  <a:lnTo>
                    <a:pt x="22" y="70"/>
                  </a:lnTo>
                  <a:lnTo>
                    <a:pt x="22" y="70"/>
                  </a:lnTo>
                  <a:lnTo>
                    <a:pt x="25" y="65"/>
                  </a:lnTo>
                  <a:lnTo>
                    <a:pt x="25" y="62"/>
                  </a:lnTo>
                  <a:lnTo>
                    <a:pt x="73" y="13"/>
                  </a:lnTo>
                  <a:lnTo>
                    <a:pt x="73" y="13"/>
                  </a:lnTo>
                  <a:lnTo>
                    <a:pt x="76" y="11"/>
                  </a:lnTo>
                  <a:lnTo>
                    <a:pt x="80" y="11"/>
                  </a:lnTo>
                  <a:lnTo>
                    <a:pt x="85" y="11"/>
                  </a:lnTo>
                  <a:lnTo>
                    <a:pt x="90" y="15"/>
                  </a:lnTo>
                  <a:lnTo>
                    <a:pt x="141" y="66"/>
                  </a:lnTo>
                  <a:lnTo>
                    <a:pt x="141" y="66"/>
                  </a:lnTo>
                  <a:lnTo>
                    <a:pt x="143" y="68"/>
                  </a:lnTo>
                  <a:lnTo>
                    <a:pt x="144" y="68"/>
                  </a:lnTo>
                  <a:lnTo>
                    <a:pt x="147" y="68"/>
                  </a:lnTo>
                  <a:lnTo>
                    <a:pt x="148" y="66"/>
                  </a:lnTo>
                  <a:lnTo>
                    <a:pt x="148" y="66"/>
                  </a:lnTo>
                  <a:lnTo>
                    <a:pt x="149" y="65"/>
                  </a:lnTo>
                  <a:lnTo>
                    <a:pt x="149" y="63"/>
                  </a:lnTo>
                  <a:lnTo>
                    <a:pt x="149" y="60"/>
                  </a:lnTo>
                  <a:lnTo>
                    <a:pt x="148" y="59"/>
                  </a:lnTo>
                  <a:lnTo>
                    <a:pt x="148" y="59"/>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grpSp>
        <p:nvGrpSpPr>
          <p:cNvPr id="463" name="Group 462">
            <a:extLst>
              <a:ext uri="{FF2B5EF4-FFF2-40B4-BE49-F238E27FC236}">
                <a16:creationId xmlns:a16="http://schemas.microsoft.com/office/drawing/2014/main" id="{CE4340AC-6735-38E8-9631-5234748CF3B5}"/>
              </a:ext>
            </a:extLst>
          </p:cNvPr>
          <p:cNvGrpSpPr/>
          <p:nvPr/>
        </p:nvGrpSpPr>
        <p:grpSpPr>
          <a:xfrm>
            <a:off x="5567487" y="2635426"/>
            <a:ext cx="1264209" cy="1139881"/>
            <a:chOff x="5552619" y="2943755"/>
            <a:chExt cx="1003177" cy="955950"/>
          </a:xfrm>
        </p:grpSpPr>
        <p:grpSp>
          <p:nvGrpSpPr>
            <p:cNvPr id="439" name="Group 438">
              <a:extLst>
                <a:ext uri="{FF2B5EF4-FFF2-40B4-BE49-F238E27FC236}">
                  <a16:creationId xmlns:a16="http://schemas.microsoft.com/office/drawing/2014/main" id="{FFAC5487-F2F3-E522-3C12-CA8CA9935E41}"/>
                </a:ext>
              </a:extLst>
            </p:cNvPr>
            <p:cNvGrpSpPr/>
            <p:nvPr/>
          </p:nvGrpSpPr>
          <p:grpSpPr>
            <a:xfrm>
              <a:off x="5552619" y="2943755"/>
              <a:ext cx="1003177" cy="955950"/>
              <a:chOff x="5552619" y="2943755"/>
              <a:chExt cx="1003177" cy="955950"/>
            </a:xfrm>
          </p:grpSpPr>
          <p:sp>
            <p:nvSpPr>
              <p:cNvPr id="379" name="Freeform 16">
                <a:extLst>
                  <a:ext uri="{FF2B5EF4-FFF2-40B4-BE49-F238E27FC236}">
                    <a16:creationId xmlns:a16="http://schemas.microsoft.com/office/drawing/2014/main" id="{3D10B883-EDCD-A727-3D3B-207C6655B8EA}"/>
                  </a:ext>
                </a:extLst>
              </p:cNvPr>
              <p:cNvSpPr>
                <a:spLocks/>
              </p:cNvSpPr>
              <p:nvPr/>
            </p:nvSpPr>
            <p:spPr bwMode="auto">
              <a:xfrm>
                <a:off x="5552619" y="2943755"/>
                <a:ext cx="1003177" cy="955950"/>
              </a:xfrm>
              <a:custGeom>
                <a:avLst/>
                <a:gdLst>
                  <a:gd name="T0" fmla="*/ 333 w 702"/>
                  <a:gd name="T1" fmla="*/ 700 h 700"/>
                  <a:gd name="T2" fmla="*/ 280 w 702"/>
                  <a:gd name="T3" fmla="*/ 693 h 700"/>
                  <a:gd name="T4" fmla="*/ 231 w 702"/>
                  <a:gd name="T5" fmla="*/ 679 h 700"/>
                  <a:gd name="T6" fmla="*/ 184 w 702"/>
                  <a:gd name="T7" fmla="*/ 658 h 700"/>
                  <a:gd name="T8" fmla="*/ 142 w 702"/>
                  <a:gd name="T9" fmla="*/ 631 h 700"/>
                  <a:gd name="T10" fmla="*/ 104 w 702"/>
                  <a:gd name="T11" fmla="*/ 598 h 700"/>
                  <a:gd name="T12" fmla="*/ 70 w 702"/>
                  <a:gd name="T13" fmla="*/ 560 h 700"/>
                  <a:gd name="T14" fmla="*/ 43 w 702"/>
                  <a:gd name="T15" fmla="*/ 517 h 700"/>
                  <a:gd name="T16" fmla="*/ 22 w 702"/>
                  <a:gd name="T17" fmla="*/ 471 h 700"/>
                  <a:gd name="T18" fmla="*/ 7 w 702"/>
                  <a:gd name="T19" fmla="*/ 420 h 700"/>
                  <a:gd name="T20" fmla="*/ 1 w 702"/>
                  <a:gd name="T21" fmla="*/ 369 h 700"/>
                  <a:gd name="T22" fmla="*/ 1 w 702"/>
                  <a:gd name="T23" fmla="*/ 331 h 700"/>
                  <a:gd name="T24" fmla="*/ 7 w 702"/>
                  <a:gd name="T25" fmla="*/ 280 h 700"/>
                  <a:gd name="T26" fmla="*/ 22 w 702"/>
                  <a:gd name="T27" fmla="*/ 229 h 700"/>
                  <a:gd name="T28" fmla="*/ 43 w 702"/>
                  <a:gd name="T29" fmla="*/ 183 h 700"/>
                  <a:gd name="T30" fmla="*/ 70 w 702"/>
                  <a:gd name="T31" fmla="*/ 140 h 700"/>
                  <a:gd name="T32" fmla="*/ 104 w 702"/>
                  <a:gd name="T33" fmla="*/ 102 h 700"/>
                  <a:gd name="T34" fmla="*/ 142 w 702"/>
                  <a:gd name="T35" fmla="*/ 69 h 700"/>
                  <a:gd name="T36" fmla="*/ 184 w 702"/>
                  <a:gd name="T37" fmla="*/ 42 h 700"/>
                  <a:gd name="T38" fmla="*/ 231 w 702"/>
                  <a:gd name="T39" fmla="*/ 21 h 700"/>
                  <a:gd name="T40" fmla="*/ 280 w 702"/>
                  <a:gd name="T41" fmla="*/ 7 h 700"/>
                  <a:gd name="T42" fmla="*/ 333 w 702"/>
                  <a:gd name="T43" fmla="*/ 0 h 700"/>
                  <a:gd name="T44" fmla="*/ 369 w 702"/>
                  <a:gd name="T45" fmla="*/ 0 h 700"/>
                  <a:gd name="T46" fmla="*/ 422 w 702"/>
                  <a:gd name="T47" fmla="*/ 7 h 700"/>
                  <a:gd name="T48" fmla="*/ 471 w 702"/>
                  <a:gd name="T49" fmla="*/ 21 h 700"/>
                  <a:gd name="T50" fmla="*/ 518 w 702"/>
                  <a:gd name="T51" fmla="*/ 42 h 700"/>
                  <a:gd name="T52" fmla="*/ 561 w 702"/>
                  <a:gd name="T53" fmla="*/ 69 h 700"/>
                  <a:gd name="T54" fmla="*/ 598 w 702"/>
                  <a:gd name="T55" fmla="*/ 102 h 700"/>
                  <a:gd name="T56" fmla="*/ 632 w 702"/>
                  <a:gd name="T57" fmla="*/ 140 h 700"/>
                  <a:gd name="T58" fmla="*/ 659 w 702"/>
                  <a:gd name="T59" fmla="*/ 183 h 700"/>
                  <a:gd name="T60" fmla="*/ 680 w 702"/>
                  <a:gd name="T61" fmla="*/ 229 h 700"/>
                  <a:gd name="T62" fmla="*/ 694 w 702"/>
                  <a:gd name="T63" fmla="*/ 280 h 700"/>
                  <a:gd name="T64" fmla="*/ 701 w 702"/>
                  <a:gd name="T65" fmla="*/ 331 h 700"/>
                  <a:gd name="T66" fmla="*/ 701 w 702"/>
                  <a:gd name="T67" fmla="*/ 369 h 700"/>
                  <a:gd name="T68" fmla="*/ 694 w 702"/>
                  <a:gd name="T69" fmla="*/ 420 h 700"/>
                  <a:gd name="T70" fmla="*/ 680 w 702"/>
                  <a:gd name="T71" fmla="*/ 471 h 700"/>
                  <a:gd name="T72" fmla="*/ 659 w 702"/>
                  <a:gd name="T73" fmla="*/ 517 h 700"/>
                  <a:gd name="T74" fmla="*/ 632 w 702"/>
                  <a:gd name="T75" fmla="*/ 560 h 700"/>
                  <a:gd name="T76" fmla="*/ 598 w 702"/>
                  <a:gd name="T77" fmla="*/ 598 h 700"/>
                  <a:gd name="T78" fmla="*/ 561 w 702"/>
                  <a:gd name="T79" fmla="*/ 631 h 700"/>
                  <a:gd name="T80" fmla="*/ 518 w 702"/>
                  <a:gd name="T81" fmla="*/ 658 h 700"/>
                  <a:gd name="T82" fmla="*/ 471 w 702"/>
                  <a:gd name="T83" fmla="*/ 679 h 700"/>
                  <a:gd name="T84" fmla="*/ 422 w 702"/>
                  <a:gd name="T85" fmla="*/ 693 h 700"/>
                  <a:gd name="T86" fmla="*/ 369 w 702"/>
                  <a:gd name="T87" fmla="*/ 70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2" h="700">
                    <a:moveTo>
                      <a:pt x="352" y="700"/>
                    </a:moveTo>
                    <a:lnTo>
                      <a:pt x="352" y="700"/>
                    </a:lnTo>
                    <a:lnTo>
                      <a:pt x="333" y="700"/>
                    </a:lnTo>
                    <a:lnTo>
                      <a:pt x="316" y="699"/>
                    </a:lnTo>
                    <a:lnTo>
                      <a:pt x="297" y="697"/>
                    </a:lnTo>
                    <a:lnTo>
                      <a:pt x="280" y="693"/>
                    </a:lnTo>
                    <a:lnTo>
                      <a:pt x="264" y="689"/>
                    </a:lnTo>
                    <a:lnTo>
                      <a:pt x="247" y="684"/>
                    </a:lnTo>
                    <a:lnTo>
                      <a:pt x="231" y="679"/>
                    </a:lnTo>
                    <a:lnTo>
                      <a:pt x="215" y="673"/>
                    </a:lnTo>
                    <a:lnTo>
                      <a:pt x="199" y="666"/>
                    </a:lnTo>
                    <a:lnTo>
                      <a:pt x="184" y="658"/>
                    </a:lnTo>
                    <a:lnTo>
                      <a:pt x="169" y="650"/>
                    </a:lnTo>
                    <a:lnTo>
                      <a:pt x="155" y="641"/>
                    </a:lnTo>
                    <a:lnTo>
                      <a:pt x="142" y="631"/>
                    </a:lnTo>
                    <a:lnTo>
                      <a:pt x="128" y="620"/>
                    </a:lnTo>
                    <a:lnTo>
                      <a:pt x="116" y="609"/>
                    </a:lnTo>
                    <a:lnTo>
                      <a:pt x="104" y="598"/>
                    </a:lnTo>
                    <a:lnTo>
                      <a:pt x="91" y="586"/>
                    </a:lnTo>
                    <a:lnTo>
                      <a:pt x="80" y="573"/>
                    </a:lnTo>
                    <a:lnTo>
                      <a:pt x="70" y="560"/>
                    </a:lnTo>
                    <a:lnTo>
                      <a:pt x="60" y="546"/>
                    </a:lnTo>
                    <a:lnTo>
                      <a:pt x="52" y="531"/>
                    </a:lnTo>
                    <a:lnTo>
                      <a:pt x="43" y="517"/>
                    </a:lnTo>
                    <a:lnTo>
                      <a:pt x="35" y="502"/>
                    </a:lnTo>
                    <a:lnTo>
                      <a:pt x="28" y="487"/>
                    </a:lnTo>
                    <a:lnTo>
                      <a:pt x="22" y="471"/>
                    </a:lnTo>
                    <a:lnTo>
                      <a:pt x="16" y="454"/>
                    </a:lnTo>
                    <a:lnTo>
                      <a:pt x="11" y="438"/>
                    </a:lnTo>
                    <a:lnTo>
                      <a:pt x="7" y="420"/>
                    </a:lnTo>
                    <a:lnTo>
                      <a:pt x="5" y="403"/>
                    </a:lnTo>
                    <a:lnTo>
                      <a:pt x="3" y="386"/>
                    </a:lnTo>
                    <a:lnTo>
                      <a:pt x="1" y="369"/>
                    </a:lnTo>
                    <a:lnTo>
                      <a:pt x="0" y="350"/>
                    </a:lnTo>
                    <a:lnTo>
                      <a:pt x="0" y="350"/>
                    </a:lnTo>
                    <a:lnTo>
                      <a:pt x="1" y="331"/>
                    </a:lnTo>
                    <a:lnTo>
                      <a:pt x="3" y="314"/>
                    </a:lnTo>
                    <a:lnTo>
                      <a:pt x="5" y="297"/>
                    </a:lnTo>
                    <a:lnTo>
                      <a:pt x="7" y="280"/>
                    </a:lnTo>
                    <a:lnTo>
                      <a:pt x="11" y="262"/>
                    </a:lnTo>
                    <a:lnTo>
                      <a:pt x="16" y="246"/>
                    </a:lnTo>
                    <a:lnTo>
                      <a:pt x="22" y="229"/>
                    </a:lnTo>
                    <a:lnTo>
                      <a:pt x="28" y="213"/>
                    </a:lnTo>
                    <a:lnTo>
                      <a:pt x="35" y="198"/>
                    </a:lnTo>
                    <a:lnTo>
                      <a:pt x="43" y="183"/>
                    </a:lnTo>
                    <a:lnTo>
                      <a:pt x="52" y="169"/>
                    </a:lnTo>
                    <a:lnTo>
                      <a:pt x="60" y="154"/>
                    </a:lnTo>
                    <a:lnTo>
                      <a:pt x="70" y="140"/>
                    </a:lnTo>
                    <a:lnTo>
                      <a:pt x="80" y="127"/>
                    </a:lnTo>
                    <a:lnTo>
                      <a:pt x="91" y="114"/>
                    </a:lnTo>
                    <a:lnTo>
                      <a:pt x="104" y="102"/>
                    </a:lnTo>
                    <a:lnTo>
                      <a:pt x="116" y="91"/>
                    </a:lnTo>
                    <a:lnTo>
                      <a:pt x="128" y="80"/>
                    </a:lnTo>
                    <a:lnTo>
                      <a:pt x="142" y="69"/>
                    </a:lnTo>
                    <a:lnTo>
                      <a:pt x="155" y="59"/>
                    </a:lnTo>
                    <a:lnTo>
                      <a:pt x="169" y="50"/>
                    </a:lnTo>
                    <a:lnTo>
                      <a:pt x="184" y="42"/>
                    </a:lnTo>
                    <a:lnTo>
                      <a:pt x="199" y="34"/>
                    </a:lnTo>
                    <a:lnTo>
                      <a:pt x="215" y="27"/>
                    </a:lnTo>
                    <a:lnTo>
                      <a:pt x="231" y="21"/>
                    </a:lnTo>
                    <a:lnTo>
                      <a:pt x="247" y="16"/>
                    </a:lnTo>
                    <a:lnTo>
                      <a:pt x="264" y="11"/>
                    </a:lnTo>
                    <a:lnTo>
                      <a:pt x="280" y="7"/>
                    </a:lnTo>
                    <a:lnTo>
                      <a:pt x="297" y="3"/>
                    </a:lnTo>
                    <a:lnTo>
                      <a:pt x="316" y="1"/>
                    </a:lnTo>
                    <a:lnTo>
                      <a:pt x="333" y="0"/>
                    </a:lnTo>
                    <a:lnTo>
                      <a:pt x="352" y="0"/>
                    </a:lnTo>
                    <a:lnTo>
                      <a:pt x="352" y="0"/>
                    </a:lnTo>
                    <a:lnTo>
                      <a:pt x="369" y="0"/>
                    </a:lnTo>
                    <a:lnTo>
                      <a:pt x="387" y="1"/>
                    </a:lnTo>
                    <a:lnTo>
                      <a:pt x="405" y="3"/>
                    </a:lnTo>
                    <a:lnTo>
                      <a:pt x="422" y="7"/>
                    </a:lnTo>
                    <a:lnTo>
                      <a:pt x="439" y="11"/>
                    </a:lnTo>
                    <a:lnTo>
                      <a:pt x="455" y="16"/>
                    </a:lnTo>
                    <a:lnTo>
                      <a:pt x="471" y="21"/>
                    </a:lnTo>
                    <a:lnTo>
                      <a:pt x="487" y="27"/>
                    </a:lnTo>
                    <a:lnTo>
                      <a:pt x="503" y="34"/>
                    </a:lnTo>
                    <a:lnTo>
                      <a:pt x="518" y="42"/>
                    </a:lnTo>
                    <a:lnTo>
                      <a:pt x="533" y="50"/>
                    </a:lnTo>
                    <a:lnTo>
                      <a:pt x="546" y="59"/>
                    </a:lnTo>
                    <a:lnTo>
                      <a:pt x="561" y="69"/>
                    </a:lnTo>
                    <a:lnTo>
                      <a:pt x="574" y="80"/>
                    </a:lnTo>
                    <a:lnTo>
                      <a:pt x="587" y="91"/>
                    </a:lnTo>
                    <a:lnTo>
                      <a:pt x="598" y="102"/>
                    </a:lnTo>
                    <a:lnTo>
                      <a:pt x="611" y="114"/>
                    </a:lnTo>
                    <a:lnTo>
                      <a:pt x="622" y="127"/>
                    </a:lnTo>
                    <a:lnTo>
                      <a:pt x="632" y="140"/>
                    </a:lnTo>
                    <a:lnTo>
                      <a:pt x="641" y="154"/>
                    </a:lnTo>
                    <a:lnTo>
                      <a:pt x="651" y="169"/>
                    </a:lnTo>
                    <a:lnTo>
                      <a:pt x="659" y="183"/>
                    </a:lnTo>
                    <a:lnTo>
                      <a:pt x="667" y="198"/>
                    </a:lnTo>
                    <a:lnTo>
                      <a:pt x="673" y="213"/>
                    </a:lnTo>
                    <a:lnTo>
                      <a:pt x="680" y="229"/>
                    </a:lnTo>
                    <a:lnTo>
                      <a:pt x="686" y="246"/>
                    </a:lnTo>
                    <a:lnTo>
                      <a:pt x="691" y="262"/>
                    </a:lnTo>
                    <a:lnTo>
                      <a:pt x="694" y="280"/>
                    </a:lnTo>
                    <a:lnTo>
                      <a:pt x="697" y="297"/>
                    </a:lnTo>
                    <a:lnTo>
                      <a:pt x="699" y="314"/>
                    </a:lnTo>
                    <a:lnTo>
                      <a:pt x="701" y="331"/>
                    </a:lnTo>
                    <a:lnTo>
                      <a:pt x="702" y="350"/>
                    </a:lnTo>
                    <a:lnTo>
                      <a:pt x="702" y="350"/>
                    </a:lnTo>
                    <a:lnTo>
                      <a:pt x="701" y="369"/>
                    </a:lnTo>
                    <a:lnTo>
                      <a:pt x="699" y="386"/>
                    </a:lnTo>
                    <a:lnTo>
                      <a:pt x="697" y="403"/>
                    </a:lnTo>
                    <a:lnTo>
                      <a:pt x="694" y="420"/>
                    </a:lnTo>
                    <a:lnTo>
                      <a:pt x="691" y="438"/>
                    </a:lnTo>
                    <a:lnTo>
                      <a:pt x="686" y="454"/>
                    </a:lnTo>
                    <a:lnTo>
                      <a:pt x="680" y="471"/>
                    </a:lnTo>
                    <a:lnTo>
                      <a:pt x="673" y="487"/>
                    </a:lnTo>
                    <a:lnTo>
                      <a:pt x="667" y="502"/>
                    </a:lnTo>
                    <a:lnTo>
                      <a:pt x="659" y="517"/>
                    </a:lnTo>
                    <a:lnTo>
                      <a:pt x="651" y="531"/>
                    </a:lnTo>
                    <a:lnTo>
                      <a:pt x="641" y="546"/>
                    </a:lnTo>
                    <a:lnTo>
                      <a:pt x="632" y="560"/>
                    </a:lnTo>
                    <a:lnTo>
                      <a:pt x="622" y="573"/>
                    </a:lnTo>
                    <a:lnTo>
                      <a:pt x="611" y="586"/>
                    </a:lnTo>
                    <a:lnTo>
                      <a:pt x="598" y="598"/>
                    </a:lnTo>
                    <a:lnTo>
                      <a:pt x="587" y="609"/>
                    </a:lnTo>
                    <a:lnTo>
                      <a:pt x="574" y="620"/>
                    </a:lnTo>
                    <a:lnTo>
                      <a:pt x="561" y="631"/>
                    </a:lnTo>
                    <a:lnTo>
                      <a:pt x="546" y="641"/>
                    </a:lnTo>
                    <a:lnTo>
                      <a:pt x="533" y="650"/>
                    </a:lnTo>
                    <a:lnTo>
                      <a:pt x="518" y="658"/>
                    </a:lnTo>
                    <a:lnTo>
                      <a:pt x="503" y="666"/>
                    </a:lnTo>
                    <a:lnTo>
                      <a:pt x="487" y="673"/>
                    </a:lnTo>
                    <a:lnTo>
                      <a:pt x="471" y="679"/>
                    </a:lnTo>
                    <a:lnTo>
                      <a:pt x="455" y="684"/>
                    </a:lnTo>
                    <a:lnTo>
                      <a:pt x="439" y="689"/>
                    </a:lnTo>
                    <a:lnTo>
                      <a:pt x="422" y="693"/>
                    </a:lnTo>
                    <a:lnTo>
                      <a:pt x="405" y="697"/>
                    </a:lnTo>
                    <a:lnTo>
                      <a:pt x="387" y="699"/>
                    </a:lnTo>
                    <a:lnTo>
                      <a:pt x="369" y="700"/>
                    </a:lnTo>
                    <a:lnTo>
                      <a:pt x="352" y="700"/>
                    </a:lnTo>
                    <a:lnTo>
                      <a:pt x="352" y="700"/>
                    </a:lnTo>
                    <a:close/>
                  </a:path>
                </a:pathLst>
              </a:custGeom>
              <a:solidFill>
                <a:srgbClr val="0091DA"/>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1" name="Freeform 61">
                <a:extLst>
                  <a:ext uri="{FF2B5EF4-FFF2-40B4-BE49-F238E27FC236}">
                    <a16:creationId xmlns:a16="http://schemas.microsoft.com/office/drawing/2014/main" id="{7C6C5397-7B55-71B3-C7DD-AECAFCE6BA28}"/>
                  </a:ext>
                </a:extLst>
              </p:cNvPr>
              <p:cNvSpPr>
                <a:spLocks/>
              </p:cNvSpPr>
              <p:nvPr/>
            </p:nvSpPr>
            <p:spPr bwMode="auto">
              <a:xfrm>
                <a:off x="5824134" y="3149968"/>
                <a:ext cx="410131" cy="539429"/>
              </a:xfrm>
              <a:custGeom>
                <a:avLst/>
                <a:gdLst>
                  <a:gd name="T0" fmla="*/ 0 w 287"/>
                  <a:gd name="T1" fmla="*/ 395 h 395"/>
                  <a:gd name="T2" fmla="*/ 0 w 287"/>
                  <a:gd name="T3" fmla="*/ 183 h 395"/>
                  <a:gd name="T4" fmla="*/ 0 w 287"/>
                  <a:gd name="T5" fmla="*/ 77 h 395"/>
                  <a:gd name="T6" fmla="*/ 75 w 287"/>
                  <a:gd name="T7" fmla="*/ 0 h 395"/>
                  <a:gd name="T8" fmla="*/ 287 w 287"/>
                  <a:gd name="T9" fmla="*/ 0 h 395"/>
                  <a:gd name="T10" fmla="*/ 287 w 287"/>
                  <a:gd name="T11" fmla="*/ 79 h 395"/>
                  <a:gd name="T12" fmla="*/ 287 w 287"/>
                  <a:gd name="T13" fmla="*/ 183 h 395"/>
                  <a:gd name="T14" fmla="*/ 287 w 287"/>
                  <a:gd name="T15" fmla="*/ 395 h 395"/>
                  <a:gd name="T16" fmla="*/ 0 w 287"/>
                  <a:gd name="T17" fmla="*/ 39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7" h="395">
                    <a:moveTo>
                      <a:pt x="0" y="395"/>
                    </a:moveTo>
                    <a:lnTo>
                      <a:pt x="0" y="183"/>
                    </a:lnTo>
                    <a:lnTo>
                      <a:pt x="0" y="77"/>
                    </a:lnTo>
                    <a:lnTo>
                      <a:pt x="75" y="0"/>
                    </a:lnTo>
                    <a:lnTo>
                      <a:pt x="287" y="0"/>
                    </a:lnTo>
                    <a:lnTo>
                      <a:pt x="287" y="79"/>
                    </a:lnTo>
                    <a:lnTo>
                      <a:pt x="287" y="183"/>
                    </a:lnTo>
                    <a:lnTo>
                      <a:pt x="287" y="395"/>
                    </a:lnTo>
                    <a:lnTo>
                      <a:pt x="0" y="3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sp>
          <p:nvSpPr>
            <p:cNvPr id="382" name="Freeform 62">
              <a:extLst>
                <a:ext uri="{FF2B5EF4-FFF2-40B4-BE49-F238E27FC236}">
                  <a16:creationId xmlns:a16="http://schemas.microsoft.com/office/drawing/2014/main" id="{6836A92B-0D4F-2B35-1F99-8F4EB7E6336C}"/>
                </a:ext>
              </a:extLst>
            </p:cNvPr>
            <p:cNvSpPr>
              <a:spLocks/>
            </p:cNvSpPr>
            <p:nvPr/>
          </p:nvSpPr>
          <p:spPr bwMode="auto">
            <a:xfrm>
              <a:off x="5824134" y="3149968"/>
              <a:ext cx="107177" cy="105155"/>
            </a:xfrm>
            <a:custGeom>
              <a:avLst/>
              <a:gdLst>
                <a:gd name="T0" fmla="*/ 75 w 75"/>
                <a:gd name="T1" fmla="*/ 77 h 77"/>
                <a:gd name="T2" fmla="*/ 0 w 75"/>
                <a:gd name="T3" fmla="*/ 77 h 77"/>
                <a:gd name="T4" fmla="*/ 75 w 75"/>
                <a:gd name="T5" fmla="*/ 0 h 77"/>
                <a:gd name="T6" fmla="*/ 75 w 75"/>
                <a:gd name="T7" fmla="*/ 77 h 77"/>
              </a:gdLst>
              <a:ahLst/>
              <a:cxnLst>
                <a:cxn ang="0">
                  <a:pos x="T0" y="T1"/>
                </a:cxn>
                <a:cxn ang="0">
                  <a:pos x="T2" y="T3"/>
                </a:cxn>
                <a:cxn ang="0">
                  <a:pos x="T4" y="T5"/>
                </a:cxn>
                <a:cxn ang="0">
                  <a:pos x="T6" y="T7"/>
                </a:cxn>
              </a:cxnLst>
              <a:rect l="0" t="0" r="r" b="b"/>
              <a:pathLst>
                <a:path w="75" h="77">
                  <a:moveTo>
                    <a:pt x="75" y="77"/>
                  </a:moveTo>
                  <a:lnTo>
                    <a:pt x="0" y="77"/>
                  </a:lnTo>
                  <a:lnTo>
                    <a:pt x="75" y="0"/>
                  </a:lnTo>
                  <a:lnTo>
                    <a:pt x="75" y="77"/>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3" name="Freeform 63">
              <a:extLst>
                <a:ext uri="{FF2B5EF4-FFF2-40B4-BE49-F238E27FC236}">
                  <a16:creationId xmlns:a16="http://schemas.microsoft.com/office/drawing/2014/main" id="{FE928E08-9172-AD02-AF25-9B5D47267D5A}"/>
                </a:ext>
              </a:extLst>
            </p:cNvPr>
            <p:cNvSpPr>
              <a:spLocks/>
            </p:cNvSpPr>
            <p:nvPr/>
          </p:nvSpPr>
          <p:spPr bwMode="auto">
            <a:xfrm>
              <a:off x="5824134" y="3255122"/>
              <a:ext cx="107177" cy="103789"/>
            </a:xfrm>
            <a:custGeom>
              <a:avLst/>
              <a:gdLst>
                <a:gd name="T0" fmla="*/ 0 w 75"/>
                <a:gd name="T1" fmla="*/ 0 h 76"/>
                <a:gd name="T2" fmla="*/ 75 w 75"/>
                <a:gd name="T3" fmla="*/ 0 h 76"/>
                <a:gd name="T4" fmla="*/ 0 w 75"/>
                <a:gd name="T5" fmla="*/ 76 h 76"/>
                <a:gd name="T6" fmla="*/ 0 w 75"/>
                <a:gd name="T7" fmla="*/ 0 h 76"/>
              </a:gdLst>
              <a:ahLst/>
              <a:cxnLst>
                <a:cxn ang="0">
                  <a:pos x="T0" y="T1"/>
                </a:cxn>
                <a:cxn ang="0">
                  <a:pos x="T2" y="T3"/>
                </a:cxn>
                <a:cxn ang="0">
                  <a:pos x="T4" y="T5"/>
                </a:cxn>
                <a:cxn ang="0">
                  <a:pos x="T6" y="T7"/>
                </a:cxn>
              </a:cxnLst>
              <a:rect l="0" t="0" r="r" b="b"/>
              <a:pathLst>
                <a:path w="75" h="76">
                  <a:moveTo>
                    <a:pt x="0" y="0"/>
                  </a:moveTo>
                  <a:lnTo>
                    <a:pt x="75" y="0"/>
                  </a:lnTo>
                  <a:lnTo>
                    <a:pt x="0" y="76"/>
                  </a:lnTo>
                  <a:lnTo>
                    <a:pt x="0" y="0"/>
                  </a:lnTo>
                  <a:close/>
                </a:path>
              </a:pathLst>
            </a:custGeom>
            <a:solidFill>
              <a:srgbClr val="D1E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4" name="Freeform 64">
              <a:extLst>
                <a:ext uri="{FF2B5EF4-FFF2-40B4-BE49-F238E27FC236}">
                  <a16:creationId xmlns:a16="http://schemas.microsoft.com/office/drawing/2014/main" id="{32D2778C-5DC7-BFE0-261B-E72F9A69330F}"/>
                </a:ext>
              </a:extLst>
            </p:cNvPr>
            <p:cNvSpPr>
              <a:spLocks/>
            </p:cNvSpPr>
            <p:nvPr/>
          </p:nvSpPr>
          <p:spPr bwMode="auto">
            <a:xfrm>
              <a:off x="5861289" y="3506400"/>
              <a:ext cx="134329" cy="127005"/>
            </a:xfrm>
            <a:custGeom>
              <a:avLst/>
              <a:gdLst>
                <a:gd name="T0" fmla="*/ 43 w 94"/>
                <a:gd name="T1" fmla="*/ 49 h 93"/>
                <a:gd name="T2" fmla="*/ 43 w 94"/>
                <a:gd name="T3" fmla="*/ 0 h 93"/>
                <a:gd name="T4" fmla="*/ 43 w 94"/>
                <a:gd name="T5" fmla="*/ 0 h 93"/>
                <a:gd name="T6" fmla="*/ 34 w 94"/>
                <a:gd name="T7" fmla="*/ 1 h 93"/>
                <a:gd name="T8" fmla="*/ 27 w 94"/>
                <a:gd name="T9" fmla="*/ 5 h 93"/>
                <a:gd name="T10" fmla="*/ 20 w 94"/>
                <a:gd name="T11" fmla="*/ 8 h 93"/>
                <a:gd name="T12" fmla="*/ 12 w 94"/>
                <a:gd name="T13" fmla="*/ 14 h 93"/>
                <a:gd name="T14" fmla="*/ 7 w 94"/>
                <a:gd name="T15" fmla="*/ 21 h 93"/>
                <a:gd name="T16" fmla="*/ 4 w 94"/>
                <a:gd name="T17" fmla="*/ 29 h 93"/>
                <a:gd name="T18" fmla="*/ 1 w 94"/>
                <a:gd name="T19" fmla="*/ 37 h 93"/>
                <a:gd name="T20" fmla="*/ 0 w 94"/>
                <a:gd name="T21" fmla="*/ 47 h 93"/>
                <a:gd name="T22" fmla="*/ 0 w 94"/>
                <a:gd name="T23" fmla="*/ 47 h 93"/>
                <a:gd name="T24" fmla="*/ 1 w 94"/>
                <a:gd name="T25" fmla="*/ 55 h 93"/>
                <a:gd name="T26" fmla="*/ 4 w 94"/>
                <a:gd name="T27" fmla="*/ 64 h 93"/>
                <a:gd name="T28" fmla="*/ 9 w 94"/>
                <a:gd name="T29" fmla="*/ 72 h 93"/>
                <a:gd name="T30" fmla="*/ 13 w 94"/>
                <a:gd name="T31" fmla="*/ 79 h 93"/>
                <a:gd name="T32" fmla="*/ 21 w 94"/>
                <a:gd name="T33" fmla="*/ 85 h 93"/>
                <a:gd name="T34" fmla="*/ 28 w 94"/>
                <a:gd name="T35" fmla="*/ 90 h 93"/>
                <a:gd name="T36" fmla="*/ 37 w 94"/>
                <a:gd name="T37" fmla="*/ 92 h 93"/>
                <a:gd name="T38" fmla="*/ 47 w 94"/>
                <a:gd name="T39" fmla="*/ 93 h 93"/>
                <a:gd name="T40" fmla="*/ 47 w 94"/>
                <a:gd name="T41" fmla="*/ 93 h 93"/>
                <a:gd name="T42" fmla="*/ 55 w 94"/>
                <a:gd name="T43" fmla="*/ 92 h 93"/>
                <a:gd name="T44" fmla="*/ 64 w 94"/>
                <a:gd name="T45" fmla="*/ 90 h 93"/>
                <a:gd name="T46" fmla="*/ 71 w 94"/>
                <a:gd name="T47" fmla="*/ 86 h 93"/>
                <a:gd name="T48" fmla="*/ 79 w 94"/>
                <a:gd name="T49" fmla="*/ 80 h 93"/>
                <a:gd name="T50" fmla="*/ 84 w 94"/>
                <a:gd name="T51" fmla="*/ 74 h 93"/>
                <a:gd name="T52" fmla="*/ 89 w 94"/>
                <a:gd name="T53" fmla="*/ 66 h 93"/>
                <a:gd name="T54" fmla="*/ 91 w 94"/>
                <a:gd name="T55" fmla="*/ 58 h 93"/>
                <a:gd name="T56" fmla="*/ 94 w 94"/>
                <a:gd name="T57" fmla="*/ 49 h 93"/>
                <a:gd name="T58" fmla="*/ 43 w 94"/>
                <a:gd name="T59" fmla="*/ 4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4" h="93">
                  <a:moveTo>
                    <a:pt x="43" y="49"/>
                  </a:moveTo>
                  <a:lnTo>
                    <a:pt x="43" y="0"/>
                  </a:lnTo>
                  <a:lnTo>
                    <a:pt x="43" y="0"/>
                  </a:lnTo>
                  <a:lnTo>
                    <a:pt x="34" y="1"/>
                  </a:lnTo>
                  <a:lnTo>
                    <a:pt x="27" y="5"/>
                  </a:lnTo>
                  <a:lnTo>
                    <a:pt x="20" y="8"/>
                  </a:lnTo>
                  <a:lnTo>
                    <a:pt x="12" y="14"/>
                  </a:lnTo>
                  <a:lnTo>
                    <a:pt x="7" y="21"/>
                  </a:lnTo>
                  <a:lnTo>
                    <a:pt x="4" y="29"/>
                  </a:lnTo>
                  <a:lnTo>
                    <a:pt x="1" y="37"/>
                  </a:lnTo>
                  <a:lnTo>
                    <a:pt x="0" y="47"/>
                  </a:lnTo>
                  <a:lnTo>
                    <a:pt x="0" y="47"/>
                  </a:lnTo>
                  <a:lnTo>
                    <a:pt x="1" y="55"/>
                  </a:lnTo>
                  <a:lnTo>
                    <a:pt x="4" y="64"/>
                  </a:lnTo>
                  <a:lnTo>
                    <a:pt x="9" y="72"/>
                  </a:lnTo>
                  <a:lnTo>
                    <a:pt x="13" y="79"/>
                  </a:lnTo>
                  <a:lnTo>
                    <a:pt x="21" y="85"/>
                  </a:lnTo>
                  <a:lnTo>
                    <a:pt x="28" y="90"/>
                  </a:lnTo>
                  <a:lnTo>
                    <a:pt x="37" y="92"/>
                  </a:lnTo>
                  <a:lnTo>
                    <a:pt x="47" y="93"/>
                  </a:lnTo>
                  <a:lnTo>
                    <a:pt x="47" y="93"/>
                  </a:lnTo>
                  <a:lnTo>
                    <a:pt x="55" y="92"/>
                  </a:lnTo>
                  <a:lnTo>
                    <a:pt x="64" y="90"/>
                  </a:lnTo>
                  <a:lnTo>
                    <a:pt x="71" y="86"/>
                  </a:lnTo>
                  <a:lnTo>
                    <a:pt x="79" y="80"/>
                  </a:lnTo>
                  <a:lnTo>
                    <a:pt x="84" y="74"/>
                  </a:lnTo>
                  <a:lnTo>
                    <a:pt x="89" y="66"/>
                  </a:lnTo>
                  <a:lnTo>
                    <a:pt x="91" y="58"/>
                  </a:lnTo>
                  <a:lnTo>
                    <a:pt x="94" y="49"/>
                  </a:lnTo>
                  <a:lnTo>
                    <a:pt x="43" y="49"/>
                  </a:lnTo>
                  <a:close/>
                </a:path>
              </a:pathLst>
            </a:custGeom>
            <a:solidFill>
              <a:srgbClr val="2C58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5" name="Freeform 65">
              <a:extLst>
                <a:ext uri="{FF2B5EF4-FFF2-40B4-BE49-F238E27FC236}">
                  <a16:creationId xmlns:a16="http://schemas.microsoft.com/office/drawing/2014/main" id="{C3C909CE-604F-4DF6-18BC-6CBC0E0C11CD}"/>
                </a:ext>
              </a:extLst>
            </p:cNvPr>
            <p:cNvSpPr>
              <a:spLocks/>
            </p:cNvSpPr>
            <p:nvPr/>
          </p:nvSpPr>
          <p:spPr bwMode="auto">
            <a:xfrm>
              <a:off x="5942744" y="3509131"/>
              <a:ext cx="48587" cy="49163"/>
            </a:xfrm>
            <a:custGeom>
              <a:avLst/>
              <a:gdLst>
                <a:gd name="T0" fmla="*/ 34 w 34"/>
                <a:gd name="T1" fmla="*/ 36 h 36"/>
                <a:gd name="T2" fmla="*/ 34 w 34"/>
                <a:gd name="T3" fmla="*/ 36 h 36"/>
                <a:gd name="T4" fmla="*/ 33 w 34"/>
                <a:gd name="T5" fmla="*/ 29 h 36"/>
                <a:gd name="T6" fmla="*/ 32 w 34"/>
                <a:gd name="T7" fmla="*/ 22 h 36"/>
                <a:gd name="T8" fmla="*/ 28 w 34"/>
                <a:gd name="T9" fmla="*/ 16 h 36"/>
                <a:gd name="T10" fmla="*/ 24 w 34"/>
                <a:gd name="T11" fmla="*/ 11 h 36"/>
                <a:gd name="T12" fmla="*/ 18 w 34"/>
                <a:gd name="T13" fmla="*/ 6 h 36"/>
                <a:gd name="T14" fmla="*/ 13 w 34"/>
                <a:gd name="T15" fmla="*/ 4 h 36"/>
                <a:gd name="T16" fmla="*/ 6 w 34"/>
                <a:gd name="T17" fmla="*/ 1 h 36"/>
                <a:gd name="T18" fmla="*/ 0 w 34"/>
                <a:gd name="T19" fmla="*/ 0 h 36"/>
                <a:gd name="T20" fmla="*/ 0 w 34"/>
                <a:gd name="T21" fmla="*/ 36 h 36"/>
                <a:gd name="T22" fmla="*/ 34 w 34"/>
                <a:gd name="T2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6">
                  <a:moveTo>
                    <a:pt x="34" y="36"/>
                  </a:moveTo>
                  <a:lnTo>
                    <a:pt x="34" y="36"/>
                  </a:lnTo>
                  <a:lnTo>
                    <a:pt x="33" y="29"/>
                  </a:lnTo>
                  <a:lnTo>
                    <a:pt x="32" y="22"/>
                  </a:lnTo>
                  <a:lnTo>
                    <a:pt x="28" y="16"/>
                  </a:lnTo>
                  <a:lnTo>
                    <a:pt x="24" y="11"/>
                  </a:lnTo>
                  <a:lnTo>
                    <a:pt x="18" y="6"/>
                  </a:lnTo>
                  <a:lnTo>
                    <a:pt x="13" y="4"/>
                  </a:lnTo>
                  <a:lnTo>
                    <a:pt x="6" y="1"/>
                  </a:lnTo>
                  <a:lnTo>
                    <a:pt x="0" y="0"/>
                  </a:lnTo>
                  <a:lnTo>
                    <a:pt x="0" y="36"/>
                  </a:lnTo>
                  <a:lnTo>
                    <a:pt x="34" y="36"/>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6" name="Freeform 66">
              <a:extLst>
                <a:ext uri="{FF2B5EF4-FFF2-40B4-BE49-F238E27FC236}">
                  <a16:creationId xmlns:a16="http://schemas.microsoft.com/office/drawing/2014/main" id="{A4C918D4-A62E-5F2D-8179-7A0DB9D0653D}"/>
                </a:ext>
              </a:extLst>
            </p:cNvPr>
            <p:cNvSpPr>
              <a:spLocks/>
            </p:cNvSpPr>
            <p:nvPr/>
          </p:nvSpPr>
          <p:spPr bwMode="auto">
            <a:xfrm>
              <a:off x="5949889" y="3376664"/>
              <a:ext cx="42871" cy="39604"/>
            </a:xfrm>
            <a:custGeom>
              <a:avLst/>
              <a:gdLst>
                <a:gd name="T0" fmla="*/ 4 w 30"/>
                <a:gd name="T1" fmla="*/ 0 h 29"/>
                <a:gd name="T2" fmla="*/ 4 w 30"/>
                <a:gd name="T3" fmla="*/ 0 h 29"/>
                <a:gd name="T4" fmla="*/ 2 w 30"/>
                <a:gd name="T5" fmla="*/ 5 h 29"/>
                <a:gd name="T6" fmla="*/ 0 w 30"/>
                <a:gd name="T7" fmla="*/ 8 h 29"/>
                <a:gd name="T8" fmla="*/ 16 w 30"/>
                <a:gd name="T9" fmla="*/ 29 h 29"/>
                <a:gd name="T10" fmla="*/ 16 w 30"/>
                <a:gd name="T11" fmla="*/ 29 h 29"/>
                <a:gd name="T12" fmla="*/ 21 w 30"/>
                <a:gd name="T13" fmla="*/ 23 h 29"/>
                <a:gd name="T14" fmla="*/ 24 w 30"/>
                <a:gd name="T15" fmla="*/ 17 h 29"/>
                <a:gd name="T16" fmla="*/ 28 w 30"/>
                <a:gd name="T17" fmla="*/ 11 h 29"/>
                <a:gd name="T18" fmla="*/ 30 w 30"/>
                <a:gd name="T19" fmla="*/ 3 h 29"/>
                <a:gd name="T20" fmla="*/ 4 w 30"/>
                <a:gd name="T2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29">
                  <a:moveTo>
                    <a:pt x="4" y="0"/>
                  </a:moveTo>
                  <a:lnTo>
                    <a:pt x="4" y="0"/>
                  </a:lnTo>
                  <a:lnTo>
                    <a:pt x="2" y="5"/>
                  </a:lnTo>
                  <a:lnTo>
                    <a:pt x="0" y="8"/>
                  </a:lnTo>
                  <a:lnTo>
                    <a:pt x="16" y="29"/>
                  </a:lnTo>
                  <a:lnTo>
                    <a:pt x="16" y="29"/>
                  </a:lnTo>
                  <a:lnTo>
                    <a:pt x="21" y="23"/>
                  </a:lnTo>
                  <a:lnTo>
                    <a:pt x="24" y="17"/>
                  </a:lnTo>
                  <a:lnTo>
                    <a:pt x="28" y="11"/>
                  </a:lnTo>
                  <a:lnTo>
                    <a:pt x="30" y="3"/>
                  </a:lnTo>
                  <a:lnTo>
                    <a:pt x="4" y="0"/>
                  </a:ln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7" name="Freeform 67">
              <a:extLst>
                <a:ext uri="{FF2B5EF4-FFF2-40B4-BE49-F238E27FC236}">
                  <a16:creationId xmlns:a16="http://schemas.microsoft.com/office/drawing/2014/main" id="{1AC0E4BE-4B02-05F1-C6EF-2C59C7C05246}"/>
                </a:ext>
              </a:extLst>
            </p:cNvPr>
            <p:cNvSpPr>
              <a:spLocks/>
            </p:cNvSpPr>
            <p:nvPr/>
          </p:nvSpPr>
          <p:spPr bwMode="auto">
            <a:xfrm>
              <a:off x="5932740" y="3304285"/>
              <a:ext cx="62877" cy="65551"/>
            </a:xfrm>
            <a:custGeom>
              <a:avLst/>
              <a:gdLst>
                <a:gd name="T0" fmla="*/ 0 w 44"/>
                <a:gd name="T1" fmla="*/ 27 h 48"/>
                <a:gd name="T2" fmla="*/ 0 w 44"/>
                <a:gd name="T3" fmla="*/ 27 h 48"/>
                <a:gd name="T4" fmla="*/ 7 w 44"/>
                <a:gd name="T5" fmla="*/ 28 h 48"/>
                <a:gd name="T6" fmla="*/ 12 w 44"/>
                <a:gd name="T7" fmla="*/ 33 h 48"/>
                <a:gd name="T8" fmla="*/ 15 w 44"/>
                <a:gd name="T9" fmla="*/ 38 h 48"/>
                <a:gd name="T10" fmla="*/ 18 w 44"/>
                <a:gd name="T11" fmla="*/ 44 h 48"/>
                <a:gd name="T12" fmla="*/ 44 w 44"/>
                <a:gd name="T13" fmla="*/ 48 h 48"/>
                <a:gd name="T14" fmla="*/ 44 w 44"/>
                <a:gd name="T15" fmla="*/ 48 h 48"/>
                <a:gd name="T16" fmla="*/ 44 w 44"/>
                <a:gd name="T17" fmla="*/ 47 h 48"/>
                <a:gd name="T18" fmla="*/ 44 w 44"/>
                <a:gd name="T19" fmla="*/ 47 h 48"/>
                <a:gd name="T20" fmla="*/ 42 w 44"/>
                <a:gd name="T21" fmla="*/ 38 h 48"/>
                <a:gd name="T22" fmla="*/ 40 w 44"/>
                <a:gd name="T23" fmla="*/ 29 h 48"/>
                <a:gd name="T24" fmla="*/ 36 w 44"/>
                <a:gd name="T25" fmla="*/ 22 h 48"/>
                <a:gd name="T26" fmla="*/ 31 w 44"/>
                <a:gd name="T27" fmla="*/ 16 h 48"/>
                <a:gd name="T28" fmla="*/ 25 w 44"/>
                <a:gd name="T29" fmla="*/ 10 h 48"/>
                <a:gd name="T30" fmla="*/ 18 w 44"/>
                <a:gd name="T31" fmla="*/ 5 h 48"/>
                <a:gd name="T32" fmla="*/ 9 w 44"/>
                <a:gd name="T33" fmla="*/ 2 h 48"/>
                <a:gd name="T34" fmla="*/ 0 w 44"/>
                <a:gd name="T35" fmla="*/ 0 h 48"/>
                <a:gd name="T36" fmla="*/ 0 w 44"/>
                <a:gd name="T37" fmla="*/ 2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 h="48">
                  <a:moveTo>
                    <a:pt x="0" y="27"/>
                  </a:moveTo>
                  <a:lnTo>
                    <a:pt x="0" y="27"/>
                  </a:lnTo>
                  <a:lnTo>
                    <a:pt x="7" y="28"/>
                  </a:lnTo>
                  <a:lnTo>
                    <a:pt x="12" y="33"/>
                  </a:lnTo>
                  <a:lnTo>
                    <a:pt x="15" y="38"/>
                  </a:lnTo>
                  <a:lnTo>
                    <a:pt x="18" y="44"/>
                  </a:lnTo>
                  <a:lnTo>
                    <a:pt x="44" y="48"/>
                  </a:lnTo>
                  <a:lnTo>
                    <a:pt x="44" y="48"/>
                  </a:lnTo>
                  <a:lnTo>
                    <a:pt x="44" y="47"/>
                  </a:lnTo>
                  <a:lnTo>
                    <a:pt x="44" y="47"/>
                  </a:lnTo>
                  <a:lnTo>
                    <a:pt x="42" y="38"/>
                  </a:lnTo>
                  <a:lnTo>
                    <a:pt x="40" y="29"/>
                  </a:lnTo>
                  <a:lnTo>
                    <a:pt x="36" y="22"/>
                  </a:lnTo>
                  <a:lnTo>
                    <a:pt x="31" y="16"/>
                  </a:lnTo>
                  <a:lnTo>
                    <a:pt x="25" y="10"/>
                  </a:lnTo>
                  <a:lnTo>
                    <a:pt x="18" y="5"/>
                  </a:lnTo>
                  <a:lnTo>
                    <a:pt x="9" y="2"/>
                  </a:lnTo>
                  <a:lnTo>
                    <a:pt x="0" y="0"/>
                  </a:lnTo>
                  <a:lnTo>
                    <a:pt x="0" y="27"/>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8" name="Freeform 68">
              <a:extLst>
                <a:ext uri="{FF2B5EF4-FFF2-40B4-BE49-F238E27FC236}">
                  <a16:creationId xmlns:a16="http://schemas.microsoft.com/office/drawing/2014/main" id="{1FC6C340-EC7A-7A2F-A6B7-D1A4F01820A1}"/>
                </a:ext>
              </a:extLst>
            </p:cNvPr>
            <p:cNvSpPr>
              <a:spLocks/>
            </p:cNvSpPr>
            <p:nvPr/>
          </p:nvSpPr>
          <p:spPr bwMode="auto">
            <a:xfrm>
              <a:off x="5874151" y="3304285"/>
              <a:ext cx="47158" cy="45067"/>
            </a:xfrm>
            <a:custGeom>
              <a:avLst/>
              <a:gdLst>
                <a:gd name="T0" fmla="*/ 22 w 33"/>
                <a:gd name="T1" fmla="*/ 33 h 33"/>
                <a:gd name="T2" fmla="*/ 22 w 33"/>
                <a:gd name="T3" fmla="*/ 33 h 33"/>
                <a:gd name="T4" fmla="*/ 27 w 33"/>
                <a:gd name="T5" fmla="*/ 28 h 33"/>
                <a:gd name="T6" fmla="*/ 33 w 33"/>
                <a:gd name="T7" fmla="*/ 27 h 33"/>
                <a:gd name="T8" fmla="*/ 33 w 33"/>
                <a:gd name="T9" fmla="*/ 0 h 33"/>
                <a:gd name="T10" fmla="*/ 33 w 33"/>
                <a:gd name="T11" fmla="*/ 0 h 33"/>
                <a:gd name="T12" fmla="*/ 23 w 33"/>
                <a:gd name="T13" fmla="*/ 2 h 33"/>
                <a:gd name="T14" fmla="*/ 14 w 33"/>
                <a:gd name="T15" fmla="*/ 6 h 33"/>
                <a:gd name="T16" fmla="*/ 7 w 33"/>
                <a:gd name="T17" fmla="*/ 12 h 33"/>
                <a:gd name="T18" fmla="*/ 0 w 33"/>
                <a:gd name="T19" fmla="*/ 19 h 33"/>
                <a:gd name="T20" fmla="*/ 22 w 33"/>
                <a:gd name="T21"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3">
                  <a:moveTo>
                    <a:pt x="22" y="33"/>
                  </a:moveTo>
                  <a:lnTo>
                    <a:pt x="22" y="33"/>
                  </a:lnTo>
                  <a:lnTo>
                    <a:pt x="27" y="28"/>
                  </a:lnTo>
                  <a:lnTo>
                    <a:pt x="33" y="27"/>
                  </a:lnTo>
                  <a:lnTo>
                    <a:pt x="33" y="0"/>
                  </a:lnTo>
                  <a:lnTo>
                    <a:pt x="33" y="0"/>
                  </a:lnTo>
                  <a:lnTo>
                    <a:pt x="23" y="2"/>
                  </a:lnTo>
                  <a:lnTo>
                    <a:pt x="14" y="6"/>
                  </a:lnTo>
                  <a:lnTo>
                    <a:pt x="7" y="12"/>
                  </a:lnTo>
                  <a:lnTo>
                    <a:pt x="0" y="19"/>
                  </a:lnTo>
                  <a:lnTo>
                    <a:pt x="22" y="33"/>
                  </a:lnTo>
                  <a:close/>
                </a:path>
              </a:pathLst>
            </a:custGeom>
            <a:solidFill>
              <a:srgbClr val="15B0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89" name="Freeform 69">
              <a:extLst>
                <a:ext uri="{FF2B5EF4-FFF2-40B4-BE49-F238E27FC236}">
                  <a16:creationId xmlns:a16="http://schemas.microsoft.com/office/drawing/2014/main" id="{1D1BC845-C7E8-577D-187A-844046C58903}"/>
                </a:ext>
              </a:extLst>
            </p:cNvPr>
            <p:cNvSpPr>
              <a:spLocks/>
            </p:cNvSpPr>
            <p:nvPr/>
          </p:nvSpPr>
          <p:spPr bwMode="auto">
            <a:xfrm>
              <a:off x="5861289" y="3341158"/>
              <a:ext cx="100032" cy="90132"/>
            </a:xfrm>
            <a:custGeom>
              <a:avLst/>
              <a:gdLst>
                <a:gd name="T0" fmla="*/ 55 w 70"/>
                <a:gd name="T1" fmla="*/ 39 h 66"/>
                <a:gd name="T2" fmla="*/ 55 w 70"/>
                <a:gd name="T3" fmla="*/ 39 h 66"/>
                <a:gd name="T4" fmla="*/ 50 w 70"/>
                <a:gd name="T5" fmla="*/ 40 h 66"/>
                <a:gd name="T6" fmla="*/ 47 w 70"/>
                <a:gd name="T7" fmla="*/ 40 h 66"/>
                <a:gd name="T8" fmla="*/ 47 w 70"/>
                <a:gd name="T9" fmla="*/ 40 h 66"/>
                <a:gd name="T10" fmla="*/ 42 w 70"/>
                <a:gd name="T11" fmla="*/ 40 h 66"/>
                <a:gd name="T12" fmla="*/ 38 w 70"/>
                <a:gd name="T13" fmla="*/ 39 h 66"/>
                <a:gd name="T14" fmla="*/ 34 w 70"/>
                <a:gd name="T15" fmla="*/ 37 h 66"/>
                <a:gd name="T16" fmla="*/ 32 w 70"/>
                <a:gd name="T17" fmla="*/ 34 h 66"/>
                <a:gd name="T18" fmla="*/ 29 w 70"/>
                <a:gd name="T19" fmla="*/ 32 h 66"/>
                <a:gd name="T20" fmla="*/ 27 w 70"/>
                <a:gd name="T21" fmla="*/ 28 h 66"/>
                <a:gd name="T22" fmla="*/ 26 w 70"/>
                <a:gd name="T23" fmla="*/ 24 h 66"/>
                <a:gd name="T24" fmla="*/ 26 w 70"/>
                <a:gd name="T25" fmla="*/ 20 h 66"/>
                <a:gd name="T26" fmla="*/ 26 w 70"/>
                <a:gd name="T27" fmla="*/ 20 h 66"/>
                <a:gd name="T28" fmla="*/ 27 w 70"/>
                <a:gd name="T29" fmla="*/ 13 h 66"/>
                <a:gd name="T30" fmla="*/ 5 w 70"/>
                <a:gd name="T31" fmla="*/ 0 h 66"/>
                <a:gd name="T32" fmla="*/ 5 w 70"/>
                <a:gd name="T33" fmla="*/ 0 h 66"/>
                <a:gd name="T34" fmla="*/ 1 w 70"/>
                <a:gd name="T35" fmla="*/ 10 h 66"/>
                <a:gd name="T36" fmla="*/ 0 w 70"/>
                <a:gd name="T37" fmla="*/ 20 h 66"/>
                <a:gd name="T38" fmla="*/ 0 w 70"/>
                <a:gd name="T39" fmla="*/ 20 h 66"/>
                <a:gd name="T40" fmla="*/ 1 w 70"/>
                <a:gd name="T41" fmla="*/ 29 h 66"/>
                <a:gd name="T42" fmla="*/ 4 w 70"/>
                <a:gd name="T43" fmla="*/ 38 h 66"/>
                <a:gd name="T44" fmla="*/ 9 w 70"/>
                <a:gd name="T45" fmla="*/ 45 h 66"/>
                <a:gd name="T46" fmla="*/ 13 w 70"/>
                <a:gd name="T47" fmla="*/ 53 h 66"/>
                <a:gd name="T48" fmla="*/ 21 w 70"/>
                <a:gd name="T49" fmla="*/ 58 h 66"/>
                <a:gd name="T50" fmla="*/ 28 w 70"/>
                <a:gd name="T51" fmla="*/ 63 h 66"/>
                <a:gd name="T52" fmla="*/ 37 w 70"/>
                <a:gd name="T53" fmla="*/ 65 h 66"/>
                <a:gd name="T54" fmla="*/ 47 w 70"/>
                <a:gd name="T55" fmla="*/ 66 h 66"/>
                <a:gd name="T56" fmla="*/ 47 w 70"/>
                <a:gd name="T57" fmla="*/ 66 h 66"/>
                <a:gd name="T58" fmla="*/ 53 w 70"/>
                <a:gd name="T59" fmla="*/ 66 h 66"/>
                <a:gd name="T60" fmla="*/ 59 w 70"/>
                <a:gd name="T61" fmla="*/ 65 h 66"/>
                <a:gd name="T62" fmla="*/ 65 w 70"/>
                <a:gd name="T63" fmla="*/ 63 h 66"/>
                <a:gd name="T64" fmla="*/ 70 w 70"/>
                <a:gd name="T65" fmla="*/ 60 h 66"/>
                <a:gd name="T66" fmla="*/ 55 w 70"/>
                <a:gd name="T67" fmla="*/ 3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0" h="66">
                  <a:moveTo>
                    <a:pt x="55" y="39"/>
                  </a:moveTo>
                  <a:lnTo>
                    <a:pt x="55" y="39"/>
                  </a:lnTo>
                  <a:lnTo>
                    <a:pt x="50" y="40"/>
                  </a:lnTo>
                  <a:lnTo>
                    <a:pt x="47" y="40"/>
                  </a:lnTo>
                  <a:lnTo>
                    <a:pt x="47" y="40"/>
                  </a:lnTo>
                  <a:lnTo>
                    <a:pt x="42" y="40"/>
                  </a:lnTo>
                  <a:lnTo>
                    <a:pt x="38" y="39"/>
                  </a:lnTo>
                  <a:lnTo>
                    <a:pt x="34" y="37"/>
                  </a:lnTo>
                  <a:lnTo>
                    <a:pt x="32" y="34"/>
                  </a:lnTo>
                  <a:lnTo>
                    <a:pt x="29" y="32"/>
                  </a:lnTo>
                  <a:lnTo>
                    <a:pt x="27" y="28"/>
                  </a:lnTo>
                  <a:lnTo>
                    <a:pt x="26" y="24"/>
                  </a:lnTo>
                  <a:lnTo>
                    <a:pt x="26" y="20"/>
                  </a:lnTo>
                  <a:lnTo>
                    <a:pt x="26" y="20"/>
                  </a:lnTo>
                  <a:lnTo>
                    <a:pt x="27" y="13"/>
                  </a:lnTo>
                  <a:lnTo>
                    <a:pt x="5" y="0"/>
                  </a:lnTo>
                  <a:lnTo>
                    <a:pt x="5" y="0"/>
                  </a:lnTo>
                  <a:lnTo>
                    <a:pt x="1" y="10"/>
                  </a:lnTo>
                  <a:lnTo>
                    <a:pt x="0" y="20"/>
                  </a:lnTo>
                  <a:lnTo>
                    <a:pt x="0" y="20"/>
                  </a:lnTo>
                  <a:lnTo>
                    <a:pt x="1" y="29"/>
                  </a:lnTo>
                  <a:lnTo>
                    <a:pt x="4" y="38"/>
                  </a:lnTo>
                  <a:lnTo>
                    <a:pt x="9" y="45"/>
                  </a:lnTo>
                  <a:lnTo>
                    <a:pt x="13" y="53"/>
                  </a:lnTo>
                  <a:lnTo>
                    <a:pt x="21" y="58"/>
                  </a:lnTo>
                  <a:lnTo>
                    <a:pt x="28" y="63"/>
                  </a:lnTo>
                  <a:lnTo>
                    <a:pt x="37" y="65"/>
                  </a:lnTo>
                  <a:lnTo>
                    <a:pt x="47" y="66"/>
                  </a:lnTo>
                  <a:lnTo>
                    <a:pt x="47" y="66"/>
                  </a:lnTo>
                  <a:lnTo>
                    <a:pt x="53" y="66"/>
                  </a:lnTo>
                  <a:lnTo>
                    <a:pt x="59" y="65"/>
                  </a:lnTo>
                  <a:lnTo>
                    <a:pt x="65" y="63"/>
                  </a:lnTo>
                  <a:lnTo>
                    <a:pt x="70" y="60"/>
                  </a:lnTo>
                  <a:lnTo>
                    <a:pt x="55" y="39"/>
                  </a:lnTo>
                  <a:close/>
                </a:path>
              </a:pathLst>
            </a:custGeom>
            <a:solidFill>
              <a:srgbClr val="2C58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0" name="Rectangle 70">
              <a:extLst>
                <a:ext uri="{FF2B5EF4-FFF2-40B4-BE49-F238E27FC236}">
                  <a16:creationId xmlns:a16="http://schemas.microsoft.com/office/drawing/2014/main" id="{574D496B-3BA6-A4CB-ECA7-3F23F401D2D2}"/>
                </a:ext>
              </a:extLst>
            </p:cNvPr>
            <p:cNvSpPr>
              <a:spLocks noChangeArrowheads="1"/>
            </p:cNvSpPr>
            <p:nvPr/>
          </p:nvSpPr>
          <p:spPr bwMode="auto">
            <a:xfrm>
              <a:off x="6025627" y="3304285"/>
              <a:ext cx="161481" cy="16388"/>
            </a:xfrm>
            <a:prstGeom prst="rect">
              <a:avLst/>
            </a:prstGeom>
            <a:solidFill>
              <a:srgbClr val="15B0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1" name="Rectangle 71">
              <a:extLst>
                <a:ext uri="{FF2B5EF4-FFF2-40B4-BE49-F238E27FC236}">
                  <a16:creationId xmlns:a16="http://schemas.microsoft.com/office/drawing/2014/main" id="{61602DA9-2EE2-C2F2-30F6-6F2CD3C419EA}"/>
                </a:ext>
              </a:extLst>
            </p:cNvPr>
            <p:cNvSpPr>
              <a:spLocks noChangeArrowheads="1"/>
            </p:cNvSpPr>
            <p:nvPr/>
          </p:nvSpPr>
          <p:spPr bwMode="auto">
            <a:xfrm>
              <a:off x="6025627" y="3354814"/>
              <a:ext cx="161481" cy="15023"/>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2" name="Rectangle 72">
              <a:extLst>
                <a:ext uri="{FF2B5EF4-FFF2-40B4-BE49-F238E27FC236}">
                  <a16:creationId xmlns:a16="http://schemas.microsoft.com/office/drawing/2014/main" id="{3345FDC7-598E-5A39-B5CD-D4006F5A5CC8}"/>
                </a:ext>
              </a:extLst>
            </p:cNvPr>
            <p:cNvSpPr>
              <a:spLocks noChangeArrowheads="1"/>
            </p:cNvSpPr>
            <p:nvPr/>
          </p:nvSpPr>
          <p:spPr bwMode="auto">
            <a:xfrm>
              <a:off x="6025627" y="3402611"/>
              <a:ext cx="161481" cy="17754"/>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3" name="Rectangle 73">
              <a:extLst>
                <a:ext uri="{FF2B5EF4-FFF2-40B4-BE49-F238E27FC236}">
                  <a16:creationId xmlns:a16="http://schemas.microsoft.com/office/drawing/2014/main" id="{0E3567C0-00EA-5F6A-10B6-7EA39BA076BE}"/>
                </a:ext>
              </a:extLst>
            </p:cNvPr>
            <p:cNvSpPr>
              <a:spLocks noChangeArrowheads="1"/>
            </p:cNvSpPr>
            <p:nvPr/>
          </p:nvSpPr>
          <p:spPr bwMode="auto">
            <a:xfrm>
              <a:off x="6025627" y="3506400"/>
              <a:ext cx="112894" cy="15023"/>
            </a:xfrm>
            <a:prstGeom prst="rect">
              <a:avLst/>
            </a:prstGeom>
            <a:solidFill>
              <a:srgbClr val="15B0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4" name="Rectangle 74">
              <a:extLst>
                <a:ext uri="{FF2B5EF4-FFF2-40B4-BE49-F238E27FC236}">
                  <a16:creationId xmlns:a16="http://schemas.microsoft.com/office/drawing/2014/main" id="{32B96A6A-9345-3108-3651-F71E1B6BE6FB}"/>
                </a:ext>
              </a:extLst>
            </p:cNvPr>
            <p:cNvSpPr>
              <a:spLocks noChangeArrowheads="1"/>
            </p:cNvSpPr>
            <p:nvPr/>
          </p:nvSpPr>
          <p:spPr bwMode="auto">
            <a:xfrm>
              <a:off x="6025627" y="3554198"/>
              <a:ext cx="161481" cy="17754"/>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5" name="Rectangle 75">
              <a:extLst>
                <a:ext uri="{FF2B5EF4-FFF2-40B4-BE49-F238E27FC236}">
                  <a16:creationId xmlns:a16="http://schemas.microsoft.com/office/drawing/2014/main" id="{42AC68A9-C596-D91E-ABF6-4CB084DC1356}"/>
                </a:ext>
              </a:extLst>
            </p:cNvPr>
            <p:cNvSpPr>
              <a:spLocks noChangeArrowheads="1"/>
            </p:cNvSpPr>
            <p:nvPr/>
          </p:nvSpPr>
          <p:spPr bwMode="auto">
            <a:xfrm>
              <a:off x="6025627" y="3604726"/>
              <a:ext cx="161481" cy="16388"/>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grpSp>
        <p:nvGrpSpPr>
          <p:cNvPr id="437" name="Group 436">
            <a:extLst>
              <a:ext uri="{FF2B5EF4-FFF2-40B4-BE49-F238E27FC236}">
                <a16:creationId xmlns:a16="http://schemas.microsoft.com/office/drawing/2014/main" id="{507244DB-2886-BE84-2B6C-6B9290B4305A}"/>
              </a:ext>
            </a:extLst>
          </p:cNvPr>
          <p:cNvGrpSpPr/>
          <p:nvPr/>
        </p:nvGrpSpPr>
        <p:grpSpPr>
          <a:xfrm>
            <a:off x="1581928" y="2594833"/>
            <a:ext cx="1326551" cy="1141859"/>
            <a:chOff x="2532615" y="2953500"/>
            <a:chExt cx="1061632" cy="937065"/>
          </a:xfrm>
        </p:grpSpPr>
        <p:sp>
          <p:nvSpPr>
            <p:cNvPr id="397" name="Freeform 13">
              <a:extLst>
                <a:ext uri="{FF2B5EF4-FFF2-40B4-BE49-F238E27FC236}">
                  <a16:creationId xmlns:a16="http://schemas.microsoft.com/office/drawing/2014/main" id="{90CC1C98-2886-4151-729F-65D2469BDD89}"/>
                </a:ext>
              </a:extLst>
            </p:cNvPr>
            <p:cNvSpPr>
              <a:spLocks/>
            </p:cNvSpPr>
            <p:nvPr/>
          </p:nvSpPr>
          <p:spPr bwMode="auto">
            <a:xfrm>
              <a:off x="2532615" y="2953500"/>
              <a:ext cx="1061632" cy="937065"/>
            </a:xfrm>
            <a:custGeom>
              <a:avLst/>
              <a:gdLst>
                <a:gd name="T0" fmla="*/ 368 w 701"/>
                <a:gd name="T1" fmla="*/ 0 h 701"/>
                <a:gd name="T2" fmla="*/ 421 w 701"/>
                <a:gd name="T3" fmla="*/ 7 h 701"/>
                <a:gd name="T4" fmla="*/ 470 w 701"/>
                <a:gd name="T5" fmla="*/ 21 h 701"/>
                <a:gd name="T6" fmla="*/ 517 w 701"/>
                <a:gd name="T7" fmla="*/ 42 h 701"/>
                <a:gd name="T8" fmla="*/ 560 w 701"/>
                <a:gd name="T9" fmla="*/ 70 h 701"/>
                <a:gd name="T10" fmla="*/ 599 w 701"/>
                <a:gd name="T11" fmla="*/ 103 h 701"/>
                <a:gd name="T12" fmla="*/ 631 w 701"/>
                <a:gd name="T13" fmla="*/ 141 h 701"/>
                <a:gd name="T14" fmla="*/ 659 w 701"/>
                <a:gd name="T15" fmla="*/ 183 h 701"/>
                <a:gd name="T16" fmla="*/ 680 w 701"/>
                <a:gd name="T17" fmla="*/ 230 h 701"/>
                <a:gd name="T18" fmla="*/ 693 w 701"/>
                <a:gd name="T19" fmla="*/ 280 h 701"/>
                <a:gd name="T20" fmla="*/ 701 w 701"/>
                <a:gd name="T21" fmla="*/ 332 h 701"/>
                <a:gd name="T22" fmla="*/ 701 w 701"/>
                <a:gd name="T23" fmla="*/ 368 h 701"/>
                <a:gd name="T24" fmla="*/ 693 w 701"/>
                <a:gd name="T25" fmla="*/ 421 h 701"/>
                <a:gd name="T26" fmla="*/ 680 w 701"/>
                <a:gd name="T27" fmla="*/ 470 h 701"/>
                <a:gd name="T28" fmla="*/ 659 w 701"/>
                <a:gd name="T29" fmla="*/ 517 h 701"/>
                <a:gd name="T30" fmla="*/ 631 w 701"/>
                <a:gd name="T31" fmla="*/ 560 h 701"/>
                <a:gd name="T32" fmla="*/ 599 w 701"/>
                <a:gd name="T33" fmla="*/ 599 h 701"/>
                <a:gd name="T34" fmla="*/ 560 w 701"/>
                <a:gd name="T35" fmla="*/ 631 h 701"/>
                <a:gd name="T36" fmla="*/ 517 w 701"/>
                <a:gd name="T37" fmla="*/ 659 h 701"/>
                <a:gd name="T38" fmla="*/ 470 w 701"/>
                <a:gd name="T39" fmla="*/ 680 h 701"/>
                <a:gd name="T40" fmla="*/ 421 w 701"/>
                <a:gd name="T41" fmla="*/ 694 h 701"/>
                <a:gd name="T42" fmla="*/ 368 w 701"/>
                <a:gd name="T43" fmla="*/ 701 h 701"/>
                <a:gd name="T44" fmla="*/ 332 w 701"/>
                <a:gd name="T45" fmla="*/ 701 h 701"/>
                <a:gd name="T46" fmla="*/ 280 w 701"/>
                <a:gd name="T47" fmla="*/ 694 h 701"/>
                <a:gd name="T48" fmla="*/ 230 w 701"/>
                <a:gd name="T49" fmla="*/ 680 h 701"/>
                <a:gd name="T50" fmla="*/ 183 w 701"/>
                <a:gd name="T51" fmla="*/ 659 h 701"/>
                <a:gd name="T52" fmla="*/ 141 w 701"/>
                <a:gd name="T53" fmla="*/ 631 h 701"/>
                <a:gd name="T54" fmla="*/ 103 w 701"/>
                <a:gd name="T55" fmla="*/ 599 h 701"/>
                <a:gd name="T56" fmla="*/ 69 w 701"/>
                <a:gd name="T57" fmla="*/ 560 h 701"/>
                <a:gd name="T58" fmla="*/ 42 w 701"/>
                <a:gd name="T59" fmla="*/ 517 h 701"/>
                <a:gd name="T60" fmla="*/ 21 w 701"/>
                <a:gd name="T61" fmla="*/ 470 h 701"/>
                <a:gd name="T62" fmla="*/ 7 w 701"/>
                <a:gd name="T63" fmla="*/ 421 h 701"/>
                <a:gd name="T64" fmla="*/ 0 w 701"/>
                <a:gd name="T65" fmla="*/ 368 h 701"/>
                <a:gd name="T66" fmla="*/ 0 w 701"/>
                <a:gd name="T67" fmla="*/ 332 h 701"/>
                <a:gd name="T68" fmla="*/ 7 w 701"/>
                <a:gd name="T69" fmla="*/ 280 h 701"/>
                <a:gd name="T70" fmla="*/ 21 w 701"/>
                <a:gd name="T71" fmla="*/ 230 h 701"/>
                <a:gd name="T72" fmla="*/ 42 w 701"/>
                <a:gd name="T73" fmla="*/ 183 h 701"/>
                <a:gd name="T74" fmla="*/ 69 w 701"/>
                <a:gd name="T75" fmla="*/ 141 h 701"/>
                <a:gd name="T76" fmla="*/ 103 w 701"/>
                <a:gd name="T77" fmla="*/ 103 h 701"/>
                <a:gd name="T78" fmla="*/ 141 w 701"/>
                <a:gd name="T79" fmla="*/ 70 h 701"/>
                <a:gd name="T80" fmla="*/ 183 w 701"/>
                <a:gd name="T81" fmla="*/ 42 h 701"/>
                <a:gd name="T82" fmla="*/ 230 w 701"/>
                <a:gd name="T83" fmla="*/ 21 h 701"/>
                <a:gd name="T84" fmla="*/ 280 w 701"/>
                <a:gd name="T85" fmla="*/ 7 h 701"/>
                <a:gd name="T86" fmla="*/ 332 w 701"/>
                <a:gd name="T87" fmla="*/ 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1">
                  <a:moveTo>
                    <a:pt x="351" y="0"/>
                  </a:moveTo>
                  <a:lnTo>
                    <a:pt x="351" y="0"/>
                  </a:lnTo>
                  <a:lnTo>
                    <a:pt x="368" y="0"/>
                  </a:lnTo>
                  <a:lnTo>
                    <a:pt x="386" y="2"/>
                  </a:lnTo>
                  <a:lnTo>
                    <a:pt x="404" y="4"/>
                  </a:lnTo>
                  <a:lnTo>
                    <a:pt x="421" y="7"/>
                  </a:lnTo>
                  <a:lnTo>
                    <a:pt x="438" y="12"/>
                  </a:lnTo>
                  <a:lnTo>
                    <a:pt x="454" y="15"/>
                  </a:lnTo>
                  <a:lnTo>
                    <a:pt x="470" y="21"/>
                  </a:lnTo>
                  <a:lnTo>
                    <a:pt x="486" y="28"/>
                  </a:lnTo>
                  <a:lnTo>
                    <a:pt x="502" y="35"/>
                  </a:lnTo>
                  <a:lnTo>
                    <a:pt x="517" y="42"/>
                  </a:lnTo>
                  <a:lnTo>
                    <a:pt x="532" y="51"/>
                  </a:lnTo>
                  <a:lnTo>
                    <a:pt x="547" y="60"/>
                  </a:lnTo>
                  <a:lnTo>
                    <a:pt x="560" y="70"/>
                  </a:lnTo>
                  <a:lnTo>
                    <a:pt x="574" y="81"/>
                  </a:lnTo>
                  <a:lnTo>
                    <a:pt x="586" y="90"/>
                  </a:lnTo>
                  <a:lnTo>
                    <a:pt x="599" y="103"/>
                  </a:lnTo>
                  <a:lnTo>
                    <a:pt x="610" y="115"/>
                  </a:lnTo>
                  <a:lnTo>
                    <a:pt x="621" y="128"/>
                  </a:lnTo>
                  <a:lnTo>
                    <a:pt x="631" y="141"/>
                  </a:lnTo>
                  <a:lnTo>
                    <a:pt x="640" y="155"/>
                  </a:lnTo>
                  <a:lnTo>
                    <a:pt x="650" y="168"/>
                  </a:lnTo>
                  <a:lnTo>
                    <a:pt x="659" y="183"/>
                  </a:lnTo>
                  <a:lnTo>
                    <a:pt x="666" y="199"/>
                  </a:lnTo>
                  <a:lnTo>
                    <a:pt x="674" y="214"/>
                  </a:lnTo>
                  <a:lnTo>
                    <a:pt x="680" y="230"/>
                  </a:lnTo>
                  <a:lnTo>
                    <a:pt x="685" y="246"/>
                  </a:lnTo>
                  <a:lnTo>
                    <a:pt x="690" y="263"/>
                  </a:lnTo>
                  <a:lnTo>
                    <a:pt x="693" y="280"/>
                  </a:lnTo>
                  <a:lnTo>
                    <a:pt x="697" y="298"/>
                  </a:lnTo>
                  <a:lnTo>
                    <a:pt x="698" y="315"/>
                  </a:lnTo>
                  <a:lnTo>
                    <a:pt x="701" y="332"/>
                  </a:lnTo>
                  <a:lnTo>
                    <a:pt x="701" y="351"/>
                  </a:lnTo>
                  <a:lnTo>
                    <a:pt x="701" y="351"/>
                  </a:lnTo>
                  <a:lnTo>
                    <a:pt x="701" y="368"/>
                  </a:lnTo>
                  <a:lnTo>
                    <a:pt x="698" y="387"/>
                  </a:lnTo>
                  <a:lnTo>
                    <a:pt x="697" y="404"/>
                  </a:lnTo>
                  <a:lnTo>
                    <a:pt x="693" y="421"/>
                  </a:lnTo>
                  <a:lnTo>
                    <a:pt x="690" y="438"/>
                  </a:lnTo>
                  <a:lnTo>
                    <a:pt x="685" y="454"/>
                  </a:lnTo>
                  <a:lnTo>
                    <a:pt x="680" y="470"/>
                  </a:lnTo>
                  <a:lnTo>
                    <a:pt x="674" y="486"/>
                  </a:lnTo>
                  <a:lnTo>
                    <a:pt x="666" y="503"/>
                  </a:lnTo>
                  <a:lnTo>
                    <a:pt x="659" y="517"/>
                  </a:lnTo>
                  <a:lnTo>
                    <a:pt x="650" y="532"/>
                  </a:lnTo>
                  <a:lnTo>
                    <a:pt x="640" y="547"/>
                  </a:lnTo>
                  <a:lnTo>
                    <a:pt x="631" y="560"/>
                  </a:lnTo>
                  <a:lnTo>
                    <a:pt x="621" y="574"/>
                  </a:lnTo>
                  <a:lnTo>
                    <a:pt x="610" y="586"/>
                  </a:lnTo>
                  <a:lnTo>
                    <a:pt x="599" y="599"/>
                  </a:lnTo>
                  <a:lnTo>
                    <a:pt x="586" y="610"/>
                  </a:lnTo>
                  <a:lnTo>
                    <a:pt x="574" y="621"/>
                  </a:lnTo>
                  <a:lnTo>
                    <a:pt x="560" y="631"/>
                  </a:lnTo>
                  <a:lnTo>
                    <a:pt x="547" y="641"/>
                  </a:lnTo>
                  <a:lnTo>
                    <a:pt x="532" y="651"/>
                  </a:lnTo>
                  <a:lnTo>
                    <a:pt x="517" y="659"/>
                  </a:lnTo>
                  <a:lnTo>
                    <a:pt x="502" y="667"/>
                  </a:lnTo>
                  <a:lnTo>
                    <a:pt x="486" y="674"/>
                  </a:lnTo>
                  <a:lnTo>
                    <a:pt x="470" y="680"/>
                  </a:lnTo>
                  <a:lnTo>
                    <a:pt x="454" y="685"/>
                  </a:lnTo>
                  <a:lnTo>
                    <a:pt x="438" y="690"/>
                  </a:lnTo>
                  <a:lnTo>
                    <a:pt x="421" y="694"/>
                  </a:lnTo>
                  <a:lnTo>
                    <a:pt x="404" y="697"/>
                  </a:lnTo>
                  <a:lnTo>
                    <a:pt x="386" y="699"/>
                  </a:lnTo>
                  <a:lnTo>
                    <a:pt x="368" y="701"/>
                  </a:lnTo>
                  <a:lnTo>
                    <a:pt x="351" y="701"/>
                  </a:lnTo>
                  <a:lnTo>
                    <a:pt x="351" y="701"/>
                  </a:lnTo>
                  <a:lnTo>
                    <a:pt x="332" y="701"/>
                  </a:lnTo>
                  <a:lnTo>
                    <a:pt x="315" y="699"/>
                  </a:lnTo>
                  <a:lnTo>
                    <a:pt x="298" y="697"/>
                  </a:lnTo>
                  <a:lnTo>
                    <a:pt x="280" y="694"/>
                  </a:lnTo>
                  <a:lnTo>
                    <a:pt x="263" y="690"/>
                  </a:lnTo>
                  <a:lnTo>
                    <a:pt x="246" y="685"/>
                  </a:lnTo>
                  <a:lnTo>
                    <a:pt x="230" y="680"/>
                  </a:lnTo>
                  <a:lnTo>
                    <a:pt x="214" y="674"/>
                  </a:lnTo>
                  <a:lnTo>
                    <a:pt x="199" y="667"/>
                  </a:lnTo>
                  <a:lnTo>
                    <a:pt x="183" y="659"/>
                  </a:lnTo>
                  <a:lnTo>
                    <a:pt x="168" y="651"/>
                  </a:lnTo>
                  <a:lnTo>
                    <a:pt x="155" y="641"/>
                  </a:lnTo>
                  <a:lnTo>
                    <a:pt x="141" y="631"/>
                  </a:lnTo>
                  <a:lnTo>
                    <a:pt x="127" y="621"/>
                  </a:lnTo>
                  <a:lnTo>
                    <a:pt x="115" y="610"/>
                  </a:lnTo>
                  <a:lnTo>
                    <a:pt x="103" y="599"/>
                  </a:lnTo>
                  <a:lnTo>
                    <a:pt x="90" y="586"/>
                  </a:lnTo>
                  <a:lnTo>
                    <a:pt x="81" y="574"/>
                  </a:lnTo>
                  <a:lnTo>
                    <a:pt x="69" y="560"/>
                  </a:lnTo>
                  <a:lnTo>
                    <a:pt x="60" y="547"/>
                  </a:lnTo>
                  <a:lnTo>
                    <a:pt x="51" y="532"/>
                  </a:lnTo>
                  <a:lnTo>
                    <a:pt x="42" y="517"/>
                  </a:lnTo>
                  <a:lnTo>
                    <a:pt x="35" y="503"/>
                  </a:lnTo>
                  <a:lnTo>
                    <a:pt x="27" y="486"/>
                  </a:lnTo>
                  <a:lnTo>
                    <a:pt x="21" y="470"/>
                  </a:lnTo>
                  <a:lnTo>
                    <a:pt x="15" y="454"/>
                  </a:lnTo>
                  <a:lnTo>
                    <a:pt x="11" y="438"/>
                  </a:lnTo>
                  <a:lnTo>
                    <a:pt x="7" y="421"/>
                  </a:lnTo>
                  <a:lnTo>
                    <a:pt x="4" y="404"/>
                  </a:lnTo>
                  <a:lnTo>
                    <a:pt x="2" y="387"/>
                  </a:lnTo>
                  <a:lnTo>
                    <a:pt x="0" y="368"/>
                  </a:lnTo>
                  <a:lnTo>
                    <a:pt x="0" y="351"/>
                  </a:lnTo>
                  <a:lnTo>
                    <a:pt x="0" y="351"/>
                  </a:lnTo>
                  <a:lnTo>
                    <a:pt x="0" y="332"/>
                  </a:lnTo>
                  <a:lnTo>
                    <a:pt x="2" y="315"/>
                  </a:lnTo>
                  <a:lnTo>
                    <a:pt x="4" y="298"/>
                  </a:lnTo>
                  <a:lnTo>
                    <a:pt x="7" y="280"/>
                  </a:lnTo>
                  <a:lnTo>
                    <a:pt x="11" y="263"/>
                  </a:lnTo>
                  <a:lnTo>
                    <a:pt x="15" y="246"/>
                  </a:lnTo>
                  <a:lnTo>
                    <a:pt x="21" y="230"/>
                  </a:lnTo>
                  <a:lnTo>
                    <a:pt x="27" y="214"/>
                  </a:lnTo>
                  <a:lnTo>
                    <a:pt x="35" y="199"/>
                  </a:lnTo>
                  <a:lnTo>
                    <a:pt x="42" y="183"/>
                  </a:lnTo>
                  <a:lnTo>
                    <a:pt x="51" y="168"/>
                  </a:lnTo>
                  <a:lnTo>
                    <a:pt x="60" y="155"/>
                  </a:lnTo>
                  <a:lnTo>
                    <a:pt x="69" y="141"/>
                  </a:lnTo>
                  <a:lnTo>
                    <a:pt x="81" y="128"/>
                  </a:lnTo>
                  <a:lnTo>
                    <a:pt x="90" y="115"/>
                  </a:lnTo>
                  <a:lnTo>
                    <a:pt x="103" y="103"/>
                  </a:lnTo>
                  <a:lnTo>
                    <a:pt x="115" y="90"/>
                  </a:lnTo>
                  <a:lnTo>
                    <a:pt x="127" y="81"/>
                  </a:lnTo>
                  <a:lnTo>
                    <a:pt x="141" y="70"/>
                  </a:lnTo>
                  <a:lnTo>
                    <a:pt x="155" y="60"/>
                  </a:lnTo>
                  <a:lnTo>
                    <a:pt x="168" y="51"/>
                  </a:lnTo>
                  <a:lnTo>
                    <a:pt x="183" y="42"/>
                  </a:lnTo>
                  <a:lnTo>
                    <a:pt x="199" y="35"/>
                  </a:lnTo>
                  <a:lnTo>
                    <a:pt x="214" y="28"/>
                  </a:lnTo>
                  <a:lnTo>
                    <a:pt x="230" y="21"/>
                  </a:lnTo>
                  <a:lnTo>
                    <a:pt x="246" y="15"/>
                  </a:lnTo>
                  <a:lnTo>
                    <a:pt x="263" y="12"/>
                  </a:lnTo>
                  <a:lnTo>
                    <a:pt x="280" y="7"/>
                  </a:lnTo>
                  <a:lnTo>
                    <a:pt x="298" y="4"/>
                  </a:lnTo>
                  <a:lnTo>
                    <a:pt x="315" y="2"/>
                  </a:lnTo>
                  <a:lnTo>
                    <a:pt x="332" y="0"/>
                  </a:lnTo>
                  <a:lnTo>
                    <a:pt x="351" y="0"/>
                  </a:lnTo>
                  <a:lnTo>
                    <a:pt x="351" y="0"/>
                  </a:ln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399" name="Freeform 114">
              <a:extLst>
                <a:ext uri="{FF2B5EF4-FFF2-40B4-BE49-F238E27FC236}">
                  <a16:creationId xmlns:a16="http://schemas.microsoft.com/office/drawing/2014/main" id="{7AACE63D-D17B-ED13-1E1A-96CFC7668898}"/>
                </a:ext>
              </a:extLst>
            </p:cNvPr>
            <p:cNvSpPr>
              <a:spLocks/>
            </p:cNvSpPr>
            <p:nvPr/>
          </p:nvSpPr>
          <p:spPr bwMode="auto">
            <a:xfrm>
              <a:off x="2862351" y="3466144"/>
              <a:ext cx="375730" cy="232313"/>
            </a:xfrm>
            <a:custGeom>
              <a:avLst/>
              <a:gdLst>
                <a:gd name="T0" fmla="*/ 126 w 252"/>
                <a:gd name="T1" fmla="*/ 92 h 172"/>
                <a:gd name="T2" fmla="*/ 146 w 252"/>
                <a:gd name="T3" fmla="*/ 93 h 172"/>
                <a:gd name="T4" fmla="*/ 164 w 252"/>
                <a:gd name="T5" fmla="*/ 98 h 172"/>
                <a:gd name="T6" fmla="*/ 198 w 252"/>
                <a:gd name="T7" fmla="*/ 114 h 172"/>
                <a:gd name="T8" fmla="*/ 225 w 252"/>
                <a:gd name="T9" fmla="*/ 140 h 172"/>
                <a:gd name="T10" fmla="*/ 243 w 252"/>
                <a:gd name="T11" fmla="*/ 172 h 172"/>
                <a:gd name="T12" fmla="*/ 247 w 252"/>
                <a:gd name="T13" fmla="*/ 161 h 172"/>
                <a:gd name="T14" fmla="*/ 251 w 252"/>
                <a:gd name="T15" fmla="*/ 137 h 172"/>
                <a:gd name="T16" fmla="*/ 252 w 252"/>
                <a:gd name="T17" fmla="*/ 126 h 172"/>
                <a:gd name="T18" fmla="*/ 249 w 252"/>
                <a:gd name="T19" fmla="*/ 100 h 172"/>
                <a:gd name="T20" fmla="*/ 242 w 252"/>
                <a:gd name="T21" fmla="*/ 77 h 172"/>
                <a:gd name="T22" fmla="*/ 230 w 252"/>
                <a:gd name="T23" fmla="*/ 56 h 172"/>
                <a:gd name="T24" fmla="*/ 215 w 252"/>
                <a:gd name="T25" fmla="*/ 37 h 172"/>
                <a:gd name="T26" fmla="*/ 196 w 252"/>
                <a:gd name="T27" fmla="*/ 21 h 172"/>
                <a:gd name="T28" fmla="*/ 174 w 252"/>
                <a:gd name="T29" fmla="*/ 10 h 172"/>
                <a:gd name="T30" fmla="*/ 151 w 252"/>
                <a:gd name="T31" fmla="*/ 3 h 172"/>
                <a:gd name="T32" fmla="*/ 126 w 252"/>
                <a:gd name="T33" fmla="*/ 0 h 172"/>
                <a:gd name="T34" fmla="*/ 114 w 252"/>
                <a:gd name="T35" fmla="*/ 2 h 172"/>
                <a:gd name="T36" fmla="*/ 89 w 252"/>
                <a:gd name="T37" fmla="*/ 7 h 172"/>
                <a:gd name="T38" fmla="*/ 66 w 252"/>
                <a:gd name="T39" fmla="*/ 15 h 172"/>
                <a:gd name="T40" fmla="*/ 46 w 252"/>
                <a:gd name="T41" fmla="*/ 29 h 172"/>
                <a:gd name="T42" fmla="*/ 29 w 252"/>
                <a:gd name="T43" fmla="*/ 46 h 172"/>
                <a:gd name="T44" fmla="*/ 15 w 252"/>
                <a:gd name="T45" fmla="*/ 66 h 172"/>
                <a:gd name="T46" fmla="*/ 6 w 252"/>
                <a:gd name="T47" fmla="*/ 88 h 172"/>
                <a:gd name="T48" fmla="*/ 1 w 252"/>
                <a:gd name="T49" fmla="*/ 113 h 172"/>
                <a:gd name="T50" fmla="*/ 0 w 252"/>
                <a:gd name="T51" fmla="*/ 126 h 172"/>
                <a:gd name="T52" fmla="*/ 3 w 252"/>
                <a:gd name="T53" fmla="*/ 150 h 172"/>
                <a:gd name="T54" fmla="*/ 9 w 252"/>
                <a:gd name="T55" fmla="*/ 172 h 172"/>
                <a:gd name="T56" fmla="*/ 18 w 252"/>
                <a:gd name="T57" fmla="*/ 155 h 172"/>
                <a:gd name="T58" fmla="*/ 40 w 252"/>
                <a:gd name="T59" fmla="*/ 126 h 172"/>
                <a:gd name="T60" fmla="*/ 71 w 252"/>
                <a:gd name="T61" fmla="*/ 104 h 172"/>
                <a:gd name="T62" fmla="*/ 96 w 252"/>
                <a:gd name="T63" fmla="*/ 95 h 172"/>
                <a:gd name="T64" fmla="*/ 116 w 252"/>
                <a:gd name="T65" fmla="*/ 92 h 172"/>
                <a:gd name="T66" fmla="*/ 126 w 252"/>
                <a:gd name="T67" fmla="*/ 9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2" h="172">
                  <a:moveTo>
                    <a:pt x="126" y="92"/>
                  </a:moveTo>
                  <a:lnTo>
                    <a:pt x="126" y="92"/>
                  </a:lnTo>
                  <a:lnTo>
                    <a:pt x="136" y="92"/>
                  </a:lnTo>
                  <a:lnTo>
                    <a:pt x="146" y="93"/>
                  </a:lnTo>
                  <a:lnTo>
                    <a:pt x="154" y="95"/>
                  </a:lnTo>
                  <a:lnTo>
                    <a:pt x="164" y="98"/>
                  </a:lnTo>
                  <a:lnTo>
                    <a:pt x="182" y="104"/>
                  </a:lnTo>
                  <a:lnTo>
                    <a:pt x="198" y="114"/>
                  </a:lnTo>
                  <a:lnTo>
                    <a:pt x="212" y="126"/>
                  </a:lnTo>
                  <a:lnTo>
                    <a:pt x="225" y="140"/>
                  </a:lnTo>
                  <a:lnTo>
                    <a:pt x="235" y="155"/>
                  </a:lnTo>
                  <a:lnTo>
                    <a:pt x="243" y="172"/>
                  </a:lnTo>
                  <a:lnTo>
                    <a:pt x="243" y="172"/>
                  </a:lnTo>
                  <a:lnTo>
                    <a:pt x="247" y="161"/>
                  </a:lnTo>
                  <a:lnTo>
                    <a:pt x="249" y="150"/>
                  </a:lnTo>
                  <a:lnTo>
                    <a:pt x="251" y="137"/>
                  </a:lnTo>
                  <a:lnTo>
                    <a:pt x="252" y="126"/>
                  </a:lnTo>
                  <a:lnTo>
                    <a:pt x="252" y="126"/>
                  </a:lnTo>
                  <a:lnTo>
                    <a:pt x="251" y="113"/>
                  </a:lnTo>
                  <a:lnTo>
                    <a:pt x="249" y="100"/>
                  </a:lnTo>
                  <a:lnTo>
                    <a:pt x="246" y="88"/>
                  </a:lnTo>
                  <a:lnTo>
                    <a:pt x="242" y="77"/>
                  </a:lnTo>
                  <a:lnTo>
                    <a:pt x="236" y="66"/>
                  </a:lnTo>
                  <a:lnTo>
                    <a:pt x="230" y="56"/>
                  </a:lnTo>
                  <a:lnTo>
                    <a:pt x="222" y="46"/>
                  </a:lnTo>
                  <a:lnTo>
                    <a:pt x="215" y="37"/>
                  </a:lnTo>
                  <a:lnTo>
                    <a:pt x="206" y="29"/>
                  </a:lnTo>
                  <a:lnTo>
                    <a:pt x="196" y="21"/>
                  </a:lnTo>
                  <a:lnTo>
                    <a:pt x="185" y="15"/>
                  </a:lnTo>
                  <a:lnTo>
                    <a:pt x="174" y="10"/>
                  </a:lnTo>
                  <a:lnTo>
                    <a:pt x="163" y="7"/>
                  </a:lnTo>
                  <a:lnTo>
                    <a:pt x="151" y="3"/>
                  </a:lnTo>
                  <a:lnTo>
                    <a:pt x="138" y="2"/>
                  </a:lnTo>
                  <a:lnTo>
                    <a:pt x="126" y="0"/>
                  </a:lnTo>
                  <a:lnTo>
                    <a:pt x="126" y="0"/>
                  </a:lnTo>
                  <a:lnTo>
                    <a:pt x="114" y="2"/>
                  </a:lnTo>
                  <a:lnTo>
                    <a:pt x="100" y="3"/>
                  </a:lnTo>
                  <a:lnTo>
                    <a:pt x="89" y="7"/>
                  </a:lnTo>
                  <a:lnTo>
                    <a:pt x="77" y="10"/>
                  </a:lnTo>
                  <a:lnTo>
                    <a:pt x="66" y="15"/>
                  </a:lnTo>
                  <a:lnTo>
                    <a:pt x="56" y="21"/>
                  </a:lnTo>
                  <a:lnTo>
                    <a:pt x="46" y="29"/>
                  </a:lnTo>
                  <a:lnTo>
                    <a:pt x="37" y="37"/>
                  </a:lnTo>
                  <a:lnTo>
                    <a:pt x="29" y="46"/>
                  </a:lnTo>
                  <a:lnTo>
                    <a:pt x="22" y="56"/>
                  </a:lnTo>
                  <a:lnTo>
                    <a:pt x="15" y="66"/>
                  </a:lnTo>
                  <a:lnTo>
                    <a:pt x="10" y="77"/>
                  </a:lnTo>
                  <a:lnTo>
                    <a:pt x="6" y="88"/>
                  </a:lnTo>
                  <a:lnTo>
                    <a:pt x="3" y="100"/>
                  </a:lnTo>
                  <a:lnTo>
                    <a:pt x="1" y="113"/>
                  </a:lnTo>
                  <a:lnTo>
                    <a:pt x="0" y="126"/>
                  </a:lnTo>
                  <a:lnTo>
                    <a:pt x="0" y="126"/>
                  </a:lnTo>
                  <a:lnTo>
                    <a:pt x="1" y="137"/>
                  </a:lnTo>
                  <a:lnTo>
                    <a:pt x="3" y="150"/>
                  </a:lnTo>
                  <a:lnTo>
                    <a:pt x="5" y="161"/>
                  </a:lnTo>
                  <a:lnTo>
                    <a:pt x="9" y="172"/>
                  </a:lnTo>
                  <a:lnTo>
                    <a:pt x="9" y="172"/>
                  </a:lnTo>
                  <a:lnTo>
                    <a:pt x="18" y="155"/>
                  </a:lnTo>
                  <a:lnTo>
                    <a:pt x="27" y="140"/>
                  </a:lnTo>
                  <a:lnTo>
                    <a:pt x="40" y="126"/>
                  </a:lnTo>
                  <a:lnTo>
                    <a:pt x="55" y="114"/>
                  </a:lnTo>
                  <a:lnTo>
                    <a:pt x="71" y="104"/>
                  </a:lnTo>
                  <a:lnTo>
                    <a:pt x="88" y="98"/>
                  </a:lnTo>
                  <a:lnTo>
                    <a:pt x="96" y="95"/>
                  </a:lnTo>
                  <a:lnTo>
                    <a:pt x="106" y="93"/>
                  </a:lnTo>
                  <a:lnTo>
                    <a:pt x="116" y="92"/>
                  </a:lnTo>
                  <a:lnTo>
                    <a:pt x="126" y="92"/>
                  </a:lnTo>
                  <a:lnTo>
                    <a:pt x="126" y="9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0" name="Freeform 115">
              <a:extLst>
                <a:ext uri="{FF2B5EF4-FFF2-40B4-BE49-F238E27FC236}">
                  <a16:creationId xmlns:a16="http://schemas.microsoft.com/office/drawing/2014/main" id="{B480D3F3-34EC-3D24-FE0B-5716C8D262E7}"/>
                </a:ext>
              </a:extLst>
            </p:cNvPr>
            <p:cNvSpPr>
              <a:spLocks/>
            </p:cNvSpPr>
            <p:nvPr/>
          </p:nvSpPr>
          <p:spPr bwMode="auto">
            <a:xfrm>
              <a:off x="3097932" y="3471546"/>
              <a:ext cx="140154" cy="226910"/>
            </a:xfrm>
            <a:custGeom>
              <a:avLst/>
              <a:gdLst>
                <a:gd name="T0" fmla="*/ 0 w 94"/>
                <a:gd name="T1" fmla="*/ 0 h 168"/>
                <a:gd name="T2" fmla="*/ 0 w 94"/>
                <a:gd name="T3" fmla="*/ 91 h 168"/>
                <a:gd name="T4" fmla="*/ 0 w 94"/>
                <a:gd name="T5" fmla="*/ 91 h 168"/>
                <a:gd name="T6" fmla="*/ 14 w 94"/>
                <a:gd name="T7" fmla="*/ 96 h 168"/>
                <a:gd name="T8" fmla="*/ 27 w 94"/>
                <a:gd name="T9" fmla="*/ 102 h 168"/>
                <a:gd name="T10" fmla="*/ 40 w 94"/>
                <a:gd name="T11" fmla="*/ 110 h 168"/>
                <a:gd name="T12" fmla="*/ 52 w 94"/>
                <a:gd name="T13" fmla="*/ 120 h 168"/>
                <a:gd name="T14" fmla="*/ 62 w 94"/>
                <a:gd name="T15" fmla="*/ 130 h 168"/>
                <a:gd name="T16" fmla="*/ 70 w 94"/>
                <a:gd name="T17" fmla="*/ 142 h 168"/>
                <a:gd name="T18" fmla="*/ 79 w 94"/>
                <a:gd name="T19" fmla="*/ 154 h 168"/>
                <a:gd name="T20" fmla="*/ 85 w 94"/>
                <a:gd name="T21" fmla="*/ 168 h 168"/>
                <a:gd name="T22" fmla="*/ 85 w 94"/>
                <a:gd name="T23" fmla="*/ 168 h 168"/>
                <a:gd name="T24" fmla="*/ 89 w 94"/>
                <a:gd name="T25" fmla="*/ 157 h 168"/>
                <a:gd name="T26" fmla="*/ 91 w 94"/>
                <a:gd name="T27" fmla="*/ 146 h 168"/>
                <a:gd name="T28" fmla="*/ 93 w 94"/>
                <a:gd name="T29" fmla="*/ 133 h 168"/>
                <a:gd name="T30" fmla="*/ 94 w 94"/>
                <a:gd name="T31" fmla="*/ 122 h 168"/>
                <a:gd name="T32" fmla="*/ 94 w 94"/>
                <a:gd name="T33" fmla="*/ 122 h 168"/>
                <a:gd name="T34" fmla="*/ 93 w 94"/>
                <a:gd name="T35" fmla="*/ 111 h 168"/>
                <a:gd name="T36" fmla="*/ 91 w 94"/>
                <a:gd name="T37" fmla="*/ 100 h 168"/>
                <a:gd name="T38" fmla="*/ 89 w 94"/>
                <a:gd name="T39" fmla="*/ 90 h 168"/>
                <a:gd name="T40" fmla="*/ 86 w 94"/>
                <a:gd name="T41" fmla="*/ 80 h 168"/>
                <a:gd name="T42" fmla="*/ 83 w 94"/>
                <a:gd name="T43" fmla="*/ 70 h 168"/>
                <a:gd name="T44" fmla="*/ 78 w 94"/>
                <a:gd name="T45" fmla="*/ 62 h 168"/>
                <a:gd name="T46" fmla="*/ 73 w 94"/>
                <a:gd name="T47" fmla="*/ 53 h 168"/>
                <a:gd name="T48" fmla="*/ 67 w 94"/>
                <a:gd name="T49" fmla="*/ 45 h 168"/>
                <a:gd name="T50" fmla="*/ 61 w 94"/>
                <a:gd name="T51" fmla="*/ 37 h 168"/>
                <a:gd name="T52" fmla="*/ 53 w 94"/>
                <a:gd name="T53" fmla="*/ 30 h 168"/>
                <a:gd name="T54" fmla="*/ 46 w 94"/>
                <a:gd name="T55" fmla="*/ 24 h 168"/>
                <a:gd name="T56" fmla="*/ 37 w 94"/>
                <a:gd name="T57" fmla="*/ 17 h 168"/>
                <a:gd name="T58" fmla="*/ 28 w 94"/>
                <a:gd name="T59" fmla="*/ 12 h 168"/>
                <a:gd name="T60" fmla="*/ 20 w 94"/>
                <a:gd name="T61" fmla="*/ 7 h 168"/>
                <a:gd name="T62" fmla="*/ 10 w 94"/>
                <a:gd name="T63" fmla="*/ 4 h 168"/>
                <a:gd name="T64" fmla="*/ 0 w 94"/>
                <a:gd name="T65" fmla="*/ 0 h 168"/>
                <a:gd name="T66" fmla="*/ 0 w 94"/>
                <a:gd name="T67"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4" h="168">
                  <a:moveTo>
                    <a:pt x="0" y="0"/>
                  </a:moveTo>
                  <a:lnTo>
                    <a:pt x="0" y="91"/>
                  </a:lnTo>
                  <a:lnTo>
                    <a:pt x="0" y="91"/>
                  </a:lnTo>
                  <a:lnTo>
                    <a:pt x="14" y="96"/>
                  </a:lnTo>
                  <a:lnTo>
                    <a:pt x="27" y="102"/>
                  </a:lnTo>
                  <a:lnTo>
                    <a:pt x="40" y="110"/>
                  </a:lnTo>
                  <a:lnTo>
                    <a:pt x="52" y="120"/>
                  </a:lnTo>
                  <a:lnTo>
                    <a:pt x="62" y="130"/>
                  </a:lnTo>
                  <a:lnTo>
                    <a:pt x="70" y="142"/>
                  </a:lnTo>
                  <a:lnTo>
                    <a:pt x="79" y="154"/>
                  </a:lnTo>
                  <a:lnTo>
                    <a:pt x="85" y="168"/>
                  </a:lnTo>
                  <a:lnTo>
                    <a:pt x="85" y="168"/>
                  </a:lnTo>
                  <a:lnTo>
                    <a:pt x="89" y="157"/>
                  </a:lnTo>
                  <a:lnTo>
                    <a:pt x="91" y="146"/>
                  </a:lnTo>
                  <a:lnTo>
                    <a:pt x="93" y="133"/>
                  </a:lnTo>
                  <a:lnTo>
                    <a:pt x="94" y="122"/>
                  </a:lnTo>
                  <a:lnTo>
                    <a:pt x="94" y="122"/>
                  </a:lnTo>
                  <a:lnTo>
                    <a:pt x="93" y="111"/>
                  </a:lnTo>
                  <a:lnTo>
                    <a:pt x="91" y="100"/>
                  </a:lnTo>
                  <a:lnTo>
                    <a:pt x="89" y="90"/>
                  </a:lnTo>
                  <a:lnTo>
                    <a:pt x="86" y="80"/>
                  </a:lnTo>
                  <a:lnTo>
                    <a:pt x="83" y="70"/>
                  </a:lnTo>
                  <a:lnTo>
                    <a:pt x="78" y="62"/>
                  </a:lnTo>
                  <a:lnTo>
                    <a:pt x="73" y="53"/>
                  </a:lnTo>
                  <a:lnTo>
                    <a:pt x="67" y="45"/>
                  </a:lnTo>
                  <a:lnTo>
                    <a:pt x="61" y="37"/>
                  </a:lnTo>
                  <a:lnTo>
                    <a:pt x="53" y="30"/>
                  </a:lnTo>
                  <a:lnTo>
                    <a:pt x="46" y="24"/>
                  </a:lnTo>
                  <a:lnTo>
                    <a:pt x="37" y="17"/>
                  </a:lnTo>
                  <a:lnTo>
                    <a:pt x="28" y="12"/>
                  </a:lnTo>
                  <a:lnTo>
                    <a:pt x="20" y="7"/>
                  </a:lnTo>
                  <a:lnTo>
                    <a:pt x="10" y="4"/>
                  </a:lnTo>
                  <a:lnTo>
                    <a:pt x="0" y="0"/>
                  </a:lnTo>
                  <a:lnTo>
                    <a:pt x="0"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1" name="Freeform 116">
              <a:extLst>
                <a:ext uri="{FF2B5EF4-FFF2-40B4-BE49-F238E27FC236}">
                  <a16:creationId xmlns:a16="http://schemas.microsoft.com/office/drawing/2014/main" id="{56BEFEC5-0486-F5C5-6B06-AA7B1AAEE956}"/>
                </a:ext>
              </a:extLst>
            </p:cNvPr>
            <p:cNvSpPr>
              <a:spLocks/>
            </p:cNvSpPr>
            <p:nvPr/>
          </p:nvSpPr>
          <p:spPr bwMode="auto">
            <a:xfrm>
              <a:off x="2933924" y="3120376"/>
              <a:ext cx="232595" cy="501093"/>
            </a:xfrm>
            <a:custGeom>
              <a:avLst/>
              <a:gdLst>
                <a:gd name="T0" fmla="*/ 78 w 156"/>
                <a:gd name="T1" fmla="*/ 364 h 371"/>
                <a:gd name="T2" fmla="*/ 78 w 156"/>
                <a:gd name="T3" fmla="*/ 364 h 371"/>
                <a:gd name="T4" fmla="*/ 89 w 156"/>
                <a:gd name="T5" fmla="*/ 365 h 371"/>
                <a:gd name="T6" fmla="*/ 100 w 156"/>
                <a:gd name="T7" fmla="*/ 366 h 371"/>
                <a:gd name="T8" fmla="*/ 111 w 156"/>
                <a:gd name="T9" fmla="*/ 367 h 371"/>
                <a:gd name="T10" fmla="*/ 122 w 156"/>
                <a:gd name="T11" fmla="*/ 371 h 371"/>
                <a:gd name="T12" fmla="*/ 122 w 156"/>
                <a:gd name="T13" fmla="*/ 371 h 371"/>
                <a:gd name="T14" fmla="*/ 130 w 156"/>
                <a:gd name="T15" fmla="*/ 354 h 371"/>
                <a:gd name="T16" fmla="*/ 136 w 156"/>
                <a:gd name="T17" fmla="*/ 337 h 371"/>
                <a:gd name="T18" fmla="*/ 142 w 156"/>
                <a:gd name="T19" fmla="*/ 319 h 371"/>
                <a:gd name="T20" fmla="*/ 147 w 156"/>
                <a:gd name="T21" fmla="*/ 300 h 371"/>
                <a:gd name="T22" fmla="*/ 151 w 156"/>
                <a:gd name="T23" fmla="*/ 280 h 371"/>
                <a:gd name="T24" fmla="*/ 153 w 156"/>
                <a:gd name="T25" fmla="*/ 259 h 371"/>
                <a:gd name="T26" fmla="*/ 155 w 156"/>
                <a:gd name="T27" fmla="*/ 238 h 371"/>
                <a:gd name="T28" fmla="*/ 156 w 156"/>
                <a:gd name="T29" fmla="*/ 216 h 371"/>
                <a:gd name="T30" fmla="*/ 156 w 156"/>
                <a:gd name="T31" fmla="*/ 216 h 371"/>
                <a:gd name="T32" fmla="*/ 155 w 156"/>
                <a:gd name="T33" fmla="*/ 181 h 371"/>
                <a:gd name="T34" fmla="*/ 150 w 156"/>
                <a:gd name="T35" fmla="*/ 148 h 371"/>
                <a:gd name="T36" fmla="*/ 143 w 156"/>
                <a:gd name="T37" fmla="*/ 117 h 371"/>
                <a:gd name="T38" fmla="*/ 134 w 156"/>
                <a:gd name="T39" fmla="*/ 87 h 371"/>
                <a:gd name="T40" fmla="*/ 122 w 156"/>
                <a:gd name="T41" fmla="*/ 61 h 371"/>
                <a:gd name="T42" fmla="*/ 116 w 156"/>
                <a:gd name="T43" fmla="*/ 49 h 371"/>
                <a:gd name="T44" fmla="*/ 109 w 156"/>
                <a:gd name="T45" fmla="*/ 38 h 371"/>
                <a:gd name="T46" fmla="*/ 103 w 156"/>
                <a:gd name="T47" fmla="*/ 27 h 371"/>
                <a:gd name="T48" fmla="*/ 94 w 156"/>
                <a:gd name="T49" fmla="*/ 17 h 371"/>
                <a:gd name="T50" fmla="*/ 87 w 156"/>
                <a:gd name="T51" fmla="*/ 8 h 371"/>
                <a:gd name="T52" fmla="*/ 78 w 156"/>
                <a:gd name="T53" fmla="*/ 0 h 371"/>
                <a:gd name="T54" fmla="*/ 78 w 156"/>
                <a:gd name="T55" fmla="*/ 0 h 371"/>
                <a:gd name="T56" fmla="*/ 69 w 156"/>
                <a:gd name="T57" fmla="*/ 8 h 371"/>
                <a:gd name="T58" fmla="*/ 62 w 156"/>
                <a:gd name="T59" fmla="*/ 17 h 371"/>
                <a:gd name="T60" fmla="*/ 53 w 156"/>
                <a:gd name="T61" fmla="*/ 27 h 371"/>
                <a:gd name="T62" fmla="*/ 46 w 156"/>
                <a:gd name="T63" fmla="*/ 38 h 371"/>
                <a:gd name="T64" fmla="*/ 40 w 156"/>
                <a:gd name="T65" fmla="*/ 49 h 371"/>
                <a:gd name="T66" fmla="*/ 34 w 156"/>
                <a:gd name="T67" fmla="*/ 61 h 371"/>
                <a:gd name="T68" fmla="*/ 23 w 156"/>
                <a:gd name="T69" fmla="*/ 87 h 371"/>
                <a:gd name="T70" fmla="*/ 13 w 156"/>
                <a:gd name="T71" fmla="*/ 117 h 371"/>
                <a:gd name="T72" fmla="*/ 7 w 156"/>
                <a:gd name="T73" fmla="*/ 148 h 371"/>
                <a:gd name="T74" fmla="*/ 2 w 156"/>
                <a:gd name="T75" fmla="*/ 181 h 371"/>
                <a:gd name="T76" fmla="*/ 0 w 156"/>
                <a:gd name="T77" fmla="*/ 216 h 371"/>
                <a:gd name="T78" fmla="*/ 0 w 156"/>
                <a:gd name="T79" fmla="*/ 216 h 371"/>
                <a:gd name="T80" fmla="*/ 2 w 156"/>
                <a:gd name="T81" fmla="*/ 238 h 371"/>
                <a:gd name="T82" fmla="*/ 3 w 156"/>
                <a:gd name="T83" fmla="*/ 259 h 371"/>
                <a:gd name="T84" fmla="*/ 5 w 156"/>
                <a:gd name="T85" fmla="*/ 280 h 371"/>
                <a:gd name="T86" fmla="*/ 9 w 156"/>
                <a:gd name="T87" fmla="*/ 300 h 371"/>
                <a:gd name="T88" fmla="*/ 14 w 156"/>
                <a:gd name="T89" fmla="*/ 319 h 371"/>
                <a:gd name="T90" fmla="*/ 20 w 156"/>
                <a:gd name="T91" fmla="*/ 337 h 371"/>
                <a:gd name="T92" fmla="*/ 26 w 156"/>
                <a:gd name="T93" fmla="*/ 354 h 371"/>
                <a:gd name="T94" fmla="*/ 34 w 156"/>
                <a:gd name="T95" fmla="*/ 371 h 371"/>
                <a:gd name="T96" fmla="*/ 34 w 156"/>
                <a:gd name="T97" fmla="*/ 371 h 371"/>
                <a:gd name="T98" fmla="*/ 45 w 156"/>
                <a:gd name="T99" fmla="*/ 367 h 371"/>
                <a:gd name="T100" fmla="*/ 56 w 156"/>
                <a:gd name="T101" fmla="*/ 366 h 371"/>
                <a:gd name="T102" fmla="*/ 67 w 156"/>
                <a:gd name="T103" fmla="*/ 365 h 371"/>
                <a:gd name="T104" fmla="*/ 78 w 156"/>
                <a:gd name="T105" fmla="*/ 364 h 371"/>
                <a:gd name="T106" fmla="*/ 78 w 156"/>
                <a:gd name="T107" fmla="*/ 364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 h="371">
                  <a:moveTo>
                    <a:pt x="78" y="364"/>
                  </a:moveTo>
                  <a:lnTo>
                    <a:pt x="78" y="364"/>
                  </a:lnTo>
                  <a:lnTo>
                    <a:pt x="89" y="365"/>
                  </a:lnTo>
                  <a:lnTo>
                    <a:pt x="100" y="366"/>
                  </a:lnTo>
                  <a:lnTo>
                    <a:pt x="111" y="367"/>
                  </a:lnTo>
                  <a:lnTo>
                    <a:pt x="122" y="371"/>
                  </a:lnTo>
                  <a:lnTo>
                    <a:pt x="122" y="371"/>
                  </a:lnTo>
                  <a:lnTo>
                    <a:pt x="130" y="354"/>
                  </a:lnTo>
                  <a:lnTo>
                    <a:pt x="136" y="337"/>
                  </a:lnTo>
                  <a:lnTo>
                    <a:pt x="142" y="319"/>
                  </a:lnTo>
                  <a:lnTo>
                    <a:pt x="147" y="300"/>
                  </a:lnTo>
                  <a:lnTo>
                    <a:pt x="151" y="280"/>
                  </a:lnTo>
                  <a:lnTo>
                    <a:pt x="153" y="259"/>
                  </a:lnTo>
                  <a:lnTo>
                    <a:pt x="155" y="238"/>
                  </a:lnTo>
                  <a:lnTo>
                    <a:pt x="156" y="216"/>
                  </a:lnTo>
                  <a:lnTo>
                    <a:pt x="156" y="216"/>
                  </a:lnTo>
                  <a:lnTo>
                    <a:pt x="155" y="181"/>
                  </a:lnTo>
                  <a:lnTo>
                    <a:pt x="150" y="148"/>
                  </a:lnTo>
                  <a:lnTo>
                    <a:pt x="143" y="117"/>
                  </a:lnTo>
                  <a:lnTo>
                    <a:pt x="134" y="87"/>
                  </a:lnTo>
                  <a:lnTo>
                    <a:pt x="122" y="61"/>
                  </a:lnTo>
                  <a:lnTo>
                    <a:pt x="116" y="49"/>
                  </a:lnTo>
                  <a:lnTo>
                    <a:pt x="109" y="38"/>
                  </a:lnTo>
                  <a:lnTo>
                    <a:pt x="103" y="27"/>
                  </a:lnTo>
                  <a:lnTo>
                    <a:pt x="94" y="17"/>
                  </a:lnTo>
                  <a:lnTo>
                    <a:pt x="87" y="8"/>
                  </a:lnTo>
                  <a:lnTo>
                    <a:pt x="78" y="0"/>
                  </a:lnTo>
                  <a:lnTo>
                    <a:pt x="78" y="0"/>
                  </a:lnTo>
                  <a:lnTo>
                    <a:pt x="69" y="8"/>
                  </a:lnTo>
                  <a:lnTo>
                    <a:pt x="62" y="17"/>
                  </a:lnTo>
                  <a:lnTo>
                    <a:pt x="53" y="27"/>
                  </a:lnTo>
                  <a:lnTo>
                    <a:pt x="46" y="38"/>
                  </a:lnTo>
                  <a:lnTo>
                    <a:pt x="40" y="49"/>
                  </a:lnTo>
                  <a:lnTo>
                    <a:pt x="34" y="61"/>
                  </a:lnTo>
                  <a:lnTo>
                    <a:pt x="23" y="87"/>
                  </a:lnTo>
                  <a:lnTo>
                    <a:pt x="13" y="117"/>
                  </a:lnTo>
                  <a:lnTo>
                    <a:pt x="7" y="148"/>
                  </a:lnTo>
                  <a:lnTo>
                    <a:pt x="2" y="181"/>
                  </a:lnTo>
                  <a:lnTo>
                    <a:pt x="0" y="216"/>
                  </a:lnTo>
                  <a:lnTo>
                    <a:pt x="0" y="216"/>
                  </a:lnTo>
                  <a:lnTo>
                    <a:pt x="2" y="238"/>
                  </a:lnTo>
                  <a:lnTo>
                    <a:pt x="3" y="259"/>
                  </a:lnTo>
                  <a:lnTo>
                    <a:pt x="5" y="280"/>
                  </a:lnTo>
                  <a:lnTo>
                    <a:pt x="9" y="300"/>
                  </a:lnTo>
                  <a:lnTo>
                    <a:pt x="14" y="319"/>
                  </a:lnTo>
                  <a:lnTo>
                    <a:pt x="20" y="337"/>
                  </a:lnTo>
                  <a:lnTo>
                    <a:pt x="26" y="354"/>
                  </a:lnTo>
                  <a:lnTo>
                    <a:pt x="34" y="371"/>
                  </a:lnTo>
                  <a:lnTo>
                    <a:pt x="34" y="371"/>
                  </a:lnTo>
                  <a:lnTo>
                    <a:pt x="45" y="367"/>
                  </a:lnTo>
                  <a:lnTo>
                    <a:pt x="56" y="366"/>
                  </a:lnTo>
                  <a:lnTo>
                    <a:pt x="67" y="365"/>
                  </a:lnTo>
                  <a:lnTo>
                    <a:pt x="78" y="364"/>
                  </a:lnTo>
                  <a:lnTo>
                    <a:pt x="78" y="364"/>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2" name="Freeform 117">
              <a:extLst>
                <a:ext uri="{FF2B5EF4-FFF2-40B4-BE49-F238E27FC236}">
                  <a16:creationId xmlns:a16="http://schemas.microsoft.com/office/drawing/2014/main" id="{C35C3F66-9A04-8296-75C8-58390A0FEB33}"/>
                </a:ext>
              </a:extLst>
            </p:cNvPr>
            <p:cNvSpPr>
              <a:spLocks/>
            </p:cNvSpPr>
            <p:nvPr/>
          </p:nvSpPr>
          <p:spPr bwMode="auto">
            <a:xfrm>
              <a:off x="3050214" y="3120376"/>
              <a:ext cx="116298" cy="501093"/>
            </a:xfrm>
            <a:custGeom>
              <a:avLst/>
              <a:gdLst>
                <a:gd name="T0" fmla="*/ 0 w 78"/>
                <a:gd name="T1" fmla="*/ 0 h 371"/>
                <a:gd name="T2" fmla="*/ 0 w 78"/>
                <a:gd name="T3" fmla="*/ 0 h 371"/>
                <a:gd name="T4" fmla="*/ 0 w 78"/>
                <a:gd name="T5" fmla="*/ 1 h 371"/>
                <a:gd name="T6" fmla="*/ 0 w 78"/>
                <a:gd name="T7" fmla="*/ 364 h 371"/>
                <a:gd name="T8" fmla="*/ 0 w 78"/>
                <a:gd name="T9" fmla="*/ 364 h 371"/>
                <a:gd name="T10" fmla="*/ 0 w 78"/>
                <a:gd name="T11" fmla="*/ 364 h 371"/>
                <a:gd name="T12" fmla="*/ 0 w 78"/>
                <a:gd name="T13" fmla="*/ 364 h 371"/>
                <a:gd name="T14" fmla="*/ 11 w 78"/>
                <a:gd name="T15" fmla="*/ 365 h 371"/>
                <a:gd name="T16" fmla="*/ 22 w 78"/>
                <a:gd name="T17" fmla="*/ 366 h 371"/>
                <a:gd name="T18" fmla="*/ 33 w 78"/>
                <a:gd name="T19" fmla="*/ 367 h 371"/>
                <a:gd name="T20" fmla="*/ 44 w 78"/>
                <a:gd name="T21" fmla="*/ 371 h 371"/>
                <a:gd name="T22" fmla="*/ 44 w 78"/>
                <a:gd name="T23" fmla="*/ 371 h 371"/>
                <a:gd name="T24" fmla="*/ 52 w 78"/>
                <a:gd name="T25" fmla="*/ 354 h 371"/>
                <a:gd name="T26" fmla="*/ 58 w 78"/>
                <a:gd name="T27" fmla="*/ 337 h 371"/>
                <a:gd name="T28" fmla="*/ 64 w 78"/>
                <a:gd name="T29" fmla="*/ 319 h 371"/>
                <a:gd name="T30" fmla="*/ 69 w 78"/>
                <a:gd name="T31" fmla="*/ 300 h 371"/>
                <a:gd name="T32" fmla="*/ 73 w 78"/>
                <a:gd name="T33" fmla="*/ 280 h 371"/>
                <a:gd name="T34" fmla="*/ 75 w 78"/>
                <a:gd name="T35" fmla="*/ 259 h 371"/>
                <a:gd name="T36" fmla="*/ 77 w 78"/>
                <a:gd name="T37" fmla="*/ 238 h 371"/>
                <a:gd name="T38" fmla="*/ 78 w 78"/>
                <a:gd name="T39" fmla="*/ 216 h 371"/>
                <a:gd name="T40" fmla="*/ 78 w 78"/>
                <a:gd name="T41" fmla="*/ 216 h 371"/>
                <a:gd name="T42" fmla="*/ 77 w 78"/>
                <a:gd name="T43" fmla="*/ 181 h 371"/>
                <a:gd name="T44" fmla="*/ 72 w 78"/>
                <a:gd name="T45" fmla="*/ 148 h 371"/>
                <a:gd name="T46" fmla="*/ 65 w 78"/>
                <a:gd name="T47" fmla="*/ 117 h 371"/>
                <a:gd name="T48" fmla="*/ 56 w 78"/>
                <a:gd name="T49" fmla="*/ 87 h 371"/>
                <a:gd name="T50" fmla="*/ 44 w 78"/>
                <a:gd name="T51" fmla="*/ 61 h 371"/>
                <a:gd name="T52" fmla="*/ 38 w 78"/>
                <a:gd name="T53" fmla="*/ 49 h 371"/>
                <a:gd name="T54" fmla="*/ 31 w 78"/>
                <a:gd name="T55" fmla="*/ 38 h 371"/>
                <a:gd name="T56" fmla="*/ 25 w 78"/>
                <a:gd name="T57" fmla="*/ 27 h 371"/>
                <a:gd name="T58" fmla="*/ 16 w 78"/>
                <a:gd name="T59" fmla="*/ 17 h 371"/>
                <a:gd name="T60" fmla="*/ 9 w 78"/>
                <a:gd name="T61" fmla="*/ 8 h 371"/>
                <a:gd name="T62" fmla="*/ 0 w 78"/>
                <a:gd name="T63" fmla="*/ 0 h 371"/>
                <a:gd name="T64" fmla="*/ 0 w 78"/>
                <a:gd name="T65" fmla="*/ 0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8" h="371">
                  <a:moveTo>
                    <a:pt x="0" y="0"/>
                  </a:moveTo>
                  <a:lnTo>
                    <a:pt x="0" y="0"/>
                  </a:lnTo>
                  <a:lnTo>
                    <a:pt x="0" y="1"/>
                  </a:lnTo>
                  <a:lnTo>
                    <a:pt x="0" y="364"/>
                  </a:lnTo>
                  <a:lnTo>
                    <a:pt x="0" y="364"/>
                  </a:lnTo>
                  <a:lnTo>
                    <a:pt x="0" y="364"/>
                  </a:lnTo>
                  <a:lnTo>
                    <a:pt x="0" y="364"/>
                  </a:lnTo>
                  <a:lnTo>
                    <a:pt x="11" y="365"/>
                  </a:lnTo>
                  <a:lnTo>
                    <a:pt x="22" y="366"/>
                  </a:lnTo>
                  <a:lnTo>
                    <a:pt x="33" y="367"/>
                  </a:lnTo>
                  <a:lnTo>
                    <a:pt x="44" y="371"/>
                  </a:lnTo>
                  <a:lnTo>
                    <a:pt x="44" y="371"/>
                  </a:lnTo>
                  <a:lnTo>
                    <a:pt x="52" y="354"/>
                  </a:lnTo>
                  <a:lnTo>
                    <a:pt x="58" y="337"/>
                  </a:lnTo>
                  <a:lnTo>
                    <a:pt x="64" y="319"/>
                  </a:lnTo>
                  <a:lnTo>
                    <a:pt x="69" y="300"/>
                  </a:lnTo>
                  <a:lnTo>
                    <a:pt x="73" y="280"/>
                  </a:lnTo>
                  <a:lnTo>
                    <a:pt x="75" y="259"/>
                  </a:lnTo>
                  <a:lnTo>
                    <a:pt x="77" y="238"/>
                  </a:lnTo>
                  <a:lnTo>
                    <a:pt x="78" y="216"/>
                  </a:lnTo>
                  <a:lnTo>
                    <a:pt x="78" y="216"/>
                  </a:lnTo>
                  <a:lnTo>
                    <a:pt x="77" y="181"/>
                  </a:lnTo>
                  <a:lnTo>
                    <a:pt x="72" y="148"/>
                  </a:lnTo>
                  <a:lnTo>
                    <a:pt x="65" y="117"/>
                  </a:lnTo>
                  <a:lnTo>
                    <a:pt x="56" y="87"/>
                  </a:lnTo>
                  <a:lnTo>
                    <a:pt x="44" y="61"/>
                  </a:lnTo>
                  <a:lnTo>
                    <a:pt x="38" y="49"/>
                  </a:lnTo>
                  <a:lnTo>
                    <a:pt x="31" y="38"/>
                  </a:lnTo>
                  <a:lnTo>
                    <a:pt x="25" y="27"/>
                  </a:lnTo>
                  <a:lnTo>
                    <a:pt x="16" y="17"/>
                  </a:lnTo>
                  <a:lnTo>
                    <a:pt x="9" y="8"/>
                  </a:lnTo>
                  <a:lnTo>
                    <a:pt x="0"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3" name="Freeform 118">
              <a:extLst>
                <a:ext uri="{FF2B5EF4-FFF2-40B4-BE49-F238E27FC236}">
                  <a16:creationId xmlns:a16="http://schemas.microsoft.com/office/drawing/2014/main" id="{70870EA4-0FE3-C959-7C6E-8C119C494AEC}"/>
                </a:ext>
              </a:extLst>
            </p:cNvPr>
            <p:cNvSpPr>
              <a:spLocks/>
            </p:cNvSpPr>
            <p:nvPr/>
          </p:nvSpPr>
          <p:spPr bwMode="auto">
            <a:xfrm>
              <a:off x="2965235" y="3120376"/>
              <a:ext cx="169973" cy="122910"/>
            </a:xfrm>
            <a:custGeom>
              <a:avLst/>
              <a:gdLst>
                <a:gd name="T0" fmla="*/ 57 w 114"/>
                <a:gd name="T1" fmla="*/ 90 h 91"/>
                <a:gd name="T2" fmla="*/ 57 w 114"/>
                <a:gd name="T3" fmla="*/ 90 h 91"/>
                <a:gd name="T4" fmla="*/ 85 w 114"/>
                <a:gd name="T5" fmla="*/ 90 h 91"/>
                <a:gd name="T6" fmla="*/ 114 w 114"/>
                <a:gd name="T7" fmla="*/ 91 h 91"/>
                <a:gd name="T8" fmla="*/ 114 w 114"/>
                <a:gd name="T9" fmla="*/ 91 h 91"/>
                <a:gd name="T10" fmla="*/ 109 w 114"/>
                <a:gd name="T11" fmla="*/ 78 h 91"/>
                <a:gd name="T12" fmla="*/ 103 w 114"/>
                <a:gd name="T13" fmla="*/ 64 h 91"/>
                <a:gd name="T14" fmla="*/ 97 w 114"/>
                <a:gd name="T15" fmla="*/ 50 h 91"/>
                <a:gd name="T16" fmla="*/ 89 w 114"/>
                <a:gd name="T17" fmla="*/ 39 h 91"/>
                <a:gd name="T18" fmla="*/ 82 w 114"/>
                <a:gd name="T19" fmla="*/ 28 h 91"/>
                <a:gd name="T20" fmla="*/ 74 w 114"/>
                <a:gd name="T21" fmla="*/ 18 h 91"/>
                <a:gd name="T22" fmla="*/ 66 w 114"/>
                <a:gd name="T23" fmla="*/ 8 h 91"/>
                <a:gd name="T24" fmla="*/ 57 w 114"/>
                <a:gd name="T25" fmla="*/ 0 h 91"/>
                <a:gd name="T26" fmla="*/ 57 w 114"/>
                <a:gd name="T27" fmla="*/ 0 h 91"/>
                <a:gd name="T28" fmla="*/ 48 w 114"/>
                <a:gd name="T29" fmla="*/ 8 h 91"/>
                <a:gd name="T30" fmla="*/ 40 w 114"/>
                <a:gd name="T31" fmla="*/ 18 h 91"/>
                <a:gd name="T32" fmla="*/ 32 w 114"/>
                <a:gd name="T33" fmla="*/ 28 h 91"/>
                <a:gd name="T34" fmla="*/ 25 w 114"/>
                <a:gd name="T35" fmla="*/ 39 h 91"/>
                <a:gd name="T36" fmla="*/ 18 w 114"/>
                <a:gd name="T37" fmla="*/ 50 h 91"/>
                <a:gd name="T38" fmla="*/ 11 w 114"/>
                <a:gd name="T39" fmla="*/ 64 h 91"/>
                <a:gd name="T40" fmla="*/ 5 w 114"/>
                <a:gd name="T41" fmla="*/ 78 h 91"/>
                <a:gd name="T42" fmla="*/ 0 w 114"/>
                <a:gd name="T43" fmla="*/ 91 h 91"/>
                <a:gd name="T44" fmla="*/ 0 w 114"/>
                <a:gd name="T45" fmla="*/ 91 h 91"/>
                <a:gd name="T46" fmla="*/ 27 w 114"/>
                <a:gd name="T47" fmla="*/ 90 h 91"/>
                <a:gd name="T48" fmla="*/ 57 w 114"/>
                <a:gd name="T49" fmla="*/ 90 h 91"/>
                <a:gd name="T50" fmla="*/ 57 w 114"/>
                <a:gd name="T51" fmla="*/ 9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4" h="91">
                  <a:moveTo>
                    <a:pt x="57" y="90"/>
                  </a:moveTo>
                  <a:lnTo>
                    <a:pt x="57" y="90"/>
                  </a:lnTo>
                  <a:lnTo>
                    <a:pt x="85" y="90"/>
                  </a:lnTo>
                  <a:lnTo>
                    <a:pt x="114" y="91"/>
                  </a:lnTo>
                  <a:lnTo>
                    <a:pt x="114" y="91"/>
                  </a:lnTo>
                  <a:lnTo>
                    <a:pt x="109" y="78"/>
                  </a:lnTo>
                  <a:lnTo>
                    <a:pt x="103" y="64"/>
                  </a:lnTo>
                  <a:lnTo>
                    <a:pt x="97" y="50"/>
                  </a:lnTo>
                  <a:lnTo>
                    <a:pt x="89" y="39"/>
                  </a:lnTo>
                  <a:lnTo>
                    <a:pt x="82" y="28"/>
                  </a:lnTo>
                  <a:lnTo>
                    <a:pt x="74" y="18"/>
                  </a:lnTo>
                  <a:lnTo>
                    <a:pt x="66" y="8"/>
                  </a:lnTo>
                  <a:lnTo>
                    <a:pt x="57" y="0"/>
                  </a:lnTo>
                  <a:lnTo>
                    <a:pt x="57" y="0"/>
                  </a:lnTo>
                  <a:lnTo>
                    <a:pt x="48" y="8"/>
                  </a:lnTo>
                  <a:lnTo>
                    <a:pt x="40" y="18"/>
                  </a:lnTo>
                  <a:lnTo>
                    <a:pt x="32" y="28"/>
                  </a:lnTo>
                  <a:lnTo>
                    <a:pt x="25" y="39"/>
                  </a:lnTo>
                  <a:lnTo>
                    <a:pt x="18" y="50"/>
                  </a:lnTo>
                  <a:lnTo>
                    <a:pt x="11" y="64"/>
                  </a:lnTo>
                  <a:lnTo>
                    <a:pt x="5" y="78"/>
                  </a:lnTo>
                  <a:lnTo>
                    <a:pt x="0" y="91"/>
                  </a:lnTo>
                  <a:lnTo>
                    <a:pt x="0" y="91"/>
                  </a:lnTo>
                  <a:lnTo>
                    <a:pt x="27" y="90"/>
                  </a:lnTo>
                  <a:lnTo>
                    <a:pt x="57" y="90"/>
                  </a:lnTo>
                  <a:lnTo>
                    <a:pt x="57" y="9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4" name="Freeform 119">
              <a:extLst>
                <a:ext uri="{FF2B5EF4-FFF2-40B4-BE49-F238E27FC236}">
                  <a16:creationId xmlns:a16="http://schemas.microsoft.com/office/drawing/2014/main" id="{63CFA789-91F2-CBFF-A2B6-F136364B97D5}"/>
                </a:ext>
              </a:extLst>
            </p:cNvPr>
            <p:cNvSpPr>
              <a:spLocks/>
            </p:cNvSpPr>
            <p:nvPr/>
          </p:nvSpPr>
          <p:spPr bwMode="auto">
            <a:xfrm>
              <a:off x="3050230" y="3120376"/>
              <a:ext cx="84987" cy="122910"/>
            </a:xfrm>
            <a:custGeom>
              <a:avLst/>
              <a:gdLst>
                <a:gd name="T0" fmla="*/ 0 w 57"/>
                <a:gd name="T1" fmla="*/ 1 h 91"/>
                <a:gd name="T2" fmla="*/ 0 w 57"/>
                <a:gd name="T3" fmla="*/ 90 h 91"/>
                <a:gd name="T4" fmla="*/ 0 w 57"/>
                <a:gd name="T5" fmla="*/ 90 h 91"/>
                <a:gd name="T6" fmla="*/ 0 w 57"/>
                <a:gd name="T7" fmla="*/ 90 h 91"/>
                <a:gd name="T8" fmla="*/ 0 w 57"/>
                <a:gd name="T9" fmla="*/ 90 h 91"/>
                <a:gd name="T10" fmla="*/ 28 w 57"/>
                <a:gd name="T11" fmla="*/ 90 h 91"/>
                <a:gd name="T12" fmla="*/ 57 w 57"/>
                <a:gd name="T13" fmla="*/ 91 h 91"/>
                <a:gd name="T14" fmla="*/ 57 w 57"/>
                <a:gd name="T15" fmla="*/ 91 h 91"/>
                <a:gd name="T16" fmla="*/ 52 w 57"/>
                <a:gd name="T17" fmla="*/ 78 h 91"/>
                <a:gd name="T18" fmla="*/ 46 w 57"/>
                <a:gd name="T19" fmla="*/ 64 h 91"/>
                <a:gd name="T20" fmla="*/ 40 w 57"/>
                <a:gd name="T21" fmla="*/ 50 h 91"/>
                <a:gd name="T22" fmla="*/ 32 w 57"/>
                <a:gd name="T23" fmla="*/ 39 h 91"/>
                <a:gd name="T24" fmla="*/ 25 w 57"/>
                <a:gd name="T25" fmla="*/ 28 h 91"/>
                <a:gd name="T26" fmla="*/ 17 w 57"/>
                <a:gd name="T27" fmla="*/ 18 h 91"/>
                <a:gd name="T28" fmla="*/ 9 w 57"/>
                <a:gd name="T29" fmla="*/ 8 h 91"/>
                <a:gd name="T30" fmla="*/ 0 w 57"/>
                <a:gd name="T31" fmla="*/ 0 h 91"/>
                <a:gd name="T32" fmla="*/ 0 w 57"/>
                <a:gd name="T33" fmla="*/ 0 h 91"/>
                <a:gd name="T34" fmla="*/ 0 w 57"/>
                <a:gd name="T35" fmla="*/ 1 h 91"/>
                <a:gd name="T36" fmla="*/ 0 w 57"/>
                <a:gd name="T3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 h="91">
                  <a:moveTo>
                    <a:pt x="0" y="1"/>
                  </a:moveTo>
                  <a:lnTo>
                    <a:pt x="0" y="90"/>
                  </a:lnTo>
                  <a:lnTo>
                    <a:pt x="0" y="90"/>
                  </a:lnTo>
                  <a:lnTo>
                    <a:pt x="0" y="90"/>
                  </a:lnTo>
                  <a:lnTo>
                    <a:pt x="0" y="90"/>
                  </a:lnTo>
                  <a:lnTo>
                    <a:pt x="28" y="90"/>
                  </a:lnTo>
                  <a:lnTo>
                    <a:pt x="57" y="91"/>
                  </a:lnTo>
                  <a:lnTo>
                    <a:pt x="57" y="91"/>
                  </a:lnTo>
                  <a:lnTo>
                    <a:pt x="52" y="78"/>
                  </a:lnTo>
                  <a:lnTo>
                    <a:pt x="46" y="64"/>
                  </a:lnTo>
                  <a:lnTo>
                    <a:pt x="40" y="50"/>
                  </a:lnTo>
                  <a:lnTo>
                    <a:pt x="32" y="39"/>
                  </a:lnTo>
                  <a:lnTo>
                    <a:pt x="25" y="28"/>
                  </a:lnTo>
                  <a:lnTo>
                    <a:pt x="17" y="18"/>
                  </a:lnTo>
                  <a:lnTo>
                    <a:pt x="9" y="8"/>
                  </a:lnTo>
                  <a:lnTo>
                    <a:pt x="0" y="0"/>
                  </a:lnTo>
                  <a:lnTo>
                    <a:pt x="0" y="0"/>
                  </a:lnTo>
                  <a:lnTo>
                    <a:pt x="0" y="1"/>
                  </a:lnTo>
                  <a:lnTo>
                    <a:pt x="0" y="1"/>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5" name="Freeform 120">
              <a:extLst>
                <a:ext uri="{FF2B5EF4-FFF2-40B4-BE49-F238E27FC236}">
                  <a16:creationId xmlns:a16="http://schemas.microsoft.com/office/drawing/2014/main" id="{77CCB424-7EC5-4561-4087-DA4748FEEACA}"/>
                </a:ext>
              </a:extLst>
            </p:cNvPr>
            <p:cNvSpPr>
              <a:spLocks/>
            </p:cNvSpPr>
            <p:nvPr/>
          </p:nvSpPr>
          <p:spPr bwMode="auto">
            <a:xfrm>
              <a:off x="3024883" y="3456690"/>
              <a:ext cx="49203" cy="241768"/>
            </a:xfrm>
            <a:custGeom>
              <a:avLst/>
              <a:gdLst>
                <a:gd name="T0" fmla="*/ 17 w 33"/>
                <a:gd name="T1" fmla="*/ 0 h 179"/>
                <a:gd name="T2" fmla="*/ 17 w 33"/>
                <a:gd name="T3" fmla="*/ 0 h 179"/>
                <a:gd name="T4" fmla="*/ 13 w 33"/>
                <a:gd name="T5" fmla="*/ 6 h 179"/>
                <a:gd name="T6" fmla="*/ 10 w 33"/>
                <a:gd name="T7" fmla="*/ 15 h 179"/>
                <a:gd name="T8" fmla="*/ 5 w 33"/>
                <a:gd name="T9" fmla="*/ 36 h 179"/>
                <a:gd name="T10" fmla="*/ 1 w 33"/>
                <a:gd name="T11" fmla="*/ 62 h 179"/>
                <a:gd name="T12" fmla="*/ 0 w 33"/>
                <a:gd name="T13" fmla="*/ 89 h 179"/>
                <a:gd name="T14" fmla="*/ 0 w 33"/>
                <a:gd name="T15" fmla="*/ 89 h 179"/>
                <a:gd name="T16" fmla="*/ 1 w 33"/>
                <a:gd name="T17" fmla="*/ 117 h 179"/>
                <a:gd name="T18" fmla="*/ 5 w 33"/>
                <a:gd name="T19" fmla="*/ 142 h 179"/>
                <a:gd name="T20" fmla="*/ 10 w 33"/>
                <a:gd name="T21" fmla="*/ 163 h 179"/>
                <a:gd name="T22" fmla="*/ 13 w 33"/>
                <a:gd name="T23" fmla="*/ 171 h 179"/>
                <a:gd name="T24" fmla="*/ 17 w 33"/>
                <a:gd name="T25" fmla="*/ 179 h 179"/>
                <a:gd name="T26" fmla="*/ 17 w 33"/>
                <a:gd name="T27" fmla="*/ 179 h 179"/>
                <a:gd name="T28" fmla="*/ 21 w 33"/>
                <a:gd name="T29" fmla="*/ 171 h 179"/>
                <a:gd name="T30" fmla="*/ 23 w 33"/>
                <a:gd name="T31" fmla="*/ 163 h 179"/>
                <a:gd name="T32" fmla="*/ 29 w 33"/>
                <a:gd name="T33" fmla="*/ 142 h 179"/>
                <a:gd name="T34" fmla="*/ 32 w 33"/>
                <a:gd name="T35" fmla="*/ 117 h 179"/>
                <a:gd name="T36" fmla="*/ 33 w 33"/>
                <a:gd name="T37" fmla="*/ 89 h 179"/>
                <a:gd name="T38" fmla="*/ 33 w 33"/>
                <a:gd name="T39" fmla="*/ 89 h 179"/>
                <a:gd name="T40" fmla="*/ 32 w 33"/>
                <a:gd name="T41" fmla="*/ 62 h 179"/>
                <a:gd name="T42" fmla="*/ 29 w 33"/>
                <a:gd name="T43" fmla="*/ 36 h 179"/>
                <a:gd name="T44" fmla="*/ 23 w 33"/>
                <a:gd name="T45" fmla="*/ 15 h 179"/>
                <a:gd name="T46" fmla="*/ 21 w 33"/>
                <a:gd name="T47" fmla="*/ 6 h 179"/>
                <a:gd name="T48" fmla="*/ 17 w 33"/>
                <a:gd name="T49" fmla="*/ 0 h 179"/>
                <a:gd name="T50" fmla="*/ 17 w 33"/>
                <a:gd name="T51"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 h="179">
                  <a:moveTo>
                    <a:pt x="17" y="0"/>
                  </a:moveTo>
                  <a:lnTo>
                    <a:pt x="17" y="0"/>
                  </a:lnTo>
                  <a:lnTo>
                    <a:pt x="13" y="6"/>
                  </a:lnTo>
                  <a:lnTo>
                    <a:pt x="10" y="15"/>
                  </a:lnTo>
                  <a:lnTo>
                    <a:pt x="5" y="36"/>
                  </a:lnTo>
                  <a:lnTo>
                    <a:pt x="1" y="62"/>
                  </a:lnTo>
                  <a:lnTo>
                    <a:pt x="0" y="89"/>
                  </a:lnTo>
                  <a:lnTo>
                    <a:pt x="0" y="89"/>
                  </a:lnTo>
                  <a:lnTo>
                    <a:pt x="1" y="117"/>
                  </a:lnTo>
                  <a:lnTo>
                    <a:pt x="5" y="142"/>
                  </a:lnTo>
                  <a:lnTo>
                    <a:pt x="10" y="163"/>
                  </a:lnTo>
                  <a:lnTo>
                    <a:pt x="13" y="171"/>
                  </a:lnTo>
                  <a:lnTo>
                    <a:pt x="17" y="179"/>
                  </a:lnTo>
                  <a:lnTo>
                    <a:pt x="17" y="179"/>
                  </a:lnTo>
                  <a:lnTo>
                    <a:pt x="21" y="171"/>
                  </a:lnTo>
                  <a:lnTo>
                    <a:pt x="23" y="163"/>
                  </a:lnTo>
                  <a:lnTo>
                    <a:pt x="29" y="142"/>
                  </a:lnTo>
                  <a:lnTo>
                    <a:pt x="32" y="117"/>
                  </a:lnTo>
                  <a:lnTo>
                    <a:pt x="33" y="89"/>
                  </a:lnTo>
                  <a:lnTo>
                    <a:pt x="33" y="89"/>
                  </a:lnTo>
                  <a:lnTo>
                    <a:pt x="32" y="62"/>
                  </a:lnTo>
                  <a:lnTo>
                    <a:pt x="29" y="36"/>
                  </a:lnTo>
                  <a:lnTo>
                    <a:pt x="23" y="15"/>
                  </a:lnTo>
                  <a:lnTo>
                    <a:pt x="21" y="6"/>
                  </a:lnTo>
                  <a:lnTo>
                    <a:pt x="17" y="0"/>
                  </a:lnTo>
                  <a:lnTo>
                    <a:pt x="17"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6" name="Freeform 121">
              <a:extLst>
                <a:ext uri="{FF2B5EF4-FFF2-40B4-BE49-F238E27FC236}">
                  <a16:creationId xmlns:a16="http://schemas.microsoft.com/office/drawing/2014/main" id="{8CBC38B7-664F-6C54-AC0A-77BECF2D10E6}"/>
                </a:ext>
              </a:extLst>
            </p:cNvPr>
            <p:cNvSpPr>
              <a:spLocks/>
            </p:cNvSpPr>
            <p:nvPr/>
          </p:nvSpPr>
          <p:spPr bwMode="auto">
            <a:xfrm>
              <a:off x="3050230" y="3456689"/>
              <a:ext cx="23856" cy="241768"/>
            </a:xfrm>
            <a:custGeom>
              <a:avLst/>
              <a:gdLst>
                <a:gd name="T0" fmla="*/ 0 w 16"/>
                <a:gd name="T1" fmla="*/ 0 h 179"/>
                <a:gd name="T2" fmla="*/ 0 w 16"/>
                <a:gd name="T3" fmla="*/ 178 h 179"/>
                <a:gd name="T4" fmla="*/ 0 w 16"/>
                <a:gd name="T5" fmla="*/ 178 h 179"/>
                <a:gd name="T6" fmla="*/ 0 w 16"/>
                <a:gd name="T7" fmla="*/ 179 h 179"/>
                <a:gd name="T8" fmla="*/ 0 w 16"/>
                <a:gd name="T9" fmla="*/ 179 h 179"/>
                <a:gd name="T10" fmla="*/ 4 w 16"/>
                <a:gd name="T11" fmla="*/ 171 h 179"/>
                <a:gd name="T12" fmla="*/ 6 w 16"/>
                <a:gd name="T13" fmla="*/ 163 h 179"/>
                <a:gd name="T14" fmla="*/ 12 w 16"/>
                <a:gd name="T15" fmla="*/ 142 h 179"/>
                <a:gd name="T16" fmla="*/ 15 w 16"/>
                <a:gd name="T17" fmla="*/ 117 h 179"/>
                <a:gd name="T18" fmla="*/ 16 w 16"/>
                <a:gd name="T19" fmla="*/ 89 h 179"/>
                <a:gd name="T20" fmla="*/ 16 w 16"/>
                <a:gd name="T21" fmla="*/ 89 h 179"/>
                <a:gd name="T22" fmla="*/ 15 w 16"/>
                <a:gd name="T23" fmla="*/ 62 h 179"/>
                <a:gd name="T24" fmla="*/ 12 w 16"/>
                <a:gd name="T25" fmla="*/ 36 h 179"/>
                <a:gd name="T26" fmla="*/ 6 w 16"/>
                <a:gd name="T27" fmla="*/ 15 h 179"/>
                <a:gd name="T28" fmla="*/ 4 w 16"/>
                <a:gd name="T29" fmla="*/ 6 h 179"/>
                <a:gd name="T30" fmla="*/ 0 w 16"/>
                <a:gd name="T31" fmla="*/ 0 h 179"/>
                <a:gd name="T32" fmla="*/ 0 w 16"/>
                <a:gd name="T33" fmla="*/ 0 h 179"/>
                <a:gd name="T34" fmla="*/ 0 w 16"/>
                <a:gd name="T35" fmla="*/ 0 h 179"/>
                <a:gd name="T36" fmla="*/ 0 w 16"/>
                <a:gd name="T37"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179">
                  <a:moveTo>
                    <a:pt x="0" y="0"/>
                  </a:moveTo>
                  <a:lnTo>
                    <a:pt x="0" y="178"/>
                  </a:lnTo>
                  <a:lnTo>
                    <a:pt x="0" y="178"/>
                  </a:lnTo>
                  <a:lnTo>
                    <a:pt x="0" y="179"/>
                  </a:lnTo>
                  <a:lnTo>
                    <a:pt x="0" y="179"/>
                  </a:lnTo>
                  <a:lnTo>
                    <a:pt x="4" y="171"/>
                  </a:lnTo>
                  <a:lnTo>
                    <a:pt x="6" y="163"/>
                  </a:lnTo>
                  <a:lnTo>
                    <a:pt x="12" y="142"/>
                  </a:lnTo>
                  <a:lnTo>
                    <a:pt x="15" y="117"/>
                  </a:lnTo>
                  <a:lnTo>
                    <a:pt x="16" y="89"/>
                  </a:lnTo>
                  <a:lnTo>
                    <a:pt x="16" y="89"/>
                  </a:lnTo>
                  <a:lnTo>
                    <a:pt x="15" y="62"/>
                  </a:lnTo>
                  <a:lnTo>
                    <a:pt x="12" y="36"/>
                  </a:lnTo>
                  <a:lnTo>
                    <a:pt x="6" y="15"/>
                  </a:lnTo>
                  <a:lnTo>
                    <a:pt x="4" y="6"/>
                  </a:lnTo>
                  <a:lnTo>
                    <a:pt x="0" y="0"/>
                  </a:lnTo>
                  <a:lnTo>
                    <a:pt x="0" y="0"/>
                  </a:lnTo>
                  <a:lnTo>
                    <a:pt x="0" y="0"/>
                  </a:lnTo>
                  <a:lnTo>
                    <a:pt x="0" y="0"/>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7" name="Freeform 122">
              <a:extLst>
                <a:ext uri="{FF2B5EF4-FFF2-40B4-BE49-F238E27FC236}">
                  <a16:creationId xmlns:a16="http://schemas.microsoft.com/office/drawing/2014/main" id="{7A0141EF-4118-5B3A-1690-5896519DEED5}"/>
                </a:ext>
              </a:extLst>
            </p:cNvPr>
            <p:cNvSpPr>
              <a:spLocks/>
            </p:cNvSpPr>
            <p:nvPr/>
          </p:nvSpPr>
          <p:spPr bwMode="auto">
            <a:xfrm>
              <a:off x="2986113" y="3293261"/>
              <a:ext cx="128226" cy="118858"/>
            </a:xfrm>
            <a:custGeom>
              <a:avLst/>
              <a:gdLst>
                <a:gd name="T0" fmla="*/ 43 w 86"/>
                <a:gd name="T1" fmla="*/ 88 h 88"/>
                <a:gd name="T2" fmla="*/ 43 w 86"/>
                <a:gd name="T3" fmla="*/ 88 h 88"/>
                <a:gd name="T4" fmla="*/ 34 w 86"/>
                <a:gd name="T5" fmla="*/ 86 h 88"/>
                <a:gd name="T6" fmla="*/ 26 w 86"/>
                <a:gd name="T7" fmla="*/ 84 h 88"/>
                <a:gd name="T8" fmla="*/ 18 w 86"/>
                <a:gd name="T9" fmla="*/ 80 h 88"/>
                <a:gd name="T10" fmla="*/ 12 w 86"/>
                <a:gd name="T11" fmla="*/ 75 h 88"/>
                <a:gd name="T12" fmla="*/ 7 w 86"/>
                <a:gd name="T13" fmla="*/ 68 h 88"/>
                <a:gd name="T14" fmla="*/ 2 w 86"/>
                <a:gd name="T15" fmla="*/ 61 h 88"/>
                <a:gd name="T16" fmla="*/ 0 w 86"/>
                <a:gd name="T17" fmla="*/ 53 h 88"/>
                <a:gd name="T18" fmla="*/ 0 w 86"/>
                <a:gd name="T19" fmla="*/ 45 h 88"/>
                <a:gd name="T20" fmla="*/ 0 w 86"/>
                <a:gd name="T21" fmla="*/ 45 h 88"/>
                <a:gd name="T22" fmla="*/ 0 w 86"/>
                <a:gd name="T23" fmla="*/ 35 h 88"/>
                <a:gd name="T24" fmla="*/ 2 w 86"/>
                <a:gd name="T25" fmla="*/ 27 h 88"/>
                <a:gd name="T26" fmla="*/ 7 w 86"/>
                <a:gd name="T27" fmla="*/ 20 h 88"/>
                <a:gd name="T28" fmla="*/ 12 w 86"/>
                <a:gd name="T29" fmla="*/ 14 h 88"/>
                <a:gd name="T30" fmla="*/ 18 w 86"/>
                <a:gd name="T31" fmla="*/ 8 h 88"/>
                <a:gd name="T32" fmla="*/ 26 w 86"/>
                <a:gd name="T33" fmla="*/ 4 h 88"/>
                <a:gd name="T34" fmla="*/ 34 w 86"/>
                <a:gd name="T35" fmla="*/ 1 h 88"/>
                <a:gd name="T36" fmla="*/ 43 w 86"/>
                <a:gd name="T37" fmla="*/ 0 h 88"/>
                <a:gd name="T38" fmla="*/ 43 w 86"/>
                <a:gd name="T39" fmla="*/ 0 h 88"/>
                <a:gd name="T40" fmla="*/ 52 w 86"/>
                <a:gd name="T41" fmla="*/ 1 h 88"/>
                <a:gd name="T42" fmla="*/ 60 w 86"/>
                <a:gd name="T43" fmla="*/ 4 h 88"/>
                <a:gd name="T44" fmla="*/ 68 w 86"/>
                <a:gd name="T45" fmla="*/ 8 h 88"/>
                <a:gd name="T46" fmla="*/ 74 w 86"/>
                <a:gd name="T47" fmla="*/ 14 h 88"/>
                <a:gd name="T48" fmla="*/ 79 w 86"/>
                <a:gd name="T49" fmla="*/ 20 h 88"/>
                <a:gd name="T50" fmla="*/ 83 w 86"/>
                <a:gd name="T51" fmla="*/ 27 h 88"/>
                <a:gd name="T52" fmla="*/ 85 w 86"/>
                <a:gd name="T53" fmla="*/ 35 h 88"/>
                <a:gd name="T54" fmla="*/ 86 w 86"/>
                <a:gd name="T55" fmla="*/ 45 h 88"/>
                <a:gd name="T56" fmla="*/ 86 w 86"/>
                <a:gd name="T57" fmla="*/ 45 h 88"/>
                <a:gd name="T58" fmla="*/ 85 w 86"/>
                <a:gd name="T59" fmla="*/ 53 h 88"/>
                <a:gd name="T60" fmla="*/ 83 w 86"/>
                <a:gd name="T61" fmla="*/ 61 h 88"/>
                <a:gd name="T62" fmla="*/ 79 w 86"/>
                <a:gd name="T63" fmla="*/ 68 h 88"/>
                <a:gd name="T64" fmla="*/ 74 w 86"/>
                <a:gd name="T65" fmla="*/ 75 h 88"/>
                <a:gd name="T66" fmla="*/ 68 w 86"/>
                <a:gd name="T67" fmla="*/ 80 h 88"/>
                <a:gd name="T68" fmla="*/ 60 w 86"/>
                <a:gd name="T69" fmla="*/ 84 h 88"/>
                <a:gd name="T70" fmla="*/ 52 w 86"/>
                <a:gd name="T71" fmla="*/ 86 h 88"/>
                <a:gd name="T72" fmla="*/ 43 w 86"/>
                <a:gd name="T73" fmla="*/ 88 h 88"/>
                <a:gd name="T74" fmla="*/ 43 w 86"/>
                <a:gd name="T7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6" h="88">
                  <a:moveTo>
                    <a:pt x="43" y="88"/>
                  </a:moveTo>
                  <a:lnTo>
                    <a:pt x="43" y="88"/>
                  </a:lnTo>
                  <a:lnTo>
                    <a:pt x="34" y="86"/>
                  </a:lnTo>
                  <a:lnTo>
                    <a:pt x="26" y="84"/>
                  </a:lnTo>
                  <a:lnTo>
                    <a:pt x="18" y="80"/>
                  </a:lnTo>
                  <a:lnTo>
                    <a:pt x="12" y="75"/>
                  </a:lnTo>
                  <a:lnTo>
                    <a:pt x="7" y="68"/>
                  </a:lnTo>
                  <a:lnTo>
                    <a:pt x="2" y="61"/>
                  </a:lnTo>
                  <a:lnTo>
                    <a:pt x="0" y="53"/>
                  </a:lnTo>
                  <a:lnTo>
                    <a:pt x="0" y="45"/>
                  </a:lnTo>
                  <a:lnTo>
                    <a:pt x="0" y="45"/>
                  </a:lnTo>
                  <a:lnTo>
                    <a:pt x="0" y="35"/>
                  </a:lnTo>
                  <a:lnTo>
                    <a:pt x="2" y="27"/>
                  </a:lnTo>
                  <a:lnTo>
                    <a:pt x="7" y="20"/>
                  </a:lnTo>
                  <a:lnTo>
                    <a:pt x="12" y="14"/>
                  </a:lnTo>
                  <a:lnTo>
                    <a:pt x="18" y="8"/>
                  </a:lnTo>
                  <a:lnTo>
                    <a:pt x="26" y="4"/>
                  </a:lnTo>
                  <a:lnTo>
                    <a:pt x="34" y="1"/>
                  </a:lnTo>
                  <a:lnTo>
                    <a:pt x="43" y="0"/>
                  </a:lnTo>
                  <a:lnTo>
                    <a:pt x="43" y="0"/>
                  </a:lnTo>
                  <a:lnTo>
                    <a:pt x="52" y="1"/>
                  </a:lnTo>
                  <a:lnTo>
                    <a:pt x="60" y="4"/>
                  </a:lnTo>
                  <a:lnTo>
                    <a:pt x="68" y="8"/>
                  </a:lnTo>
                  <a:lnTo>
                    <a:pt x="74" y="14"/>
                  </a:lnTo>
                  <a:lnTo>
                    <a:pt x="79" y="20"/>
                  </a:lnTo>
                  <a:lnTo>
                    <a:pt x="83" y="27"/>
                  </a:lnTo>
                  <a:lnTo>
                    <a:pt x="85" y="35"/>
                  </a:lnTo>
                  <a:lnTo>
                    <a:pt x="86" y="45"/>
                  </a:lnTo>
                  <a:lnTo>
                    <a:pt x="86" y="45"/>
                  </a:lnTo>
                  <a:lnTo>
                    <a:pt x="85" y="53"/>
                  </a:lnTo>
                  <a:lnTo>
                    <a:pt x="83" y="61"/>
                  </a:lnTo>
                  <a:lnTo>
                    <a:pt x="79" y="68"/>
                  </a:lnTo>
                  <a:lnTo>
                    <a:pt x="74" y="75"/>
                  </a:lnTo>
                  <a:lnTo>
                    <a:pt x="68" y="80"/>
                  </a:lnTo>
                  <a:lnTo>
                    <a:pt x="60" y="84"/>
                  </a:lnTo>
                  <a:lnTo>
                    <a:pt x="52" y="86"/>
                  </a:lnTo>
                  <a:lnTo>
                    <a:pt x="43" y="88"/>
                  </a:lnTo>
                  <a:lnTo>
                    <a:pt x="43" y="88"/>
                  </a:lnTo>
                  <a:close/>
                </a:path>
              </a:pathLst>
            </a:custGeom>
            <a:solidFill>
              <a:srgbClr val="174F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8" name="Freeform 123">
              <a:extLst>
                <a:ext uri="{FF2B5EF4-FFF2-40B4-BE49-F238E27FC236}">
                  <a16:creationId xmlns:a16="http://schemas.microsoft.com/office/drawing/2014/main" id="{A3A8572A-80AB-2F5A-60E9-E9955D76F0FC}"/>
                </a:ext>
              </a:extLst>
            </p:cNvPr>
            <p:cNvSpPr>
              <a:spLocks/>
            </p:cNvSpPr>
            <p:nvPr/>
          </p:nvSpPr>
          <p:spPr bwMode="auto">
            <a:xfrm>
              <a:off x="3004009" y="3312171"/>
              <a:ext cx="90951" cy="81039"/>
            </a:xfrm>
            <a:custGeom>
              <a:avLst/>
              <a:gdLst>
                <a:gd name="T0" fmla="*/ 31 w 61"/>
                <a:gd name="T1" fmla="*/ 0 h 60"/>
                <a:gd name="T2" fmla="*/ 31 w 61"/>
                <a:gd name="T3" fmla="*/ 0 h 60"/>
                <a:gd name="T4" fmla="*/ 25 w 61"/>
                <a:gd name="T5" fmla="*/ 1 h 60"/>
                <a:gd name="T6" fmla="*/ 19 w 61"/>
                <a:gd name="T7" fmla="*/ 2 h 60"/>
                <a:gd name="T8" fmla="*/ 14 w 61"/>
                <a:gd name="T9" fmla="*/ 5 h 60"/>
                <a:gd name="T10" fmla="*/ 10 w 61"/>
                <a:gd name="T11" fmla="*/ 8 h 60"/>
                <a:gd name="T12" fmla="*/ 6 w 61"/>
                <a:gd name="T13" fmla="*/ 13 h 60"/>
                <a:gd name="T14" fmla="*/ 3 w 61"/>
                <a:gd name="T15" fmla="*/ 18 h 60"/>
                <a:gd name="T16" fmla="*/ 1 w 61"/>
                <a:gd name="T17" fmla="*/ 24 h 60"/>
                <a:gd name="T18" fmla="*/ 0 w 61"/>
                <a:gd name="T19" fmla="*/ 31 h 60"/>
                <a:gd name="T20" fmla="*/ 0 w 61"/>
                <a:gd name="T21" fmla="*/ 31 h 60"/>
                <a:gd name="T22" fmla="*/ 1 w 61"/>
                <a:gd name="T23" fmla="*/ 37 h 60"/>
                <a:gd name="T24" fmla="*/ 3 w 61"/>
                <a:gd name="T25" fmla="*/ 42 h 60"/>
                <a:gd name="T26" fmla="*/ 6 w 61"/>
                <a:gd name="T27" fmla="*/ 47 h 60"/>
                <a:gd name="T28" fmla="*/ 10 w 61"/>
                <a:gd name="T29" fmla="*/ 51 h 60"/>
                <a:gd name="T30" fmla="*/ 14 w 61"/>
                <a:gd name="T31" fmla="*/ 55 h 60"/>
                <a:gd name="T32" fmla="*/ 19 w 61"/>
                <a:gd name="T33" fmla="*/ 58 h 60"/>
                <a:gd name="T34" fmla="*/ 25 w 61"/>
                <a:gd name="T35" fmla="*/ 60 h 60"/>
                <a:gd name="T36" fmla="*/ 31 w 61"/>
                <a:gd name="T37" fmla="*/ 60 h 60"/>
                <a:gd name="T38" fmla="*/ 31 w 61"/>
                <a:gd name="T39" fmla="*/ 60 h 60"/>
                <a:gd name="T40" fmla="*/ 37 w 61"/>
                <a:gd name="T41" fmla="*/ 60 h 60"/>
                <a:gd name="T42" fmla="*/ 42 w 61"/>
                <a:gd name="T43" fmla="*/ 58 h 60"/>
                <a:gd name="T44" fmla="*/ 48 w 61"/>
                <a:gd name="T45" fmla="*/ 55 h 60"/>
                <a:gd name="T46" fmla="*/ 52 w 61"/>
                <a:gd name="T47" fmla="*/ 51 h 60"/>
                <a:gd name="T48" fmla="*/ 56 w 61"/>
                <a:gd name="T49" fmla="*/ 47 h 60"/>
                <a:gd name="T50" fmla="*/ 59 w 61"/>
                <a:gd name="T51" fmla="*/ 42 h 60"/>
                <a:gd name="T52" fmla="*/ 61 w 61"/>
                <a:gd name="T53" fmla="*/ 37 h 60"/>
                <a:gd name="T54" fmla="*/ 61 w 61"/>
                <a:gd name="T55" fmla="*/ 31 h 60"/>
                <a:gd name="T56" fmla="*/ 61 w 61"/>
                <a:gd name="T57" fmla="*/ 31 h 60"/>
                <a:gd name="T58" fmla="*/ 61 w 61"/>
                <a:gd name="T59" fmla="*/ 24 h 60"/>
                <a:gd name="T60" fmla="*/ 59 w 61"/>
                <a:gd name="T61" fmla="*/ 18 h 60"/>
                <a:gd name="T62" fmla="*/ 56 w 61"/>
                <a:gd name="T63" fmla="*/ 13 h 60"/>
                <a:gd name="T64" fmla="*/ 52 w 61"/>
                <a:gd name="T65" fmla="*/ 8 h 60"/>
                <a:gd name="T66" fmla="*/ 48 w 61"/>
                <a:gd name="T67" fmla="*/ 5 h 60"/>
                <a:gd name="T68" fmla="*/ 42 w 61"/>
                <a:gd name="T69" fmla="*/ 2 h 60"/>
                <a:gd name="T70" fmla="*/ 37 w 61"/>
                <a:gd name="T71" fmla="*/ 1 h 60"/>
                <a:gd name="T72" fmla="*/ 31 w 61"/>
                <a:gd name="T73" fmla="*/ 0 h 60"/>
                <a:gd name="T74" fmla="*/ 31 w 61"/>
                <a:gd name="T7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 h="60">
                  <a:moveTo>
                    <a:pt x="31" y="0"/>
                  </a:moveTo>
                  <a:lnTo>
                    <a:pt x="31" y="0"/>
                  </a:lnTo>
                  <a:lnTo>
                    <a:pt x="25" y="1"/>
                  </a:lnTo>
                  <a:lnTo>
                    <a:pt x="19" y="2"/>
                  </a:lnTo>
                  <a:lnTo>
                    <a:pt x="14" y="5"/>
                  </a:lnTo>
                  <a:lnTo>
                    <a:pt x="10" y="8"/>
                  </a:lnTo>
                  <a:lnTo>
                    <a:pt x="6" y="13"/>
                  </a:lnTo>
                  <a:lnTo>
                    <a:pt x="3" y="18"/>
                  </a:lnTo>
                  <a:lnTo>
                    <a:pt x="1" y="24"/>
                  </a:lnTo>
                  <a:lnTo>
                    <a:pt x="0" y="31"/>
                  </a:lnTo>
                  <a:lnTo>
                    <a:pt x="0" y="31"/>
                  </a:lnTo>
                  <a:lnTo>
                    <a:pt x="1" y="37"/>
                  </a:lnTo>
                  <a:lnTo>
                    <a:pt x="3" y="42"/>
                  </a:lnTo>
                  <a:lnTo>
                    <a:pt x="6" y="47"/>
                  </a:lnTo>
                  <a:lnTo>
                    <a:pt x="10" y="51"/>
                  </a:lnTo>
                  <a:lnTo>
                    <a:pt x="14" y="55"/>
                  </a:lnTo>
                  <a:lnTo>
                    <a:pt x="19" y="58"/>
                  </a:lnTo>
                  <a:lnTo>
                    <a:pt x="25" y="60"/>
                  </a:lnTo>
                  <a:lnTo>
                    <a:pt x="31" y="60"/>
                  </a:lnTo>
                  <a:lnTo>
                    <a:pt x="31" y="60"/>
                  </a:lnTo>
                  <a:lnTo>
                    <a:pt x="37" y="60"/>
                  </a:lnTo>
                  <a:lnTo>
                    <a:pt x="42" y="58"/>
                  </a:lnTo>
                  <a:lnTo>
                    <a:pt x="48" y="55"/>
                  </a:lnTo>
                  <a:lnTo>
                    <a:pt x="52" y="51"/>
                  </a:lnTo>
                  <a:lnTo>
                    <a:pt x="56" y="47"/>
                  </a:lnTo>
                  <a:lnTo>
                    <a:pt x="59" y="42"/>
                  </a:lnTo>
                  <a:lnTo>
                    <a:pt x="61" y="37"/>
                  </a:lnTo>
                  <a:lnTo>
                    <a:pt x="61" y="31"/>
                  </a:lnTo>
                  <a:lnTo>
                    <a:pt x="61" y="31"/>
                  </a:lnTo>
                  <a:lnTo>
                    <a:pt x="61" y="24"/>
                  </a:lnTo>
                  <a:lnTo>
                    <a:pt x="59" y="18"/>
                  </a:lnTo>
                  <a:lnTo>
                    <a:pt x="56" y="13"/>
                  </a:lnTo>
                  <a:lnTo>
                    <a:pt x="52" y="8"/>
                  </a:lnTo>
                  <a:lnTo>
                    <a:pt x="48" y="5"/>
                  </a:lnTo>
                  <a:lnTo>
                    <a:pt x="42" y="2"/>
                  </a:lnTo>
                  <a:lnTo>
                    <a:pt x="37" y="1"/>
                  </a:lnTo>
                  <a:lnTo>
                    <a:pt x="31" y="0"/>
                  </a:lnTo>
                  <a:lnTo>
                    <a:pt x="3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09" name="Freeform 124">
              <a:extLst>
                <a:ext uri="{FF2B5EF4-FFF2-40B4-BE49-F238E27FC236}">
                  <a16:creationId xmlns:a16="http://schemas.microsoft.com/office/drawing/2014/main" id="{68985CAD-2244-5904-0EA8-D4FCFE51AD54}"/>
                </a:ext>
              </a:extLst>
            </p:cNvPr>
            <p:cNvSpPr>
              <a:spLocks/>
            </p:cNvSpPr>
            <p:nvPr/>
          </p:nvSpPr>
          <p:spPr bwMode="auto">
            <a:xfrm>
              <a:off x="3050204" y="3293261"/>
              <a:ext cx="64113" cy="118858"/>
            </a:xfrm>
            <a:custGeom>
              <a:avLst/>
              <a:gdLst>
                <a:gd name="T0" fmla="*/ 0 w 43"/>
                <a:gd name="T1" fmla="*/ 0 h 88"/>
                <a:gd name="T2" fmla="*/ 0 w 43"/>
                <a:gd name="T3" fmla="*/ 0 h 88"/>
                <a:gd name="T4" fmla="*/ 0 w 43"/>
                <a:gd name="T5" fmla="*/ 0 h 88"/>
                <a:gd name="T6" fmla="*/ 0 w 43"/>
                <a:gd name="T7" fmla="*/ 14 h 88"/>
                <a:gd name="T8" fmla="*/ 0 w 43"/>
                <a:gd name="T9" fmla="*/ 14 h 88"/>
                <a:gd name="T10" fmla="*/ 0 w 43"/>
                <a:gd name="T11" fmla="*/ 14 h 88"/>
                <a:gd name="T12" fmla="*/ 0 w 43"/>
                <a:gd name="T13" fmla="*/ 14 h 88"/>
                <a:gd name="T14" fmla="*/ 6 w 43"/>
                <a:gd name="T15" fmla="*/ 15 h 88"/>
                <a:gd name="T16" fmla="*/ 11 w 43"/>
                <a:gd name="T17" fmla="*/ 16 h 88"/>
                <a:gd name="T18" fmla="*/ 17 w 43"/>
                <a:gd name="T19" fmla="*/ 19 h 88"/>
                <a:gd name="T20" fmla="*/ 21 w 43"/>
                <a:gd name="T21" fmla="*/ 22 h 88"/>
                <a:gd name="T22" fmla="*/ 25 w 43"/>
                <a:gd name="T23" fmla="*/ 27 h 88"/>
                <a:gd name="T24" fmla="*/ 28 w 43"/>
                <a:gd name="T25" fmla="*/ 32 h 88"/>
                <a:gd name="T26" fmla="*/ 30 w 43"/>
                <a:gd name="T27" fmla="*/ 38 h 88"/>
                <a:gd name="T28" fmla="*/ 30 w 43"/>
                <a:gd name="T29" fmla="*/ 45 h 88"/>
                <a:gd name="T30" fmla="*/ 30 w 43"/>
                <a:gd name="T31" fmla="*/ 45 h 88"/>
                <a:gd name="T32" fmla="*/ 30 w 43"/>
                <a:gd name="T33" fmla="*/ 51 h 88"/>
                <a:gd name="T34" fmla="*/ 28 w 43"/>
                <a:gd name="T35" fmla="*/ 56 h 88"/>
                <a:gd name="T36" fmla="*/ 25 w 43"/>
                <a:gd name="T37" fmla="*/ 61 h 88"/>
                <a:gd name="T38" fmla="*/ 21 w 43"/>
                <a:gd name="T39" fmla="*/ 65 h 88"/>
                <a:gd name="T40" fmla="*/ 17 w 43"/>
                <a:gd name="T41" fmla="*/ 69 h 88"/>
                <a:gd name="T42" fmla="*/ 11 w 43"/>
                <a:gd name="T43" fmla="*/ 72 h 88"/>
                <a:gd name="T44" fmla="*/ 6 w 43"/>
                <a:gd name="T45" fmla="*/ 74 h 88"/>
                <a:gd name="T46" fmla="*/ 0 w 43"/>
                <a:gd name="T47" fmla="*/ 74 h 88"/>
                <a:gd name="T48" fmla="*/ 0 w 43"/>
                <a:gd name="T49" fmla="*/ 74 h 88"/>
                <a:gd name="T50" fmla="*/ 0 w 43"/>
                <a:gd name="T51" fmla="*/ 74 h 88"/>
                <a:gd name="T52" fmla="*/ 0 w 43"/>
                <a:gd name="T53" fmla="*/ 88 h 88"/>
                <a:gd name="T54" fmla="*/ 0 w 43"/>
                <a:gd name="T55" fmla="*/ 88 h 88"/>
                <a:gd name="T56" fmla="*/ 0 w 43"/>
                <a:gd name="T57" fmla="*/ 88 h 88"/>
                <a:gd name="T58" fmla="*/ 0 w 43"/>
                <a:gd name="T59" fmla="*/ 88 h 88"/>
                <a:gd name="T60" fmla="*/ 9 w 43"/>
                <a:gd name="T61" fmla="*/ 86 h 88"/>
                <a:gd name="T62" fmla="*/ 17 w 43"/>
                <a:gd name="T63" fmla="*/ 84 h 88"/>
                <a:gd name="T64" fmla="*/ 25 w 43"/>
                <a:gd name="T65" fmla="*/ 80 h 88"/>
                <a:gd name="T66" fmla="*/ 31 w 43"/>
                <a:gd name="T67" fmla="*/ 75 h 88"/>
                <a:gd name="T68" fmla="*/ 36 w 43"/>
                <a:gd name="T69" fmla="*/ 68 h 88"/>
                <a:gd name="T70" fmla="*/ 40 w 43"/>
                <a:gd name="T71" fmla="*/ 61 h 88"/>
                <a:gd name="T72" fmla="*/ 42 w 43"/>
                <a:gd name="T73" fmla="*/ 53 h 88"/>
                <a:gd name="T74" fmla="*/ 43 w 43"/>
                <a:gd name="T75" fmla="*/ 45 h 88"/>
                <a:gd name="T76" fmla="*/ 43 w 43"/>
                <a:gd name="T77" fmla="*/ 45 h 88"/>
                <a:gd name="T78" fmla="*/ 42 w 43"/>
                <a:gd name="T79" fmla="*/ 35 h 88"/>
                <a:gd name="T80" fmla="*/ 40 w 43"/>
                <a:gd name="T81" fmla="*/ 27 h 88"/>
                <a:gd name="T82" fmla="*/ 36 w 43"/>
                <a:gd name="T83" fmla="*/ 20 h 88"/>
                <a:gd name="T84" fmla="*/ 31 w 43"/>
                <a:gd name="T85" fmla="*/ 14 h 88"/>
                <a:gd name="T86" fmla="*/ 25 w 43"/>
                <a:gd name="T87" fmla="*/ 8 h 88"/>
                <a:gd name="T88" fmla="*/ 17 w 43"/>
                <a:gd name="T89" fmla="*/ 4 h 88"/>
                <a:gd name="T90" fmla="*/ 9 w 43"/>
                <a:gd name="T91" fmla="*/ 1 h 88"/>
                <a:gd name="T92" fmla="*/ 0 w 43"/>
                <a:gd name="T93" fmla="*/ 0 h 88"/>
                <a:gd name="T94" fmla="*/ 0 w 43"/>
                <a:gd name="T9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 h="88">
                  <a:moveTo>
                    <a:pt x="0" y="0"/>
                  </a:moveTo>
                  <a:lnTo>
                    <a:pt x="0" y="0"/>
                  </a:lnTo>
                  <a:lnTo>
                    <a:pt x="0" y="0"/>
                  </a:lnTo>
                  <a:lnTo>
                    <a:pt x="0" y="14"/>
                  </a:lnTo>
                  <a:lnTo>
                    <a:pt x="0" y="14"/>
                  </a:lnTo>
                  <a:lnTo>
                    <a:pt x="0" y="14"/>
                  </a:lnTo>
                  <a:lnTo>
                    <a:pt x="0" y="14"/>
                  </a:lnTo>
                  <a:lnTo>
                    <a:pt x="6" y="15"/>
                  </a:lnTo>
                  <a:lnTo>
                    <a:pt x="11" y="16"/>
                  </a:lnTo>
                  <a:lnTo>
                    <a:pt x="17" y="19"/>
                  </a:lnTo>
                  <a:lnTo>
                    <a:pt x="21" y="22"/>
                  </a:lnTo>
                  <a:lnTo>
                    <a:pt x="25" y="27"/>
                  </a:lnTo>
                  <a:lnTo>
                    <a:pt x="28" y="32"/>
                  </a:lnTo>
                  <a:lnTo>
                    <a:pt x="30" y="38"/>
                  </a:lnTo>
                  <a:lnTo>
                    <a:pt x="30" y="45"/>
                  </a:lnTo>
                  <a:lnTo>
                    <a:pt x="30" y="45"/>
                  </a:lnTo>
                  <a:lnTo>
                    <a:pt x="30" y="51"/>
                  </a:lnTo>
                  <a:lnTo>
                    <a:pt x="28" y="56"/>
                  </a:lnTo>
                  <a:lnTo>
                    <a:pt x="25" y="61"/>
                  </a:lnTo>
                  <a:lnTo>
                    <a:pt x="21" y="65"/>
                  </a:lnTo>
                  <a:lnTo>
                    <a:pt x="17" y="69"/>
                  </a:lnTo>
                  <a:lnTo>
                    <a:pt x="11" y="72"/>
                  </a:lnTo>
                  <a:lnTo>
                    <a:pt x="6" y="74"/>
                  </a:lnTo>
                  <a:lnTo>
                    <a:pt x="0" y="74"/>
                  </a:lnTo>
                  <a:lnTo>
                    <a:pt x="0" y="74"/>
                  </a:lnTo>
                  <a:lnTo>
                    <a:pt x="0" y="74"/>
                  </a:lnTo>
                  <a:lnTo>
                    <a:pt x="0" y="88"/>
                  </a:lnTo>
                  <a:lnTo>
                    <a:pt x="0" y="88"/>
                  </a:lnTo>
                  <a:lnTo>
                    <a:pt x="0" y="88"/>
                  </a:lnTo>
                  <a:lnTo>
                    <a:pt x="0" y="88"/>
                  </a:lnTo>
                  <a:lnTo>
                    <a:pt x="9" y="86"/>
                  </a:lnTo>
                  <a:lnTo>
                    <a:pt x="17" y="84"/>
                  </a:lnTo>
                  <a:lnTo>
                    <a:pt x="25" y="80"/>
                  </a:lnTo>
                  <a:lnTo>
                    <a:pt x="31" y="75"/>
                  </a:lnTo>
                  <a:lnTo>
                    <a:pt x="36" y="68"/>
                  </a:lnTo>
                  <a:lnTo>
                    <a:pt x="40" y="61"/>
                  </a:lnTo>
                  <a:lnTo>
                    <a:pt x="42" y="53"/>
                  </a:lnTo>
                  <a:lnTo>
                    <a:pt x="43" y="45"/>
                  </a:lnTo>
                  <a:lnTo>
                    <a:pt x="43" y="45"/>
                  </a:lnTo>
                  <a:lnTo>
                    <a:pt x="42" y="35"/>
                  </a:lnTo>
                  <a:lnTo>
                    <a:pt x="40" y="27"/>
                  </a:lnTo>
                  <a:lnTo>
                    <a:pt x="36" y="20"/>
                  </a:lnTo>
                  <a:lnTo>
                    <a:pt x="31" y="14"/>
                  </a:lnTo>
                  <a:lnTo>
                    <a:pt x="25" y="8"/>
                  </a:lnTo>
                  <a:lnTo>
                    <a:pt x="17" y="4"/>
                  </a:lnTo>
                  <a:lnTo>
                    <a:pt x="9" y="1"/>
                  </a:lnTo>
                  <a:lnTo>
                    <a:pt x="0" y="0"/>
                  </a:lnTo>
                  <a:lnTo>
                    <a:pt x="0" y="0"/>
                  </a:lnTo>
                  <a:close/>
                </a:path>
              </a:pathLst>
            </a:custGeom>
            <a:solidFill>
              <a:srgbClr val="1037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0" name="Freeform 125">
              <a:extLst>
                <a:ext uri="{FF2B5EF4-FFF2-40B4-BE49-F238E27FC236}">
                  <a16:creationId xmlns:a16="http://schemas.microsoft.com/office/drawing/2014/main" id="{3E5343A2-BE24-4246-97CE-95B7E78581F9}"/>
                </a:ext>
              </a:extLst>
            </p:cNvPr>
            <p:cNvSpPr>
              <a:spLocks/>
            </p:cNvSpPr>
            <p:nvPr/>
          </p:nvSpPr>
          <p:spPr bwMode="auto">
            <a:xfrm>
              <a:off x="3050215" y="3312165"/>
              <a:ext cx="44730" cy="81039"/>
            </a:xfrm>
            <a:custGeom>
              <a:avLst/>
              <a:gdLst>
                <a:gd name="T0" fmla="*/ 30 w 30"/>
                <a:gd name="T1" fmla="*/ 31 h 60"/>
                <a:gd name="T2" fmla="*/ 30 w 30"/>
                <a:gd name="T3" fmla="*/ 31 h 60"/>
                <a:gd name="T4" fmla="*/ 30 w 30"/>
                <a:gd name="T5" fmla="*/ 24 h 60"/>
                <a:gd name="T6" fmla="*/ 28 w 30"/>
                <a:gd name="T7" fmla="*/ 18 h 60"/>
                <a:gd name="T8" fmla="*/ 25 w 30"/>
                <a:gd name="T9" fmla="*/ 13 h 60"/>
                <a:gd name="T10" fmla="*/ 21 w 30"/>
                <a:gd name="T11" fmla="*/ 8 h 60"/>
                <a:gd name="T12" fmla="*/ 17 w 30"/>
                <a:gd name="T13" fmla="*/ 5 h 60"/>
                <a:gd name="T14" fmla="*/ 11 w 30"/>
                <a:gd name="T15" fmla="*/ 2 h 60"/>
                <a:gd name="T16" fmla="*/ 6 w 30"/>
                <a:gd name="T17" fmla="*/ 1 h 60"/>
                <a:gd name="T18" fmla="*/ 0 w 30"/>
                <a:gd name="T19" fmla="*/ 0 h 60"/>
                <a:gd name="T20" fmla="*/ 0 w 30"/>
                <a:gd name="T21" fmla="*/ 0 h 60"/>
                <a:gd name="T22" fmla="*/ 0 w 30"/>
                <a:gd name="T23" fmla="*/ 0 h 60"/>
                <a:gd name="T24" fmla="*/ 0 w 30"/>
                <a:gd name="T25" fmla="*/ 60 h 60"/>
                <a:gd name="T26" fmla="*/ 0 w 30"/>
                <a:gd name="T27" fmla="*/ 60 h 60"/>
                <a:gd name="T28" fmla="*/ 0 w 30"/>
                <a:gd name="T29" fmla="*/ 60 h 60"/>
                <a:gd name="T30" fmla="*/ 0 w 30"/>
                <a:gd name="T31" fmla="*/ 60 h 60"/>
                <a:gd name="T32" fmla="*/ 6 w 30"/>
                <a:gd name="T33" fmla="*/ 60 h 60"/>
                <a:gd name="T34" fmla="*/ 11 w 30"/>
                <a:gd name="T35" fmla="*/ 58 h 60"/>
                <a:gd name="T36" fmla="*/ 17 w 30"/>
                <a:gd name="T37" fmla="*/ 55 h 60"/>
                <a:gd name="T38" fmla="*/ 21 w 30"/>
                <a:gd name="T39" fmla="*/ 51 h 60"/>
                <a:gd name="T40" fmla="*/ 25 w 30"/>
                <a:gd name="T41" fmla="*/ 47 h 60"/>
                <a:gd name="T42" fmla="*/ 28 w 30"/>
                <a:gd name="T43" fmla="*/ 42 h 60"/>
                <a:gd name="T44" fmla="*/ 30 w 30"/>
                <a:gd name="T45" fmla="*/ 37 h 60"/>
                <a:gd name="T46" fmla="*/ 30 w 30"/>
                <a:gd name="T47" fmla="*/ 31 h 60"/>
                <a:gd name="T48" fmla="*/ 30 w 30"/>
                <a:gd name="T49" fmla="*/ 3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 h="60">
                  <a:moveTo>
                    <a:pt x="30" y="31"/>
                  </a:moveTo>
                  <a:lnTo>
                    <a:pt x="30" y="31"/>
                  </a:lnTo>
                  <a:lnTo>
                    <a:pt x="30" y="24"/>
                  </a:lnTo>
                  <a:lnTo>
                    <a:pt x="28" y="18"/>
                  </a:lnTo>
                  <a:lnTo>
                    <a:pt x="25" y="13"/>
                  </a:lnTo>
                  <a:lnTo>
                    <a:pt x="21" y="8"/>
                  </a:lnTo>
                  <a:lnTo>
                    <a:pt x="17" y="5"/>
                  </a:lnTo>
                  <a:lnTo>
                    <a:pt x="11" y="2"/>
                  </a:lnTo>
                  <a:lnTo>
                    <a:pt x="6" y="1"/>
                  </a:lnTo>
                  <a:lnTo>
                    <a:pt x="0" y="0"/>
                  </a:lnTo>
                  <a:lnTo>
                    <a:pt x="0" y="0"/>
                  </a:lnTo>
                  <a:lnTo>
                    <a:pt x="0" y="0"/>
                  </a:lnTo>
                  <a:lnTo>
                    <a:pt x="0" y="60"/>
                  </a:lnTo>
                  <a:lnTo>
                    <a:pt x="0" y="60"/>
                  </a:lnTo>
                  <a:lnTo>
                    <a:pt x="0" y="60"/>
                  </a:lnTo>
                  <a:lnTo>
                    <a:pt x="0" y="60"/>
                  </a:lnTo>
                  <a:lnTo>
                    <a:pt x="6" y="60"/>
                  </a:lnTo>
                  <a:lnTo>
                    <a:pt x="11" y="58"/>
                  </a:lnTo>
                  <a:lnTo>
                    <a:pt x="17" y="55"/>
                  </a:lnTo>
                  <a:lnTo>
                    <a:pt x="21" y="51"/>
                  </a:lnTo>
                  <a:lnTo>
                    <a:pt x="25" y="47"/>
                  </a:lnTo>
                  <a:lnTo>
                    <a:pt x="28" y="42"/>
                  </a:lnTo>
                  <a:lnTo>
                    <a:pt x="30" y="37"/>
                  </a:lnTo>
                  <a:lnTo>
                    <a:pt x="30" y="31"/>
                  </a:lnTo>
                  <a:lnTo>
                    <a:pt x="30" y="31"/>
                  </a:lnTo>
                  <a:close/>
                </a:path>
              </a:pathLst>
            </a:custGeom>
            <a:solidFill>
              <a:srgbClr val="D1E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grpSp>
        <p:nvGrpSpPr>
          <p:cNvPr id="464" name="Group 463">
            <a:extLst>
              <a:ext uri="{FF2B5EF4-FFF2-40B4-BE49-F238E27FC236}">
                <a16:creationId xmlns:a16="http://schemas.microsoft.com/office/drawing/2014/main" id="{FE0DFA2D-9405-9AB9-A215-F4C6AB844558}"/>
              </a:ext>
            </a:extLst>
          </p:cNvPr>
          <p:cNvGrpSpPr/>
          <p:nvPr/>
        </p:nvGrpSpPr>
        <p:grpSpPr>
          <a:xfrm>
            <a:off x="7506200" y="2635887"/>
            <a:ext cx="1289347" cy="1139420"/>
            <a:chOff x="7087417" y="2952895"/>
            <a:chExt cx="1035028" cy="946809"/>
          </a:xfrm>
        </p:grpSpPr>
        <p:sp>
          <p:nvSpPr>
            <p:cNvPr id="412" name="Freeform 25">
              <a:extLst>
                <a:ext uri="{FF2B5EF4-FFF2-40B4-BE49-F238E27FC236}">
                  <a16:creationId xmlns:a16="http://schemas.microsoft.com/office/drawing/2014/main" id="{67012AA4-984B-DC2B-EC60-EB807F159439}"/>
                </a:ext>
              </a:extLst>
            </p:cNvPr>
            <p:cNvSpPr>
              <a:spLocks/>
            </p:cNvSpPr>
            <p:nvPr/>
          </p:nvSpPr>
          <p:spPr bwMode="auto">
            <a:xfrm>
              <a:off x="7087417" y="2952895"/>
              <a:ext cx="1035028" cy="946809"/>
            </a:xfrm>
            <a:custGeom>
              <a:avLst/>
              <a:gdLst>
                <a:gd name="T0" fmla="*/ 333 w 701"/>
                <a:gd name="T1" fmla="*/ 701 h 702"/>
                <a:gd name="T2" fmla="*/ 280 w 701"/>
                <a:gd name="T3" fmla="*/ 695 h 702"/>
                <a:gd name="T4" fmla="*/ 231 w 701"/>
                <a:gd name="T5" fmla="*/ 680 h 702"/>
                <a:gd name="T6" fmla="*/ 184 w 701"/>
                <a:gd name="T7" fmla="*/ 659 h 702"/>
                <a:gd name="T8" fmla="*/ 141 w 701"/>
                <a:gd name="T9" fmla="*/ 632 h 702"/>
                <a:gd name="T10" fmla="*/ 102 w 701"/>
                <a:gd name="T11" fmla="*/ 598 h 702"/>
                <a:gd name="T12" fmla="*/ 70 w 701"/>
                <a:gd name="T13" fmla="*/ 560 h 702"/>
                <a:gd name="T14" fmla="*/ 43 w 701"/>
                <a:gd name="T15" fmla="*/ 518 h 702"/>
                <a:gd name="T16" fmla="*/ 21 w 701"/>
                <a:gd name="T17" fmla="*/ 471 h 702"/>
                <a:gd name="T18" fmla="*/ 7 w 701"/>
                <a:gd name="T19" fmla="*/ 422 h 702"/>
                <a:gd name="T20" fmla="*/ 1 w 701"/>
                <a:gd name="T21" fmla="*/ 369 h 702"/>
                <a:gd name="T22" fmla="*/ 1 w 701"/>
                <a:gd name="T23" fmla="*/ 333 h 702"/>
                <a:gd name="T24" fmla="*/ 7 w 701"/>
                <a:gd name="T25" fmla="*/ 280 h 702"/>
                <a:gd name="T26" fmla="*/ 21 w 701"/>
                <a:gd name="T27" fmla="*/ 231 h 702"/>
                <a:gd name="T28" fmla="*/ 43 w 701"/>
                <a:gd name="T29" fmla="*/ 184 h 702"/>
                <a:gd name="T30" fmla="*/ 70 w 701"/>
                <a:gd name="T31" fmla="*/ 141 h 702"/>
                <a:gd name="T32" fmla="*/ 102 w 701"/>
                <a:gd name="T33" fmla="*/ 104 h 702"/>
                <a:gd name="T34" fmla="*/ 141 w 701"/>
                <a:gd name="T35" fmla="*/ 70 h 702"/>
                <a:gd name="T36" fmla="*/ 184 w 701"/>
                <a:gd name="T37" fmla="*/ 43 h 702"/>
                <a:gd name="T38" fmla="*/ 231 w 701"/>
                <a:gd name="T39" fmla="*/ 22 h 702"/>
                <a:gd name="T40" fmla="*/ 280 w 701"/>
                <a:gd name="T41" fmla="*/ 7 h 702"/>
                <a:gd name="T42" fmla="*/ 333 w 701"/>
                <a:gd name="T43" fmla="*/ 1 h 702"/>
                <a:gd name="T44" fmla="*/ 369 w 701"/>
                <a:gd name="T45" fmla="*/ 1 h 702"/>
                <a:gd name="T46" fmla="*/ 422 w 701"/>
                <a:gd name="T47" fmla="*/ 7 h 702"/>
                <a:gd name="T48" fmla="*/ 471 w 701"/>
                <a:gd name="T49" fmla="*/ 22 h 702"/>
                <a:gd name="T50" fmla="*/ 518 w 701"/>
                <a:gd name="T51" fmla="*/ 43 h 702"/>
                <a:gd name="T52" fmla="*/ 560 w 701"/>
                <a:gd name="T53" fmla="*/ 70 h 702"/>
                <a:gd name="T54" fmla="*/ 598 w 701"/>
                <a:gd name="T55" fmla="*/ 104 h 702"/>
                <a:gd name="T56" fmla="*/ 631 w 701"/>
                <a:gd name="T57" fmla="*/ 141 h 702"/>
                <a:gd name="T58" fmla="*/ 659 w 701"/>
                <a:gd name="T59" fmla="*/ 184 h 702"/>
                <a:gd name="T60" fmla="*/ 680 w 701"/>
                <a:gd name="T61" fmla="*/ 231 h 702"/>
                <a:gd name="T62" fmla="*/ 694 w 701"/>
                <a:gd name="T63" fmla="*/ 280 h 702"/>
                <a:gd name="T64" fmla="*/ 701 w 701"/>
                <a:gd name="T65" fmla="*/ 333 h 702"/>
                <a:gd name="T66" fmla="*/ 701 w 701"/>
                <a:gd name="T67" fmla="*/ 369 h 702"/>
                <a:gd name="T68" fmla="*/ 694 w 701"/>
                <a:gd name="T69" fmla="*/ 422 h 702"/>
                <a:gd name="T70" fmla="*/ 680 w 701"/>
                <a:gd name="T71" fmla="*/ 471 h 702"/>
                <a:gd name="T72" fmla="*/ 659 w 701"/>
                <a:gd name="T73" fmla="*/ 518 h 702"/>
                <a:gd name="T74" fmla="*/ 631 w 701"/>
                <a:gd name="T75" fmla="*/ 560 h 702"/>
                <a:gd name="T76" fmla="*/ 598 w 701"/>
                <a:gd name="T77" fmla="*/ 598 h 702"/>
                <a:gd name="T78" fmla="*/ 560 w 701"/>
                <a:gd name="T79" fmla="*/ 632 h 702"/>
                <a:gd name="T80" fmla="*/ 518 w 701"/>
                <a:gd name="T81" fmla="*/ 659 h 702"/>
                <a:gd name="T82" fmla="*/ 471 w 701"/>
                <a:gd name="T83" fmla="*/ 680 h 702"/>
                <a:gd name="T84" fmla="*/ 422 w 701"/>
                <a:gd name="T85" fmla="*/ 695 h 702"/>
                <a:gd name="T86" fmla="*/ 369 w 701"/>
                <a:gd name="T87" fmla="*/ 70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2">
                  <a:moveTo>
                    <a:pt x="350" y="702"/>
                  </a:moveTo>
                  <a:lnTo>
                    <a:pt x="350" y="702"/>
                  </a:lnTo>
                  <a:lnTo>
                    <a:pt x="333" y="701"/>
                  </a:lnTo>
                  <a:lnTo>
                    <a:pt x="315" y="700"/>
                  </a:lnTo>
                  <a:lnTo>
                    <a:pt x="297" y="697"/>
                  </a:lnTo>
                  <a:lnTo>
                    <a:pt x="280" y="695"/>
                  </a:lnTo>
                  <a:lnTo>
                    <a:pt x="263" y="691"/>
                  </a:lnTo>
                  <a:lnTo>
                    <a:pt x="247" y="686"/>
                  </a:lnTo>
                  <a:lnTo>
                    <a:pt x="231" y="680"/>
                  </a:lnTo>
                  <a:lnTo>
                    <a:pt x="215" y="674"/>
                  </a:lnTo>
                  <a:lnTo>
                    <a:pt x="199" y="667"/>
                  </a:lnTo>
                  <a:lnTo>
                    <a:pt x="184" y="659"/>
                  </a:lnTo>
                  <a:lnTo>
                    <a:pt x="169" y="650"/>
                  </a:lnTo>
                  <a:lnTo>
                    <a:pt x="155" y="642"/>
                  </a:lnTo>
                  <a:lnTo>
                    <a:pt x="141" y="632"/>
                  </a:lnTo>
                  <a:lnTo>
                    <a:pt x="128" y="622"/>
                  </a:lnTo>
                  <a:lnTo>
                    <a:pt x="115" y="611"/>
                  </a:lnTo>
                  <a:lnTo>
                    <a:pt x="102" y="598"/>
                  </a:lnTo>
                  <a:lnTo>
                    <a:pt x="91" y="586"/>
                  </a:lnTo>
                  <a:lnTo>
                    <a:pt x="80" y="574"/>
                  </a:lnTo>
                  <a:lnTo>
                    <a:pt x="70" y="560"/>
                  </a:lnTo>
                  <a:lnTo>
                    <a:pt x="60" y="547"/>
                  </a:lnTo>
                  <a:lnTo>
                    <a:pt x="51" y="533"/>
                  </a:lnTo>
                  <a:lnTo>
                    <a:pt x="43" y="518"/>
                  </a:lnTo>
                  <a:lnTo>
                    <a:pt x="35" y="503"/>
                  </a:lnTo>
                  <a:lnTo>
                    <a:pt x="28" y="487"/>
                  </a:lnTo>
                  <a:lnTo>
                    <a:pt x="21" y="471"/>
                  </a:lnTo>
                  <a:lnTo>
                    <a:pt x="16" y="455"/>
                  </a:lnTo>
                  <a:lnTo>
                    <a:pt x="11" y="438"/>
                  </a:lnTo>
                  <a:lnTo>
                    <a:pt x="7" y="422"/>
                  </a:lnTo>
                  <a:lnTo>
                    <a:pt x="5" y="405"/>
                  </a:lnTo>
                  <a:lnTo>
                    <a:pt x="2" y="386"/>
                  </a:lnTo>
                  <a:lnTo>
                    <a:pt x="1" y="369"/>
                  </a:lnTo>
                  <a:lnTo>
                    <a:pt x="0" y="350"/>
                  </a:lnTo>
                  <a:lnTo>
                    <a:pt x="0" y="350"/>
                  </a:lnTo>
                  <a:lnTo>
                    <a:pt x="1" y="333"/>
                  </a:lnTo>
                  <a:lnTo>
                    <a:pt x="2" y="315"/>
                  </a:lnTo>
                  <a:lnTo>
                    <a:pt x="5" y="297"/>
                  </a:lnTo>
                  <a:lnTo>
                    <a:pt x="7" y="280"/>
                  </a:lnTo>
                  <a:lnTo>
                    <a:pt x="11" y="263"/>
                  </a:lnTo>
                  <a:lnTo>
                    <a:pt x="16" y="247"/>
                  </a:lnTo>
                  <a:lnTo>
                    <a:pt x="21" y="231"/>
                  </a:lnTo>
                  <a:lnTo>
                    <a:pt x="28" y="215"/>
                  </a:lnTo>
                  <a:lnTo>
                    <a:pt x="35" y="199"/>
                  </a:lnTo>
                  <a:lnTo>
                    <a:pt x="43" y="184"/>
                  </a:lnTo>
                  <a:lnTo>
                    <a:pt x="51" y="169"/>
                  </a:lnTo>
                  <a:lnTo>
                    <a:pt x="60" y="156"/>
                  </a:lnTo>
                  <a:lnTo>
                    <a:pt x="70" y="141"/>
                  </a:lnTo>
                  <a:lnTo>
                    <a:pt x="80" y="128"/>
                  </a:lnTo>
                  <a:lnTo>
                    <a:pt x="91" y="115"/>
                  </a:lnTo>
                  <a:lnTo>
                    <a:pt x="102" y="104"/>
                  </a:lnTo>
                  <a:lnTo>
                    <a:pt x="115" y="91"/>
                  </a:lnTo>
                  <a:lnTo>
                    <a:pt x="128" y="80"/>
                  </a:lnTo>
                  <a:lnTo>
                    <a:pt x="141" y="70"/>
                  </a:lnTo>
                  <a:lnTo>
                    <a:pt x="155" y="61"/>
                  </a:lnTo>
                  <a:lnTo>
                    <a:pt x="169" y="51"/>
                  </a:lnTo>
                  <a:lnTo>
                    <a:pt x="184" y="43"/>
                  </a:lnTo>
                  <a:lnTo>
                    <a:pt x="199" y="35"/>
                  </a:lnTo>
                  <a:lnTo>
                    <a:pt x="215" y="28"/>
                  </a:lnTo>
                  <a:lnTo>
                    <a:pt x="231" y="22"/>
                  </a:lnTo>
                  <a:lnTo>
                    <a:pt x="247" y="16"/>
                  </a:lnTo>
                  <a:lnTo>
                    <a:pt x="263" y="11"/>
                  </a:lnTo>
                  <a:lnTo>
                    <a:pt x="280" y="7"/>
                  </a:lnTo>
                  <a:lnTo>
                    <a:pt x="297" y="5"/>
                  </a:lnTo>
                  <a:lnTo>
                    <a:pt x="315" y="3"/>
                  </a:lnTo>
                  <a:lnTo>
                    <a:pt x="333" y="1"/>
                  </a:lnTo>
                  <a:lnTo>
                    <a:pt x="350" y="0"/>
                  </a:lnTo>
                  <a:lnTo>
                    <a:pt x="350" y="0"/>
                  </a:lnTo>
                  <a:lnTo>
                    <a:pt x="369" y="1"/>
                  </a:lnTo>
                  <a:lnTo>
                    <a:pt x="386" y="3"/>
                  </a:lnTo>
                  <a:lnTo>
                    <a:pt x="405" y="5"/>
                  </a:lnTo>
                  <a:lnTo>
                    <a:pt x="422" y="7"/>
                  </a:lnTo>
                  <a:lnTo>
                    <a:pt x="438" y="11"/>
                  </a:lnTo>
                  <a:lnTo>
                    <a:pt x="455" y="16"/>
                  </a:lnTo>
                  <a:lnTo>
                    <a:pt x="471" y="22"/>
                  </a:lnTo>
                  <a:lnTo>
                    <a:pt x="487" y="28"/>
                  </a:lnTo>
                  <a:lnTo>
                    <a:pt x="503" y="35"/>
                  </a:lnTo>
                  <a:lnTo>
                    <a:pt x="518" y="43"/>
                  </a:lnTo>
                  <a:lnTo>
                    <a:pt x="533" y="51"/>
                  </a:lnTo>
                  <a:lnTo>
                    <a:pt x="546" y="61"/>
                  </a:lnTo>
                  <a:lnTo>
                    <a:pt x="560" y="70"/>
                  </a:lnTo>
                  <a:lnTo>
                    <a:pt x="574" y="80"/>
                  </a:lnTo>
                  <a:lnTo>
                    <a:pt x="586" y="91"/>
                  </a:lnTo>
                  <a:lnTo>
                    <a:pt x="598" y="104"/>
                  </a:lnTo>
                  <a:lnTo>
                    <a:pt x="611" y="115"/>
                  </a:lnTo>
                  <a:lnTo>
                    <a:pt x="622" y="128"/>
                  </a:lnTo>
                  <a:lnTo>
                    <a:pt x="631" y="141"/>
                  </a:lnTo>
                  <a:lnTo>
                    <a:pt x="641" y="156"/>
                  </a:lnTo>
                  <a:lnTo>
                    <a:pt x="650" y="169"/>
                  </a:lnTo>
                  <a:lnTo>
                    <a:pt x="659" y="184"/>
                  </a:lnTo>
                  <a:lnTo>
                    <a:pt x="666" y="199"/>
                  </a:lnTo>
                  <a:lnTo>
                    <a:pt x="673" y="215"/>
                  </a:lnTo>
                  <a:lnTo>
                    <a:pt x="680" y="231"/>
                  </a:lnTo>
                  <a:lnTo>
                    <a:pt x="686" y="247"/>
                  </a:lnTo>
                  <a:lnTo>
                    <a:pt x="691" y="263"/>
                  </a:lnTo>
                  <a:lnTo>
                    <a:pt x="694" y="280"/>
                  </a:lnTo>
                  <a:lnTo>
                    <a:pt x="697" y="297"/>
                  </a:lnTo>
                  <a:lnTo>
                    <a:pt x="699" y="315"/>
                  </a:lnTo>
                  <a:lnTo>
                    <a:pt x="701" y="333"/>
                  </a:lnTo>
                  <a:lnTo>
                    <a:pt x="701" y="350"/>
                  </a:lnTo>
                  <a:lnTo>
                    <a:pt x="701" y="350"/>
                  </a:lnTo>
                  <a:lnTo>
                    <a:pt x="701" y="369"/>
                  </a:lnTo>
                  <a:lnTo>
                    <a:pt x="699" y="386"/>
                  </a:lnTo>
                  <a:lnTo>
                    <a:pt x="697" y="405"/>
                  </a:lnTo>
                  <a:lnTo>
                    <a:pt x="694" y="422"/>
                  </a:lnTo>
                  <a:lnTo>
                    <a:pt x="691" y="438"/>
                  </a:lnTo>
                  <a:lnTo>
                    <a:pt x="686" y="455"/>
                  </a:lnTo>
                  <a:lnTo>
                    <a:pt x="680" y="471"/>
                  </a:lnTo>
                  <a:lnTo>
                    <a:pt x="673" y="487"/>
                  </a:lnTo>
                  <a:lnTo>
                    <a:pt x="666" y="503"/>
                  </a:lnTo>
                  <a:lnTo>
                    <a:pt x="659" y="518"/>
                  </a:lnTo>
                  <a:lnTo>
                    <a:pt x="650" y="533"/>
                  </a:lnTo>
                  <a:lnTo>
                    <a:pt x="641" y="547"/>
                  </a:lnTo>
                  <a:lnTo>
                    <a:pt x="631" y="560"/>
                  </a:lnTo>
                  <a:lnTo>
                    <a:pt x="622" y="574"/>
                  </a:lnTo>
                  <a:lnTo>
                    <a:pt x="611" y="586"/>
                  </a:lnTo>
                  <a:lnTo>
                    <a:pt x="598" y="598"/>
                  </a:lnTo>
                  <a:lnTo>
                    <a:pt x="586" y="611"/>
                  </a:lnTo>
                  <a:lnTo>
                    <a:pt x="574" y="622"/>
                  </a:lnTo>
                  <a:lnTo>
                    <a:pt x="560" y="632"/>
                  </a:lnTo>
                  <a:lnTo>
                    <a:pt x="546" y="642"/>
                  </a:lnTo>
                  <a:lnTo>
                    <a:pt x="533" y="650"/>
                  </a:lnTo>
                  <a:lnTo>
                    <a:pt x="518" y="659"/>
                  </a:lnTo>
                  <a:lnTo>
                    <a:pt x="503" y="667"/>
                  </a:lnTo>
                  <a:lnTo>
                    <a:pt x="487" y="674"/>
                  </a:lnTo>
                  <a:lnTo>
                    <a:pt x="471" y="680"/>
                  </a:lnTo>
                  <a:lnTo>
                    <a:pt x="455" y="686"/>
                  </a:lnTo>
                  <a:lnTo>
                    <a:pt x="438" y="691"/>
                  </a:lnTo>
                  <a:lnTo>
                    <a:pt x="422" y="695"/>
                  </a:lnTo>
                  <a:lnTo>
                    <a:pt x="405" y="697"/>
                  </a:lnTo>
                  <a:lnTo>
                    <a:pt x="386" y="700"/>
                  </a:lnTo>
                  <a:lnTo>
                    <a:pt x="369" y="701"/>
                  </a:lnTo>
                  <a:lnTo>
                    <a:pt x="350" y="702"/>
                  </a:lnTo>
                  <a:lnTo>
                    <a:pt x="350" y="702"/>
                  </a:lnTo>
                  <a:close/>
                </a:path>
              </a:pathLst>
            </a:custGeom>
            <a:solidFill>
              <a:srgbClr val="48369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4" name="Freeform 252">
              <a:extLst>
                <a:ext uri="{FF2B5EF4-FFF2-40B4-BE49-F238E27FC236}">
                  <a16:creationId xmlns:a16="http://schemas.microsoft.com/office/drawing/2014/main" id="{2EDA4A66-1811-C470-DDBD-2B0A3D09D89D}"/>
                </a:ext>
              </a:extLst>
            </p:cNvPr>
            <p:cNvSpPr>
              <a:spLocks/>
            </p:cNvSpPr>
            <p:nvPr/>
          </p:nvSpPr>
          <p:spPr bwMode="auto">
            <a:xfrm>
              <a:off x="7319228" y="3223990"/>
              <a:ext cx="484292" cy="370901"/>
            </a:xfrm>
            <a:custGeom>
              <a:avLst/>
              <a:gdLst>
                <a:gd name="T0" fmla="*/ 14 w 328"/>
                <a:gd name="T1" fmla="*/ 275 h 275"/>
                <a:gd name="T2" fmla="*/ 14 w 328"/>
                <a:gd name="T3" fmla="*/ 275 h 275"/>
                <a:gd name="T4" fmla="*/ 8 w 328"/>
                <a:gd name="T5" fmla="*/ 274 h 275"/>
                <a:gd name="T6" fmla="*/ 5 w 328"/>
                <a:gd name="T7" fmla="*/ 272 h 275"/>
                <a:gd name="T8" fmla="*/ 1 w 328"/>
                <a:gd name="T9" fmla="*/ 267 h 275"/>
                <a:gd name="T10" fmla="*/ 0 w 328"/>
                <a:gd name="T11" fmla="*/ 262 h 275"/>
                <a:gd name="T12" fmla="*/ 0 w 328"/>
                <a:gd name="T13" fmla="*/ 14 h 275"/>
                <a:gd name="T14" fmla="*/ 0 w 328"/>
                <a:gd name="T15" fmla="*/ 14 h 275"/>
                <a:gd name="T16" fmla="*/ 1 w 328"/>
                <a:gd name="T17" fmla="*/ 9 h 275"/>
                <a:gd name="T18" fmla="*/ 5 w 328"/>
                <a:gd name="T19" fmla="*/ 4 h 275"/>
                <a:gd name="T20" fmla="*/ 8 w 328"/>
                <a:gd name="T21" fmla="*/ 1 h 275"/>
                <a:gd name="T22" fmla="*/ 14 w 328"/>
                <a:gd name="T23" fmla="*/ 0 h 275"/>
                <a:gd name="T24" fmla="*/ 313 w 328"/>
                <a:gd name="T25" fmla="*/ 0 h 275"/>
                <a:gd name="T26" fmla="*/ 313 w 328"/>
                <a:gd name="T27" fmla="*/ 0 h 275"/>
                <a:gd name="T28" fmla="*/ 319 w 328"/>
                <a:gd name="T29" fmla="*/ 1 h 275"/>
                <a:gd name="T30" fmla="*/ 323 w 328"/>
                <a:gd name="T31" fmla="*/ 4 h 275"/>
                <a:gd name="T32" fmla="*/ 326 w 328"/>
                <a:gd name="T33" fmla="*/ 9 h 275"/>
                <a:gd name="T34" fmla="*/ 328 w 328"/>
                <a:gd name="T35" fmla="*/ 14 h 275"/>
                <a:gd name="T36" fmla="*/ 328 w 328"/>
                <a:gd name="T37" fmla="*/ 262 h 275"/>
                <a:gd name="T38" fmla="*/ 328 w 328"/>
                <a:gd name="T39" fmla="*/ 262 h 275"/>
                <a:gd name="T40" fmla="*/ 326 w 328"/>
                <a:gd name="T41" fmla="*/ 267 h 275"/>
                <a:gd name="T42" fmla="*/ 323 w 328"/>
                <a:gd name="T43" fmla="*/ 272 h 275"/>
                <a:gd name="T44" fmla="*/ 319 w 328"/>
                <a:gd name="T45" fmla="*/ 274 h 275"/>
                <a:gd name="T46" fmla="*/ 313 w 328"/>
                <a:gd name="T47" fmla="*/ 275 h 275"/>
                <a:gd name="T48" fmla="*/ 14 w 328"/>
                <a:gd name="T49" fmla="*/ 27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8" h="275">
                  <a:moveTo>
                    <a:pt x="14" y="275"/>
                  </a:moveTo>
                  <a:lnTo>
                    <a:pt x="14" y="275"/>
                  </a:lnTo>
                  <a:lnTo>
                    <a:pt x="8" y="274"/>
                  </a:lnTo>
                  <a:lnTo>
                    <a:pt x="5" y="272"/>
                  </a:lnTo>
                  <a:lnTo>
                    <a:pt x="1" y="267"/>
                  </a:lnTo>
                  <a:lnTo>
                    <a:pt x="0" y="262"/>
                  </a:lnTo>
                  <a:lnTo>
                    <a:pt x="0" y="14"/>
                  </a:lnTo>
                  <a:lnTo>
                    <a:pt x="0" y="14"/>
                  </a:lnTo>
                  <a:lnTo>
                    <a:pt x="1" y="9"/>
                  </a:lnTo>
                  <a:lnTo>
                    <a:pt x="5" y="4"/>
                  </a:lnTo>
                  <a:lnTo>
                    <a:pt x="8" y="1"/>
                  </a:lnTo>
                  <a:lnTo>
                    <a:pt x="14" y="0"/>
                  </a:lnTo>
                  <a:lnTo>
                    <a:pt x="313" y="0"/>
                  </a:lnTo>
                  <a:lnTo>
                    <a:pt x="313" y="0"/>
                  </a:lnTo>
                  <a:lnTo>
                    <a:pt x="319" y="1"/>
                  </a:lnTo>
                  <a:lnTo>
                    <a:pt x="323" y="4"/>
                  </a:lnTo>
                  <a:lnTo>
                    <a:pt x="326" y="9"/>
                  </a:lnTo>
                  <a:lnTo>
                    <a:pt x="328" y="14"/>
                  </a:lnTo>
                  <a:lnTo>
                    <a:pt x="328" y="262"/>
                  </a:lnTo>
                  <a:lnTo>
                    <a:pt x="328" y="262"/>
                  </a:lnTo>
                  <a:lnTo>
                    <a:pt x="326" y="267"/>
                  </a:lnTo>
                  <a:lnTo>
                    <a:pt x="323" y="272"/>
                  </a:lnTo>
                  <a:lnTo>
                    <a:pt x="319" y="274"/>
                  </a:lnTo>
                  <a:lnTo>
                    <a:pt x="313" y="275"/>
                  </a:lnTo>
                  <a:lnTo>
                    <a:pt x="14" y="2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5" name="Freeform 253">
              <a:extLst>
                <a:ext uri="{FF2B5EF4-FFF2-40B4-BE49-F238E27FC236}">
                  <a16:creationId xmlns:a16="http://schemas.microsoft.com/office/drawing/2014/main" id="{545F975C-EE1F-2C54-B841-C371A1887B14}"/>
                </a:ext>
              </a:extLst>
            </p:cNvPr>
            <p:cNvSpPr>
              <a:spLocks noEditPoints="1"/>
            </p:cNvSpPr>
            <p:nvPr/>
          </p:nvSpPr>
          <p:spPr bwMode="auto">
            <a:xfrm>
              <a:off x="7316275" y="3221293"/>
              <a:ext cx="488722" cy="377645"/>
            </a:xfrm>
            <a:custGeom>
              <a:avLst/>
              <a:gdLst>
                <a:gd name="T0" fmla="*/ 315 w 331"/>
                <a:gd name="T1" fmla="*/ 3 h 280"/>
                <a:gd name="T2" fmla="*/ 315 w 331"/>
                <a:gd name="T3" fmla="*/ 3 h 280"/>
                <a:gd name="T4" fmla="*/ 320 w 331"/>
                <a:gd name="T5" fmla="*/ 5 h 280"/>
                <a:gd name="T6" fmla="*/ 324 w 331"/>
                <a:gd name="T7" fmla="*/ 7 h 280"/>
                <a:gd name="T8" fmla="*/ 327 w 331"/>
                <a:gd name="T9" fmla="*/ 11 h 280"/>
                <a:gd name="T10" fmla="*/ 327 w 331"/>
                <a:gd name="T11" fmla="*/ 16 h 280"/>
                <a:gd name="T12" fmla="*/ 327 w 331"/>
                <a:gd name="T13" fmla="*/ 264 h 280"/>
                <a:gd name="T14" fmla="*/ 327 w 331"/>
                <a:gd name="T15" fmla="*/ 264 h 280"/>
                <a:gd name="T16" fmla="*/ 327 w 331"/>
                <a:gd name="T17" fmla="*/ 269 h 280"/>
                <a:gd name="T18" fmla="*/ 324 w 331"/>
                <a:gd name="T19" fmla="*/ 272 h 280"/>
                <a:gd name="T20" fmla="*/ 320 w 331"/>
                <a:gd name="T21" fmla="*/ 275 h 280"/>
                <a:gd name="T22" fmla="*/ 315 w 331"/>
                <a:gd name="T23" fmla="*/ 276 h 280"/>
                <a:gd name="T24" fmla="*/ 16 w 331"/>
                <a:gd name="T25" fmla="*/ 276 h 280"/>
                <a:gd name="T26" fmla="*/ 16 w 331"/>
                <a:gd name="T27" fmla="*/ 276 h 280"/>
                <a:gd name="T28" fmla="*/ 12 w 331"/>
                <a:gd name="T29" fmla="*/ 275 h 280"/>
                <a:gd name="T30" fmla="*/ 8 w 331"/>
                <a:gd name="T31" fmla="*/ 272 h 280"/>
                <a:gd name="T32" fmla="*/ 5 w 331"/>
                <a:gd name="T33" fmla="*/ 269 h 280"/>
                <a:gd name="T34" fmla="*/ 4 w 331"/>
                <a:gd name="T35" fmla="*/ 264 h 280"/>
                <a:gd name="T36" fmla="*/ 4 w 331"/>
                <a:gd name="T37" fmla="*/ 16 h 280"/>
                <a:gd name="T38" fmla="*/ 4 w 331"/>
                <a:gd name="T39" fmla="*/ 16 h 280"/>
                <a:gd name="T40" fmla="*/ 5 w 331"/>
                <a:gd name="T41" fmla="*/ 11 h 280"/>
                <a:gd name="T42" fmla="*/ 8 w 331"/>
                <a:gd name="T43" fmla="*/ 7 h 280"/>
                <a:gd name="T44" fmla="*/ 12 w 331"/>
                <a:gd name="T45" fmla="*/ 5 h 280"/>
                <a:gd name="T46" fmla="*/ 16 w 331"/>
                <a:gd name="T47" fmla="*/ 3 h 280"/>
                <a:gd name="T48" fmla="*/ 315 w 331"/>
                <a:gd name="T49" fmla="*/ 3 h 280"/>
                <a:gd name="T50" fmla="*/ 315 w 331"/>
                <a:gd name="T51" fmla="*/ 0 h 280"/>
                <a:gd name="T52" fmla="*/ 16 w 331"/>
                <a:gd name="T53" fmla="*/ 0 h 280"/>
                <a:gd name="T54" fmla="*/ 16 w 331"/>
                <a:gd name="T55" fmla="*/ 0 h 280"/>
                <a:gd name="T56" fmla="*/ 10 w 331"/>
                <a:gd name="T57" fmla="*/ 1 h 280"/>
                <a:gd name="T58" fmla="*/ 5 w 331"/>
                <a:gd name="T59" fmla="*/ 5 h 280"/>
                <a:gd name="T60" fmla="*/ 2 w 331"/>
                <a:gd name="T61" fmla="*/ 10 h 280"/>
                <a:gd name="T62" fmla="*/ 0 w 331"/>
                <a:gd name="T63" fmla="*/ 16 h 280"/>
                <a:gd name="T64" fmla="*/ 0 w 331"/>
                <a:gd name="T65" fmla="*/ 264 h 280"/>
                <a:gd name="T66" fmla="*/ 0 w 331"/>
                <a:gd name="T67" fmla="*/ 264 h 280"/>
                <a:gd name="T68" fmla="*/ 2 w 331"/>
                <a:gd name="T69" fmla="*/ 270 h 280"/>
                <a:gd name="T70" fmla="*/ 5 w 331"/>
                <a:gd name="T71" fmla="*/ 275 h 280"/>
                <a:gd name="T72" fmla="*/ 10 w 331"/>
                <a:gd name="T73" fmla="*/ 278 h 280"/>
                <a:gd name="T74" fmla="*/ 16 w 331"/>
                <a:gd name="T75" fmla="*/ 280 h 280"/>
                <a:gd name="T76" fmla="*/ 315 w 331"/>
                <a:gd name="T77" fmla="*/ 280 h 280"/>
                <a:gd name="T78" fmla="*/ 315 w 331"/>
                <a:gd name="T79" fmla="*/ 280 h 280"/>
                <a:gd name="T80" fmla="*/ 321 w 331"/>
                <a:gd name="T81" fmla="*/ 278 h 280"/>
                <a:gd name="T82" fmla="*/ 326 w 331"/>
                <a:gd name="T83" fmla="*/ 275 h 280"/>
                <a:gd name="T84" fmla="*/ 330 w 331"/>
                <a:gd name="T85" fmla="*/ 270 h 280"/>
                <a:gd name="T86" fmla="*/ 331 w 331"/>
                <a:gd name="T87" fmla="*/ 264 h 280"/>
                <a:gd name="T88" fmla="*/ 331 w 331"/>
                <a:gd name="T89" fmla="*/ 16 h 280"/>
                <a:gd name="T90" fmla="*/ 331 w 331"/>
                <a:gd name="T91" fmla="*/ 16 h 280"/>
                <a:gd name="T92" fmla="*/ 330 w 331"/>
                <a:gd name="T93" fmla="*/ 10 h 280"/>
                <a:gd name="T94" fmla="*/ 326 w 331"/>
                <a:gd name="T95" fmla="*/ 5 h 280"/>
                <a:gd name="T96" fmla="*/ 321 w 331"/>
                <a:gd name="T97" fmla="*/ 1 h 280"/>
                <a:gd name="T98" fmla="*/ 315 w 331"/>
                <a:gd name="T99" fmla="*/ 0 h 280"/>
                <a:gd name="T100" fmla="*/ 315 w 331"/>
                <a:gd name="T101"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1" h="280">
                  <a:moveTo>
                    <a:pt x="315" y="3"/>
                  </a:moveTo>
                  <a:lnTo>
                    <a:pt x="315" y="3"/>
                  </a:lnTo>
                  <a:lnTo>
                    <a:pt x="320" y="5"/>
                  </a:lnTo>
                  <a:lnTo>
                    <a:pt x="324" y="7"/>
                  </a:lnTo>
                  <a:lnTo>
                    <a:pt x="327" y="11"/>
                  </a:lnTo>
                  <a:lnTo>
                    <a:pt x="327" y="16"/>
                  </a:lnTo>
                  <a:lnTo>
                    <a:pt x="327" y="264"/>
                  </a:lnTo>
                  <a:lnTo>
                    <a:pt x="327" y="264"/>
                  </a:lnTo>
                  <a:lnTo>
                    <a:pt x="327" y="269"/>
                  </a:lnTo>
                  <a:lnTo>
                    <a:pt x="324" y="272"/>
                  </a:lnTo>
                  <a:lnTo>
                    <a:pt x="320" y="275"/>
                  </a:lnTo>
                  <a:lnTo>
                    <a:pt x="315" y="276"/>
                  </a:lnTo>
                  <a:lnTo>
                    <a:pt x="16" y="276"/>
                  </a:lnTo>
                  <a:lnTo>
                    <a:pt x="16" y="276"/>
                  </a:lnTo>
                  <a:lnTo>
                    <a:pt x="12" y="275"/>
                  </a:lnTo>
                  <a:lnTo>
                    <a:pt x="8" y="272"/>
                  </a:lnTo>
                  <a:lnTo>
                    <a:pt x="5" y="269"/>
                  </a:lnTo>
                  <a:lnTo>
                    <a:pt x="4" y="264"/>
                  </a:lnTo>
                  <a:lnTo>
                    <a:pt x="4" y="16"/>
                  </a:lnTo>
                  <a:lnTo>
                    <a:pt x="4" y="16"/>
                  </a:lnTo>
                  <a:lnTo>
                    <a:pt x="5" y="11"/>
                  </a:lnTo>
                  <a:lnTo>
                    <a:pt x="8" y="7"/>
                  </a:lnTo>
                  <a:lnTo>
                    <a:pt x="12" y="5"/>
                  </a:lnTo>
                  <a:lnTo>
                    <a:pt x="16" y="3"/>
                  </a:lnTo>
                  <a:lnTo>
                    <a:pt x="315" y="3"/>
                  </a:lnTo>
                  <a:close/>
                  <a:moveTo>
                    <a:pt x="315" y="0"/>
                  </a:moveTo>
                  <a:lnTo>
                    <a:pt x="16" y="0"/>
                  </a:lnTo>
                  <a:lnTo>
                    <a:pt x="16" y="0"/>
                  </a:lnTo>
                  <a:lnTo>
                    <a:pt x="10" y="1"/>
                  </a:lnTo>
                  <a:lnTo>
                    <a:pt x="5" y="5"/>
                  </a:lnTo>
                  <a:lnTo>
                    <a:pt x="2" y="10"/>
                  </a:lnTo>
                  <a:lnTo>
                    <a:pt x="0" y="16"/>
                  </a:lnTo>
                  <a:lnTo>
                    <a:pt x="0" y="264"/>
                  </a:lnTo>
                  <a:lnTo>
                    <a:pt x="0" y="264"/>
                  </a:lnTo>
                  <a:lnTo>
                    <a:pt x="2" y="270"/>
                  </a:lnTo>
                  <a:lnTo>
                    <a:pt x="5" y="275"/>
                  </a:lnTo>
                  <a:lnTo>
                    <a:pt x="10" y="278"/>
                  </a:lnTo>
                  <a:lnTo>
                    <a:pt x="16" y="280"/>
                  </a:lnTo>
                  <a:lnTo>
                    <a:pt x="315" y="280"/>
                  </a:lnTo>
                  <a:lnTo>
                    <a:pt x="315" y="280"/>
                  </a:lnTo>
                  <a:lnTo>
                    <a:pt x="321" y="278"/>
                  </a:lnTo>
                  <a:lnTo>
                    <a:pt x="326" y="275"/>
                  </a:lnTo>
                  <a:lnTo>
                    <a:pt x="330" y="270"/>
                  </a:lnTo>
                  <a:lnTo>
                    <a:pt x="331" y="264"/>
                  </a:lnTo>
                  <a:lnTo>
                    <a:pt x="331" y="16"/>
                  </a:lnTo>
                  <a:lnTo>
                    <a:pt x="331" y="16"/>
                  </a:lnTo>
                  <a:lnTo>
                    <a:pt x="330" y="10"/>
                  </a:lnTo>
                  <a:lnTo>
                    <a:pt x="326" y="5"/>
                  </a:lnTo>
                  <a:lnTo>
                    <a:pt x="321" y="1"/>
                  </a:lnTo>
                  <a:lnTo>
                    <a:pt x="315" y="0"/>
                  </a:lnTo>
                  <a:lnTo>
                    <a:pt x="315" y="0"/>
                  </a:lnTo>
                  <a:close/>
                </a:path>
              </a:pathLst>
            </a:custGeom>
            <a:solidFill>
              <a:srgbClr val="8FC4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6" name="Freeform 254">
              <a:extLst>
                <a:ext uri="{FF2B5EF4-FFF2-40B4-BE49-F238E27FC236}">
                  <a16:creationId xmlns:a16="http://schemas.microsoft.com/office/drawing/2014/main" id="{C51F8C8B-F5CE-1D13-D78C-F734C1E5802E}"/>
                </a:ext>
              </a:extLst>
            </p:cNvPr>
            <p:cNvSpPr>
              <a:spLocks/>
            </p:cNvSpPr>
            <p:nvPr/>
          </p:nvSpPr>
          <p:spPr bwMode="auto">
            <a:xfrm>
              <a:off x="7322181" y="3225339"/>
              <a:ext cx="476910" cy="368204"/>
            </a:xfrm>
            <a:custGeom>
              <a:avLst/>
              <a:gdLst>
                <a:gd name="T0" fmla="*/ 311 w 323"/>
                <a:gd name="T1" fmla="*/ 0 h 273"/>
                <a:gd name="T2" fmla="*/ 311 w 323"/>
                <a:gd name="T3" fmla="*/ 0 h 273"/>
                <a:gd name="T4" fmla="*/ 316 w 323"/>
                <a:gd name="T5" fmla="*/ 2 h 273"/>
                <a:gd name="T6" fmla="*/ 320 w 323"/>
                <a:gd name="T7" fmla="*/ 4 h 273"/>
                <a:gd name="T8" fmla="*/ 323 w 323"/>
                <a:gd name="T9" fmla="*/ 8 h 273"/>
                <a:gd name="T10" fmla="*/ 323 w 323"/>
                <a:gd name="T11" fmla="*/ 13 h 273"/>
                <a:gd name="T12" fmla="*/ 323 w 323"/>
                <a:gd name="T13" fmla="*/ 261 h 273"/>
                <a:gd name="T14" fmla="*/ 323 w 323"/>
                <a:gd name="T15" fmla="*/ 261 h 273"/>
                <a:gd name="T16" fmla="*/ 323 w 323"/>
                <a:gd name="T17" fmla="*/ 266 h 273"/>
                <a:gd name="T18" fmla="*/ 320 w 323"/>
                <a:gd name="T19" fmla="*/ 269 h 273"/>
                <a:gd name="T20" fmla="*/ 316 w 323"/>
                <a:gd name="T21" fmla="*/ 272 h 273"/>
                <a:gd name="T22" fmla="*/ 311 w 323"/>
                <a:gd name="T23" fmla="*/ 273 h 273"/>
                <a:gd name="T24" fmla="*/ 12 w 323"/>
                <a:gd name="T25" fmla="*/ 273 h 273"/>
                <a:gd name="T26" fmla="*/ 12 w 323"/>
                <a:gd name="T27" fmla="*/ 273 h 273"/>
                <a:gd name="T28" fmla="*/ 8 w 323"/>
                <a:gd name="T29" fmla="*/ 272 h 273"/>
                <a:gd name="T30" fmla="*/ 4 w 323"/>
                <a:gd name="T31" fmla="*/ 269 h 273"/>
                <a:gd name="T32" fmla="*/ 1 w 323"/>
                <a:gd name="T33" fmla="*/ 266 h 273"/>
                <a:gd name="T34" fmla="*/ 0 w 323"/>
                <a:gd name="T35" fmla="*/ 261 h 273"/>
                <a:gd name="T36" fmla="*/ 0 w 323"/>
                <a:gd name="T37" fmla="*/ 13 h 273"/>
                <a:gd name="T38" fmla="*/ 0 w 323"/>
                <a:gd name="T39" fmla="*/ 13 h 273"/>
                <a:gd name="T40" fmla="*/ 1 w 323"/>
                <a:gd name="T41" fmla="*/ 8 h 273"/>
                <a:gd name="T42" fmla="*/ 4 w 323"/>
                <a:gd name="T43" fmla="*/ 4 h 273"/>
                <a:gd name="T44" fmla="*/ 8 w 323"/>
                <a:gd name="T45" fmla="*/ 2 h 273"/>
                <a:gd name="T46" fmla="*/ 12 w 323"/>
                <a:gd name="T47" fmla="*/ 0 h 273"/>
                <a:gd name="T48" fmla="*/ 311 w 323"/>
                <a:gd name="T49"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3" h="273">
                  <a:moveTo>
                    <a:pt x="311" y="0"/>
                  </a:moveTo>
                  <a:lnTo>
                    <a:pt x="311" y="0"/>
                  </a:lnTo>
                  <a:lnTo>
                    <a:pt x="316" y="2"/>
                  </a:lnTo>
                  <a:lnTo>
                    <a:pt x="320" y="4"/>
                  </a:lnTo>
                  <a:lnTo>
                    <a:pt x="323" y="8"/>
                  </a:lnTo>
                  <a:lnTo>
                    <a:pt x="323" y="13"/>
                  </a:lnTo>
                  <a:lnTo>
                    <a:pt x="323" y="261"/>
                  </a:lnTo>
                  <a:lnTo>
                    <a:pt x="323" y="261"/>
                  </a:lnTo>
                  <a:lnTo>
                    <a:pt x="323" y="266"/>
                  </a:lnTo>
                  <a:lnTo>
                    <a:pt x="320" y="269"/>
                  </a:lnTo>
                  <a:lnTo>
                    <a:pt x="316" y="272"/>
                  </a:lnTo>
                  <a:lnTo>
                    <a:pt x="311" y="273"/>
                  </a:lnTo>
                  <a:lnTo>
                    <a:pt x="12" y="273"/>
                  </a:lnTo>
                  <a:lnTo>
                    <a:pt x="12" y="273"/>
                  </a:lnTo>
                  <a:lnTo>
                    <a:pt x="8" y="272"/>
                  </a:lnTo>
                  <a:lnTo>
                    <a:pt x="4" y="269"/>
                  </a:lnTo>
                  <a:lnTo>
                    <a:pt x="1" y="266"/>
                  </a:lnTo>
                  <a:lnTo>
                    <a:pt x="0" y="261"/>
                  </a:lnTo>
                  <a:lnTo>
                    <a:pt x="0" y="13"/>
                  </a:lnTo>
                  <a:lnTo>
                    <a:pt x="0" y="13"/>
                  </a:lnTo>
                  <a:lnTo>
                    <a:pt x="1" y="8"/>
                  </a:lnTo>
                  <a:lnTo>
                    <a:pt x="4" y="4"/>
                  </a:lnTo>
                  <a:lnTo>
                    <a:pt x="8" y="2"/>
                  </a:lnTo>
                  <a:lnTo>
                    <a:pt x="12" y="0"/>
                  </a:lnTo>
                  <a:lnTo>
                    <a:pt x="3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7" name="Freeform 255">
              <a:extLst>
                <a:ext uri="{FF2B5EF4-FFF2-40B4-BE49-F238E27FC236}">
                  <a16:creationId xmlns:a16="http://schemas.microsoft.com/office/drawing/2014/main" id="{3A9743F8-C682-FA5A-980F-B08F3E776EDC}"/>
                </a:ext>
              </a:extLst>
            </p:cNvPr>
            <p:cNvSpPr>
              <a:spLocks/>
            </p:cNvSpPr>
            <p:nvPr/>
          </p:nvSpPr>
          <p:spPr bwMode="auto">
            <a:xfrm>
              <a:off x="7316275" y="3221293"/>
              <a:ext cx="488722" cy="377645"/>
            </a:xfrm>
            <a:custGeom>
              <a:avLst/>
              <a:gdLst>
                <a:gd name="T0" fmla="*/ 315 w 331"/>
                <a:gd name="T1" fmla="*/ 0 h 280"/>
                <a:gd name="T2" fmla="*/ 16 w 331"/>
                <a:gd name="T3" fmla="*/ 0 h 280"/>
                <a:gd name="T4" fmla="*/ 16 w 331"/>
                <a:gd name="T5" fmla="*/ 0 h 280"/>
                <a:gd name="T6" fmla="*/ 10 w 331"/>
                <a:gd name="T7" fmla="*/ 1 h 280"/>
                <a:gd name="T8" fmla="*/ 5 w 331"/>
                <a:gd name="T9" fmla="*/ 5 h 280"/>
                <a:gd name="T10" fmla="*/ 2 w 331"/>
                <a:gd name="T11" fmla="*/ 10 h 280"/>
                <a:gd name="T12" fmla="*/ 0 w 331"/>
                <a:gd name="T13" fmla="*/ 16 h 280"/>
                <a:gd name="T14" fmla="*/ 0 w 331"/>
                <a:gd name="T15" fmla="*/ 264 h 280"/>
                <a:gd name="T16" fmla="*/ 0 w 331"/>
                <a:gd name="T17" fmla="*/ 264 h 280"/>
                <a:gd name="T18" fmla="*/ 2 w 331"/>
                <a:gd name="T19" fmla="*/ 270 h 280"/>
                <a:gd name="T20" fmla="*/ 5 w 331"/>
                <a:gd name="T21" fmla="*/ 275 h 280"/>
                <a:gd name="T22" fmla="*/ 10 w 331"/>
                <a:gd name="T23" fmla="*/ 278 h 280"/>
                <a:gd name="T24" fmla="*/ 16 w 331"/>
                <a:gd name="T25" fmla="*/ 280 h 280"/>
                <a:gd name="T26" fmla="*/ 315 w 331"/>
                <a:gd name="T27" fmla="*/ 280 h 280"/>
                <a:gd name="T28" fmla="*/ 315 w 331"/>
                <a:gd name="T29" fmla="*/ 280 h 280"/>
                <a:gd name="T30" fmla="*/ 321 w 331"/>
                <a:gd name="T31" fmla="*/ 278 h 280"/>
                <a:gd name="T32" fmla="*/ 326 w 331"/>
                <a:gd name="T33" fmla="*/ 275 h 280"/>
                <a:gd name="T34" fmla="*/ 330 w 331"/>
                <a:gd name="T35" fmla="*/ 270 h 280"/>
                <a:gd name="T36" fmla="*/ 331 w 331"/>
                <a:gd name="T37" fmla="*/ 264 h 280"/>
                <a:gd name="T38" fmla="*/ 331 w 331"/>
                <a:gd name="T39" fmla="*/ 16 h 280"/>
                <a:gd name="T40" fmla="*/ 331 w 331"/>
                <a:gd name="T41" fmla="*/ 16 h 280"/>
                <a:gd name="T42" fmla="*/ 330 w 331"/>
                <a:gd name="T43" fmla="*/ 10 h 280"/>
                <a:gd name="T44" fmla="*/ 326 w 331"/>
                <a:gd name="T45" fmla="*/ 5 h 280"/>
                <a:gd name="T46" fmla="*/ 321 w 331"/>
                <a:gd name="T47" fmla="*/ 1 h 280"/>
                <a:gd name="T48" fmla="*/ 315 w 331"/>
                <a:gd name="T49" fmla="*/ 0 h 280"/>
                <a:gd name="T50" fmla="*/ 315 w 331"/>
                <a:gd name="T51"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1" h="280">
                  <a:moveTo>
                    <a:pt x="315" y="0"/>
                  </a:moveTo>
                  <a:lnTo>
                    <a:pt x="16" y="0"/>
                  </a:lnTo>
                  <a:lnTo>
                    <a:pt x="16" y="0"/>
                  </a:lnTo>
                  <a:lnTo>
                    <a:pt x="10" y="1"/>
                  </a:lnTo>
                  <a:lnTo>
                    <a:pt x="5" y="5"/>
                  </a:lnTo>
                  <a:lnTo>
                    <a:pt x="2" y="10"/>
                  </a:lnTo>
                  <a:lnTo>
                    <a:pt x="0" y="16"/>
                  </a:lnTo>
                  <a:lnTo>
                    <a:pt x="0" y="264"/>
                  </a:lnTo>
                  <a:lnTo>
                    <a:pt x="0" y="264"/>
                  </a:lnTo>
                  <a:lnTo>
                    <a:pt x="2" y="270"/>
                  </a:lnTo>
                  <a:lnTo>
                    <a:pt x="5" y="275"/>
                  </a:lnTo>
                  <a:lnTo>
                    <a:pt x="10" y="278"/>
                  </a:lnTo>
                  <a:lnTo>
                    <a:pt x="16" y="280"/>
                  </a:lnTo>
                  <a:lnTo>
                    <a:pt x="315" y="280"/>
                  </a:lnTo>
                  <a:lnTo>
                    <a:pt x="315" y="280"/>
                  </a:lnTo>
                  <a:lnTo>
                    <a:pt x="321" y="278"/>
                  </a:lnTo>
                  <a:lnTo>
                    <a:pt x="326" y="275"/>
                  </a:lnTo>
                  <a:lnTo>
                    <a:pt x="330" y="270"/>
                  </a:lnTo>
                  <a:lnTo>
                    <a:pt x="331" y="264"/>
                  </a:lnTo>
                  <a:lnTo>
                    <a:pt x="331" y="16"/>
                  </a:lnTo>
                  <a:lnTo>
                    <a:pt x="331" y="16"/>
                  </a:lnTo>
                  <a:lnTo>
                    <a:pt x="330" y="10"/>
                  </a:lnTo>
                  <a:lnTo>
                    <a:pt x="326" y="5"/>
                  </a:lnTo>
                  <a:lnTo>
                    <a:pt x="321" y="1"/>
                  </a:lnTo>
                  <a:lnTo>
                    <a:pt x="315" y="0"/>
                  </a:lnTo>
                  <a:lnTo>
                    <a:pt x="3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8" name="Freeform 256">
              <a:extLst>
                <a:ext uri="{FF2B5EF4-FFF2-40B4-BE49-F238E27FC236}">
                  <a16:creationId xmlns:a16="http://schemas.microsoft.com/office/drawing/2014/main" id="{14E79A11-601C-6043-0604-58135D4D8746}"/>
                </a:ext>
              </a:extLst>
            </p:cNvPr>
            <p:cNvSpPr>
              <a:spLocks/>
            </p:cNvSpPr>
            <p:nvPr/>
          </p:nvSpPr>
          <p:spPr bwMode="auto">
            <a:xfrm>
              <a:off x="7316275" y="3221293"/>
              <a:ext cx="488722" cy="60693"/>
            </a:xfrm>
            <a:custGeom>
              <a:avLst/>
              <a:gdLst>
                <a:gd name="T0" fmla="*/ 315 w 331"/>
                <a:gd name="T1" fmla="*/ 0 h 45"/>
                <a:gd name="T2" fmla="*/ 16 w 331"/>
                <a:gd name="T3" fmla="*/ 0 h 45"/>
                <a:gd name="T4" fmla="*/ 16 w 331"/>
                <a:gd name="T5" fmla="*/ 0 h 45"/>
                <a:gd name="T6" fmla="*/ 10 w 331"/>
                <a:gd name="T7" fmla="*/ 1 h 45"/>
                <a:gd name="T8" fmla="*/ 5 w 331"/>
                <a:gd name="T9" fmla="*/ 5 h 45"/>
                <a:gd name="T10" fmla="*/ 2 w 331"/>
                <a:gd name="T11" fmla="*/ 10 h 45"/>
                <a:gd name="T12" fmla="*/ 0 w 331"/>
                <a:gd name="T13" fmla="*/ 16 h 45"/>
                <a:gd name="T14" fmla="*/ 0 w 331"/>
                <a:gd name="T15" fmla="*/ 45 h 45"/>
                <a:gd name="T16" fmla="*/ 331 w 331"/>
                <a:gd name="T17" fmla="*/ 45 h 45"/>
                <a:gd name="T18" fmla="*/ 331 w 331"/>
                <a:gd name="T19" fmla="*/ 16 h 45"/>
                <a:gd name="T20" fmla="*/ 331 w 331"/>
                <a:gd name="T21" fmla="*/ 16 h 45"/>
                <a:gd name="T22" fmla="*/ 330 w 331"/>
                <a:gd name="T23" fmla="*/ 10 h 45"/>
                <a:gd name="T24" fmla="*/ 326 w 331"/>
                <a:gd name="T25" fmla="*/ 5 h 45"/>
                <a:gd name="T26" fmla="*/ 321 w 331"/>
                <a:gd name="T27" fmla="*/ 1 h 45"/>
                <a:gd name="T28" fmla="*/ 315 w 331"/>
                <a:gd name="T29" fmla="*/ 0 h 45"/>
                <a:gd name="T30" fmla="*/ 315 w 331"/>
                <a:gd name="T3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1" h="45">
                  <a:moveTo>
                    <a:pt x="315" y="0"/>
                  </a:moveTo>
                  <a:lnTo>
                    <a:pt x="16" y="0"/>
                  </a:lnTo>
                  <a:lnTo>
                    <a:pt x="16" y="0"/>
                  </a:lnTo>
                  <a:lnTo>
                    <a:pt x="10" y="1"/>
                  </a:lnTo>
                  <a:lnTo>
                    <a:pt x="5" y="5"/>
                  </a:lnTo>
                  <a:lnTo>
                    <a:pt x="2" y="10"/>
                  </a:lnTo>
                  <a:lnTo>
                    <a:pt x="0" y="16"/>
                  </a:lnTo>
                  <a:lnTo>
                    <a:pt x="0" y="45"/>
                  </a:lnTo>
                  <a:lnTo>
                    <a:pt x="331" y="45"/>
                  </a:lnTo>
                  <a:lnTo>
                    <a:pt x="331" y="16"/>
                  </a:lnTo>
                  <a:lnTo>
                    <a:pt x="331" y="16"/>
                  </a:lnTo>
                  <a:lnTo>
                    <a:pt x="330" y="10"/>
                  </a:lnTo>
                  <a:lnTo>
                    <a:pt x="326" y="5"/>
                  </a:lnTo>
                  <a:lnTo>
                    <a:pt x="321" y="1"/>
                  </a:lnTo>
                  <a:lnTo>
                    <a:pt x="315" y="0"/>
                  </a:lnTo>
                  <a:lnTo>
                    <a:pt x="315" y="0"/>
                  </a:lnTo>
                  <a:close/>
                </a:path>
              </a:pathLst>
            </a:custGeom>
            <a:solidFill>
              <a:srgbClr val="8FC4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19" name="Freeform 257">
              <a:extLst>
                <a:ext uri="{FF2B5EF4-FFF2-40B4-BE49-F238E27FC236}">
                  <a16:creationId xmlns:a16="http://schemas.microsoft.com/office/drawing/2014/main" id="{BF88815A-4841-00BE-0982-965529F791AF}"/>
                </a:ext>
              </a:extLst>
            </p:cNvPr>
            <p:cNvSpPr>
              <a:spLocks/>
            </p:cNvSpPr>
            <p:nvPr/>
          </p:nvSpPr>
          <p:spPr bwMode="auto">
            <a:xfrm>
              <a:off x="7338422" y="3241523"/>
              <a:ext cx="25101" cy="22929"/>
            </a:xfrm>
            <a:custGeom>
              <a:avLst/>
              <a:gdLst>
                <a:gd name="T0" fmla="*/ 17 w 17"/>
                <a:gd name="T1" fmla="*/ 8 h 17"/>
                <a:gd name="T2" fmla="*/ 17 w 17"/>
                <a:gd name="T3" fmla="*/ 8 h 17"/>
                <a:gd name="T4" fmla="*/ 16 w 17"/>
                <a:gd name="T5" fmla="*/ 12 h 17"/>
                <a:gd name="T6" fmla="*/ 15 w 17"/>
                <a:gd name="T7" fmla="*/ 14 h 17"/>
                <a:gd name="T8" fmla="*/ 13 w 17"/>
                <a:gd name="T9" fmla="*/ 17 h 17"/>
                <a:gd name="T10" fmla="*/ 9 w 17"/>
                <a:gd name="T11" fmla="*/ 17 h 17"/>
                <a:gd name="T12" fmla="*/ 9 w 17"/>
                <a:gd name="T13" fmla="*/ 17 h 17"/>
                <a:gd name="T14" fmla="*/ 5 w 17"/>
                <a:gd name="T15" fmla="*/ 17 h 17"/>
                <a:gd name="T16" fmla="*/ 3 w 17"/>
                <a:gd name="T17" fmla="*/ 14 h 17"/>
                <a:gd name="T18" fmla="*/ 0 w 17"/>
                <a:gd name="T19" fmla="*/ 12 h 17"/>
                <a:gd name="T20" fmla="*/ 0 w 17"/>
                <a:gd name="T21" fmla="*/ 8 h 17"/>
                <a:gd name="T22" fmla="*/ 0 w 17"/>
                <a:gd name="T23" fmla="*/ 8 h 17"/>
                <a:gd name="T24" fmla="*/ 0 w 17"/>
                <a:gd name="T25" fmla="*/ 4 h 17"/>
                <a:gd name="T26" fmla="*/ 3 w 17"/>
                <a:gd name="T27" fmla="*/ 2 h 17"/>
                <a:gd name="T28" fmla="*/ 5 w 17"/>
                <a:gd name="T29" fmla="*/ 1 h 17"/>
                <a:gd name="T30" fmla="*/ 9 w 17"/>
                <a:gd name="T31" fmla="*/ 0 h 17"/>
                <a:gd name="T32" fmla="*/ 9 w 17"/>
                <a:gd name="T33" fmla="*/ 0 h 17"/>
                <a:gd name="T34" fmla="*/ 13 w 17"/>
                <a:gd name="T35" fmla="*/ 1 h 17"/>
                <a:gd name="T36" fmla="*/ 15 w 17"/>
                <a:gd name="T37" fmla="*/ 2 h 17"/>
                <a:gd name="T38" fmla="*/ 16 w 17"/>
                <a:gd name="T39" fmla="*/ 4 h 17"/>
                <a:gd name="T40" fmla="*/ 17 w 17"/>
                <a:gd name="T41" fmla="*/ 8 h 17"/>
                <a:gd name="T42" fmla="*/ 17 w 17"/>
                <a:gd name="T43"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7">
                  <a:moveTo>
                    <a:pt x="17" y="8"/>
                  </a:moveTo>
                  <a:lnTo>
                    <a:pt x="17" y="8"/>
                  </a:lnTo>
                  <a:lnTo>
                    <a:pt x="16" y="12"/>
                  </a:lnTo>
                  <a:lnTo>
                    <a:pt x="15" y="14"/>
                  </a:lnTo>
                  <a:lnTo>
                    <a:pt x="13" y="17"/>
                  </a:lnTo>
                  <a:lnTo>
                    <a:pt x="9" y="17"/>
                  </a:lnTo>
                  <a:lnTo>
                    <a:pt x="9" y="17"/>
                  </a:lnTo>
                  <a:lnTo>
                    <a:pt x="5" y="17"/>
                  </a:lnTo>
                  <a:lnTo>
                    <a:pt x="3" y="14"/>
                  </a:lnTo>
                  <a:lnTo>
                    <a:pt x="0" y="12"/>
                  </a:lnTo>
                  <a:lnTo>
                    <a:pt x="0" y="8"/>
                  </a:lnTo>
                  <a:lnTo>
                    <a:pt x="0" y="8"/>
                  </a:lnTo>
                  <a:lnTo>
                    <a:pt x="0" y="4"/>
                  </a:lnTo>
                  <a:lnTo>
                    <a:pt x="3" y="2"/>
                  </a:lnTo>
                  <a:lnTo>
                    <a:pt x="5" y="1"/>
                  </a:lnTo>
                  <a:lnTo>
                    <a:pt x="9" y="0"/>
                  </a:lnTo>
                  <a:lnTo>
                    <a:pt x="9" y="0"/>
                  </a:lnTo>
                  <a:lnTo>
                    <a:pt x="13" y="1"/>
                  </a:lnTo>
                  <a:lnTo>
                    <a:pt x="15" y="2"/>
                  </a:lnTo>
                  <a:lnTo>
                    <a:pt x="16" y="4"/>
                  </a:lnTo>
                  <a:lnTo>
                    <a:pt x="17" y="8"/>
                  </a:lnTo>
                  <a:lnTo>
                    <a:pt x="17"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0" name="Freeform 258">
              <a:extLst>
                <a:ext uri="{FF2B5EF4-FFF2-40B4-BE49-F238E27FC236}">
                  <a16:creationId xmlns:a16="http://schemas.microsoft.com/office/drawing/2014/main" id="{180F1048-8DA3-D46D-D568-BCA591819AF2}"/>
                </a:ext>
              </a:extLst>
            </p:cNvPr>
            <p:cNvSpPr>
              <a:spLocks/>
            </p:cNvSpPr>
            <p:nvPr/>
          </p:nvSpPr>
          <p:spPr bwMode="auto">
            <a:xfrm>
              <a:off x="7375335" y="3241523"/>
              <a:ext cx="25101" cy="22929"/>
            </a:xfrm>
            <a:custGeom>
              <a:avLst/>
              <a:gdLst>
                <a:gd name="T0" fmla="*/ 17 w 17"/>
                <a:gd name="T1" fmla="*/ 8 h 17"/>
                <a:gd name="T2" fmla="*/ 17 w 17"/>
                <a:gd name="T3" fmla="*/ 8 h 17"/>
                <a:gd name="T4" fmla="*/ 16 w 17"/>
                <a:gd name="T5" fmla="*/ 12 h 17"/>
                <a:gd name="T6" fmla="*/ 15 w 17"/>
                <a:gd name="T7" fmla="*/ 14 h 17"/>
                <a:gd name="T8" fmla="*/ 11 w 17"/>
                <a:gd name="T9" fmla="*/ 17 h 17"/>
                <a:gd name="T10" fmla="*/ 9 w 17"/>
                <a:gd name="T11" fmla="*/ 17 h 17"/>
                <a:gd name="T12" fmla="*/ 9 w 17"/>
                <a:gd name="T13" fmla="*/ 17 h 17"/>
                <a:gd name="T14" fmla="*/ 5 w 17"/>
                <a:gd name="T15" fmla="*/ 17 h 17"/>
                <a:gd name="T16" fmla="*/ 2 w 17"/>
                <a:gd name="T17" fmla="*/ 14 h 17"/>
                <a:gd name="T18" fmla="*/ 0 w 17"/>
                <a:gd name="T19" fmla="*/ 12 h 17"/>
                <a:gd name="T20" fmla="*/ 0 w 17"/>
                <a:gd name="T21" fmla="*/ 8 h 17"/>
                <a:gd name="T22" fmla="*/ 0 w 17"/>
                <a:gd name="T23" fmla="*/ 8 h 17"/>
                <a:gd name="T24" fmla="*/ 0 w 17"/>
                <a:gd name="T25" fmla="*/ 4 h 17"/>
                <a:gd name="T26" fmla="*/ 2 w 17"/>
                <a:gd name="T27" fmla="*/ 2 h 17"/>
                <a:gd name="T28" fmla="*/ 5 w 17"/>
                <a:gd name="T29" fmla="*/ 1 h 17"/>
                <a:gd name="T30" fmla="*/ 9 w 17"/>
                <a:gd name="T31" fmla="*/ 0 h 17"/>
                <a:gd name="T32" fmla="*/ 9 w 17"/>
                <a:gd name="T33" fmla="*/ 0 h 17"/>
                <a:gd name="T34" fmla="*/ 11 w 17"/>
                <a:gd name="T35" fmla="*/ 1 h 17"/>
                <a:gd name="T36" fmla="*/ 15 w 17"/>
                <a:gd name="T37" fmla="*/ 2 h 17"/>
                <a:gd name="T38" fmla="*/ 16 w 17"/>
                <a:gd name="T39" fmla="*/ 4 h 17"/>
                <a:gd name="T40" fmla="*/ 17 w 17"/>
                <a:gd name="T41" fmla="*/ 8 h 17"/>
                <a:gd name="T42" fmla="*/ 17 w 17"/>
                <a:gd name="T43"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7">
                  <a:moveTo>
                    <a:pt x="17" y="8"/>
                  </a:moveTo>
                  <a:lnTo>
                    <a:pt x="17" y="8"/>
                  </a:lnTo>
                  <a:lnTo>
                    <a:pt x="16" y="12"/>
                  </a:lnTo>
                  <a:lnTo>
                    <a:pt x="15" y="14"/>
                  </a:lnTo>
                  <a:lnTo>
                    <a:pt x="11" y="17"/>
                  </a:lnTo>
                  <a:lnTo>
                    <a:pt x="9" y="17"/>
                  </a:lnTo>
                  <a:lnTo>
                    <a:pt x="9" y="17"/>
                  </a:lnTo>
                  <a:lnTo>
                    <a:pt x="5" y="17"/>
                  </a:lnTo>
                  <a:lnTo>
                    <a:pt x="2" y="14"/>
                  </a:lnTo>
                  <a:lnTo>
                    <a:pt x="0" y="12"/>
                  </a:lnTo>
                  <a:lnTo>
                    <a:pt x="0" y="8"/>
                  </a:lnTo>
                  <a:lnTo>
                    <a:pt x="0" y="8"/>
                  </a:lnTo>
                  <a:lnTo>
                    <a:pt x="0" y="4"/>
                  </a:lnTo>
                  <a:lnTo>
                    <a:pt x="2" y="2"/>
                  </a:lnTo>
                  <a:lnTo>
                    <a:pt x="5" y="1"/>
                  </a:lnTo>
                  <a:lnTo>
                    <a:pt x="9" y="0"/>
                  </a:lnTo>
                  <a:lnTo>
                    <a:pt x="9" y="0"/>
                  </a:lnTo>
                  <a:lnTo>
                    <a:pt x="11" y="1"/>
                  </a:lnTo>
                  <a:lnTo>
                    <a:pt x="15" y="2"/>
                  </a:lnTo>
                  <a:lnTo>
                    <a:pt x="16" y="4"/>
                  </a:lnTo>
                  <a:lnTo>
                    <a:pt x="17" y="8"/>
                  </a:lnTo>
                  <a:lnTo>
                    <a:pt x="17"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1" name="Freeform 259">
              <a:extLst>
                <a:ext uri="{FF2B5EF4-FFF2-40B4-BE49-F238E27FC236}">
                  <a16:creationId xmlns:a16="http://schemas.microsoft.com/office/drawing/2014/main" id="{15B36E3A-B814-B3B6-10A0-E5695EB053E8}"/>
                </a:ext>
              </a:extLst>
            </p:cNvPr>
            <p:cNvSpPr>
              <a:spLocks/>
            </p:cNvSpPr>
            <p:nvPr/>
          </p:nvSpPr>
          <p:spPr bwMode="auto">
            <a:xfrm>
              <a:off x="7409294" y="3241523"/>
              <a:ext cx="28054" cy="22929"/>
            </a:xfrm>
            <a:custGeom>
              <a:avLst/>
              <a:gdLst>
                <a:gd name="T0" fmla="*/ 19 w 19"/>
                <a:gd name="T1" fmla="*/ 8 h 17"/>
                <a:gd name="T2" fmla="*/ 19 w 19"/>
                <a:gd name="T3" fmla="*/ 8 h 17"/>
                <a:gd name="T4" fmla="*/ 18 w 19"/>
                <a:gd name="T5" fmla="*/ 12 h 17"/>
                <a:gd name="T6" fmla="*/ 16 w 19"/>
                <a:gd name="T7" fmla="*/ 14 h 17"/>
                <a:gd name="T8" fmla="*/ 13 w 19"/>
                <a:gd name="T9" fmla="*/ 17 h 17"/>
                <a:gd name="T10" fmla="*/ 10 w 19"/>
                <a:gd name="T11" fmla="*/ 17 h 17"/>
                <a:gd name="T12" fmla="*/ 10 w 19"/>
                <a:gd name="T13" fmla="*/ 17 h 17"/>
                <a:gd name="T14" fmla="*/ 6 w 19"/>
                <a:gd name="T15" fmla="*/ 17 h 17"/>
                <a:gd name="T16" fmla="*/ 4 w 19"/>
                <a:gd name="T17" fmla="*/ 14 h 17"/>
                <a:gd name="T18" fmla="*/ 2 w 19"/>
                <a:gd name="T19" fmla="*/ 12 h 17"/>
                <a:gd name="T20" fmla="*/ 0 w 19"/>
                <a:gd name="T21" fmla="*/ 8 h 17"/>
                <a:gd name="T22" fmla="*/ 0 w 19"/>
                <a:gd name="T23" fmla="*/ 8 h 17"/>
                <a:gd name="T24" fmla="*/ 2 w 19"/>
                <a:gd name="T25" fmla="*/ 4 h 17"/>
                <a:gd name="T26" fmla="*/ 4 w 19"/>
                <a:gd name="T27" fmla="*/ 2 h 17"/>
                <a:gd name="T28" fmla="*/ 6 w 19"/>
                <a:gd name="T29" fmla="*/ 1 h 17"/>
                <a:gd name="T30" fmla="*/ 10 w 19"/>
                <a:gd name="T31" fmla="*/ 0 h 17"/>
                <a:gd name="T32" fmla="*/ 10 w 19"/>
                <a:gd name="T33" fmla="*/ 0 h 17"/>
                <a:gd name="T34" fmla="*/ 13 w 19"/>
                <a:gd name="T35" fmla="*/ 1 h 17"/>
                <a:gd name="T36" fmla="*/ 16 w 19"/>
                <a:gd name="T37" fmla="*/ 2 h 17"/>
                <a:gd name="T38" fmla="*/ 18 w 19"/>
                <a:gd name="T39" fmla="*/ 4 h 17"/>
                <a:gd name="T40" fmla="*/ 19 w 19"/>
                <a:gd name="T41" fmla="*/ 8 h 17"/>
                <a:gd name="T42" fmla="*/ 19 w 19"/>
                <a:gd name="T43"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17">
                  <a:moveTo>
                    <a:pt x="19" y="8"/>
                  </a:moveTo>
                  <a:lnTo>
                    <a:pt x="19" y="8"/>
                  </a:lnTo>
                  <a:lnTo>
                    <a:pt x="18" y="12"/>
                  </a:lnTo>
                  <a:lnTo>
                    <a:pt x="16" y="14"/>
                  </a:lnTo>
                  <a:lnTo>
                    <a:pt x="13" y="17"/>
                  </a:lnTo>
                  <a:lnTo>
                    <a:pt x="10" y="17"/>
                  </a:lnTo>
                  <a:lnTo>
                    <a:pt x="10" y="17"/>
                  </a:lnTo>
                  <a:lnTo>
                    <a:pt x="6" y="17"/>
                  </a:lnTo>
                  <a:lnTo>
                    <a:pt x="4" y="14"/>
                  </a:lnTo>
                  <a:lnTo>
                    <a:pt x="2" y="12"/>
                  </a:lnTo>
                  <a:lnTo>
                    <a:pt x="0" y="8"/>
                  </a:lnTo>
                  <a:lnTo>
                    <a:pt x="0" y="8"/>
                  </a:lnTo>
                  <a:lnTo>
                    <a:pt x="2" y="4"/>
                  </a:lnTo>
                  <a:lnTo>
                    <a:pt x="4" y="2"/>
                  </a:lnTo>
                  <a:lnTo>
                    <a:pt x="6" y="1"/>
                  </a:lnTo>
                  <a:lnTo>
                    <a:pt x="10" y="0"/>
                  </a:lnTo>
                  <a:lnTo>
                    <a:pt x="10" y="0"/>
                  </a:lnTo>
                  <a:lnTo>
                    <a:pt x="13" y="1"/>
                  </a:lnTo>
                  <a:lnTo>
                    <a:pt x="16" y="2"/>
                  </a:lnTo>
                  <a:lnTo>
                    <a:pt x="18" y="4"/>
                  </a:lnTo>
                  <a:lnTo>
                    <a:pt x="19" y="8"/>
                  </a:lnTo>
                  <a:lnTo>
                    <a:pt x="1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2" name="Rectangle 260">
              <a:extLst>
                <a:ext uri="{FF2B5EF4-FFF2-40B4-BE49-F238E27FC236}">
                  <a16:creationId xmlns:a16="http://schemas.microsoft.com/office/drawing/2014/main" id="{512CAE42-4F72-99E1-DF54-1507D94F46C2}"/>
                </a:ext>
              </a:extLst>
            </p:cNvPr>
            <p:cNvSpPr>
              <a:spLocks noChangeArrowheads="1"/>
            </p:cNvSpPr>
            <p:nvPr/>
          </p:nvSpPr>
          <p:spPr bwMode="auto">
            <a:xfrm>
              <a:off x="7471307" y="3242873"/>
              <a:ext cx="301206" cy="2023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3" name="Rectangle 261">
              <a:extLst>
                <a:ext uri="{FF2B5EF4-FFF2-40B4-BE49-F238E27FC236}">
                  <a16:creationId xmlns:a16="http://schemas.microsoft.com/office/drawing/2014/main" id="{CD7A0892-DB42-5906-D049-0269D8FC3183}"/>
                </a:ext>
              </a:extLst>
            </p:cNvPr>
            <p:cNvSpPr>
              <a:spLocks noChangeArrowheads="1"/>
            </p:cNvSpPr>
            <p:nvPr/>
          </p:nvSpPr>
          <p:spPr bwMode="auto">
            <a:xfrm>
              <a:off x="7342852" y="3315704"/>
              <a:ext cx="106308" cy="8092"/>
            </a:xfrm>
            <a:prstGeom prst="rect">
              <a:avLst/>
            </a:prstGeom>
            <a:solidFill>
              <a:srgbClr val="8FC4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4" name="Rectangle 262">
              <a:extLst>
                <a:ext uri="{FF2B5EF4-FFF2-40B4-BE49-F238E27FC236}">
                  <a16:creationId xmlns:a16="http://schemas.microsoft.com/office/drawing/2014/main" id="{C48240DC-3520-6475-55C1-34CBA51C382B}"/>
                </a:ext>
              </a:extLst>
            </p:cNvPr>
            <p:cNvSpPr>
              <a:spLocks noChangeArrowheads="1"/>
            </p:cNvSpPr>
            <p:nvPr/>
          </p:nvSpPr>
          <p:spPr bwMode="auto">
            <a:xfrm>
              <a:off x="7342852" y="3500480"/>
              <a:ext cx="113691" cy="8092"/>
            </a:xfrm>
            <a:prstGeom prst="rect">
              <a:avLst/>
            </a:prstGeom>
            <a:solidFill>
              <a:srgbClr val="8FC4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5" name="Rectangle 263">
              <a:extLst>
                <a:ext uri="{FF2B5EF4-FFF2-40B4-BE49-F238E27FC236}">
                  <a16:creationId xmlns:a16="http://schemas.microsoft.com/office/drawing/2014/main" id="{29810933-DB3D-07E4-2CC6-0F3FE9CD90E8}"/>
                </a:ext>
              </a:extLst>
            </p:cNvPr>
            <p:cNvSpPr>
              <a:spLocks noChangeArrowheads="1"/>
            </p:cNvSpPr>
            <p:nvPr/>
          </p:nvSpPr>
          <p:spPr bwMode="auto">
            <a:xfrm>
              <a:off x="7342852" y="3524757"/>
              <a:ext cx="423756" cy="9442"/>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6" name="Rectangle 264">
              <a:extLst>
                <a:ext uri="{FF2B5EF4-FFF2-40B4-BE49-F238E27FC236}">
                  <a16:creationId xmlns:a16="http://schemas.microsoft.com/office/drawing/2014/main" id="{5AE5B2AF-9867-2AF4-7E1B-45F61846D763}"/>
                </a:ext>
              </a:extLst>
            </p:cNvPr>
            <p:cNvSpPr>
              <a:spLocks noChangeArrowheads="1"/>
            </p:cNvSpPr>
            <p:nvPr/>
          </p:nvSpPr>
          <p:spPr bwMode="auto">
            <a:xfrm>
              <a:off x="7342852" y="3550383"/>
              <a:ext cx="423756" cy="9442"/>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7" name="Rectangle 265">
              <a:extLst>
                <a:ext uri="{FF2B5EF4-FFF2-40B4-BE49-F238E27FC236}">
                  <a16:creationId xmlns:a16="http://schemas.microsoft.com/office/drawing/2014/main" id="{829E2D73-5C94-695E-D73C-7D9DE9B8C3C4}"/>
                </a:ext>
              </a:extLst>
            </p:cNvPr>
            <p:cNvSpPr>
              <a:spLocks noChangeArrowheads="1"/>
            </p:cNvSpPr>
            <p:nvPr/>
          </p:nvSpPr>
          <p:spPr bwMode="auto">
            <a:xfrm>
              <a:off x="7701642" y="3315704"/>
              <a:ext cx="66443" cy="8092"/>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8" name="Rectangle 266">
              <a:extLst>
                <a:ext uri="{FF2B5EF4-FFF2-40B4-BE49-F238E27FC236}">
                  <a16:creationId xmlns:a16="http://schemas.microsoft.com/office/drawing/2014/main" id="{99A41246-B1AC-C1C3-6123-106F3BAF61EF}"/>
                </a:ext>
              </a:extLst>
            </p:cNvPr>
            <p:cNvSpPr>
              <a:spLocks noChangeArrowheads="1"/>
            </p:cNvSpPr>
            <p:nvPr/>
          </p:nvSpPr>
          <p:spPr bwMode="auto">
            <a:xfrm>
              <a:off x="7617481" y="3315704"/>
              <a:ext cx="67919" cy="8092"/>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29" name="Rectangle 267">
              <a:extLst>
                <a:ext uri="{FF2B5EF4-FFF2-40B4-BE49-F238E27FC236}">
                  <a16:creationId xmlns:a16="http://schemas.microsoft.com/office/drawing/2014/main" id="{0428A5DC-0B07-8E34-6175-6E693CBE3FF1}"/>
                </a:ext>
              </a:extLst>
            </p:cNvPr>
            <p:cNvSpPr>
              <a:spLocks noChangeArrowheads="1"/>
            </p:cNvSpPr>
            <p:nvPr/>
          </p:nvSpPr>
          <p:spPr bwMode="auto">
            <a:xfrm>
              <a:off x="7531844" y="3315704"/>
              <a:ext cx="67919" cy="8092"/>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0" name="Rectangle 268">
              <a:extLst>
                <a:ext uri="{FF2B5EF4-FFF2-40B4-BE49-F238E27FC236}">
                  <a16:creationId xmlns:a16="http://schemas.microsoft.com/office/drawing/2014/main" id="{6EFFDFC4-EA00-99E4-0118-F94332D269FD}"/>
                </a:ext>
              </a:extLst>
            </p:cNvPr>
            <p:cNvSpPr>
              <a:spLocks noChangeArrowheads="1"/>
            </p:cNvSpPr>
            <p:nvPr/>
          </p:nvSpPr>
          <p:spPr bwMode="auto">
            <a:xfrm>
              <a:off x="7342852" y="3357514"/>
              <a:ext cx="425232" cy="115991"/>
            </a:xfrm>
            <a:prstGeom prst="rect">
              <a:avLst/>
            </a:prstGeom>
            <a:solidFill>
              <a:srgbClr val="15B0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1" name="Freeform 269">
              <a:extLst>
                <a:ext uri="{FF2B5EF4-FFF2-40B4-BE49-F238E27FC236}">
                  <a16:creationId xmlns:a16="http://schemas.microsoft.com/office/drawing/2014/main" id="{4E57AD99-34DA-8BC2-594C-CD0D698CB96A}"/>
                </a:ext>
              </a:extLst>
            </p:cNvPr>
            <p:cNvSpPr>
              <a:spLocks/>
            </p:cNvSpPr>
            <p:nvPr/>
          </p:nvSpPr>
          <p:spPr bwMode="auto">
            <a:xfrm>
              <a:off x="7415200" y="3357514"/>
              <a:ext cx="352884" cy="115991"/>
            </a:xfrm>
            <a:custGeom>
              <a:avLst/>
              <a:gdLst>
                <a:gd name="T0" fmla="*/ 0 w 239"/>
                <a:gd name="T1" fmla="*/ 86 h 86"/>
                <a:gd name="T2" fmla="*/ 239 w 239"/>
                <a:gd name="T3" fmla="*/ 86 h 86"/>
                <a:gd name="T4" fmla="*/ 239 w 239"/>
                <a:gd name="T5" fmla="*/ 0 h 86"/>
                <a:gd name="T6" fmla="*/ 142 w 239"/>
                <a:gd name="T7" fmla="*/ 0 h 86"/>
                <a:gd name="T8" fmla="*/ 0 w 239"/>
                <a:gd name="T9" fmla="*/ 86 h 86"/>
              </a:gdLst>
              <a:ahLst/>
              <a:cxnLst>
                <a:cxn ang="0">
                  <a:pos x="T0" y="T1"/>
                </a:cxn>
                <a:cxn ang="0">
                  <a:pos x="T2" y="T3"/>
                </a:cxn>
                <a:cxn ang="0">
                  <a:pos x="T4" y="T5"/>
                </a:cxn>
                <a:cxn ang="0">
                  <a:pos x="T6" y="T7"/>
                </a:cxn>
                <a:cxn ang="0">
                  <a:pos x="T8" y="T9"/>
                </a:cxn>
              </a:cxnLst>
              <a:rect l="0" t="0" r="r" b="b"/>
              <a:pathLst>
                <a:path w="239" h="86">
                  <a:moveTo>
                    <a:pt x="0" y="86"/>
                  </a:moveTo>
                  <a:lnTo>
                    <a:pt x="239" y="86"/>
                  </a:lnTo>
                  <a:lnTo>
                    <a:pt x="239" y="0"/>
                  </a:lnTo>
                  <a:lnTo>
                    <a:pt x="142" y="0"/>
                  </a:lnTo>
                  <a:lnTo>
                    <a:pt x="0" y="86"/>
                  </a:lnTo>
                  <a:close/>
                </a:path>
              </a:pathLst>
            </a:custGeom>
            <a:solidFill>
              <a:srgbClr val="1695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2" name="Freeform 270">
              <a:extLst>
                <a:ext uri="{FF2B5EF4-FFF2-40B4-BE49-F238E27FC236}">
                  <a16:creationId xmlns:a16="http://schemas.microsoft.com/office/drawing/2014/main" id="{05A6DA3E-DC83-90D5-ABFA-D770D2646822}"/>
                </a:ext>
              </a:extLst>
            </p:cNvPr>
            <p:cNvSpPr>
              <a:spLocks noEditPoints="1"/>
            </p:cNvSpPr>
            <p:nvPr/>
          </p:nvSpPr>
          <p:spPr bwMode="auto">
            <a:xfrm>
              <a:off x="7531844" y="3344027"/>
              <a:ext cx="367649" cy="334485"/>
            </a:xfrm>
            <a:custGeom>
              <a:avLst/>
              <a:gdLst>
                <a:gd name="T0" fmla="*/ 223 w 249"/>
                <a:gd name="T1" fmla="*/ 88 h 248"/>
                <a:gd name="T2" fmla="*/ 238 w 249"/>
                <a:gd name="T3" fmla="*/ 76 h 248"/>
                <a:gd name="T4" fmla="*/ 224 w 249"/>
                <a:gd name="T5" fmla="*/ 49 h 248"/>
                <a:gd name="T6" fmla="*/ 216 w 249"/>
                <a:gd name="T7" fmla="*/ 47 h 248"/>
                <a:gd name="T8" fmla="*/ 199 w 249"/>
                <a:gd name="T9" fmla="*/ 31 h 248"/>
                <a:gd name="T10" fmla="*/ 199 w 249"/>
                <a:gd name="T11" fmla="*/ 23 h 248"/>
                <a:gd name="T12" fmla="*/ 171 w 249"/>
                <a:gd name="T13" fmla="*/ 9 h 248"/>
                <a:gd name="T14" fmla="*/ 158 w 249"/>
                <a:gd name="T15" fmla="*/ 25 h 248"/>
                <a:gd name="T16" fmla="*/ 142 w 249"/>
                <a:gd name="T17" fmla="*/ 6 h 248"/>
                <a:gd name="T18" fmla="*/ 136 w 249"/>
                <a:gd name="T19" fmla="*/ 0 h 248"/>
                <a:gd name="T20" fmla="*/ 106 w 249"/>
                <a:gd name="T21" fmla="*/ 1 h 248"/>
                <a:gd name="T22" fmla="*/ 104 w 249"/>
                <a:gd name="T23" fmla="*/ 21 h 248"/>
                <a:gd name="T24" fmla="*/ 79 w 249"/>
                <a:gd name="T25" fmla="*/ 11 h 248"/>
                <a:gd name="T26" fmla="*/ 49 w 249"/>
                <a:gd name="T27" fmla="*/ 23 h 248"/>
                <a:gd name="T28" fmla="*/ 47 w 249"/>
                <a:gd name="T29" fmla="*/ 30 h 248"/>
                <a:gd name="T30" fmla="*/ 43 w 249"/>
                <a:gd name="T31" fmla="*/ 57 h 248"/>
                <a:gd name="T32" fmla="*/ 26 w 249"/>
                <a:gd name="T33" fmla="*/ 49 h 248"/>
                <a:gd name="T34" fmla="*/ 10 w 249"/>
                <a:gd name="T35" fmla="*/ 74 h 248"/>
                <a:gd name="T36" fmla="*/ 11 w 249"/>
                <a:gd name="T37" fmla="*/ 83 h 248"/>
                <a:gd name="T38" fmla="*/ 6 w 249"/>
                <a:gd name="T39" fmla="*/ 106 h 248"/>
                <a:gd name="T40" fmla="*/ 0 w 249"/>
                <a:gd name="T41" fmla="*/ 110 h 248"/>
                <a:gd name="T42" fmla="*/ 0 w 249"/>
                <a:gd name="T43" fmla="*/ 141 h 248"/>
                <a:gd name="T44" fmla="*/ 21 w 249"/>
                <a:gd name="T45" fmla="*/ 144 h 248"/>
                <a:gd name="T46" fmla="*/ 14 w 249"/>
                <a:gd name="T47" fmla="*/ 168 h 248"/>
                <a:gd name="T48" fmla="*/ 11 w 249"/>
                <a:gd name="T49" fmla="*/ 176 h 248"/>
                <a:gd name="T50" fmla="*/ 27 w 249"/>
                <a:gd name="T51" fmla="*/ 201 h 248"/>
                <a:gd name="T52" fmla="*/ 46 w 249"/>
                <a:gd name="T53" fmla="*/ 194 h 248"/>
                <a:gd name="T54" fmla="*/ 49 w 249"/>
                <a:gd name="T55" fmla="*/ 220 h 248"/>
                <a:gd name="T56" fmla="*/ 74 w 249"/>
                <a:gd name="T57" fmla="*/ 239 h 248"/>
                <a:gd name="T58" fmla="*/ 81 w 249"/>
                <a:gd name="T59" fmla="*/ 238 h 248"/>
                <a:gd name="T60" fmla="*/ 106 w 249"/>
                <a:gd name="T61" fmla="*/ 227 h 248"/>
                <a:gd name="T62" fmla="*/ 108 w 249"/>
                <a:gd name="T63" fmla="*/ 247 h 248"/>
                <a:gd name="T64" fmla="*/ 138 w 249"/>
                <a:gd name="T65" fmla="*/ 248 h 248"/>
                <a:gd name="T66" fmla="*/ 145 w 249"/>
                <a:gd name="T67" fmla="*/ 242 h 248"/>
                <a:gd name="T68" fmla="*/ 168 w 249"/>
                <a:gd name="T69" fmla="*/ 236 h 248"/>
                <a:gd name="T70" fmla="*/ 174 w 249"/>
                <a:gd name="T71" fmla="*/ 238 h 248"/>
                <a:gd name="T72" fmla="*/ 201 w 249"/>
                <a:gd name="T73" fmla="*/ 223 h 248"/>
                <a:gd name="T74" fmla="*/ 194 w 249"/>
                <a:gd name="T75" fmla="*/ 202 h 248"/>
                <a:gd name="T76" fmla="*/ 218 w 249"/>
                <a:gd name="T77" fmla="*/ 199 h 248"/>
                <a:gd name="T78" fmla="*/ 227 w 249"/>
                <a:gd name="T79" fmla="*/ 196 h 248"/>
                <a:gd name="T80" fmla="*/ 240 w 249"/>
                <a:gd name="T81" fmla="*/ 169 h 248"/>
                <a:gd name="T82" fmla="*/ 223 w 249"/>
                <a:gd name="T83" fmla="*/ 158 h 248"/>
                <a:gd name="T84" fmla="*/ 245 w 249"/>
                <a:gd name="T85" fmla="*/ 142 h 248"/>
                <a:gd name="T86" fmla="*/ 249 w 249"/>
                <a:gd name="T87" fmla="*/ 110 h 248"/>
                <a:gd name="T88" fmla="*/ 245 w 249"/>
                <a:gd name="T89" fmla="*/ 104 h 248"/>
                <a:gd name="T90" fmla="*/ 125 w 249"/>
                <a:gd name="T91" fmla="*/ 175 h 248"/>
                <a:gd name="T92" fmla="*/ 88 w 249"/>
                <a:gd name="T93" fmla="*/ 160 h 248"/>
                <a:gd name="T94" fmla="*/ 73 w 249"/>
                <a:gd name="T95" fmla="*/ 123 h 248"/>
                <a:gd name="T96" fmla="*/ 81 w 249"/>
                <a:gd name="T97" fmla="*/ 95 h 248"/>
                <a:gd name="T98" fmla="*/ 113 w 249"/>
                <a:gd name="T99" fmla="*/ 74 h 248"/>
                <a:gd name="T100" fmla="*/ 144 w 249"/>
                <a:gd name="T101" fmla="*/ 76 h 248"/>
                <a:gd name="T102" fmla="*/ 171 w 249"/>
                <a:gd name="T103" fmla="*/ 104 h 248"/>
                <a:gd name="T104" fmla="*/ 174 w 249"/>
                <a:gd name="T105" fmla="*/ 134 h 248"/>
                <a:gd name="T106" fmla="*/ 153 w 249"/>
                <a:gd name="T107" fmla="*/ 167 h 248"/>
                <a:gd name="T108" fmla="*/ 125 w 249"/>
                <a:gd name="T109" fmla="*/ 17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9" h="248">
                  <a:moveTo>
                    <a:pt x="243" y="104"/>
                  </a:moveTo>
                  <a:lnTo>
                    <a:pt x="227" y="104"/>
                  </a:lnTo>
                  <a:lnTo>
                    <a:pt x="227" y="104"/>
                  </a:lnTo>
                  <a:lnTo>
                    <a:pt x="223" y="88"/>
                  </a:lnTo>
                  <a:lnTo>
                    <a:pt x="236" y="80"/>
                  </a:lnTo>
                  <a:lnTo>
                    <a:pt x="236" y="80"/>
                  </a:lnTo>
                  <a:lnTo>
                    <a:pt x="237" y="79"/>
                  </a:lnTo>
                  <a:lnTo>
                    <a:pt x="238" y="76"/>
                  </a:lnTo>
                  <a:lnTo>
                    <a:pt x="238" y="74"/>
                  </a:lnTo>
                  <a:lnTo>
                    <a:pt x="238" y="72"/>
                  </a:lnTo>
                  <a:lnTo>
                    <a:pt x="224" y="49"/>
                  </a:lnTo>
                  <a:lnTo>
                    <a:pt x="224" y="49"/>
                  </a:lnTo>
                  <a:lnTo>
                    <a:pt x="223" y="47"/>
                  </a:lnTo>
                  <a:lnTo>
                    <a:pt x="221" y="47"/>
                  </a:lnTo>
                  <a:lnTo>
                    <a:pt x="218" y="46"/>
                  </a:lnTo>
                  <a:lnTo>
                    <a:pt x="216" y="47"/>
                  </a:lnTo>
                  <a:lnTo>
                    <a:pt x="203" y="54"/>
                  </a:lnTo>
                  <a:lnTo>
                    <a:pt x="203" y="54"/>
                  </a:lnTo>
                  <a:lnTo>
                    <a:pt x="191" y="43"/>
                  </a:lnTo>
                  <a:lnTo>
                    <a:pt x="199" y="31"/>
                  </a:lnTo>
                  <a:lnTo>
                    <a:pt x="199" y="31"/>
                  </a:lnTo>
                  <a:lnTo>
                    <a:pt x="200" y="28"/>
                  </a:lnTo>
                  <a:lnTo>
                    <a:pt x="200" y="26"/>
                  </a:lnTo>
                  <a:lnTo>
                    <a:pt x="199" y="23"/>
                  </a:lnTo>
                  <a:lnTo>
                    <a:pt x="196" y="22"/>
                  </a:lnTo>
                  <a:lnTo>
                    <a:pt x="174" y="9"/>
                  </a:lnTo>
                  <a:lnTo>
                    <a:pt x="174" y="9"/>
                  </a:lnTo>
                  <a:lnTo>
                    <a:pt x="171" y="9"/>
                  </a:lnTo>
                  <a:lnTo>
                    <a:pt x="169" y="9"/>
                  </a:lnTo>
                  <a:lnTo>
                    <a:pt x="168" y="10"/>
                  </a:lnTo>
                  <a:lnTo>
                    <a:pt x="165" y="11"/>
                  </a:lnTo>
                  <a:lnTo>
                    <a:pt x="158" y="25"/>
                  </a:lnTo>
                  <a:lnTo>
                    <a:pt x="158" y="25"/>
                  </a:lnTo>
                  <a:lnTo>
                    <a:pt x="142" y="21"/>
                  </a:lnTo>
                  <a:lnTo>
                    <a:pt x="142" y="6"/>
                  </a:lnTo>
                  <a:lnTo>
                    <a:pt x="142" y="6"/>
                  </a:lnTo>
                  <a:lnTo>
                    <a:pt x="142" y="4"/>
                  </a:lnTo>
                  <a:lnTo>
                    <a:pt x="141" y="1"/>
                  </a:lnTo>
                  <a:lnTo>
                    <a:pt x="138" y="0"/>
                  </a:lnTo>
                  <a:lnTo>
                    <a:pt x="136" y="0"/>
                  </a:lnTo>
                  <a:lnTo>
                    <a:pt x="110" y="0"/>
                  </a:lnTo>
                  <a:lnTo>
                    <a:pt x="110" y="0"/>
                  </a:lnTo>
                  <a:lnTo>
                    <a:pt x="107" y="0"/>
                  </a:lnTo>
                  <a:lnTo>
                    <a:pt x="106" y="1"/>
                  </a:lnTo>
                  <a:lnTo>
                    <a:pt x="104" y="4"/>
                  </a:lnTo>
                  <a:lnTo>
                    <a:pt x="104" y="6"/>
                  </a:lnTo>
                  <a:lnTo>
                    <a:pt x="104" y="21"/>
                  </a:lnTo>
                  <a:lnTo>
                    <a:pt x="104" y="21"/>
                  </a:lnTo>
                  <a:lnTo>
                    <a:pt x="88" y="26"/>
                  </a:lnTo>
                  <a:lnTo>
                    <a:pt x="80" y="12"/>
                  </a:lnTo>
                  <a:lnTo>
                    <a:pt x="80" y="12"/>
                  </a:lnTo>
                  <a:lnTo>
                    <a:pt x="79" y="11"/>
                  </a:lnTo>
                  <a:lnTo>
                    <a:pt x="76" y="10"/>
                  </a:lnTo>
                  <a:lnTo>
                    <a:pt x="74" y="10"/>
                  </a:lnTo>
                  <a:lnTo>
                    <a:pt x="71" y="10"/>
                  </a:lnTo>
                  <a:lnTo>
                    <a:pt x="49" y="23"/>
                  </a:lnTo>
                  <a:lnTo>
                    <a:pt x="49" y="23"/>
                  </a:lnTo>
                  <a:lnTo>
                    <a:pt x="48" y="25"/>
                  </a:lnTo>
                  <a:lnTo>
                    <a:pt x="47" y="27"/>
                  </a:lnTo>
                  <a:lnTo>
                    <a:pt x="47" y="30"/>
                  </a:lnTo>
                  <a:lnTo>
                    <a:pt x="47" y="32"/>
                  </a:lnTo>
                  <a:lnTo>
                    <a:pt x="55" y="46"/>
                  </a:lnTo>
                  <a:lnTo>
                    <a:pt x="55" y="46"/>
                  </a:lnTo>
                  <a:lnTo>
                    <a:pt x="43" y="57"/>
                  </a:lnTo>
                  <a:lnTo>
                    <a:pt x="31" y="49"/>
                  </a:lnTo>
                  <a:lnTo>
                    <a:pt x="31" y="49"/>
                  </a:lnTo>
                  <a:lnTo>
                    <a:pt x="28" y="48"/>
                  </a:lnTo>
                  <a:lnTo>
                    <a:pt x="26" y="49"/>
                  </a:lnTo>
                  <a:lnTo>
                    <a:pt x="23" y="49"/>
                  </a:lnTo>
                  <a:lnTo>
                    <a:pt x="22" y="52"/>
                  </a:lnTo>
                  <a:lnTo>
                    <a:pt x="10" y="74"/>
                  </a:lnTo>
                  <a:lnTo>
                    <a:pt x="10" y="74"/>
                  </a:lnTo>
                  <a:lnTo>
                    <a:pt x="9" y="76"/>
                  </a:lnTo>
                  <a:lnTo>
                    <a:pt x="9" y="79"/>
                  </a:lnTo>
                  <a:lnTo>
                    <a:pt x="10" y="81"/>
                  </a:lnTo>
                  <a:lnTo>
                    <a:pt x="11" y="83"/>
                  </a:lnTo>
                  <a:lnTo>
                    <a:pt x="25" y="90"/>
                  </a:lnTo>
                  <a:lnTo>
                    <a:pt x="25" y="90"/>
                  </a:lnTo>
                  <a:lnTo>
                    <a:pt x="21" y="106"/>
                  </a:lnTo>
                  <a:lnTo>
                    <a:pt x="6" y="106"/>
                  </a:lnTo>
                  <a:lnTo>
                    <a:pt x="6" y="106"/>
                  </a:lnTo>
                  <a:lnTo>
                    <a:pt x="4" y="106"/>
                  </a:lnTo>
                  <a:lnTo>
                    <a:pt x="1" y="109"/>
                  </a:lnTo>
                  <a:lnTo>
                    <a:pt x="0" y="110"/>
                  </a:lnTo>
                  <a:lnTo>
                    <a:pt x="0" y="112"/>
                  </a:lnTo>
                  <a:lnTo>
                    <a:pt x="0" y="138"/>
                  </a:lnTo>
                  <a:lnTo>
                    <a:pt x="0" y="138"/>
                  </a:lnTo>
                  <a:lnTo>
                    <a:pt x="0" y="141"/>
                  </a:lnTo>
                  <a:lnTo>
                    <a:pt x="1" y="143"/>
                  </a:lnTo>
                  <a:lnTo>
                    <a:pt x="4" y="144"/>
                  </a:lnTo>
                  <a:lnTo>
                    <a:pt x="6" y="144"/>
                  </a:lnTo>
                  <a:lnTo>
                    <a:pt x="21" y="144"/>
                  </a:lnTo>
                  <a:lnTo>
                    <a:pt x="21" y="144"/>
                  </a:lnTo>
                  <a:lnTo>
                    <a:pt x="26" y="160"/>
                  </a:lnTo>
                  <a:lnTo>
                    <a:pt x="14" y="168"/>
                  </a:lnTo>
                  <a:lnTo>
                    <a:pt x="14" y="168"/>
                  </a:lnTo>
                  <a:lnTo>
                    <a:pt x="11" y="169"/>
                  </a:lnTo>
                  <a:lnTo>
                    <a:pt x="10" y="171"/>
                  </a:lnTo>
                  <a:lnTo>
                    <a:pt x="10" y="174"/>
                  </a:lnTo>
                  <a:lnTo>
                    <a:pt x="11" y="176"/>
                  </a:lnTo>
                  <a:lnTo>
                    <a:pt x="23" y="199"/>
                  </a:lnTo>
                  <a:lnTo>
                    <a:pt x="23" y="199"/>
                  </a:lnTo>
                  <a:lnTo>
                    <a:pt x="25" y="201"/>
                  </a:lnTo>
                  <a:lnTo>
                    <a:pt x="27" y="201"/>
                  </a:lnTo>
                  <a:lnTo>
                    <a:pt x="30" y="202"/>
                  </a:lnTo>
                  <a:lnTo>
                    <a:pt x="32" y="201"/>
                  </a:lnTo>
                  <a:lnTo>
                    <a:pt x="46" y="194"/>
                  </a:lnTo>
                  <a:lnTo>
                    <a:pt x="46" y="194"/>
                  </a:lnTo>
                  <a:lnTo>
                    <a:pt x="57" y="205"/>
                  </a:lnTo>
                  <a:lnTo>
                    <a:pt x="49" y="217"/>
                  </a:lnTo>
                  <a:lnTo>
                    <a:pt x="49" y="217"/>
                  </a:lnTo>
                  <a:lnTo>
                    <a:pt x="49" y="220"/>
                  </a:lnTo>
                  <a:lnTo>
                    <a:pt x="49" y="222"/>
                  </a:lnTo>
                  <a:lnTo>
                    <a:pt x="51" y="224"/>
                  </a:lnTo>
                  <a:lnTo>
                    <a:pt x="52" y="226"/>
                  </a:lnTo>
                  <a:lnTo>
                    <a:pt x="74" y="239"/>
                  </a:lnTo>
                  <a:lnTo>
                    <a:pt x="74" y="239"/>
                  </a:lnTo>
                  <a:lnTo>
                    <a:pt x="76" y="239"/>
                  </a:lnTo>
                  <a:lnTo>
                    <a:pt x="79" y="239"/>
                  </a:lnTo>
                  <a:lnTo>
                    <a:pt x="81" y="238"/>
                  </a:lnTo>
                  <a:lnTo>
                    <a:pt x="83" y="237"/>
                  </a:lnTo>
                  <a:lnTo>
                    <a:pt x="91" y="223"/>
                  </a:lnTo>
                  <a:lnTo>
                    <a:pt x="91" y="223"/>
                  </a:lnTo>
                  <a:lnTo>
                    <a:pt x="106" y="227"/>
                  </a:lnTo>
                  <a:lnTo>
                    <a:pt x="106" y="242"/>
                  </a:lnTo>
                  <a:lnTo>
                    <a:pt x="106" y="242"/>
                  </a:lnTo>
                  <a:lnTo>
                    <a:pt x="107" y="244"/>
                  </a:lnTo>
                  <a:lnTo>
                    <a:pt x="108" y="247"/>
                  </a:lnTo>
                  <a:lnTo>
                    <a:pt x="111" y="248"/>
                  </a:lnTo>
                  <a:lnTo>
                    <a:pt x="113" y="248"/>
                  </a:lnTo>
                  <a:lnTo>
                    <a:pt x="138" y="248"/>
                  </a:lnTo>
                  <a:lnTo>
                    <a:pt x="138" y="248"/>
                  </a:lnTo>
                  <a:lnTo>
                    <a:pt x="141" y="248"/>
                  </a:lnTo>
                  <a:lnTo>
                    <a:pt x="143" y="247"/>
                  </a:lnTo>
                  <a:lnTo>
                    <a:pt x="144" y="244"/>
                  </a:lnTo>
                  <a:lnTo>
                    <a:pt x="145" y="242"/>
                  </a:lnTo>
                  <a:lnTo>
                    <a:pt x="145" y="227"/>
                  </a:lnTo>
                  <a:lnTo>
                    <a:pt x="145" y="227"/>
                  </a:lnTo>
                  <a:lnTo>
                    <a:pt x="160" y="222"/>
                  </a:lnTo>
                  <a:lnTo>
                    <a:pt x="168" y="236"/>
                  </a:lnTo>
                  <a:lnTo>
                    <a:pt x="168" y="236"/>
                  </a:lnTo>
                  <a:lnTo>
                    <a:pt x="170" y="237"/>
                  </a:lnTo>
                  <a:lnTo>
                    <a:pt x="171" y="238"/>
                  </a:lnTo>
                  <a:lnTo>
                    <a:pt x="174" y="238"/>
                  </a:lnTo>
                  <a:lnTo>
                    <a:pt x="176" y="238"/>
                  </a:lnTo>
                  <a:lnTo>
                    <a:pt x="199" y="224"/>
                  </a:lnTo>
                  <a:lnTo>
                    <a:pt x="199" y="224"/>
                  </a:lnTo>
                  <a:lnTo>
                    <a:pt x="201" y="223"/>
                  </a:lnTo>
                  <a:lnTo>
                    <a:pt x="202" y="221"/>
                  </a:lnTo>
                  <a:lnTo>
                    <a:pt x="202" y="218"/>
                  </a:lnTo>
                  <a:lnTo>
                    <a:pt x="201" y="216"/>
                  </a:lnTo>
                  <a:lnTo>
                    <a:pt x="194" y="202"/>
                  </a:lnTo>
                  <a:lnTo>
                    <a:pt x="194" y="202"/>
                  </a:lnTo>
                  <a:lnTo>
                    <a:pt x="205" y="191"/>
                  </a:lnTo>
                  <a:lnTo>
                    <a:pt x="218" y="199"/>
                  </a:lnTo>
                  <a:lnTo>
                    <a:pt x="218" y="199"/>
                  </a:lnTo>
                  <a:lnTo>
                    <a:pt x="219" y="200"/>
                  </a:lnTo>
                  <a:lnTo>
                    <a:pt x="222" y="199"/>
                  </a:lnTo>
                  <a:lnTo>
                    <a:pt x="224" y="199"/>
                  </a:lnTo>
                  <a:lnTo>
                    <a:pt x="227" y="196"/>
                  </a:lnTo>
                  <a:lnTo>
                    <a:pt x="239" y="174"/>
                  </a:lnTo>
                  <a:lnTo>
                    <a:pt x="239" y="174"/>
                  </a:lnTo>
                  <a:lnTo>
                    <a:pt x="240" y="171"/>
                  </a:lnTo>
                  <a:lnTo>
                    <a:pt x="240" y="169"/>
                  </a:lnTo>
                  <a:lnTo>
                    <a:pt x="239" y="167"/>
                  </a:lnTo>
                  <a:lnTo>
                    <a:pt x="237" y="165"/>
                  </a:lnTo>
                  <a:lnTo>
                    <a:pt x="223" y="158"/>
                  </a:lnTo>
                  <a:lnTo>
                    <a:pt x="223" y="158"/>
                  </a:lnTo>
                  <a:lnTo>
                    <a:pt x="228" y="142"/>
                  </a:lnTo>
                  <a:lnTo>
                    <a:pt x="243" y="142"/>
                  </a:lnTo>
                  <a:lnTo>
                    <a:pt x="243" y="142"/>
                  </a:lnTo>
                  <a:lnTo>
                    <a:pt x="245" y="142"/>
                  </a:lnTo>
                  <a:lnTo>
                    <a:pt x="247" y="139"/>
                  </a:lnTo>
                  <a:lnTo>
                    <a:pt x="248" y="138"/>
                  </a:lnTo>
                  <a:lnTo>
                    <a:pt x="249" y="136"/>
                  </a:lnTo>
                  <a:lnTo>
                    <a:pt x="249" y="110"/>
                  </a:lnTo>
                  <a:lnTo>
                    <a:pt x="249" y="110"/>
                  </a:lnTo>
                  <a:lnTo>
                    <a:pt x="248" y="107"/>
                  </a:lnTo>
                  <a:lnTo>
                    <a:pt x="247" y="105"/>
                  </a:lnTo>
                  <a:lnTo>
                    <a:pt x="245" y="104"/>
                  </a:lnTo>
                  <a:lnTo>
                    <a:pt x="243" y="104"/>
                  </a:lnTo>
                  <a:lnTo>
                    <a:pt x="243" y="104"/>
                  </a:lnTo>
                  <a:close/>
                  <a:moveTo>
                    <a:pt x="125" y="175"/>
                  </a:moveTo>
                  <a:lnTo>
                    <a:pt x="125" y="175"/>
                  </a:lnTo>
                  <a:lnTo>
                    <a:pt x="113" y="174"/>
                  </a:lnTo>
                  <a:lnTo>
                    <a:pt x="105" y="171"/>
                  </a:lnTo>
                  <a:lnTo>
                    <a:pt x="96" y="167"/>
                  </a:lnTo>
                  <a:lnTo>
                    <a:pt x="88" y="160"/>
                  </a:lnTo>
                  <a:lnTo>
                    <a:pt x="81" y="153"/>
                  </a:lnTo>
                  <a:lnTo>
                    <a:pt x="78" y="144"/>
                  </a:lnTo>
                  <a:lnTo>
                    <a:pt x="74" y="134"/>
                  </a:lnTo>
                  <a:lnTo>
                    <a:pt x="73" y="123"/>
                  </a:lnTo>
                  <a:lnTo>
                    <a:pt x="73" y="123"/>
                  </a:lnTo>
                  <a:lnTo>
                    <a:pt x="74" y="113"/>
                  </a:lnTo>
                  <a:lnTo>
                    <a:pt x="78" y="104"/>
                  </a:lnTo>
                  <a:lnTo>
                    <a:pt x="81" y="95"/>
                  </a:lnTo>
                  <a:lnTo>
                    <a:pt x="88" y="88"/>
                  </a:lnTo>
                  <a:lnTo>
                    <a:pt x="96" y="81"/>
                  </a:lnTo>
                  <a:lnTo>
                    <a:pt x="105" y="76"/>
                  </a:lnTo>
                  <a:lnTo>
                    <a:pt x="113" y="74"/>
                  </a:lnTo>
                  <a:lnTo>
                    <a:pt x="125" y="73"/>
                  </a:lnTo>
                  <a:lnTo>
                    <a:pt x="125" y="73"/>
                  </a:lnTo>
                  <a:lnTo>
                    <a:pt x="134" y="74"/>
                  </a:lnTo>
                  <a:lnTo>
                    <a:pt x="144" y="76"/>
                  </a:lnTo>
                  <a:lnTo>
                    <a:pt x="153" y="81"/>
                  </a:lnTo>
                  <a:lnTo>
                    <a:pt x="160" y="88"/>
                  </a:lnTo>
                  <a:lnTo>
                    <a:pt x="166" y="95"/>
                  </a:lnTo>
                  <a:lnTo>
                    <a:pt x="171" y="104"/>
                  </a:lnTo>
                  <a:lnTo>
                    <a:pt x="174" y="113"/>
                  </a:lnTo>
                  <a:lnTo>
                    <a:pt x="175" y="123"/>
                  </a:lnTo>
                  <a:lnTo>
                    <a:pt x="175" y="123"/>
                  </a:lnTo>
                  <a:lnTo>
                    <a:pt x="174" y="134"/>
                  </a:lnTo>
                  <a:lnTo>
                    <a:pt x="171" y="144"/>
                  </a:lnTo>
                  <a:lnTo>
                    <a:pt x="166" y="153"/>
                  </a:lnTo>
                  <a:lnTo>
                    <a:pt x="160" y="160"/>
                  </a:lnTo>
                  <a:lnTo>
                    <a:pt x="153" y="167"/>
                  </a:lnTo>
                  <a:lnTo>
                    <a:pt x="144" y="171"/>
                  </a:lnTo>
                  <a:lnTo>
                    <a:pt x="134" y="174"/>
                  </a:lnTo>
                  <a:lnTo>
                    <a:pt x="125" y="175"/>
                  </a:lnTo>
                  <a:lnTo>
                    <a:pt x="125" y="175"/>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3" name="Freeform 271">
              <a:extLst>
                <a:ext uri="{FF2B5EF4-FFF2-40B4-BE49-F238E27FC236}">
                  <a16:creationId xmlns:a16="http://schemas.microsoft.com/office/drawing/2014/main" id="{B71EB9B3-279F-CE36-DA0A-BC391A2E9EE9}"/>
                </a:ext>
              </a:extLst>
            </p:cNvPr>
            <p:cNvSpPr>
              <a:spLocks/>
            </p:cNvSpPr>
            <p:nvPr/>
          </p:nvSpPr>
          <p:spPr bwMode="auto">
            <a:xfrm>
              <a:off x="7531844" y="3344027"/>
              <a:ext cx="180133" cy="334485"/>
            </a:xfrm>
            <a:custGeom>
              <a:avLst/>
              <a:gdLst>
                <a:gd name="T0" fmla="*/ 122 w 122"/>
                <a:gd name="T1" fmla="*/ 190 h 248"/>
                <a:gd name="T2" fmla="*/ 97 w 122"/>
                <a:gd name="T3" fmla="*/ 185 h 248"/>
                <a:gd name="T4" fmla="*/ 76 w 122"/>
                <a:gd name="T5" fmla="*/ 170 h 248"/>
                <a:gd name="T6" fmla="*/ 63 w 122"/>
                <a:gd name="T7" fmla="*/ 149 h 248"/>
                <a:gd name="T8" fmla="*/ 58 w 122"/>
                <a:gd name="T9" fmla="*/ 123 h 248"/>
                <a:gd name="T10" fmla="*/ 59 w 122"/>
                <a:gd name="T11" fmla="*/ 111 h 248"/>
                <a:gd name="T12" fmla="*/ 69 w 122"/>
                <a:gd name="T13" fmla="*/ 88 h 248"/>
                <a:gd name="T14" fmla="*/ 86 w 122"/>
                <a:gd name="T15" fmla="*/ 69 h 248"/>
                <a:gd name="T16" fmla="*/ 108 w 122"/>
                <a:gd name="T17" fmla="*/ 59 h 248"/>
                <a:gd name="T18" fmla="*/ 122 w 122"/>
                <a:gd name="T19" fmla="*/ 0 h 248"/>
                <a:gd name="T20" fmla="*/ 110 w 122"/>
                <a:gd name="T21" fmla="*/ 0 h 248"/>
                <a:gd name="T22" fmla="*/ 106 w 122"/>
                <a:gd name="T23" fmla="*/ 1 h 248"/>
                <a:gd name="T24" fmla="*/ 104 w 122"/>
                <a:gd name="T25" fmla="*/ 6 h 248"/>
                <a:gd name="T26" fmla="*/ 104 w 122"/>
                <a:gd name="T27" fmla="*/ 21 h 248"/>
                <a:gd name="T28" fmla="*/ 80 w 122"/>
                <a:gd name="T29" fmla="*/ 12 h 248"/>
                <a:gd name="T30" fmla="*/ 79 w 122"/>
                <a:gd name="T31" fmla="*/ 11 h 248"/>
                <a:gd name="T32" fmla="*/ 74 w 122"/>
                <a:gd name="T33" fmla="*/ 10 h 248"/>
                <a:gd name="T34" fmla="*/ 49 w 122"/>
                <a:gd name="T35" fmla="*/ 23 h 248"/>
                <a:gd name="T36" fmla="*/ 48 w 122"/>
                <a:gd name="T37" fmla="*/ 25 h 248"/>
                <a:gd name="T38" fmla="*/ 47 w 122"/>
                <a:gd name="T39" fmla="*/ 30 h 248"/>
                <a:gd name="T40" fmla="*/ 55 w 122"/>
                <a:gd name="T41" fmla="*/ 46 h 248"/>
                <a:gd name="T42" fmla="*/ 43 w 122"/>
                <a:gd name="T43" fmla="*/ 57 h 248"/>
                <a:gd name="T44" fmla="*/ 31 w 122"/>
                <a:gd name="T45" fmla="*/ 49 h 248"/>
                <a:gd name="T46" fmla="*/ 26 w 122"/>
                <a:gd name="T47" fmla="*/ 49 h 248"/>
                <a:gd name="T48" fmla="*/ 22 w 122"/>
                <a:gd name="T49" fmla="*/ 52 h 248"/>
                <a:gd name="T50" fmla="*/ 10 w 122"/>
                <a:gd name="T51" fmla="*/ 74 h 248"/>
                <a:gd name="T52" fmla="*/ 9 w 122"/>
                <a:gd name="T53" fmla="*/ 79 h 248"/>
                <a:gd name="T54" fmla="*/ 11 w 122"/>
                <a:gd name="T55" fmla="*/ 83 h 248"/>
                <a:gd name="T56" fmla="*/ 25 w 122"/>
                <a:gd name="T57" fmla="*/ 90 h 248"/>
                <a:gd name="T58" fmla="*/ 6 w 122"/>
                <a:gd name="T59" fmla="*/ 106 h 248"/>
                <a:gd name="T60" fmla="*/ 4 w 122"/>
                <a:gd name="T61" fmla="*/ 106 h 248"/>
                <a:gd name="T62" fmla="*/ 0 w 122"/>
                <a:gd name="T63" fmla="*/ 110 h 248"/>
                <a:gd name="T64" fmla="*/ 0 w 122"/>
                <a:gd name="T65" fmla="*/ 138 h 248"/>
                <a:gd name="T66" fmla="*/ 0 w 122"/>
                <a:gd name="T67" fmla="*/ 141 h 248"/>
                <a:gd name="T68" fmla="*/ 4 w 122"/>
                <a:gd name="T69" fmla="*/ 144 h 248"/>
                <a:gd name="T70" fmla="*/ 21 w 122"/>
                <a:gd name="T71" fmla="*/ 144 h 248"/>
                <a:gd name="T72" fmla="*/ 26 w 122"/>
                <a:gd name="T73" fmla="*/ 160 h 248"/>
                <a:gd name="T74" fmla="*/ 14 w 122"/>
                <a:gd name="T75" fmla="*/ 168 h 248"/>
                <a:gd name="T76" fmla="*/ 10 w 122"/>
                <a:gd name="T77" fmla="*/ 171 h 248"/>
                <a:gd name="T78" fmla="*/ 11 w 122"/>
                <a:gd name="T79" fmla="*/ 176 h 248"/>
                <a:gd name="T80" fmla="*/ 23 w 122"/>
                <a:gd name="T81" fmla="*/ 199 h 248"/>
                <a:gd name="T82" fmla="*/ 27 w 122"/>
                <a:gd name="T83" fmla="*/ 201 h 248"/>
                <a:gd name="T84" fmla="*/ 32 w 122"/>
                <a:gd name="T85" fmla="*/ 201 h 248"/>
                <a:gd name="T86" fmla="*/ 46 w 122"/>
                <a:gd name="T87" fmla="*/ 194 h 248"/>
                <a:gd name="T88" fmla="*/ 49 w 122"/>
                <a:gd name="T89" fmla="*/ 217 h 248"/>
                <a:gd name="T90" fmla="*/ 49 w 122"/>
                <a:gd name="T91" fmla="*/ 220 h 248"/>
                <a:gd name="T92" fmla="*/ 51 w 122"/>
                <a:gd name="T93" fmla="*/ 224 h 248"/>
                <a:gd name="T94" fmla="*/ 74 w 122"/>
                <a:gd name="T95" fmla="*/ 239 h 248"/>
                <a:gd name="T96" fmla="*/ 76 w 122"/>
                <a:gd name="T97" fmla="*/ 239 h 248"/>
                <a:gd name="T98" fmla="*/ 81 w 122"/>
                <a:gd name="T99" fmla="*/ 238 h 248"/>
                <a:gd name="T100" fmla="*/ 91 w 122"/>
                <a:gd name="T101" fmla="*/ 223 h 248"/>
                <a:gd name="T102" fmla="*/ 106 w 122"/>
                <a:gd name="T103" fmla="*/ 227 h 248"/>
                <a:gd name="T104" fmla="*/ 106 w 122"/>
                <a:gd name="T105" fmla="*/ 242 h 248"/>
                <a:gd name="T106" fmla="*/ 108 w 122"/>
                <a:gd name="T107" fmla="*/ 247 h 248"/>
                <a:gd name="T108" fmla="*/ 113 w 122"/>
                <a:gd name="T109" fmla="*/ 248 h 248"/>
                <a:gd name="T110" fmla="*/ 122 w 122"/>
                <a:gd name="T111" fmla="*/ 19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2" h="248">
                  <a:moveTo>
                    <a:pt x="122" y="190"/>
                  </a:moveTo>
                  <a:lnTo>
                    <a:pt x="122" y="190"/>
                  </a:lnTo>
                  <a:lnTo>
                    <a:pt x="108" y="189"/>
                  </a:lnTo>
                  <a:lnTo>
                    <a:pt x="97" y="185"/>
                  </a:lnTo>
                  <a:lnTo>
                    <a:pt x="86" y="179"/>
                  </a:lnTo>
                  <a:lnTo>
                    <a:pt x="76" y="170"/>
                  </a:lnTo>
                  <a:lnTo>
                    <a:pt x="69" y="160"/>
                  </a:lnTo>
                  <a:lnTo>
                    <a:pt x="63" y="149"/>
                  </a:lnTo>
                  <a:lnTo>
                    <a:pt x="59" y="137"/>
                  </a:lnTo>
                  <a:lnTo>
                    <a:pt x="58" y="123"/>
                  </a:lnTo>
                  <a:lnTo>
                    <a:pt x="58" y="123"/>
                  </a:lnTo>
                  <a:lnTo>
                    <a:pt x="59" y="111"/>
                  </a:lnTo>
                  <a:lnTo>
                    <a:pt x="63" y="99"/>
                  </a:lnTo>
                  <a:lnTo>
                    <a:pt x="69" y="88"/>
                  </a:lnTo>
                  <a:lnTo>
                    <a:pt x="76" y="78"/>
                  </a:lnTo>
                  <a:lnTo>
                    <a:pt x="86" y="69"/>
                  </a:lnTo>
                  <a:lnTo>
                    <a:pt x="97" y="63"/>
                  </a:lnTo>
                  <a:lnTo>
                    <a:pt x="108" y="59"/>
                  </a:lnTo>
                  <a:lnTo>
                    <a:pt x="122" y="58"/>
                  </a:lnTo>
                  <a:lnTo>
                    <a:pt x="122" y="0"/>
                  </a:lnTo>
                  <a:lnTo>
                    <a:pt x="110" y="0"/>
                  </a:lnTo>
                  <a:lnTo>
                    <a:pt x="110" y="0"/>
                  </a:lnTo>
                  <a:lnTo>
                    <a:pt x="107" y="0"/>
                  </a:lnTo>
                  <a:lnTo>
                    <a:pt x="106" y="1"/>
                  </a:lnTo>
                  <a:lnTo>
                    <a:pt x="104" y="4"/>
                  </a:lnTo>
                  <a:lnTo>
                    <a:pt x="104" y="6"/>
                  </a:lnTo>
                  <a:lnTo>
                    <a:pt x="104" y="21"/>
                  </a:lnTo>
                  <a:lnTo>
                    <a:pt x="104" y="21"/>
                  </a:lnTo>
                  <a:lnTo>
                    <a:pt x="88" y="26"/>
                  </a:lnTo>
                  <a:lnTo>
                    <a:pt x="80" y="12"/>
                  </a:lnTo>
                  <a:lnTo>
                    <a:pt x="80" y="12"/>
                  </a:lnTo>
                  <a:lnTo>
                    <a:pt x="79" y="11"/>
                  </a:lnTo>
                  <a:lnTo>
                    <a:pt x="76" y="10"/>
                  </a:lnTo>
                  <a:lnTo>
                    <a:pt x="74" y="10"/>
                  </a:lnTo>
                  <a:lnTo>
                    <a:pt x="71" y="10"/>
                  </a:lnTo>
                  <a:lnTo>
                    <a:pt x="49" y="23"/>
                  </a:lnTo>
                  <a:lnTo>
                    <a:pt x="49" y="23"/>
                  </a:lnTo>
                  <a:lnTo>
                    <a:pt x="48" y="25"/>
                  </a:lnTo>
                  <a:lnTo>
                    <a:pt x="47" y="27"/>
                  </a:lnTo>
                  <a:lnTo>
                    <a:pt x="47" y="30"/>
                  </a:lnTo>
                  <a:lnTo>
                    <a:pt x="47" y="32"/>
                  </a:lnTo>
                  <a:lnTo>
                    <a:pt x="55" y="46"/>
                  </a:lnTo>
                  <a:lnTo>
                    <a:pt x="55" y="46"/>
                  </a:lnTo>
                  <a:lnTo>
                    <a:pt x="43" y="57"/>
                  </a:lnTo>
                  <a:lnTo>
                    <a:pt x="31" y="49"/>
                  </a:lnTo>
                  <a:lnTo>
                    <a:pt x="31" y="49"/>
                  </a:lnTo>
                  <a:lnTo>
                    <a:pt x="28" y="48"/>
                  </a:lnTo>
                  <a:lnTo>
                    <a:pt x="26" y="49"/>
                  </a:lnTo>
                  <a:lnTo>
                    <a:pt x="23" y="49"/>
                  </a:lnTo>
                  <a:lnTo>
                    <a:pt x="22" y="52"/>
                  </a:lnTo>
                  <a:lnTo>
                    <a:pt x="10" y="74"/>
                  </a:lnTo>
                  <a:lnTo>
                    <a:pt x="10" y="74"/>
                  </a:lnTo>
                  <a:lnTo>
                    <a:pt x="9" y="76"/>
                  </a:lnTo>
                  <a:lnTo>
                    <a:pt x="9" y="79"/>
                  </a:lnTo>
                  <a:lnTo>
                    <a:pt x="10" y="81"/>
                  </a:lnTo>
                  <a:lnTo>
                    <a:pt x="11" y="83"/>
                  </a:lnTo>
                  <a:lnTo>
                    <a:pt x="25" y="90"/>
                  </a:lnTo>
                  <a:lnTo>
                    <a:pt x="25" y="90"/>
                  </a:lnTo>
                  <a:lnTo>
                    <a:pt x="21" y="106"/>
                  </a:lnTo>
                  <a:lnTo>
                    <a:pt x="6" y="106"/>
                  </a:lnTo>
                  <a:lnTo>
                    <a:pt x="6" y="106"/>
                  </a:lnTo>
                  <a:lnTo>
                    <a:pt x="4" y="106"/>
                  </a:lnTo>
                  <a:lnTo>
                    <a:pt x="1" y="109"/>
                  </a:lnTo>
                  <a:lnTo>
                    <a:pt x="0" y="110"/>
                  </a:lnTo>
                  <a:lnTo>
                    <a:pt x="0" y="112"/>
                  </a:lnTo>
                  <a:lnTo>
                    <a:pt x="0" y="138"/>
                  </a:lnTo>
                  <a:lnTo>
                    <a:pt x="0" y="138"/>
                  </a:lnTo>
                  <a:lnTo>
                    <a:pt x="0" y="141"/>
                  </a:lnTo>
                  <a:lnTo>
                    <a:pt x="1" y="143"/>
                  </a:lnTo>
                  <a:lnTo>
                    <a:pt x="4" y="144"/>
                  </a:lnTo>
                  <a:lnTo>
                    <a:pt x="6" y="144"/>
                  </a:lnTo>
                  <a:lnTo>
                    <a:pt x="21" y="144"/>
                  </a:lnTo>
                  <a:lnTo>
                    <a:pt x="21" y="144"/>
                  </a:lnTo>
                  <a:lnTo>
                    <a:pt x="26" y="160"/>
                  </a:lnTo>
                  <a:lnTo>
                    <a:pt x="14" y="168"/>
                  </a:lnTo>
                  <a:lnTo>
                    <a:pt x="14" y="168"/>
                  </a:lnTo>
                  <a:lnTo>
                    <a:pt x="11" y="169"/>
                  </a:lnTo>
                  <a:lnTo>
                    <a:pt x="10" y="171"/>
                  </a:lnTo>
                  <a:lnTo>
                    <a:pt x="10" y="174"/>
                  </a:lnTo>
                  <a:lnTo>
                    <a:pt x="11" y="176"/>
                  </a:lnTo>
                  <a:lnTo>
                    <a:pt x="23" y="199"/>
                  </a:lnTo>
                  <a:lnTo>
                    <a:pt x="23" y="199"/>
                  </a:lnTo>
                  <a:lnTo>
                    <a:pt x="25" y="201"/>
                  </a:lnTo>
                  <a:lnTo>
                    <a:pt x="27" y="201"/>
                  </a:lnTo>
                  <a:lnTo>
                    <a:pt x="30" y="202"/>
                  </a:lnTo>
                  <a:lnTo>
                    <a:pt x="32" y="201"/>
                  </a:lnTo>
                  <a:lnTo>
                    <a:pt x="46" y="194"/>
                  </a:lnTo>
                  <a:lnTo>
                    <a:pt x="46" y="194"/>
                  </a:lnTo>
                  <a:lnTo>
                    <a:pt x="57" y="205"/>
                  </a:lnTo>
                  <a:lnTo>
                    <a:pt x="49" y="217"/>
                  </a:lnTo>
                  <a:lnTo>
                    <a:pt x="49" y="217"/>
                  </a:lnTo>
                  <a:lnTo>
                    <a:pt x="49" y="220"/>
                  </a:lnTo>
                  <a:lnTo>
                    <a:pt x="49" y="222"/>
                  </a:lnTo>
                  <a:lnTo>
                    <a:pt x="51" y="224"/>
                  </a:lnTo>
                  <a:lnTo>
                    <a:pt x="52" y="226"/>
                  </a:lnTo>
                  <a:lnTo>
                    <a:pt x="74" y="239"/>
                  </a:lnTo>
                  <a:lnTo>
                    <a:pt x="74" y="239"/>
                  </a:lnTo>
                  <a:lnTo>
                    <a:pt x="76" y="239"/>
                  </a:lnTo>
                  <a:lnTo>
                    <a:pt x="79" y="239"/>
                  </a:lnTo>
                  <a:lnTo>
                    <a:pt x="81" y="238"/>
                  </a:lnTo>
                  <a:lnTo>
                    <a:pt x="83" y="237"/>
                  </a:lnTo>
                  <a:lnTo>
                    <a:pt x="91" y="223"/>
                  </a:lnTo>
                  <a:lnTo>
                    <a:pt x="91" y="223"/>
                  </a:lnTo>
                  <a:lnTo>
                    <a:pt x="106" y="227"/>
                  </a:lnTo>
                  <a:lnTo>
                    <a:pt x="106" y="242"/>
                  </a:lnTo>
                  <a:lnTo>
                    <a:pt x="106" y="242"/>
                  </a:lnTo>
                  <a:lnTo>
                    <a:pt x="107" y="244"/>
                  </a:lnTo>
                  <a:lnTo>
                    <a:pt x="108" y="247"/>
                  </a:lnTo>
                  <a:lnTo>
                    <a:pt x="111" y="248"/>
                  </a:lnTo>
                  <a:lnTo>
                    <a:pt x="113" y="248"/>
                  </a:lnTo>
                  <a:lnTo>
                    <a:pt x="122" y="248"/>
                  </a:lnTo>
                  <a:lnTo>
                    <a:pt x="122" y="190"/>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4" name="Freeform 272">
              <a:extLst>
                <a:ext uri="{FF2B5EF4-FFF2-40B4-BE49-F238E27FC236}">
                  <a16:creationId xmlns:a16="http://schemas.microsoft.com/office/drawing/2014/main" id="{C170E87F-9CAF-9586-6C3A-631ADEBB1B0B}"/>
                </a:ext>
              </a:extLst>
            </p:cNvPr>
            <p:cNvSpPr>
              <a:spLocks noEditPoints="1"/>
            </p:cNvSpPr>
            <p:nvPr/>
          </p:nvSpPr>
          <p:spPr bwMode="auto">
            <a:xfrm>
              <a:off x="7595334" y="3402023"/>
              <a:ext cx="239193" cy="218494"/>
            </a:xfrm>
            <a:custGeom>
              <a:avLst/>
              <a:gdLst>
                <a:gd name="T0" fmla="*/ 82 w 162"/>
                <a:gd name="T1" fmla="*/ 0 h 162"/>
                <a:gd name="T2" fmla="*/ 65 w 162"/>
                <a:gd name="T3" fmla="*/ 1 h 162"/>
                <a:gd name="T4" fmla="*/ 49 w 162"/>
                <a:gd name="T5" fmla="*/ 6 h 162"/>
                <a:gd name="T6" fmla="*/ 36 w 162"/>
                <a:gd name="T7" fmla="*/ 14 h 162"/>
                <a:gd name="T8" fmla="*/ 24 w 162"/>
                <a:gd name="T9" fmla="*/ 24 h 162"/>
                <a:gd name="T10" fmla="*/ 14 w 162"/>
                <a:gd name="T11" fmla="*/ 36 h 162"/>
                <a:gd name="T12" fmla="*/ 6 w 162"/>
                <a:gd name="T13" fmla="*/ 50 h 162"/>
                <a:gd name="T14" fmla="*/ 3 w 162"/>
                <a:gd name="T15" fmla="*/ 64 h 162"/>
                <a:gd name="T16" fmla="*/ 0 w 162"/>
                <a:gd name="T17" fmla="*/ 82 h 162"/>
                <a:gd name="T18" fmla="*/ 1 w 162"/>
                <a:gd name="T19" fmla="*/ 89 h 162"/>
                <a:gd name="T20" fmla="*/ 4 w 162"/>
                <a:gd name="T21" fmla="*/ 105 h 162"/>
                <a:gd name="T22" fmla="*/ 10 w 162"/>
                <a:gd name="T23" fmla="*/ 120 h 162"/>
                <a:gd name="T24" fmla="*/ 19 w 162"/>
                <a:gd name="T25" fmla="*/ 132 h 162"/>
                <a:gd name="T26" fmla="*/ 30 w 162"/>
                <a:gd name="T27" fmla="*/ 143 h 162"/>
                <a:gd name="T28" fmla="*/ 43 w 162"/>
                <a:gd name="T29" fmla="*/ 152 h 162"/>
                <a:gd name="T30" fmla="*/ 57 w 162"/>
                <a:gd name="T31" fmla="*/ 158 h 162"/>
                <a:gd name="T32" fmla="*/ 73 w 162"/>
                <a:gd name="T33" fmla="*/ 162 h 162"/>
                <a:gd name="T34" fmla="*/ 82 w 162"/>
                <a:gd name="T35" fmla="*/ 162 h 162"/>
                <a:gd name="T36" fmla="*/ 98 w 162"/>
                <a:gd name="T37" fmla="*/ 161 h 162"/>
                <a:gd name="T38" fmla="*/ 112 w 162"/>
                <a:gd name="T39" fmla="*/ 156 h 162"/>
                <a:gd name="T40" fmla="*/ 126 w 162"/>
                <a:gd name="T41" fmla="*/ 148 h 162"/>
                <a:gd name="T42" fmla="*/ 138 w 162"/>
                <a:gd name="T43" fmla="*/ 138 h 162"/>
                <a:gd name="T44" fmla="*/ 148 w 162"/>
                <a:gd name="T45" fmla="*/ 126 h 162"/>
                <a:gd name="T46" fmla="*/ 156 w 162"/>
                <a:gd name="T47" fmla="*/ 112 h 162"/>
                <a:gd name="T48" fmla="*/ 160 w 162"/>
                <a:gd name="T49" fmla="*/ 98 h 162"/>
                <a:gd name="T50" fmla="*/ 162 w 162"/>
                <a:gd name="T51" fmla="*/ 82 h 162"/>
                <a:gd name="T52" fmla="*/ 162 w 162"/>
                <a:gd name="T53" fmla="*/ 73 h 162"/>
                <a:gd name="T54" fmla="*/ 158 w 162"/>
                <a:gd name="T55" fmla="*/ 57 h 162"/>
                <a:gd name="T56" fmla="*/ 152 w 162"/>
                <a:gd name="T57" fmla="*/ 42 h 162"/>
                <a:gd name="T58" fmla="*/ 143 w 162"/>
                <a:gd name="T59" fmla="*/ 30 h 162"/>
                <a:gd name="T60" fmla="*/ 133 w 162"/>
                <a:gd name="T61" fmla="*/ 19 h 162"/>
                <a:gd name="T62" fmla="*/ 120 w 162"/>
                <a:gd name="T63" fmla="*/ 10 h 162"/>
                <a:gd name="T64" fmla="*/ 105 w 162"/>
                <a:gd name="T65" fmla="*/ 4 h 162"/>
                <a:gd name="T66" fmla="*/ 89 w 162"/>
                <a:gd name="T67" fmla="*/ 0 h 162"/>
                <a:gd name="T68" fmla="*/ 82 w 162"/>
                <a:gd name="T69" fmla="*/ 0 h 162"/>
                <a:gd name="T70" fmla="*/ 82 w 162"/>
                <a:gd name="T71" fmla="*/ 147 h 162"/>
                <a:gd name="T72" fmla="*/ 56 w 162"/>
                <a:gd name="T73" fmla="*/ 142 h 162"/>
                <a:gd name="T74" fmla="*/ 35 w 162"/>
                <a:gd name="T75" fmla="*/ 128 h 162"/>
                <a:gd name="T76" fmla="*/ 20 w 162"/>
                <a:gd name="T77" fmla="*/ 106 h 162"/>
                <a:gd name="T78" fmla="*/ 15 w 162"/>
                <a:gd name="T79" fmla="*/ 80 h 162"/>
                <a:gd name="T80" fmla="*/ 16 w 162"/>
                <a:gd name="T81" fmla="*/ 68 h 162"/>
                <a:gd name="T82" fmla="*/ 26 w 162"/>
                <a:gd name="T83" fmla="*/ 43 h 162"/>
                <a:gd name="T84" fmla="*/ 45 w 162"/>
                <a:gd name="T85" fmla="*/ 26 h 162"/>
                <a:gd name="T86" fmla="*/ 68 w 162"/>
                <a:gd name="T87" fmla="*/ 16 h 162"/>
                <a:gd name="T88" fmla="*/ 82 w 162"/>
                <a:gd name="T89" fmla="*/ 15 h 162"/>
                <a:gd name="T90" fmla="*/ 107 w 162"/>
                <a:gd name="T91" fmla="*/ 20 h 162"/>
                <a:gd name="T92" fmla="*/ 128 w 162"/>
                <a:gd name="T93" fmla="*/ 33 h 162"/>
                <a:gd name="T94" fmla="*/ 142 w 162"/>
                <a:gd name="T95" fmla="*/ 56 h 162"/>
                <a:gd name="T96" fmla="*/ 148 w 162"/>
                <a:gd name="T97" fmla="*/ 80 h 162"/>
                <a:gd name="T98" fmla="*/ 147 w 162"/>
                <a:gd name="T99" fmla="*/ 94 h 162"/>
                <a:gd name="T100" fmla="*/ 136 w 162"/>
                <a:gd name="T101" fmla="*/ 119 h 162"/>
                <a:gd name="T102" fmla="*/ 119 w 162"/>
                <a:gd name="T103" fmla="*/ 136 h 162"/>
                <a:gd name="T104" fmla="*/ 95 w 162"/>
                <a:gd name="T105" fmla="*/ 146 h 162"/>
                <a:gd name="T106" fmla="*/ 82 w 162"/>
                <a:gd name="T107" fmla="*/ 147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2" h="162">
                  <a:moveTo>
                    <a:pt x="82" y="0"/>
                  </a:moveTo>
                  <a:lnTo>
                    <a:pt x="82" y="0"/>
                  </a:lnTo>
                  <a:lnTo>
                    <a:pt x="73" y="0"/>
                  </a:lnTo>
                  <a:lnTo>
                    <a:pt x="65" y="1"/>
                  </a:lnTo>
                  <a:lnTo>
                    <a:pt x="57" y="4"/>
                  </a:lnTo>
                  <a:lnTo>
                    <a:pt x="49" y="6"/>
                  </a:lnTo>
                  <a:lnTo>
                    <a:pt x="43" y="10"/>
                  </a:lnTo>
                  <a:lnTo>
                    <a:pt x="36" y="14"/>
                  </a:lnTo>
                  <a:lnTo>
                    <a:pt x="30" y="19"/>
                  </a:lnTo>
                  <a:lnTo>
                    <a:pt x="24" y="24"/>
                  </a:lnTo>
                  <a:lnTo>
                    <a:pt x="19" y="30"/>
                  </a:lnTo>
                  <a:lnTo>
                    <a:pt x="14" y="36"/>
                  </a:lnTo>
                  <a:lnTo>
                    <a:pt x="10" y="42"/>
                  </a:lnTo>
                  <a:lnTo>
                    <a:pt x="6" y="50"/>
                  </a:lnTo>
                  <a:lnTo>
                    <a:pt x="4" y="57"/>
                  </a:lnTo>
                  <a:lnTo>
                    <a:pt x="3" y="64"/>
                  </a:lnTo>
                  <a:lnTo>
                    <a:pt x="1" y="73"/>
                  </a:lnTo>
                  <a:lnTo>
                    <a:pt x="0" y="82"/>
                  </a:lnTo>
                  <a:lnTo>
                    <a:pt x="0" y="82"/>
                  </a:lnTo>
                  <a:lnTo>
                    <a:pt x="1" y="89"/>
                  </a:lnTo>
                  <a:lnTo>
                    <a:pt x="3" y="98"/>
                  </a:lnTo>
                  <a:lnTo>
                    <a:pt x="4" y="105"/>
                  </a:lnTo>
                  <a:lnTo>
                    <a:pt x="6" y="112"/>
                  </a:lnTo>
                  <a:lnTo>
                    <a:pt x="10" y="120"/>
                  </a:lnTo>
                  <a:lnTo>
                    <a:pt x="14" y="126"/>
                  </a:lnTo>
                  <a:lnTo>
                    <a:pt x="19" y="132"/>
                  </a:lnTo>
                  <a:lnTo>
                    <a:pt x="24" y="138"/>
                  </a:lnTo>
                  <a:lnTo>
                    <a:pt x="30" y="143"/>
                  </a:lnTo>
                  <a:lnTo>
                    <a:pt x="36" y="148"/>
                  </a:lnTo>
                  <a:lnTo>
                    <a:pt x="43" y="152"/>
                  </a:lnTo>
                  <a:lnTo>
                    <a:pt x="49" y="156"/>
                  </a:lnTo>
                  <a:lnTo>
                    <a:pt x="57" y="158"/>
                  </a:lnTo>
                  <a:lnTo>
                    <a:pt x="65" y="161"/>
                  </a:lnTo>
                  <a:lnTo>
                    <a:pt x="73" y="162"/>
                  </a:lnTo>
                  <a:lnTo>
                    <a:pt x="82" y="162"/>
                  </a:lnTo>
                  <a:lnTo>
                    <a:pt x="82" y="162"/>
                  </a:lnTo>
                  <a:lnTo>
                    <a:pt x="89" y="162"/>
                  </a:lnTo>
                  <a:lnTo>
                    <a:pt x="98" y="161"/>
                  </a:lnTo>
                  <a:lnTo>
                    <a:pt x="105" y="158"/>
                  </a:lnTo>
                  <a:lnTo>
                    <a:pt x="112" y="156"/>
                  </a:lnTo>
                  <a:lnTo>
                    <a:pt x="120" y="152"/>
                  </a:lnTo>
                  <a:lnTo>
                    <a:pt x="126" y="148"/>
                  </a:lnTo>
                  <a:lnTo>
                    <a:pt x="133" y="143"/>
                  </a:lnTo>
                  <a:lnTo>
                    <a:pt x="138" y="138"/>
                  </a:lnTo>
                  <a:lnTo>
                    <a:pt x="143" y="132"/>
                  </a:lnTo>
                  <a:lnTo>
                    <a:pt x="148" y="126"/>
                  </a:lnTo>
                  <a:lnTo>
                    <a:pt x="152" y="120"/>
                  </a:lnTo>
                  <a:lnTo>
                    <a:pt x="156" y="112"/>
                  </a:lnTo>
                  <a:lnTo>
                    <a:pt x="158" y="105"/>
                  </a:lnTo>
                  <a:lnTo>
                    <a:pt x="160" y="98"/>
                  </a:lnTo>
                  <a:lnTo>
                    <a:pt x="162" y="89"/>
                  </a:lnTo>
                  <a:lnTo>
                    <a:pt x="162" y="82"/>
                  </a:lnTo>
                  <a:lnTo>
                    <a:pt x="162" y="82"/>
                  </a:lnTo>
                  <a:lnTo>
                    <a:pt x="162" y="73"/>
                  </a:lnTo>
                  <a:lnTo>
                    <a:pt x="160" y="64"/>
                  </a:lnTo>
                  <a:lnTo>
                    <a:pt x="158" y="57"/>
                  </a:lnTo>
                  <a:lnTo>
                    <a:pt x="156" y="50"/>
                  </a:lnTo>
                  <a:lnTo>
                    <a:pt x="152" y="42"/>
                  </a:lnTo>
                  <a:lnTo>
                    <a:pt x="148" y="36"/>
                  </a:lnTo>
                  <a:lnTo>
                    <a:pt x="143" y="30"/>
                  </a:lnTo>
                  <a:lnTo>
                    <a:pt x="138" y="24"/>
                  </a:lnTo>
                  <a:lnTo>
                    <a:pt x="133" y="19"/>
                  </a:lnTo>
                  <a:lnTo>
                    <a:pt x="126" y="14"/>
                  </a:lnTo>
                  <a:lnTo>
                    <a:pt x="120" y="10"/>
                  </a:lnTo>
                  <a:lnTo>
                    <a:pt x="112" y="6"/>
                  </a:lnTo>
                  <a:lnTo>
                    <a:pt x="105" y="4"/>
                  </a:lnTo>
                  <a:lnTo>
                    <a:pt x="98" y="1"/>
                  </a:lnTo>
                  <a:lnTo>
                    <a:pt x="89" y="0"/>
                  </a:lnTo>
                  <a:lnTo>
                    <a:pt x="82" y="0"/>
                  </a:lnTo>
                  <a:lnTo>
                    <a:pt x="82" y="0"/>
                  </a:lnTo>
                  <a:close/>
                  <a:moveTo>
                    <a:pt x="82" y="147"/>
                  </a:moveTo>
                  <a:lnTo>
                    <a:pt x="82" y="147"/>
                  </a:lnTo>
                  <a:lnTo>
                    <a:pt x="68" y="146"/>
                  </a:lnTo>
                  <a:lnTo>
                    <a:pt x="56" y="142"/>
                  </a:lnTo>
                  <a:lnTo>
                    <a:pt x="45" y="136"/>
                  </a:lnTo>
                  <a:lnTo>
                    <a:pt x="35" y="128"/>
                  </a:lnTo>
                  <a:lnTo>
                    <a:pt x="26" y="119"/>
                  </a:lnTo>
                  <a:lnTo>
                    <a:pt x="20" y="106"/>
                  </a:lnTo>
                  <a:lnTo>
                    <a:pt x="16" y="94"/>
                  </a:lnTo>
                  <a:lnTo>
                    <a:pt x="15" y="80"/>
                  </a:lnTo>
                  <a:lnTo>
                    <a:pt x="15" y="80"/>
                  </a:lnTo>
                  <a:lnTo>
                    <a:pt x="16" y="68"/>
                  </a:lnTo>
                  <a:lnTo>
                    <a:pt x="20" y="56"/>
                  </a:lnTo>
                  <a:lnTo>
                    <a:pt x="26" y="43"/>
                  </a:lnTo>
                  <a:lnTo>
                    <a:pt x="35" y="33"/>
                  </a:lnTo>
                  <a:lnTo>
                    <a:pt x="45" y="26"/>
                  </a:lnTo>
                  <a:lnTo>
                    <a:pt x="56" y="20"/>
                  </a:lnTo>
                  <a:lnTo>
                    <a:pt x="68" y="16"/>
                  </a:lnTo>
                  <a:lnTo>
                    <a:pt x="82" y="15"/>
                  </a:lnTo>
                  <a:lnTo>
                    <a:pt x="82" y="15"/>
                  </a:lnTo>
                  <a:lnTo>
                    <a:pt x="95" y="16"/>
                  </a:lnTo>
                  <a:lnTo>
                    <a:pt x="107" y="20"/>
                  </a:lnTo>
                  <a:lnTo>
                    <a:pt x="119" y="26"/>
                  </a:lnTo>
                  <a:lnTo>
                    <a:pt x="128" y="33"/>
                  </a:lnTo>
                  <a:lnTo>
                    <a:pt x="136" y="43"/>
                  </a:lnTo>
                  <a:lnTo>
                    <a:pt x="142" y="56"/>
                  </a:lnTo>
                  <a:lnTo>
                    <a:pt x="147" y="68"/>
                  </a:lnTo>
                  <a:lnTo>
                    <a:pt x="148" y="80"/>
                  </a:lnTo>
                  <a:lnTo>
                    <a:pt x="148" y="80"/>
                  </a:lnTo>
                  <a:lnTo>
                    <a:pt x="147" y="94"/>
                  </a:lnTo>
                  <a:lnTo>
                    <a:pt x="142" y="106"/>
                  </a:lnTo>
                  <a:lnTo>
                    <a:pt x="136" y="119"/>
                  </a:lnTo>
                  <a:lnTo>
                    <a:pt x="128" y="128"/>
                  </a:lnTo>
                  <a:lnTo>
                    <a:pt x="119" y="136"/>
                  </a:lnTo>
                  <a:lnTo>
                    <a:pt x="107" y="142"/>
                  </a:lnTo>
                  <a:lnTo>
                    <a:pt x="95" y="146"/>
                  </a:lnTo>
                  <a:lnTo>
                    <a:pt x="82" y="147"/>
                  </a:lnTo>
                  <a:lnTo>
                    <a:pt x="82" y="147"/>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5" name="Freeform 273">
              <a:extLst>
                <a:ext uri="{FF2B5EF4-FFF2-40B4-BE49-F238E27FC236}">
                  <a16:creationId xmlns:a16="http://schemas.microsoft.com/office/drawing/2014/main" id="{BE8517B8-2A5B-0151-E4B1-F64B276D4AB2}"/>
                </a:ext>
              </a:extLst>
            </p:cNvPr>
            <p:cNvSpPr>
              <a:spLocks/>
            </p:cNvSpPr>
            <p:nvPr/>
          </p:nvSpPr>
          <p:spPr bwMode="auto">
            <a:xfrm>
              <a:off x="7711978" y="3402023"/>
              <a:ext cx="122550" cy="218494"/>
            </a:xfrm>
            <a:custGeom>
              <a:avLst/>
              <a:gdLst>
                <a:gd name="T0" fmla="*/ 3 w 83"/>
                <a:gd name="T1" fmla="*/ 0 h 162"/>
                <a:gd name="T2" fmla="*/ 0 w 83"/>
                <a:gd name="T3" fmla="*/ 15 h 162"/>
                <a:gd name="T4" fmla="*/ 3 w 83"/>
                <a:gd name="T5" fmla="*/ 15 h 162"/>
                <a:gd name="T6" fmla="*/ 16 w 83"/>
                <a:gd name="T7" fmla="*/ 16 h 162"/>
                <a:gd name="T8" fmla="*/ 40 w 83"/>
                <a:gd name="T9" fmla="*/ 26 h 162"/>
                <a:gd name="T10" fmla="*/ 57 w 83"/>
                <a:gd name="T11" fmla="*/ 43 h 162"/>
                <a:gd name="T12" fmla="*/ 68 w 83"/>
                <a:gd name="T13" fmla="*/ 68 h 162"/>
                <a:gd name="T14" fmla="*/ 69 w 83"/>
                <a:gd name="T15" fmla="*/ 80 h 162"/>
                <a:gd name="T16" fmla="*/ 63 w 83"/>
                <a:gd name="T17" fmla="*/ 106 h 162"/>
                <a:gd name="T18" fmla="*/ 49 w 83"/>
                <a:gd name="T19" fmla="*/ 128 h 162"/>
                <a:gd name="T20" fmla="*/ 28 w 83"/>
                <a:gd name="T21" fmla="*/ 142 h 162"/>
                <a:gd name="T22" fmla="*/ 3 w 83"/>
                <a:gd name="T23" fmla="*/ 147 h 162"/>
                <a:gd name="T24" fmla="*/ 0 w 83"/>
                <a:gd name="T25" fmla="*/ 147 h 162"/>
                <a:gd name="T26" fmla="*/ 0 w 83"/>
                <a:gd name="T27" fmla="*/ 162 h 162"/>
                <a:gd name="T28" fmla="*/ 3 w 83"/>
                <a:gd name="T29" fmla="*/ 162 h 162"/>
                <a:gd name="T30" fmla="*/ 19 w 83"/>
                <a:gd name="T31" fmla="*/ 161 h 162"/>
                <a:gd name="T32" fmla="*/ 33 w 83"/>
                <a:gd name="T33" fmla="*/ 156 h 162"/>
                <a:gd name="T34" fmla="*/ 47 w 83"/>
                <a:gd name="T35" fmla="*/ 148 h 162"/>
                <a:gd name="T36" fmla="*/ 59 w 83"/>
                <a:gd name="T37" fmla="*/ 138 h 162"/>
                <a:gd name="T38" fmla="*/ 69 w 83"/>
                <a:gd name="T39" fmla="*/ 126 h 162"/>
                <a:gd name="T40" fmla="*/ 77 w 83"/>
                <a:gd name="T41" fmla="*/ 112 h 162"/>
                <a:gd name="T42" fmla="*/ 81 w 83"/>
                <a:gd name="T43" fmla="*/ 98 h 162"/>
                <a:gd name="T44" fmla="*/ 83 w 83"/>
                <a:gd name="T45" fmla="*/ 82 h 162"/>
                <a:gd name="T46" fmla="*/ 83 w 83"/>
                <a:gd name="T47" fmla="*/ 73 h 162"/>
                <a:gd name="T48" fmla="*/ 79 w 83"/>
                <a:gd name="T49" fmla="*/ 57 h 162"/>
                <a:gd name="T50" fmla="*/ 73 w 83"/>
                <a:gd name="T51" fmla="*/ 42 h 162"/>
                <a:gd name="T52" fmla="*/ 64 w 83"/>
                <a:gd name="T53" fmla="*/ 30 h 162"/>
                <a:gd name="T54" fmla="*/ 54 w 83"/>
                <a:gd name="T55" fmla="*/ 19 h 162"/>
                <a:gd name="T56" fmla="*/ 41 w 83"/>
                <a:gd name="T57" fmla="*/ 10 h 162"/>
                <a:gd name="T58" fmla="*/ 26 w 83"/>
                <a:gd name="T59" fmla="*/ 4 h 162"/>
                <a:gd name="T60" fmla="*/ 10 w 83"/>
                <a:gd name="T61" fmla="*/ 0 h 162"/>
                <a:gd name="T62" fmla="*/ 3 w 83"/>
                <a:gd name="T63"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 h="162">
                  <a:moveTo>
                    <a:pt x="3" y="0"/>
                  </a:moveTo>
                  <a:lnTo>
                    <a:pt x="3" y="0"/>
                  </a:lnTo>
                  <a:lnTo>
                    <a:pt x="0" y="0"/>
                  </a:lnTo>
                  <a:lnTo>
                    <a:pt x="0" y="15"/>
                  </a:lnTo>
                  <a:lnTo>
                    <a:pt x="0" y="15"/>
                  </a:lnTo>
                  <a:lnTo>
                    <a:pt x="3" y="15"/>
                  </a:lnTo>
                  <a:lnTo>
                    <a:pt x="3" y="15"/>
                  </a:lnTo>
                  <a:lnTo>
                    <a:pt x="16" y="16"/>
                  </a:lnTo>
                  <a:lnTo>
                    <a:pt x="28" y="20"/>
                  </a:lnTo>
                  <a:lnTo>
                    <a:pt x="40" y="26"/>
                  </a:lnTo>
                  <a:lnTo>
                    <a:pt x="49" y="33"/>
                  </a:lnTo>
                  <a:lnTo>
                    <a:pt x="57" y="43"/>
                  </a:lnTo>
                  <a:lnTo>
                    <a:pt x="63" y="56"/>
                  </a:lnTo>
                  <a:lnTo>
                    <a:pt x="68" y="68"/>
                  </a:lnTo>
                  <a:lnTo>
                    <a:pt x="69" y="80"/>
                  </a:lnTo>
                  <a:lnTo>
                    <a:pt x="69" y="80"/>
                  </a:lnTo>
                  <a:lnTo>
                    <a:pt x="68" y="94"/>
                  </a:lnTo>
                  <a:lnTo>
                    <a:pt x="63" y="106"/>
                  </a:lnTo>
                  <a:lnTo>
                    <a:pt x="57" y="119"/>
                  </a:lnTo>
                  <a:lnTo>
                    <a:pt x="49" y="128"/>
                  </a:lnTo>
                  <a:lnTo>
                    <a:pt x="40" y="136"/>
                  </a:lnTo>
                  <a:lnTo>
                    <a:pt x="28" y="142"/>
                  </a:lnTo>
                  <a:lnTo>
                    <a:pt x="16" y="146"/>
                  </a:lnTo>
                  <a:lnTo>
                    <a:pt x="3" y="147"/>
                  </a:lnTo>
                  <a:lnTo>
                    <a:pt x="3" y="147"/>
                  </a:lnTo>
                  <a:lnTo>
                    <a:pt x="0" y="147"/>
                  </a:lnTo>
                  <a:lnTo>
                    <a:pt x="0" y="162"/>
                  </a:lnTo>
                  <a:lnTo>
                    <a:pt x="0" y="162"/>
                  </a:lnTo>
                  <a:lnTo>
                    <a:pt x="3" y="162"/>
                  </a:lnTo>
                  <a:lnTo>
                    <a:pt x="3" y="162"/>
                  </a:lnTo>
                  <a:lnTo>
                    <a:pt x="10" y="162"/>
                  </a:lnTo>
                  <a:lnTo>
                    <a:pt x="19" y="161"/>
                  </a:lnTo>
                  <a:lnTo>
                    <a:pt x="26" y="158"/>
                  </a:lnTo>
                  <a:lnTo>
                    <a:pt x="33" y="156"/>
                  </a:lnTo>
                  <a:lnTo>
                    <a:pt x="41" y="152"/>
                  </a:lnTo>
                  <a:lnTo>
                    <a:pt x="47" y="148"/>
                  </a:lnTo>
                  <a:lnTo>
                    <a:pt x="54" y="143"/>
                  </a:lnTo>
                  <a:lnTo>
                    <a:pt x="59" y="138"/>
                  </a:lnTo>
                  <a:lnTo>
                    <a:pt x="64" y="132"/>
                  </a:lnTo>
                  <a:lnTo>
                    <a:pt x="69" y="126"/>
                  </a:lnTo>
                  <a:lnTo>
                    <a:pt x="73" y="120"/>
                  </a:lnTo>
                  <a:lnTo>
                    <a:pt x="77" y="112"/>
                  </a:lnTo>
                  <a:lnTo>
                    <a:pt x="79" y="105"/>
                  </a:lnTo>
                  <a:lnTo>
                    <a:pt x="81" y="98"/>
                  </a:lnTo>
                  <a:lnTo>
                    <a:pt x="83" y="89"/>
                  </a:lnTo>
                  <a:lnTo>
                    <a:pt x="83" y="82"/>
                  </a:lnTo>
                  <a:lnTo>
                    <a:pt x="83" y="82"/>
                  </a:lnTo>
                  <a:lnTo>
                    <a:pt x="83" y="73"/>
                  </a:lnTo>
                  <a:lnTo>
                    <a:pt x="81" y="64"/>
                  </a:lnTo>
                  <a:lnTo>
                    <a:pt x="79" y="57"/>
                  </a:lnTo>
                  <a:lnTo>
                    <a:pt x="77" y="50"/>
                  </a:lnTo>
                  <a:lnTo>
                    <a:pt x="73" y="42"/>
                  </a:lnTo>
                  <a:lnTo>
                    <a:pt x="69" y="36"/>
                  </a:lnTo>
                  <a:lnTo>
                    <a:pt x="64" y="30"/>
                  </a:lnTo>
                  <a:lnTo>
                    <a:pt x="59" y="24"/>
                  </a:lnTo>
                  <a:lnTo>
                    <a:pt x="54" y="19"/>
                  </a:lnTo>
                  <a:lnTo>
                    <a:pt x="47" y="14"/>
                  </a:lnTo>
                  <a:lnTo>
                    <a:pt x="41" y="10"/>
                  </a:lnTo>
                  <a:lnTo>
                    <a:pt x="33" y="6"/>
                  </a:lnTo>
                  <a:lnTo>
                    <a:pt x="26" y="4"/>
                  </a:lnTo>
                  <a:lnTo>
                    <a:pt x="19" y="1"/>
                  </a:lnTo>
                  <a:lnTo>
                    <a:pt x="10" y="0"/>
                  </a:lnTo>
                  <a:lnTo>
                    <a:pt x="3" y="0"/>
                  </a:lnTo>
                  <a:lnTo>
                    <a:pt x="3" y="0"/>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36" name="Freeform 274">
              <a:extLst>
                <a:ext uri="{FF2B5EF4-FFF2-40B4-BE49-F238E27FC236}">
                  <a16:creationId xmlns:a16="http://schemas.microsoft.com/office/drawing/2014/main" id="{E9BE0CEE-FB80-F49F-1EB5-C7385CCFFB8D}"/>
                </a:ext>
              </a:extLst>
            </p:cNvPr>
            <p:cNvSpPr>
              <a:spLocks/>
            </p:cNvSpPr>
            <p:nvPr/>
          </p:nvSpPr>
          <p:spPr bwMode="auto">
            <a:xfrm>
              <a:off x="7711978" y="3420905"/>
              <a:ext cx="103355" cy="180730"/>
            </a:xfrm>
            <a:custGeom>
              <a:avLst/>
              <a:gdLst>
                <a:gd name="T0" fmla="*/ 3 w 70"/>
                <a:gd name="T1" fmla="*/ 0 h 134"/>
                <a:gd name="T2" fmla="*/ 3 w 70"/>
                <a:gd name="T3" fmla="*/ 0 h 134"/>
                <a:gd name="T4" fmla="*/ 0 w 70"/>
                <a:gd name="T5" fmla="*/ 0 h 134"/>
                <a:gd name="T6" fmla="*/ 0 w 70"/>
                <a:gd name="T7" fmla="*/ 11 h 134"/>
                <a:gd name="T8" fmla="*/ 0 w 70"/>
                <a:gd name="T9" fmla="*/ 11 h 134"/>
                <a:gd name="T10" fmla="*/ 3 w 70"/>
                <a:gd name="T11" fmla="*/ 11 h 134"/>
                <a:gd name="T12" fmla="*/ 3 w 70"/>
                <a:gd name="T13" fmla="*/ 11 h 134"/>
                <a:gd name="T14" fmla="*/ 14 w 70"/>
                <a:gd name="T15" fmla="*/ 12 h 134"/>
                <a:gd name="T16" fmla="*/ 23 w 70"/>
                <a:gd name="T17" fmla="*/ 16 h 134"/>
                <a:gd name="T18" fmla="*/ 33 w 70"/>
                <a:gd name="T19" fmla="*/ 21 h 134"/>
                <a:gd name="T20" fmla="*/ 42 w 70"/>
                <a:gd name="T21" fmla="*/ 28 h 134"/>
                <a:gd name="T22" fmla="*/ 48 w 70"/>
                <a:gd name="T23" fmla="*/ 36 h 134"/>
                <a:gd name="T24" fmla="*/ 53 w 70"/>
                <a:gd name="T25" fmla="*/ 45 h 134"/>
                <a:gd name="T26" fmla="*/ 57 w 70"/>
                <a:gd name="T27" fmla="*/ 55 h 134"/>
                <a:gd name="T28" fmla="*/ 58 w 70"/>
                <a:gd name="T29" fmla="*/ 66 h 134"/>
                <a:gd name="T30" fmla="*/ 58 w 70"/>
                <a:gd name="T31" fmla="*/ 66 h 134"/>
                <a:gd name="T32" fmla="*/ 57 w 70"/>
                <a:gd name="T33" fmla="*/ 79 h 134"/>
                <a:gd name="T34" fmla="*/ 53 w 70"/>
                <a:gd name="T35" fmla="*/ 89 h 134"/>
                <a:gd name="T36" fmla="*/ 48 w 70"/>
                <a:gd name="T37" fmla="*/ 98 h 134"/>
                <a:gd name="T38" fmla="*/ 42 w 70"/>
                <a:gd name="T39" fmla="*/ 106 h 134"/>
                <a:gd name="T40" fmla="*/ 33 w 70"/>
                <a:gd name="T41" fmla="*/ 113 h 134"/>
                <a:gd name="T42" fmla="*/ 23 w 70"/>
                <a:gd name="T43" fmla="*/ 118 h 134"/>
                <a:gd name="T44" fmla="*/ 14 w 70"/>
                <a:gd name="T45" fmla="*/ 122 h 134"/>
                <a:gd name="T46" fmla="*/ 3 w 70"/>
                <a:gd name="T47" fmla="*/ 123 h 134"/>
                <a:gd name="T48" fmla="*/ 3 w 70"/>
                <a:gd name="T49" fmla="*/ 123 h 134"/>
                <a:gd name="T50" fmla="*/ 0 w 70"/>
                <a:gd name="T51" fmla="*/ 123 h 134"/>
                <a:gd name="T52" fmla="*/ 0 w 70"/>
                <a:gd name="T53" fmla="*/ 134 h 134"/>
                <a:gd name="T54" fmla="*/ 0 w 70"/>
                <a:gd name="T55" fmla="*/ 134 h 134"/>
                <a:gd name="T56" fmla="*/ 3 w 70"/>
                <a:gd name="T57" fmla="*/ 134 h 134"/>
                <a:gd name="T58" fmla="*/ 3 w 70"/>
                <a:gd name="T59" fmla="*/ 134 h 134"/>
                <a:gd name="T60" fmla="*/ 16 w 70"/>
                <a:gd name="T61" fmla="*/ 133 h 134"/>
                <a:gd name="T62" fmla="*/ 28 w 70"/>
                <a:gd name="T63" fmla="*/ 129 h 134"/>
                <a:gd name="T64" fmla="*/ 41 w 70"/>
                <a:gd name="T65" fmla="*/ 123 h 134"/>
                <a:gd name="T66" fmla="*/ 51 w 70"/>
                <a:gd name="T67" fmla="*/ 114 h 134"/>
                <a:gd name="T68" fmla="*/ 58 w 70"/>
                <a:gd name="T69" fmla="*/ 105 h 134"/>
                <a:gd name="T70" fmla="*/ 64 w 70"/>
                <a:gd name="T71" fmla="*/ 93 h 134"/>
                <a:gd name="T72" fmla="*/ 69 w 70"/>
                <a:gd name="T73" fmla="*/ 81 h 134"/>
                <a:gd name="T74" fmla="*/ 70 w 70"/>
                <a:gd name="T75" fmla="*/ 68 h 134"/>
                <a:gd name="T76" fmla="*/ 70 w 70"/>
                <a:gd name="T77" fmla="*/ 68 h 134"/>
                <a:gd name="T78" fmla="*/ 69 w 70"/>
                <a:gd name="T79" fmla="*/ 53 h 134"/>
                <a:gd name="T80" fmla="*/ 64 w 70"/>
                <a:gd name="T81" fmla="*/ 40 h 134"/>
                <a:gd name="T82" fmla="*/ 58 w 70"/>
                <a:gd name="T83" fmla="*/ 29 h 134"/>
                <a:gd name="T84" fmla="*/ 51 w 70"/>
                <a:gd name="T85" fmla="*/ 19 h 134"/>
                <a:gd name="T86" fmla="*/ 41 w 70"/>
                <a:gd name="T87" fmla="*/ 11 h 134"/>
                <a:gd name="T88" fmla="*/ 28 w 70"/>
                <a:gd name="T89" fmla="*/ 5 h 134"/>
                <a:gd name="T90" fmla="*/ 16 w 70"/>
                <a:gd name="T91" fmla="*/ 1 h 134"/>
                <a:gd name="T92" fmla="*/ 3 w 70"/>
                <a:gd name="T93" fmla="*/ 0 h 134"/>
                <a:gd name="T94" fmla="*/ 3 w 70"/>
                <a:gd name="T95"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0" h="134">
                  <a:moveTo>
                    <a:pt x="3" y="0"/>
                  </a:moveTo>
                  <a:lnTo>
                    <a:pt x="3" y="0"/>
                  </a:lnTo>
                  <a:lnTo>
                    <a:pt x="0" y="0"/>
                  </a:lnTo>
                  <a:lnTo>
                    <a:pt x="0" y="11"/>
                  </a:lnTo>
                  <a:lnTo>
                    <a:pt x="0" y="11"/>
                  </a:lnTo>
                  <a:lnTo>
                    <a:pt x="3" y="11"/>
                  </a:lnTo>
                  <a:lnTo>
                    <a:pt x="3" y="11"/>
                  </a:lnTo>
                  <a:lnTo>
                    <a:pt x="14" y="12"/>
                  </a:lnTo>
                  <a:lnTo>
                    <a:pt x="23" y="16"/>
                  </a:lnTo>
                  <a:lnTo>
                    <a:pt x="33" y="21"/>
                  </a:lnTo>
                  <a:lnTo>
                    <a:pt x="42" y="28"/>
                  </a:lnTo>
                  <a:lnTo>
                    <a:pt x="48" y="36"/>
                  </a:lnTo>
                  <a:lnTo>
                    <a:pt x="53" y="45"/>
                  </a:lnTo>
                  <a:lnTo>
                    <a:pt x="57" y="55"/>
                  </a:lnTo>
                  <a:lnTo>
                    <a:pt x="58" y="66"/>
                  </a:lnTo>
                  <a:lnTo>
                    <a:pt x="58" y="66"/>
                  </a:lnTo>
                  <a:lnTo>
                    <a:pt x="57" y="79"/>
                  </a:lnTo>
                  <a:lnTo>
                    <a:pt x="53" y="89"/>
                  </a:lnTo>
                  <a:lnTo>
                    <a:pt x="48" y="98"/>
                  </a:lnTo>
                  <a:lnTo>
                    <a:pt x="42" y="106"/>
                  </a:lnTo>
                  <a:lnTo>
                    <a:pt x="33" y="113"/>
                  </a:lnTo>
                  <a:lnTo>
                    <a:pt x="23" y="118"/>
                  </a:lnTo>
                  <a:lnTo>
                    <a:pt x="14" y="122"/>
                  </a:lnTo>
                  <a:lnTo>
                    <a:pt x="3" y="123"/>
                  </a:lnTo>
                  <a:lnTo>
                    <a:pt x="3" y="123"/>
                  </a:lnTo>
                  <a:lnTo>
                    <a:pt x="0" y="123"/>
                  </a:lnTo>
                  <a:lnTo>
                    <a:pt x="0" y="134"/>
                  </a:lnTo>
                  <a:lnTo>
                    <a:pt x="0" y="134"/>
                  </a:lnTo>
                  <a:lnTo>
                    <a:pt x="3" y="134"/>
                  </a:lnTo>
                  <a:lnTo>
                    <a:pt x="3" y="134"/>
                  </a:lnTo>
                  <a:lnTo>
                    <a:pt x="16" y="133"/>
                  </a:lnTo>
                  <a:lnTo>
                    <a:pt x="28" y="129"/>
                  </a:lnTo>
                  <a:lnTo>
                    <a:pt x="41" y="123"/>
                  </a:lnTo>
                  <a:lnTo>
                    <a:pt x="51" y="114"/>
                  </a:lnTo>
                  <a:lnTo>
                    <a:pt x="58" y="105"/>
                  </a:lnTo>
                  <a:lnTo>
                    <a:pt x="64" y="93"/>
                  </a:lnTo>
                  <a:lnTo>
                    <a:pt x="69" y="81"/>
                  </a:lnTo>
                  <a:lnTo>
                    <a:pt x="70" y="68"/>
                  </a:lnTo>
                  <a:lnTo>
                    <a:pt x="70" y="68"/>
                  </a:lnTo>
                  <a:lnTo>
                    <a:pt x="69" y="53"/>
                  </a:lnTo>
                  <a:lnTo>
                    <a:pt x="64" y="40"/>
                  </a:lnTo>
                  <a:lnTo>
                    <a:pt x="58" y="29"/>
                  </a:lnTo>
                  <a:lnTo>
                    <a:pt x="51" y="19"/>
                  </a:lnTo>
                  <a:lnTo>
                    <a:pt x="41" y="11"/>
                  </a:lnTo>
                  <a:lnTo>
                    <a:pt x="28" y="5"/>
                  </a:lnTo>
                  <a:lnTo>
                    <a:pt x="16" y="1"/>
                  </a:lnTo>
                  <a:lnTo>
                    <a:pt x="3" y="0"/>
                  </a:lnTo>
                  <a:lnTo>
                    <a:pt x="3" y="0"/>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grpSp>
        <p:nvGrpSpPr>
          <p:cNvPr id="455" name="Group 454">
            <a:extLst>
              <a:ext uri="{FF2B5EF4-FFF2-40B4-BE49-F238E27FC236}">
                <a16:creationId xmlns:a16="http://schemas.microsoft.com/office/drawing/2014/main" id="{93549622-0A9F-8A24-238D-AE2CA8EA3BB2}"/>
              </a:ext>
            </a:extLst>
          </p:cNvPr>
          <p:cNvGrpSpPr/>
          <p:nvPr/>
        </p:nvGrpSpPr>
        <p:grpSpPr>
          <a:xfrm>
            <a:off x="9501686" y="2629395"/>
            <a:ext cx="1285115" cy="1139420"/>
            <a:chOff x="8933974" y="1324350"/>
            <a:chExt cx="1112838" cy="1114425"/>
          </a:xfrm>
        </p:grpSpPr>
        <p:sp>
          <p:nvSpPr>
            <p:cNvPr id="442" name="Freeform 5">
              <a:extLst>
                <a:ext uri="{FF2B5EF4-FFF2-40B4-BE49-F238E27FC236}">
                  <a16:creationId xmlns:a16="http://schemas.microsoft.com/office/drawing/2014/main" id="{E45B3AFF-8726-4CF6-A6FF-E0F07C7E1A5E}"/>
                </a:ext>
              </a:extLst>
            </p:cNvPr>
            <p:cNvSpPr>
              <a:spLocks/>
            </p:cNvSpPr>
            <p:nvPr/>
          </p:nvSpPr>
          <p:spPr bwMode="auto">
            <a:xfrm>
              <a:off x="8933974" y="1324350"/>
              <a:ext cx="1112838" cy="1114425"/>
            </a:xfrm>
            <a:custGeom>
              <a:avLst/>
              <a:gdLst>
                <a:gd name="T0" fmla="*/ 333 w 701"/>
                <a:gd name="T1" fmla="*/ 701 h 702"/>
                <a:gd name="T2" fmla="*/ 280 w 701"/>
                <a:gd name="T3" fmla="*/ 695 h 702"/>
                <a:gd name="T4" fmla="*/ 231 w 701"/>
                <a:gd name="T5" fmla="*/ 680 h 702"/>
                <a:gd name="T6" fmla="*/ 184 w 701"/>
                <a:gd name="T7" fmla="*/ 659 h 702"/>
                <a:gd name="T8" fmla="*/ 141 w 701"/>
                <a:gd name="T9" fmla="*/ 632 h 702"/>
                <a:gd name="T10" fmla="*/ 102 w 701"/>
                <a:gd name="T11" fmla="*/ 598 h 702"/>
                <a:gd name="T12" fmla="*/ 70 w 701"/>
                <a:gd name="T13" fmla="*/ 561 h 702"/>
                <a:gd name="T14" fmla="*/ 43 w 701"/>
                <a:gd name="T15" fmla="*/ 518 h 702"/>
                <a:gd name="T16" fmla="*/ 21 w 701"/>
                <a:gd name="T17" fmla="*/ 471 h 702"/>
                <a:gd name="T18" fmla="*/ 7 w 701"/>
                <a:gd name="T19" fmla="*/ 422 h 702"/>
                <a:gd name="T20" fmla="*/ 1 w 701"/>
                <a:gd name="T21" fmla="*/ 369 h 702"/>
                <a:gd name="T22" fmla="*/ 1 w 701"/>
                <a:gd name="T23" fmla="*/ 333 h 702"/>
                <a:gd name="T24" fmla="*/ 7 w 701"/>
                <a:gd name="T25" fmla="*/ 280 h 702"/>
                <a:gd name="T26" fmla="*/ 21 w 701"/>
                <a:gd name="T27" fmla="*/ 231 h 702"/>
                <a:gd name="T28" fmla="*/ 43 w 701"/>
                <a:gd name="T29" fmla="*/ 184 h 702"/>
                <a:gd name="T30" fmla="*/ 70 w 701"/>
                <a:gd name="T31" fmla="*/ 142 h 702"/>
                <a:gd name="T32" fmla="*/ 102 w 701"/>
                <a:gd name="T33" fmla="*/ 104 h 702"/>
                <a:gd name="T34" fmla="*/ 141 w 701"/>
                <a:gd name="T35" fmla="*/ 70 h 702"/>
                <a:gd name="T36" fmla="*/ 184 w 701"/>
                <a:gd name="T37" fmla="*/ 43 h 702"/>
                <a:gd name="T38" fmla="*/ 231 w 701"/>
                <a:gd name="T39" fmla="*/ 22 h 702"/>
                <a:gd name="T40" fmla="*/ 280 w 701"/>
                <a:gd name="T41" fmla="*/ 7 h 702"/>
                <a:gd name="T42" fmla="*/ 333 w 701"/>
                <a:gd name="T43" fmla="*/ 1 h 702"/>
                <a:gd name="T44" fmla="*/ 369 w 701"/>
                <a:gd name="T45" fmla="*/ 1 h 702"/>
                <a:gd name="T46" fmla="*/ 422 w 701"/>
                <a:gd name="T47" fmla="*/ 7 h 702"/>
                <a:gd name="T48" fmla="*/ 471 w 701"/>
                <a:gd name="T49" fmla="*/ 22 h 702"/>
                <a:gd name="T50" fmla="*/ 518 w 701"/>
                <a:gd name="T51" fmla="*/ 43 h 702"/>
                <a:gd name="T52" fmla="*/ 560 w 701"/>
                <a:gd name="T53" fmla="*/ 70 h 702"/>
                <a:gd name="T54" fmla="*/ 598 w 701"/>
                <a:gd name="T55" fmla="*/ 104 h 702"/>
                <a:gd name="T56" fmla="*/ 631 w 701"/>
                <a:gd name="T57" fmla="*/ 142 h 702"/>
                <a:gd name="T58" fmla="*/ 659 w 701"/>
                <a:gd name="T59" fmla="*/ 184 h 702"/>
                <a:gd name="T60" fmla="*/ 680 w 701"/>
                <a:gd name="T61" fmla="*/ 231 h 702"/>
                <a:gd name="T62" fmla="*/ 694 w 701"/>
                <a:gd name="T63" fmla="*/ 280 h 702"/>
                <a:gd name="T64" fmla="*/ 701 w 701"/>
                <a:gd name="T65" fmla="*/ 333 h 702"/>
                <a:gd name="T66" fmla="*/ 701 w 701"/>
                <a:gd name="T67" fmla="*/ 369 h 702"/>
                <a:gd name="T68" fmla="*/ 694 w 701"/>
                <a:gd name="T69" fmla="*/ 422 h 702"/>
                <a:gd name="T70" fmla="*/ 680 w 701"/>
                <a:gd name="T71" fmla="*/ 471 h 702"/>
                <a:gd name="T72" fmla="*/ 659 w 701"/>
                <a:gd name="T73" fmla="*/ 518 h 702"/>
                <a:gd name="T74" fmla="*/ 631 w 701"/>
                <a:gd name="T75" fmla="*/ 561 h 702"/>
                <a:gd name="T76" fmla="*/ 598 w 701"/>
                <a:gd name="T77" fmla="*/ 598 h 702"/>
                <a:gd name="T78" fmla="*/ 560 w 701"/>
                <a:gd name="T79" fmla="*/ 632 h 702"/>
                <a:gd name="T80" fmla="*/ 518 w 701"/>
                <a:gd name="T81" fmla="*/ 659 h 702"/>
                <a:gd name="T82" fmla="*/ 471 w 701"/>
                <a:gd name="T83" fmla="*/ 680 h 702"/>
                <a:gd name="T84" fmla="*/ 422 w 701"/>
                <a:gd name="T85" fmla="*/ 695 h 702"/>
                <a:gd name="T86" fmla="*/ 369 w 701"/>
                <a:gd name="T87" fmla="*/ 70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2">
                  <a:moveTo>
                    <a:pt x="350" y="702"/>
                  </a:moveTo>
                  <a:lnTo>
                    <a:pt x="350" y="702"/>
                  </a:lnTo>
                  <a:lnTo>
                    <a:pt x="333" y="701"/>
                  </a:lnTo>
                  <a:lnTo>
                    <a:pt x="315" y="699"/>
                  </a:lnTo>
                  <a:lnTo>
                    <a:pt x="297" y="697"/>
                  </a:lnTo>
                  <a:lnTo>
                    <a:pt x="280" y="695"/>
                  </a:lnTo>
                  <a:lnTo>
                    <a:pt x="263" y="691"/>
                  </a:lnTo>
                  <a:lnTo>
                    <a:pt x="247" y="686"/>
                  </a:lnTo>
                  <a:lnTo>
                    <a:pt x="231" y="680"/>
                  </a:lnTo>
                  <a:lnTo>
                    <a:pt x="215" y="674"/>
                  </a:lnTo>
                  <a:lnTo>
                    <a:pt x="199" y="667"/>
                  </a:lnTo>
                  <a:lnTo>
                    <a:pt x="184" y="659"/>
                  </a:lnTo>
                  <a:lnTo>
                    <a:pt x="169" y="651"/>
                  </a:lnTo>
                  <a:lnTo>
                    <a:pt x="155" y="641"/>
                  </a:lnTo>
                  <a:lnTo>
                    <a:pt x="141" y="632"/>
                  </a:lnTo>
                  <a:lnTo>
                    <a:pt x="128" y="622"/>
                  </a:lnTo>
                  <a:lnTo>
                    <a:pt x="115" y="611"/>
                  </a:lnTo>
                  <a:lnTo>
                    <a:pt x="102" y="598"/>
                  </a:lnTo>
                  <a:lnTo>
                    <a:pt x="91" y="587"/>
                  </a:lnTo>
                  <a:lnTo>
                    <a:pt x="80" y="574"/>
                  </a:lnTo>
                  <a:lnTo>
                    <a:pt x="70" y="561"/>
                  </a:lnTo>
                  <a:lnTo>
                    <a:pt x="60" y="546"/>
                  </a:lnTo>
                  <a:lnTo>
                    <a:pt x="51" y="533"/>
                  </a:lnTo>
                  <a:lnTo>
                    <a:pt x="43" y="518"/>
                  </a:lnTo>
                  <a:lnTo>
                    <a:pt x="35" y="503"/>
                  </a:lnTo>
                  <a:lnTo>
                    <a:pt x="28" y="487"/>
                  </a:lnTo>
                  <a:lnTo>
                    <a:pt x="21" y="471"/>
                  </a:lnTo>
                  <a:lnTo>
                    <a:pt x="16" y="455"/>
                  </a:lnTo>
                  <a:lnTo>
                    <a:pt x="11" y="439"/>
                  </a:lnTo>
                  <a:lnTo>
                    <a:pt x="7" y="422"/>
                  </a:lnTo>
                  <a:lnTo>
                    <a:pt x="5" y="405"/>
                  </a:lnTo>
                  <a:lnTo>
                    <a:pt x="2" y="387"/>
                  </a:lnTo>
                  <a:lnTo>
                    <a:pt x="1" y="369"/>
                  </a:lnTo>
                  <a:lnTo>
                    <a:pt x="0" y="352"/>
                  </a:lnTo>
                  <a:lnTo>
                    <a:pt x="0" y="352"/>
                  </a:lnTo>
                  <a:lnTo>
                    <a:pt x="1" y="333"/>
                  </a:lnTo>
                  <a:lnTo>
                    <a:pt x="2" y="316"/>
                  </a:lnTo>
                  <a:lnTo>
                    <a:pt x="5" y="297"/>
                  </a:lnTo>
                  <a:lnTo>
                    <a:pt x="7" y="280"/>
                  </a:lnTo>
                  <a:lnTo>
                    <a:pt x="11" y="264"/>
                  </a:lnTo>
                  <a:lnTo>
                    <a:pt x="16" y="247"/>
                  </a:lnTo>
                  <a:lnTo>
                    <a:pt x="21" y="231"/>
                  </a:lnTo>
                  <a:lnTo>
                    <a:pt x="28" y="215"/>
                  </a:lnTo>
                  <a:lnTo>
                    <a:pt x="35" y="199"/>
                  </a:lnTo>
                  <a:lnTo>
                    <a:pt x="43" y="184"/>
                  </a:lnTo>
                  <a:lnTo>
                    <a:pt x="51" y="169"/>
                  </a:lnTo>
                  <a:lnTo>
                    <a:pt x="60" y="155"/>
                  </a:lnTo>
                  <a:lnTo>
                    <a:pt x="70" y="142"/>
                  </a:lnTo>
                  <a:lnTo>
                    <a:pt x="80" y="128"/>
                  </a:lnTo>
                  <a:lnTo>
                    <a:pt x="91" y="116"/>
                  </a:lnTo>
                  <a:lnTo>
                    <a:pt x="102" y="104"/>
                  </a:lnTo>
                  <a:lnTo>
                    <a:pt x="115" y="91"/>
                  </a:lnTo>
                  <a:lnTo>
                    <a:pt x="128" y="80"/>
                  </a:lnTo>
                  <a:lnTo>
                    <a:pt x="141" y="70"/>
                  </a:lnTo>
                  <a:lnTo>
                    <a:pt x="155" y="60"/>
                  </a:lnTo>
                  <a:lnTo>
                    <a:pt x="169" y="52"/>
                  </a:lnTo>
                  <a:lnTo>
                    <a:pt x="184" y="43"/>
                  </a:lnTo>
                  <a:lnTo>
                    <a:pt x="199" y="35"/>
                  </a:lnTo>
                  <a:lnTo>
                    <a:pt x="215" y="28"/>
                  </a:lnTo>
                  <a:lnTo>
                    <a:pt x="231" y="22"/>
                  </a:lnTo>
                  <a:lnTo>
                    <a:pt x="247" y="16"/>
                  </a:lnTo>
                  <a:lnTo>
                    <a:pt x="263" y="11"/>
                  </a:lnTo>
                  <a:lnTo>
                    <a:pt x="280" y="7"/>
                  </a:lnTo>
                  <a:lnTo>
                    <a:pt x="297" y="5"/>
                  </a:lnTo>
                  <a:lnTo>
                    <a:pt x="315" y="2"/>
                  </a:lnTo>
                  <a:lnTo>
                    <a:pt x="333" y="1"/>
                  </a:lnTo>
                  <a:lnTo>
                    <a:pt x="350" y="0"/>
                  </a:lnTo>
                  <a:lnTo>
                    <a:pt x="350" y="0"/>
                  </a:lnTo>
                  <a:lnTo>
                    <a:pt x="369" y="1"/>
                  </a:lnTo>
                  <a:lnTo>
                    <a:pt x="386" y="2"/>
                  </a:lnTo>
                  <a:lnTo>
                    <a:pt x="405" y="5"/>
                  </a:lnTo>
                  <a:lnTo>
                    <a:pt x="422" y="7"/>
                  </a:lnTo>
                  <a:lnTo>
                    <a:pt x="438" y="11"/>
                  </a:lnTo>
                  <a:lnTo>
                    <a:pt x="455" y="16"/>
                  </a:lnTo>
                  <a:lnTo>
                    <a:pt x="471" y="22"/>
                  </a:lnTo>
                  <a:lnTo>
                    <a:pt x="487" y="28"/>
                  </a:lnTo>
                  <a:lnTo>
                    <a:pt x="503" y="35"/>
                  </a:lnTo>
                  <a:lnTo>
                    <a:pt x="518" y="43"/>
                  </a:lnTo>
                  <a:lnTo>
                    <a:pt x="533" y="52"/>
                  </a:lnTo>
                  <a:lnTo>
                    <a:pt x="546" y="60"/>
                  </a:lnTo>
                  <a:lnTo>
                    <a:pt x="560" y="70"/>
                  </a:lnTo>
                  <a:lnTo>
                    <a:pt x="574" y="80"/>
                  </a:lnTo>
                  <a:lnTo>
                    <a:pt x="586" y="91"/>
                  </a:lnTo>
                  <a:lnTo>
                    <a:pt x="598" y="104"/>
                  </a:lnTo>
                  <a:lnTo>
                    <a:pt x="611" y="116"/>
                  </a:lnTo>
                  <a:lnTo>
                    <a:pt x="622" y="128"/>
                  </a:lnTo>
                  <a:lnTo>
                    <a:pt x="631" y="142"/>
                  </a:lnTo>
                  <a:lnTo>
                    <a:pt x="641" y="155"/>
                  </a:lnTo>
                  <a:lnTo>
                    <a:pt x="650" y="169"/>
                  </a:lnTo>
                  <a:lnTo>
                    <a:pt x="659" y="184"/>
                  </a:lnTo>
                  <a:lnTo>
                    <a:pt x="666" y="199"/>
                  </a:lnTo>
                  <a:lnTo>
                    <a:pt x="673" y="215"/>
                  </a:lnTo>
                  <a:lnTo>
                    <a:pt x="680" y="231"/>
                  </a:lnTo>
                  <a:lnTo>
                    <a:pt x="686" y="247"/>
                  </a:lnTo>
                  <a:lnTo>
                    <a:pt x="691" y="264"/>
                  </a:lnTo>
                  <a:lnTo>
                    <a:pt x="694" y="280"/>
                  </a:lnTo>
                  <a:lnTo>
                    <a:pt x="697" y="297"/>
                  </a:lnTo>
                  <a:lnTo>
                    <a:pt x="699" y="316"/>
                  </a:lnTo>
                  <a:lnTo>
                    <a:pt x="701" y="333"/>
                  </a:lnTo>
                  <a:lnTo>
                    <a:pt x="701" y="352"/>
                  </a:lnTo>
                  <a:lnTo>
                    <a:pt x="701" y="352"/>
                  </a:lnTo>
                  <a:lnTo>
                    <a:pt x="701" y="369"/>
                  </a:lnTo>
                  <a:lnTo>
                    <a:pt x="699" y="387"/>
                  </a:lnTo>
                  <a:lnTo>
                    <a:pt x="697" y="405"/>
                  </a:lnTo>
                  <a:lnTo>
                    <a:pt x="694" y="422"/>
                  </a:lnTo>
                  <a:lnTo>
                    <a:pt x="691" y="439"/>
                  </a:lnTo>
                  <a:lnTo>
                    <a:pt x="686" y="455"/>
                  </a:lnTo>
                  <a:lnTo>
                    <a:pt x="680" y="471"/>
                  </a:lnTo>
                  <a:lnTo>
                    <a:pt x="673" y="487"/>
                  </a:lnTo>
                  <a:lnTo>
                    <a:pt x="666" y="503"/>
                  </a:lnTo>
                  <a:lnTo>
                    <a:pt x="659" y="518"/>
                  </a:lnTo>
                  <a:lnTo>
                    <a:pt x="650" y="533"/>
                  </a:lnTo>
                  <a:lnTo>
                    <a:pt x="641" y="546"/>
                  </a:lnTo>
                  <a:lnTo>
                    <a:pt x="631" y="561"/>
                  </a:lnTo>
                  <a:lnTo>
                    <a:pt x="622" y="574"/>
                  </a:lnTo>
                  <a:lnTo>
                    <a:pt x="611" y="587"/>
                  </a:lnTo>
                  <a:lnTo>
                    <a:pt x="598" y="598"/>
                  </a:lnTo>
                  <a:lnTo>
                    <a:pt x="586" y="611"/>
                  </a:lnTo>
                  <a:lnTo>
                    <a:pt x="574" y="622"/>
                  </a:lnTo>
                  <a:lnTo>
                    <a:pt x="560" y="632"/>
                  </a:lnTo>
                  <a:lnTo>
                    <a:pt x="546" y="641"/>
                  </a:lnTo>
                  <a:lnTo>
                    <a:pt x="533" y="651"/>
                  </a:lnTo>
                  <a:lnTo>
                    <a:pt x="518" y="659"/>
                  </a:lnTo>
                  <a:lnTo>
                    <a:pt x="503" y="667"/>
                  </a:lnTo>
                  <a:lnTo>
                    <a:pt x="487" y="674"/>
                  </a:lnTo>
                  <a:lnTo>
                    <a:pt x="471" y="680"/>
                  </a:lnTo>
                  <a:lnTo>
                    <a:pt x="455" y="686"/>
                  </a:lnTo>
                  <a:lnTo>
                    <a:pt x="438" y="691"/>
                  </a:lnTo>
                  <a:lnTo>
                    <a:pt x="422" y="695"/>
                  </a:lnTo>
                  <a:lnTo>
                    <a:pt x="405" y="697"/>
                  </a:lnTo>
                  <a:lnTo>
                    <a:pt x="386" y="699"/>
                  </a:lnTo>
                  <a:lnTo>
                    <a:pt x="369" y="701"/>
                  </a:lnTo>
                  <a:lnTo>
                    <a:pt x="350" y="702"/>
                  </a:lnTo>
                  <a:lnTo>
                    <a:pt x="350" y="702"/>
                  </a:lnTo>
                  <a:close/>
                </a:path>
              </a:pathLst>
            </a:custGeom>
            <a:solidFill>
              <a:srgbClr val="470A68"/>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4" name="Rectangle 127">
              <a:extLst>
                <a:ext uri="{FF2B5EF4-FFF2-40B4-BE49-F238E27FC236}">
                  <a16:creationId xmlns:a16="http://schemas.microsoft.com/office/drawing/2014/main" id="{6432ABE3-2AC8-1B00-F3C7-41B91B33969C}"/>
                </a:ext>
              </a:extLst>
            </p:cNvPr>
            <p:cNvSpPr>
              <a:spLocks noChangeArrowheads="1"/>
            </p:cNvSpPr>
            <p:nvPr/>
          </p:nvSpPr>
          <p:spPr bwMode="auto">
            <a:xfrm>
              <a:off x="9438799" y="1997450"/>
              <a:ext cx="131763" cy="42863"/>
            </a:xfrm>
            <a:prstGeom prst="rect">
              <a:avLst/>
            </a:prstGeom>
            <a:solidFill>
              <a:srgbClr val="F99B1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5" name="Freeform 128">
              <a:extLst>
                <a:ext uri="{FF2B5EF4-FFF2-40B4-BE49-F238E27FC236}">
                  <a16:creationId xmlns:a16="http://schemas.microsoft.com/office/drawing/2014/main" id="{4454BEB6-7DFB-98F4-B2AE-C0D75774CD01}"/>
                </a:ext>
              </a:extLst>
            </p:cNvPr>
            <p:cNvSpPr>
              <a:spLocks/>
            </p:cNvSpPr>
            <p:nvPr/>
          </p:nvSpPr>
          <p:spPr bwMode="auto">
            <a:xfrm>
              <a:off x="9356249" y="1595813"/>
              <a:ext cx="296863" cy="309563"/>
            </a:xfrm>
            <a:custGeom>
              <a:avLst/>
              <a:gdLst>
                <a:gd name="T0" fmla="*/ 8 w 187"/>
                <a:gd name="T1" fmla="*/ 0 h 195"/>
                <a:gd name="T2" fmla="*/ 8 w 187"/>
                <a:gd name="T3" fmla="*/ 0 h 195"/>
                <a:gd name="T4" fmla="*/ 4 w 187"/>
                <a:gd name="T5" fmla="*/ 12 h 195"/>
                <a:gd name="T6" fmla="*/ 2 w 187"/>
                <a:gd name="T7" fmla="*/ 24 h 195"/>
                <a:gd name="T8" fmla="*/ 0 w 187"/>
                <a:gd name="T9" fmla="*/ 36 h 195"/>
                <a:gd name="T10" fmla="*/ 0 w 187"/>
                <a:gd name="T11" fmla="*/ 49 h 195"/>
                <a:gd name="T12" fmla="*/ 0 w 187"/>
                <a:gd name="T13" fmla="*/ 49 h 195"/>
                <a:gd name="T14" fmla="*/ 0 w 187"/>
                <a:gd name="T15" fmla="*/ 61 h 195"/>
                <a:gd name="T16" fmla="*/ 2 w 187"/>
                <a:gd name="T17" fmla="*/ 72 h 195"/>
                <a:gd name="T18" fmla="*/ 4 w 187"/>
                <a:gd name="T19" fmla="*/ 84 h 195"/>
                <a:gd name="T20" fmla="*/ 7 w 187"/>
                <a:gd name="T21" fmla="*/ 95 h 195"/>
                <a:gd name="T22" fmla="*/ 10 w 187"/>
                <a:gd name="T23" fmla="*/ 107 h 195"/>
                <a:gd name="T24" fmla="*/ 15 w 187"/>
                <a:gd name="T25" fmla="*/ 116 h 195"/>
                <a:gd name="T26" fmla="*/ 20 w 187"/>
                <a:gd name="T27" fmla="*/ 128 h 195"/>
                <a:gd name="T28" fmla="*/ 26 w 187"/>
                <a:gd name="T29" fmla="*/ 137 h 195"/>
                <a:gd name="T30" fmla="*/ 32 w 187"/>
                <a:gd name="T31" fmla="*/ 146 h 195"/>
                <a:gd name="T32" fmla="*/ 40 w 187"/>
                <a:gd name="T33" fmla="*/ 155 h 195"/>
                <a:gd name="T34" fmla="*/ 47 w 187"/>
                <a:gd name="T35" fmla="*/ 163 h 195"/>
                <a:gd name="T36" fmla="*/ 56 w 187"/>
                <a:gd name="T37" fmla="*/ 171 h 195"/>
                <a:gd name="T38" fmla="*/ 65 w 187"/>
                <a:gd name="T39" fmla="*/ 178 h 195"/>
                <a:gd name="T40" fmla="*/ 73 w 187"/>
                <a:gd name="T41" fmla="*/ 184 h 195"/>
                <a:gd name="T42" fmla="*/ 83 w 187"/>
                <a:gd name="T43" fmla="*/ 190 h 195"/>
                <a:gd name="T44" fmla="*/ 93 w 187"/>
                <a:gd name="T45" fmla="*/ 195 h 195"/>
                <a:gd name="T46" fmla="*/ 93 w 187"/>
                <a:gd name="T47" fmla="*/ 195 h 195"/>
                <a:gd name="T48" fmla="*/ 103 w 187"/>
                <a:gd name="T49" fmla="*/ 190 h 195"/>
                <a:gd name="T50" fmla="*/ 113 w 187"/>
                <a:gd name="T51" fmla="*/ 184 h 195"/>
                <a:gd name="T52" fmla="*/ 123 w 187"/>
                <a:gd name="T53" fmla="*/ 178 h 195"/>
                <a:gd name="T54" fmla="*/ 131 w 187"/>
                <a:gd name="T55" fmla="*/ 171 h 195"/>
                <a:gd name="T56" fmla="*/ 139 w 187"/>
                <a:gd name="T57" fmla="*/ 163 h 195"/>
                <a:gd name="T58" fmla="*/ 147 w 187"/>
                <a:gd name="T59" fmla="*/ 155 h 195"/>
                <a:gd name="T60" fmla="*/ 153 w 187"/>
                <a:gd name="T61" fmla="*/ 146 h 195"/>
                <a:gd name="T62" fmla="*/ 161 w 187"/>
                <a:gd name="T63" fmla="*/ 137 h 195"/>
                <a:gd name="T64" fmla="*/ 166 w 187"/>
                <a:gd name="T65" fmla="*/ 128 h 195"/>
                <a:gd name="T66" fmla="*/ 172 w 187"/>
                <a:gd name="T67" fmla="*/ 116 h 195"/>
                <a:gd name="T68" fmla="*/ 176 w 187"/>
                <a:gd name="T69" fmla="*/ 107 h 195"/>
                <a:gd name="T70" fmla="*/ 179 w 187"/>
                <a:gd name="T71" fmla="*/ 95 h 195"/>
                <a:gd name="T72" fmla="*/ 183 w 187"/>
                <a:gd name="T73" fmla="*/ 84 h 195"/>
                <a:gd name="T74" fmla="*/ 184 w 187"/>
                <a:gd name="T75" fmla="*/ 72 h 195"/>
                <a:gd name="T76" fmla="*/ 185 w 187"/>
                <a:gd name="T77" fmla="*/ 61 h 195"/>
                <a:gd name="T78" fmla="*/ 187 w 187"/>
                <a:gd name="T79" fmla="*/ 49 h 195"/>
                <a:gd name="T80" fmla="*/ 187 w 187"/>
                <a:gd name="T81" fmla="*/ 49 h 195"/>
                <a:gd name="T82" fmla="*/ 185 w 187"/>
                <a:gd name="T83" fmla="*/ 36 h 195"/>
                <a:gd name="T84" fmla="*/ 184 w 187"/>
                <a:gd name="T85" fmla="*/ 24 h 195"/>
                <a:gd name="T86" fmla="*/ 182 w 187"/>
                <a:gd name="T87" fmla="*/ 12 h 195"/>
                <a:gd name="T88" fmla="*/ 179 w 187"/>
                <a:gd name="T89" fmla="*/ 0 h 195"/>
                <a:gd name="T90" fmla="*/ 8 w 187"/>
                <a:gd name="T91"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7" h="195">
                  <a:moveTo>
                    <a:pt x="8" y="0"/>
                  </a:moveTo>
                  <a:lnTo>
                    <a:pt x="8" y="0"/>
                  </a:lnTo>
                  <a:lnTo>
                    <a:pt x="4" y="12"/>
                  </a:lnTo>
                  <a:lnTo>
                    <a:pt x="2" y="24"/>
                  </a:lnTo>
                  <a:lnTo>
                    <a:pt x="0" y="36"/>
                  </a:lnTo>
                  <a:lnTo>
                    <a:pt x="0" y="49"/>
                  </a:lnTo>
                  <a:lnTo>
                    <a:pt x="0" y="49"/>
                  </a:lnTo>
                  <a:lnTo>
                    <a:pt x="0" y="61"/>
                  </a:lnTo>
                  <a:lnTo>
                    <a:pt x="2" y="72"/>
                  </a:lnTo>
                  <a:lnTo>
                    <a:pt x="4" y="84"/>
                  </a:lnTo>
                  <a:lnTo>
                    <a:pt x="7" y="95"/>
                  </a:lnTo>
                  <a:lnTo>
                    <a:pt x="10" y="107"/>
                  </a:lnTo>
                  <a:lnTo>
                    <a:pt x="15" y="116"/>
                  </a:lnTo>
                  <a:lnTo>
                    <a:pt x="20" y="128"/>
                  </a:lnTo>
                  <a:lnTo>
                    <a:pt x="26" y="137"/>
                  </a:lnTo>
                  <a:lnTo>
                    <a:pt x="32" y="146"/>
                  </a:lnTo>
                  <a:lnTo>
                    <a:pt x="40" y="155"/>
                  </a:lnTo>
                  <a:lnTo>
                    <a:pt x="47" y="163"/>
                  </a:lnTo>
                  <a:lnTo>
                    <a:pt x="56" y="171"/>
                  </a:lnTo>
                  <a:lnTo>
                    <a:pt x="65" y="178"/>
                  </a:lnTo>
                  <a:lnTo>
                    <a:pt x="73" y="184"/>
                  </a:lnTo>
                  <a:lnTo>
                    <a:pt x="83" y="190"/>
                  </a:lnTo>
                  <a:lnTo>
                    <a:pt x="93" y="195"/>
                  </a:lnTo>
                  <a:lnTo>
                    <a:pt x="93" y="195"/>
                  </a:lnTo>
                  <a:lnTo>
                    <a:pt x="103" y="190"/>
                  </a:lnTo>
                  <a:lnTo>
                    <a:pt x="113" y="184"/>
                  </a:lnTo>
                  <a:lnTo>
                    <a:pt x="123" y="178"/>
                  </a:lnTo>
                  <a:lnTo>
                    <a:pt x="131" y="171"/>
                  </a:lnTo>
                  <a:lnTo>
                    <a:pt x="139" y="163"/>
                  </a:lnTo>
                  <a:lnTo>
                    <a:pt x="147" y="155"/>
                  </a:lnTo>
                  <a:lnTo>
                    <a:pt x="153" y="146"/>
                  </a:lnTo>
                  <a:lnTo>
                    <a:pt x="161" y="137"/>
                  </a:lnTo>
                  <a:lnTo>
                    <a:pt x="166" y="128"/>
                  </a:lnTo>
                  <a:lnTo>
                    <a:pt x="172" y="116"/>
                  </a:lnTo>
                  <a:lnTo>
                    <a:pt x="176" y="107"/>
                  </a:lnTo>
                  <a:lnTo>
                    <a:pt x="179" y="95"/>
                  </a:lnTo>
                  <a:lnTo>
                    <a:pt x="183" y="84"/>
                  </a:lnTo>
                  <a:lnTo>
                    <a:pt x="184" y="72"/>
                  </a:lnTo>
                  <a:lnTo>
                    <a:pt x="185" y="61"/>
                  </a:lnTo>
                  <a:lnTo>
                    <a:pt x="187" y="49"/>
                  </a:lnTo>
                  <a:lnTo>
                    <a:pt x="187" y="49"/>
                  </a:lnTo>
                  <a:lnTo>
                    <a:pt x="185" y="36"/>
                  </a:lnTo>
                  <a:lnTo>
                    <a:pt x="184" y="24"/>
                  </a:lnTo>
                  <a:lnTo>
                    <a:pt x="182" y="12"/>
                  </a:lnTo>
                  <a:lnTo>
                    <a:pt x="179" y="0"/>
                  </a:lnTo>
                  <a:lnTo>
                    <a:pt x="8" y="0"/>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6" name="Freeform 129">
              <a:extLst>
                <a:ext uri="{FF2B5EF4-FFF2-40B4-BE49-F238E27FC236}">
                  <a16:creationId xmlns:a16="http://schemas.microsoft.com/office/drawing/2014/main" id="{C8BEF39D-C145-5334-F0D0-36CC4F788F55}"/>
                </a:ext>
              </a:extLst>
            </p:cNvPr>
            <p:cNvSpPr>
              <a:spLocks noEditPoints="1"/>
            </p:cNvSpPr>
            <p:nvPr/>
          </p:nvSpPr>
          <p:spPr bwMode="auto">
            <a:xfrm>
              <a:off x="9272112" y="1610100"/>
              <a:ext cx="204788" cy="252413"/>
            </a:xfrm>
            <a:custGeom>
              <a:avLst/>
              <a:gdLst>
                <a:gd name="T0" fmla="*/ 129 w 129"/>
                <a:gd name="T1" fmla="*/ 159 h 159"/>
                <a:gd name="T2" fmla="*/ 119 w 129"/>
                <a:gd name="T3" fmla="*/ 158 h 159"/>
                <a:gd name="T4" fmla="*/ 119 w 129"/>
                <a:gd name="T5" fmla="*/ 158 h 159"/>
                <a:gd name="T6" fmla="*/ 106 w 129"/>
                <a:gd name="T7" fmla="*/ 157 h 159"/>
                <a:gd name="T8" fmla="*/ 94 w 129"/>
                <a:gd name="T9" fmla="*/ 153 h 159"/>
                <a:gd name="T10" fmla="*/ 83 w 129"/>
                <a:gd name="T11" fmla="*/ 149 h 159"/>
                <a:gd name="T12" fmla="*/ 72 w 129"/>
                <a:gd name="T13" fmla="*/ 143 h 159"/>
                <a:gd name="T14" fmla="*/ 62 w 129"/>
                <a:gd name="T15" fmla="*/ 137 h 159"/>
                <a:gd name="T16" fmla="*/ 52 w 129"/>
                <a:gd name="T17" fmla="*/ 130 h 159"/>
                <a:gd name="T18" fmla="*/ 42 w 129"/>
                <a:gd name="T19" fmla="*/ 121 h 159"/>
                <a:gd name="T20" fmla="*/ 35 w 129"/>
                <a:gd name="T21" fmla="*/ 112 h 159"/>
                <a:gd name="T22" fmla="*/ 26 w 129"/>
                <a:gd name="T23" fmla="*/ 102 h 159"/>
                <a:gd name="T24" fmla="*/ 20 w 129"/>
                <a:gd name="T25" fmla="*/ 91 h 159"/>
                <a:gd name="T26" fmla="*/ 14 w 129"/>
                <a:gd name="T27" fmla="*/ 80 h 159"/>
                <a:gd name="T28" fmla="*/ 9 w 129"/>
                <a:gd name="T29" fmla="*/ 69 h 159"/>
                <a:gd name="T30" fmla="*/ 5 w 129"/>
                <a:gd name="T31" fmla="*/ 57 h 159"/>
                <a:gd name="T32" fmla="*/ 3 w 129"/>
                <a:gd name="T33" fmla="*/ 43 h 159"/>
                <a:gd name="T34" fmla="*/ 2 w 129"/>
                <a:gd name="T35" fmla="*/ 30 h 159"/>
                <a:gd name="T36" fmla="*/ 0 w 129"/>
                <a:gd name="T37" fmla="*/ 16 h 159"/>
                <a:gd name="T38" fmla="*/ 0 w 129"/>
                <a:gd name="T39" fmla="*/ 16 h 159"/>
                <a:gd name="T40" fmla="*/ 0 w 129"/>
                <a:gd name="T41" fmla="*/ 9 h 159"/>
                <a:gd name="T42" fmla="*/ 2 w 129"/>
                <a:gd name="T43" fmla="*/ 0 h 159"/>
                <a:gd name="T44" fmla="*/ 129 w 129"/>
                <a:gd name="T45" fmla="*/ 0 h 159"/>
                <a:gd name="T46" fmla="*/ 129 w 129"/>
                <a:gd name="T47" fmla="*/ 159 h 159"/>
                <a:gd name="T48" fmla="*/ 129 w 129"/>
                <a:gd name="T49" fmla="*/ 159 h 159"/>
                <a:gd name="T50" fmla="*/ 18 w 129"/>
                <a:gd name="T51" fmla="*/ 17 h 159"/>
                <a:gd name="T52" fmla="*/ 18 w 129"/>
                <a:gd name="T53" fmla="*/ 17 h 159"/>
                <a:gd name="T54" fmla="*/ 19 w 129"/>
                <a:gd name="T55" fmla="*/ 28 h 159"/>
                <a:gd name="T56" fmla="*/ 20 w 129"/>
                <a:gd name="T57" fmla="*/ 40 h 159"/>
                <a:gd name="T58" fmla="*/ 23 w 129"/>
                <a:gd name="T59" fmla="*/ 51 h 159"/>
                <a:gd name="T60" fmla="*/ 25 w 129"/>
                <a:gd name="T61" fmla="*/ 61 h 159"/>
                <a:gd name="T62" fmla="*/ 29 w 129"/>
                <a:gd name="T63" fmla="*/ 70 h 159"/>
                <a:gd name="T64" fmla="*/ 34 w 129"/>
                <a:gd name="T65" fmla="*/ 80 h 159"/>
                <a:gd name="T66" fmla="*/ 39 w 129"/>
                <a:gd name="T67" fmla="*/ 89 h 159"/>
                <a:gd name="T68" fmla="*/ 45 w 129"/>
                <a:gd name="T69" fmla="*/ 98 h 159"/>
                <a:gd name="T70" fmla="*/ 51 w 129"/>
                <a:gd name="T71" fmla="*/ 105 h 159"/>
                <a:gd name="T72" fmla="*/ 58 w 129"/>
                <a:gd name="T73" fmla="*/ 112 h 159"/>
                <a:gd name="T74" fmla="*/ 66 w 129"/>
                <a:gd name="T75" fmla="*/ 119 h 159"/>
                <a:gd name="T76" fmla="*/ 74 w 129"/>
                <a:gd name="T77" fmla="*/ 125 h 159"/>
                <a:gd name="T78" fmla="*/ 83 w 129"/>
                <a:gd name="T79" fmla="*/ 130 h 159"/>
                <a:gd name="T80" fmla="*/ 92 w 129"/>
                <a:gd name="T81" fmla="*/ 133 h 159"/>
                <a:gd name="T82" fmla="*/ 102 w 129"/>
                <a:gd name="T83" fmla="*/ 137 h 159"/>
                <a:gd name="T84" fmla="*/ 111 w 129"/>
                <a:gd name="T85" fmla="*/ 139 h 159"/>
                <a:gd name="T86" fmla="*/ 111 w 129"/>
                <a:gd name="T87" fmla="*/ 17 h 159"/>
                <a:gd name="T88" fmla="*/ 18 w 129"/>
                <a:gd name="T89" fmla="*/ 17 h 159"/>
                <a:gd name="T90" fmla="*/ 18 w 129"/>
                <a:gd name="T91" fmla="*/ 1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9" h="159">
                  <a:moveTo>
                    <a:pt x="129" y="159"/>
                  </a:moveTo>
                  <a:lnTo>
                    <a:pt x="119" y="158"/>
                  </a:lnTo>
                  <a:lnTo>
                    <a:pt x="119" y="158"/>
                  </a:lnTo>
                  <a:lnTo>
                    <a:pt x="106" y="157"/>
                  </a:lnTo>
                  <a:lnTo>
                    <a:pt x="94" y="153"/>
                  </a:lnTo>
                  <a:lnTo>
                    <a:pt x="83" y="149"/>
                  </a:lnTo>
                  <a:lnTo>
                    <a:pt x="72" y="143"/>
                  </a:lnTo>
                  <a:lnTo>
                    <a:pt x="62" y="137"/>
                  </a:lnTo>
                  <a:lnTo>
                    <a:pt x="52" y="130"/>
                  </a:lnTo>
                  <a:lnTo>
                    <a:pt x="42" y="121"/>
                  </a:lnTo>
                  <a:lnTo>
                    <a:pt x="35" y="112"/>
                  </a:lnTo>
                  <a:lnTo>
                    <a:pt x="26" y="102"/>
                  </a:lnTo>
                  <a:lnTo>
                    <a:pt x="20" y="91"/>
                  </a:lnTo>
                  <a:lnTo>
                    <a:pt x="14" y="80"/>
                  </a:lnTo>
                  <a:lnTo>
                    <a:pt x="9" y="69"/>
                  </a:lnTo>
                  <a:lnTo>
                    <a:pt x="5" y="57"/>
                  </a:lnTo>
                  <a:lnTo>
                    <a:pt x="3" y="43"/>
                  </a:lnTo>
                  <a:lnTo>
                    <a:pt x="2" y="30"/>
                  </a:lnTo>
                  <a:lnTo>
                    <a:pt x="0" y="16"/>
                  </a:lnTo>
                  <a:lnTo>
                    <a:pt x="0" y="16"/>
                  </a:lnTo>
                  <a:lnTo>
                    <a:pt x="0" y="9"/>
                  </a:lnTo>
                  <a:lnTo>
                    <a:pt x="2" y="0"/>
                  </a:lnTo>
                  <a:lnTo>
                    <a:pt x="129" y="0"/>
                  </a:lnTo>
                  <a:lnTo>
                    <a:pt x="129" y="159"/>
                  </a:lnTo>
                  <a:lnTo>
                    <a:pt x="129" y="159"/>
                  </a:lnTo>
                  <a:close/>
                  <a:moveTo>
                    <a:pt x="18" y="17"/>
                  </a:moveTo>
                  <a:lnTo>
                    <a:pt x="18" y="17"/>
                  </a:lnTo>
                  <a:lnTo>
                    <a:pt x="19" y="28"/>
                  </a:lnTo>
                  <a:lnTo>
                    <a:pt x="20" y="40"/>
                  </a:lnTo>
                  <a:lnTo>
                    <a:pt x="23" y="51"/>
                  </a:lnTo>
                  <a:lnTo>
                    <a:pt x="25" y="61"/>
                  </a:lnTo>
                  <a:lnTo>
                    <a:pt x="29" y="70"/>
                  </a:lnTo>
                  <a:lnTo>
                    <a:pt x="34" y="80"/>
                  </a:lnTo>
                  <a:lnTo>
                    <a:pt x="39" y="89"/>
                  </a:lnTo>
                  <a:lnTo>
                    <a:pt x="45" y="98"/>
                  </a:lnTo>
                  <a:lnTo>
                    <a:pt x="51" y="105"/>
                  </a:lnTo>
                  <a:lnTo>
                    <a:pt x="58" y="112"/>
                  </a:lnTo>
                  <a:lnTo>
                    <a:pt x="66" y="119"/>
                  </a:lnTo>
                  <a:lnTo>
                    <a:pt x="74" y="125"/>
                  </a:lnTo>
                  <a:lnTo>
                    <a:pt x="83" y="130"/>
                  </a:lnTo>
                  <a:lnTo>
                    <a:pt x="92" y="133"/>
                  </a:lnTo>
                  <a:lnTo>
                    <a:pt x="102" y="137"/>
                  </a:lnTo>
                  <a:lnTo>
                    <a:pt x="111" y="139"/>
                  </a:lnTo>
                  <a:lnTo>
                    <a:pt x="111" y="17"/>
                  </a:lnTo>
                  <a:lnTo>
                    <a:pt x="18" y="17"/>
                  </a:lnTo>
                  <a:lnTo>
                    <a:pt x="18" y="17"/>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7" name="Freeform 130">
              <a:extLst>
                <a:ext uri="{FF2B5EF4-FFF2-40B4-BE49-F238E27FC236}">
                  <a16:creationId xmlns:a16="http://schemas.microsoft.com/office/drawing/2014/main" id="{4EA0AFC3-0A46-389A-E249-3DDCF709C73A}"/>
                </a:ext>
              </a:extLst>
            </p:cNvPr>
            <p:cNvSpPr>
              <a:spLocks noEditPoints="1"/>
            </p:cNvSpPr>
            <p:nvPr/>
          </p:nvSpPr>
          <p:spPr bwMode="auto">
            <a:xfrm>
              <a:off x="9530874" y="1610100"/>
              <a:ext cx="206375" cy="252413"/>
            </a:xfrm>
            <a:custGeom>
              <a:avLst/>
              <a:gdLst>
                <a:gd name="T0" fmla="*/ 0 w 130"/>
                <a:gd name="T1" fmla="*/ 159 h 159"/>
                <a:gd name="T2" fmla="*/ 0 w 130"/>
                <a:gd name="T3" fmla="*/ 0 h 159"/>
                <a:gd name="T4" fmla="*/ 128 w 130"/>
                <a:gd name="T5" fmla="*/ 0 h 159"/>
                <a:gd name="T6" fmla="*/ 128 w 130"/>
                <a:gd name="T7" fmla="*/ 9 h 159"/>
                <a:gd name="T8" fmla="*/ 128 w 130"/>
                <a:gd name="T9" fmla="*/ 9 h 159"/>
                <a:gd name="T10" fmla="*/ 130 w 130"/>
                <a:gd name="T11" fmla="*/ 16 h 159"/>
                <a:gd name="T12" fmla="*/ 130 w 130"/>
                <a:gd name="T13" fmla="*/ 16 h 159"/>
                <a:gd name="T14" fmla="*/ 128 w 130"/>
                <a:gd name="T15" fmla="*/ 30 h 159"/>
                <a:gd name="T16" fmla="*/ 127 w 130"/>
                <a:gd name="T17" fmla="*/ 43 h 159"/>
                <a:gd name="T18" fmla="*/ 124 w 130"/>
                <a:gd name="T19" fmla="*/ 57 h 159"/>
                <a:gd name="T20" fmla="*/ 120 w 130"/>
                <a:gd name="T21" fmla="*/ 69 h 159"/>
                <a:gd name="T22" fmla="*/ 115 w 130"/>
                <a:gd name="T23" fmla="*/ 80 h 159"/>
                <a:gd name="T24" fmla="*/ 110 w 130"/>
                <a:gd name="T25" fmla="*/ 91 h 159"/>
                <a:gd name="T26" fmla="*/ 103 w 130"/>
                <a:gd name="T27" fmla="*/ 102 h 159"/>
                <a:gd name="T28" fmla="*/ 95 w 130"/>
                <a:gd name="T29" fmla="*/ 112 h 159"/>
                <a:gd name="T30" fmla="*/ 87 w 130"/>
                <a:gd name="T31" fmla="*/ 121 h 159"/>
                <a:gd name="T32" fmla="*/ 78 w 130"/>
                <a:gd name="T33" fmla="*/ 130 h 159"/>
                <a:gd name="T34" fmla="*/ 68 w 130"/>
                <a:gd name="T35" fmla="*/ 137 h 159"/>
                <a:gd name="T36" fmla="*/ 57 w 130"/>
                <a:gd name="T37" fmla="*/ 143 h 159"/>
                <a:gd name="T38" fmla="*/ 47 w 130"/>
                <a:gd name="T39" fmla="*/ 149 h 159"/>
                <a:gd name="T40" fmla="*/ 35 w 130"/>
                <a:gd name="T41" fmla="*/ 153 h 159"/>
                <a:gd name="T42" fmla="*/ 22 w 130"/>
                <a:gd name="T43" fmla="*/ 157 h 159"/>
                <a:gd name="T44" fmla="*/ 10 w 130"/>
                <a:gd name="T45" fmla="*/ 158 h 159"/>
                <a:gd name="T46" fmla="*/ 0 w 130"/>
                <a:gd name="T47" fmla="*/ 159 h 159"/>
                <a:gd name="T48" fmla="*/ 0 w 130"/>
                <a:gd name="T49" fmla="*/ 159 h 159"/>
                <a:gd name="T50" fmla="*/ 19 w 130"/>
                <a:gd name="T51" fmla="*/ 17 h 159"/>
                <a:gd name="T52" fmla="*/ 19 w 130"/>
                <a:gd name="T53" fmla="*/ 139 h 159"/>
                <a:gd name="T54" fmla="*/ 19 w 130"/>
                <a:gd name="T55" fmla="*/ 139 h 159"/>
                <a:gd name="T56" fmla="*/ 29 w 130"/>
                <a:gd name="T57" fmla="*/ 137 h 159"/>
                <a:gd name="T58" fmla="*/ 37 w 130"/>
                <a:gd name="T59" fmla="*/ 133 h 159"/>
                <a:gd name="T60" fmla="*/ 47 w 130"/>
                <a:gd name="T61" fmla="*/ 130 h 159"/>
                <a:gd name="T62" fmla="*/ 56 w 130"/>
                <a:gd name="T63" fmla="*/ 125 h 159"/>
                <a:gd name="T64" fmla="*/ 63 w 130"/>
                <a:gd name="T65" fmla="*/ 119 h 159"/>
                <a:gd name="T66" fmla="*/ 70 w 130"/>
                <a:gd name="T67" fmla="*/ 112 h 159"/>
                <a:gd name="T68" fmla="*/ 78 w 130"/>
                <a:gd name="T69" fmla="*/ 105 h 159"/>
                <a:gd name="T70" fmla="*/ 85 w 130"/>
                <a:gd name="T71" fmla="*/ 98 h 159"/>
                <a:gd name="T72" fmla="*/ 90 w 130"/>
                <a:gd name="T73" fmla="*/ 89 h 159"/>
                <a:gd name="T74" fmla="*/ 96 w 130"/>
                <a:gd name="T75" fmla="*/ 80 h 159"/>
                <a:gd name="T76" fmla="*/ 100 w 130"/>
                <a:gd name="T77" fmla="*/ 70 h 159"/>
                <a:gd name="T78" fmla="*/ 104 w 130"/>
                <a:gd name="T79" fmla="*/ 61 h 159"/>
                <a:gd name="T80" fmla="*/ 107 w 130"/>
                <a:gd name="T81" fmla="*/ 51 h 159"/>
                <a:gd name="T82" fmla="*/ 110 w 130"/>
                <a:gd name="T83" fmla="*/ 40 h 159"/>
                <a:gd name="T84" fmla="*/ 111 w 130"/>
                <a:gd name="T85" fmla="*/ 28 h 159"/>
                <a:gd name="T86" fmla="*/ 111 w 130"/>
                <a:gd name="T87" fmla="*/ 17 h 159"/>
                <a:gd name="T88" fmla="*/ 19 w 130"/>
                <a:gd name="T89" fmla="*/ 17 h 159"/>
                <a:gd name="T90" fmla="*/ 19 w 130"/>
                <a:gd name="T91" fmla="*/ 1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0" h="159">
                  <a:moveTo>
                    <a:pt x="0" y="159"/>
                  </a:moveTo>
                  <a:lnTo>
                    <a:pt x="0" y="0"/>
                  </a:lnTo>
                  <a:lnTo>
                    <a:pt x="128" y="0"/>
                  </a:lnTo>
                  <a:lnTo>
                    <a:pt x="128" y="9"/>
                  </a:lnTo>
                  <a:lnTo>
                    <a:pt x="128" y="9"/>
                  </a:lnTo>
                  <a:lnTo>
                    <a:pt x="130" y="16"/>
                  </a:lnTo>
                  <a:lnTo>
                    <a:pt x="130" y="16"/>
                  </a:lnTo>
                  <a:lnTo>
                    <a:pt x="128" y="30"/>
                  </a:lnTo>
                  <a:lnTo>
                    <a:pt x="127" y="43"/>
                  </a:lnTo>
                  <a:lnTo>
                    <a:pt x="124" y="57"/>
                  </a:lnTo>
                  <a:lnTo>
                    <a:pt x="120" y="69"/>
                  </a:lnTo>
                  <a:lnTo>
                    <a:pt x="115" y="80"/>
                  </a:lnTo>
                  <a:lnTo>
                    <a:pt x="110" y="91"/>
                  </a:lnTo>
                  <a:lnTo>
                    <a:pt x="103" y="102"/>
                  </a:lnTo>
                  <a:lnTo>
                    <a:pt x="95" y="112"/>
                  </a:lnTo>
                  <a:lnTo>
                    <a:pt x="87" y="121"/>
                  </a:lnTo>
                  <a:lnTo>
                    <a:pt x="78" y="130"/>
                  </a:lnTo>
                  <a:lnTo>
                    <a:pt x="68" y="137"/>
                  </a:lnTo>
                  <a:lnTo>
                    <a:pt x="57" y="143"/>
                  </a:lnTo>
                  <a:lnTo>
                    <a:pt x="47" y="149"/>
                  </a:lnTo>
                  <a:lnTo>
                    <a:pt x="35" y="153"/>
                  </a:lnTo>
                  <a:lnTo>
                    <a:pt x="22" y="157"/>
                  </a:lnTo>
                  <a:lnTo>
                    <a:pt x="10" y="158"/>
                  </a:lnTo>
                  <a:lnTo>
                    <a:pt x="0" y="159"/>
                  </a:lnTo>
                  <a:lnTo>
                    <a:pt x="0" y="159"/>
                  </a:lnTo>
                  <a:close/>
                  <a:moveTo>
                    <a:pt x="19" y="17"/>
                  </a:moveTo>
                  <a:lnTo>
                    <a:pt x="19" y="139"/>
                  </a:lnTo>
                  <a:lnTo>
                    <a:pt x="19" y="139"/>
                  </a:lnTo>
                  <a:lnTo>
                    <a:pt x="29" y="137"/>
                  </a:lnTo>
                  <a:lnTo>
                    <a:pt x="37" y="133"/>
                  </a:lnTo>
                  <a:lnTo>
                    <a:pt x="47" y="130"/>
                  </a:lnTo>
                  <a:lnTo>
                    <a:pt x="56" y="125"/>
                  </a:lnTo>
                  <a:lnTo>
                    <a:pt x="63" y="119"/>
                  </a:lnTo>
                  <a:lnTo>
                    <a:pt x="70" y="112"/>
                  </a:lnTo>
                  <a:lnTo>
                    <a:pt x="78" y="105"/>
                  </a:lnTo>
                  <a:lnTo>
                    <a:pt x="85" y="98"/>
                  </a:lnTo>
                  <a:lnTo>
                    <a:pt x="90" y="89"/>
                  </a:lnTo>
                  <a:lnTo>
                    <a:pt x="96" y="80"/>
                  </a:lnTo>
                  <a:lnTo>
                    <a:pt x="100" y="70"/>
                  </a:lnTo>
                  <a:lnTo>
                    <a:pt x="104" y="61"/>
                  </a:lnTo>
                  <a:lnTo>
                    <a:pt x="107" y="51"/>
                  </a:lnTo>
                  <a:lnTo>
                    <a:pt x="110" y="40"/>
                  </a:lnTo>
                  <a:lnTo>
                    <a:pt x="111" y="28"/>
                  </a:lnTo>
                  <a:lnTo>
                    <a:pt x="111" y="17"/>
                  </a:lnTo>
                  <a:lnTo>
                    <a:pt x="19" y="17"/>
                  </a:lnTo>
                  <a:lnTo>
                    <a:pt x="19" y="17"/>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8" name="Rectangle 131">
              <a:extLst>
                <a:ext uri="{FF2B5EF4-FFF2-40B4-BE49-F238E27FC236}">
                  <a16:creationId xmlns:a16="http://schemas.microsoft.com/office/drawing/2014/main" id="{96E832FC-02F0-E7F2-6644-5D603889B61A}"/>
                </a:ext>
              </a:extLst>
            </p:cNvPr>
            <p:cNvSpPr>
              <a:spLocks noChangeArrowheads="1"/>
            </p:cNvSpPr>
            <p:nvPr/>
          </p:nvSpPr>
          <p:spPr bwMode="auto">
            <a:xfrm>
              <a:off x="9484837" y="1852988"/>
              <a:ext cx="39688" cy="174625"/>
            </a:xfrm>
            <a:prstGeom prst="rect">
              <a:avLst/>
            </a:prstGeom>
            <a:solidFill>
              <a:srgbClr val="F99B1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49" name="Freeform 132">
              <a:extLst>
                <a:ext uri="{FF2B5EF4-FFF2-40B4-BE49-F238E27FC236}">
                  <a16:creationId xmlns:a16="http://schemas.microsoft.com/office/drawing/2014/main" id="{CD66BB9F-C88A-6BA1-D90A-527353B15322}"/>
                </a:ext>
              </a:extLst>
            </p:cNvPr>
            <p:cNvSpPr>
              <a:spLocks/>
            </p:cNvSpPr>
            <p:nvPr/>
          </p:nvSpPr>
          <p:spPr bwMode="auto">
            <a:xfrm>
              <a:off x="9389587" y="2011738"/>
              <a:ext cx="230188" cy="31750"/>
            </a:xfrm>
            <a:custGeom>
              <a:avLst/>
              <a:gdLst>
                <a:gd name="T0" fmla="*/ 145 w 145"/>
                <a:gd name="T1" fmla="*/ 20 h 20"/>
                <a:gd name="T2" fmla="*/ 145 w 145"/>
                <a:gd name="T3" fmla="*/ 11 h 20"/>
                <a:gd name="T4" fmla="*/ 145 w 145"/>
                <a:gd name="T5" fmla="*/ 11 h 20"/>
                <a:gd name="T6" fmla="*/ 143 w 145"/>
                <a:gd name="T7" fmla="*/ 6 h 20"/>
                <a:gd name="T8" fmla="*/ 142 w 145"/>
                <a:gd name="T9" fmla="*/ 4 h 20"/>
                <a:gd name="T10" fmla="*/ 139 w 145"/>
                <a:gd name="T11" fmla="*/ 1 h 20"/>
                <a:gd name="T12" fmla="*/ 136 w 145"/>
                <a:gd name="T13" fmla="*/ 0 h 20"/>
                <a:gd name="T14" fmla="*/ 9 w 145"/>
                <a:gd name="T15" fmla="*/ 0 h 20"/>
                <a:gd name="T16" fmla="*/ 9 w 145"/>
                <a:gd name="T17" fmla="*/ 0 h 20"/>
                <a:gd name="T18" fmla="*/ 5 w 145"/>
                <a:gd name="T19" fmla="*/ 1 h 20"/>
                <a:gd name="T20" fmla="*/ 3 w 145"/>
                <a:gd name="T21" fmla="*/ 4 h 20"/>
                <a:gd name="T22" fmla="*/ 0 w 145"/>
                <a:gd name="T23" fmla="*/ 6 h 20"/>
                <a:gd name="T24" fmla="*/ 0 w 145"/>
                <a:gd name="T25" fmla="*/ 11 h 20"/>
                <a:gd name="T26" fmla="*/ 0 w 145"/>
                <a:gd name="T27" fmla="*/ 20 h 20"/>
                <a:gd name="T28" fmla="*/ 145 w 145"/>
                <a:gd name="T2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5" h="20">
                  <a:moveTo>
                    <a:pt x="145" y="20"/>
                  </a:moveTo>
                  <a:lnTo>
                    <a:pt x="145" y="11"/>
                  </a:lnTo>
                  <a:lnTo>
                    <a:pt x="145" y="11"/>
                  </a:lnTo>
                  <a:lnTo>
                    <a:pt x="143" y="6"/>
                  </a:lnTo>
                  <a:lnTo>
                    <a:pt x="142" y="4"/>
                  </a:lnTo>
                  <a:lnTo>
                    <a:pt x="139" y="1"/>
                  </a:lnTo>
                  <a:lnTo>
                    <a:pt x="136" y="0"/>
                  </a:lnTo>
                  <a:lnTo>
                    <a:pt x="9" y="0"/>
                  </a:lnTo>
                  <a:lnTo>
                    <a:pt x="9" y="0"/>
                  </a:lnTo>
                  <a:lnTo>
                    <a:pt x="5" y="1"/>
                  </a:lnTo>
                  <a:lnTo>
                    <a:pt x="3" y="4"/>
                  </a:lnTo>
                  <a:lnTo>
                    <a:pt x="0" y="6"/>
                  </a:lnTo>
                  <a:lnTo>
                    <a:pt x="0" y="11"/>
                  </a:lnTo>
                  <a:lnTo>
                    <a:pt x="0" y="20"/>
                  </a:lnTo>
                  <a:lnTo>
                    <a:pt x="145" y="20"/>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50" name="Freeform 133">
              <a:extLst>
                <a:ext uri="{FF2B5EF4-FFF2-40B4-BE49-F238E27FC236}">
                  <a16:creationId xmlns:a16="http://schemas.microsoft.com/office/drawing/2014/main" id="{97E8BBAD-70C3-20A3-EC48-76878A1AB9FB}"/>
                </a:ext>
              </a:extLst>
            </p:cNvPr>
            <p:cNvSpPr>
              <a:spLocks/>
            </p:cNvSpPr>
            <p:nvPr/>
          </p:nvSpPr>
          <p:spPr bwMode="auto">
            <a:xfrm>
              <a:off x="9356249" y="1595813"/>
              <a:ext cx="146050" cy="401638"/>
            </a:xfrm>
            <a:custGeom>
              <a:avLst/>
              <a:gdLst>
                <a:gd name="T0" fmla="*/ 8 w 92"/>
                <a:gd name="T1" fmla="*/ 0 h 253"/>
                <a:gd name="T2" fmla="*/ 8 w 92"/>
                <a:gd name="T3" fmla="*/ 0 h 253"/>
                <a:gd name="T4" fmla="*/ 4 w 92"/>
                <a:gd name="T5" fmla="*/ 12 h 253"/>
                <a:gd name="T6" fmla="*/ 2 w 92"/>
                <a:gd name="T7" fmla="*/ 24 h 253"/>
                <a:gd name="T8" fmla="*/ 0 w 92"/>
                <a:gd name="T9" fmla="*/ 36 h 253"/>
                <a:gd name="T10" fmla="*/ 0 w 92"/>
                <a:gd name="T11" fmla="*/ 49 h 253"/>
                <a:gd name="T12" fmla="*/ 0 w 92"/>
                <a:gd name="T13" fmla="*/ 49 h 253"/>
                <a:gd name="T14" fmla="*/ 0 w 92"/>
                <a:gd name="T15" fmla="*/ 60 h 253"/>
                <a:gd name="T16" fmla="*/ 2 w 92"/>
                <a:gd name="T17" fmla="*/ 71 h 253"/>
                <a:gd name="T18" fmla="*/ 7 w 92"/>
                <a:gd name="T19" fmla="*/ 92 h 253"/>
                <a:gd name="T20" fmla="*/ 13 w 92"/>
                <a:gd name="T21" fmla="*/ 111 h 253"/>
                <a:gd name="T22" fmla="*/ 23 w 92"/>
                <a:gd name="T23" fmla="*/ 130 h 253"/>
                <a:gd name="T24" fmla="*/ 34 w 92"/>
                <a:gd name="T25" fmla="*/ 147 h 253"/>
                <a:gd name="T26" fmla="*/ 47 w 92"/>
                <a:gd name="T27" fmla="*/ 163 h 253"/>
                <a:gd name="T28" fmla="*/ 63 w 92"/>
                <a:gd name="T29" fmla="*/ 177 h 253"/>
                <a:gd name="T30" fmla="*/ 81 w 92"/>
                <a:gd name="T31" fmla="*/ 189 h 253"/>
                <a:gd name="T32" fmla="*/ 81 w 92"/>
                <a:gd name="T33" fmla="*/ 253 h 253"/>
                <a:gd name="T34" fmla="*/ 92 w 92"/>
                <a:gd name="T35" fmla="*/ 253 h 253"/>
                <a:gd name="T36" fmla="*/ 92 w 92"/>
                <a:gd name="T37" fmla="*/ 162 h 253"/>
                <a:gd name="T38" fmla="*/ 92 w 92"/>
                <a:gd name="T39" fmla="*/ 0 h 253"/>
                <a:gd name="T40" fmla="*/ 8 w 92"/>
                <a:gd name="T41"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253">
                  <a:moveTo>
                    <a:pt x="8" y="0"/>
                  </a:moveTo>
                  <a:lnTo>
                    <a:pt x="8" y="0"/>
                  </a:lnTo>
                  <a:lnTo>
                    <a:pt x="4" y="12"/>
                  </a:lnTo>
                  <a:lnTo>
                    <a:pt x="2" y="24"/>
                  </a:lnTo>
                  <a:lnTo>
                    <a:pt x="0" y="36"/>
                  </a:lnTo>
                  <a:lnTo>
                    <a:pt x="0" y="49"/>
                  </a:lnTo>
                  <a:lnTo>
                    <a:pt x="0" y="49"/>
                  </a:lnTo>
                  <a:lnTo>
                    <a:pt x="0" y="60"/>
                  </a:lnTo>
                  <a:lnTo>
                    <a:pt x="2" y="71"/>
                  </a:lnTo>
                  <a:lnTo>
                    <a:pt x="7" y="92"/>
                  </a:lnTo>
                  <a:lnTo>
                    <a:pt x="13" y="111"/>
                  </a:lnTo>
                  <a:lnTo>
                    <a:pt x="23" y="130"/>
                  </a:lnTo>
                  <a:lnTo>
                    <a:pt x="34" y="147"/>
                  </a:lnTo>
                  <a:lnTo>
                    <a:pt x="47" y="163"/>
                  </a:lnTo>
                  <a:lnTo>
                    <a:pt x="63" y="177"/>
                  </a:lnTo>
                  <a:lnTo>
                    <a:pt x="81" y="189"/>
                  </a:lnTo>
                  <a:lnTo>
                    <a:pt x="81" y="253"/>
                  </a:lnTo>
                  <a:lnTo>
                    <a:pt x="92" y="253"/>
                  </a:lnTo>
                  <a:lnTo>
                    <a:pt x="92" y="162"/>
                  </a:lnTo>
                  <a:lnTo>
                    <a:pt x="92" y="0"/>
                  </a:lnTo>
                  <a:lnTo>
                    <a:pt x="8" y="0"/>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51" name="Freeform 134">
              <a:extLst>
                <a:ext uri="{FF2B5EF4-FFF2-40B4-BE49-F238E27FC236}">
                  <a16:creationId xmlns:a16="http://schemas.microsoft.com/office/drawing/2014/main" id="{73BFBA3B-AD09-8087-64C4-5C5CA17FA7F7}"/>
                </a:ext>
              </a:extLst>
            </p:cNvPr>
            <p:cNvSpPr>
              <a:spLocks/>
            </p:cNvSpPr>
            <p:nvPr/>
          </p:nvSpPr>
          <p:spPr bwMode="auto">
            <a:xfrm>
              <a:off x="9389587" y="2011738"/>
              <a:ext cx="112713" cy="31750"/>
            </a:xfrm>
            <a:custGeom>
              <a:avLst/>
              <a:gdLst>
                <a:gd name="T0" fmla="*/ 31 w 71"/>
                <a:gd name="T1" fmla="*/ 0 h 20"/>
                <a:gd name="T2" fmla="*/ 9 w 71"/>
                <a:gd name="T3" fmla="*/ 0 h 20"/>
                <a:gd name="T4" fmla="*/ 9 w 71"/>
                <a:gd name="T5" fmla="*/ 0 h 20"/>
                <a:gd name="T6" fmla="*/ 5 w 71"/>
                <a:gd name="T7" fmla="*/ 1 h 20"/>
                <a:gd name="T8" fmla="*/ 3 w 71"/>
                <a:gd name="T9" fmla="*/ 4 h 20"/>
                <a:gd name="T10" fmla="*/ 0 w 71"/>
                <a:gd name="T11" fmla="*/ 6 h 20"/>
                <a:gd name="T12" fmla="*/ 0 w 71"/>
                <a:gd name="T13" fmla="*/ 11 h 20"/>
                <a:gd name="T14" fmla="*/ 0 w 71"/>
                <a:gd name="T15" fmla="*/ 20 h 20"/>
                <a:gd name="T16" fmla="*/ 71 w 71"/>
                <a:gd name="T17" fmla="*/ 20 h 20"/>
                <a:gd name="T18" fmla="*/ 71 w 71"/>
                <a:gd name="T19" fmla="*/ 0 h 20"/>
                <a:gd name="T20" fmla="*/ 60 w 71"/>
                <a:gd name="T21" fmla="*/ 0 h 20"/>
                <a:gd name="T22" fmla="*/ 31 w 71"/>
                <a:gd name="T2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20">
                  <a:moveTo>
                    <a:pt x="31" y="0"/>
                  </a:moveTo>
                  <a:lnTo>
                    <a:pt x="9" y="0"/>
                  </a:lnTo>
                  <a:lnTo>
                    <a:pt x="9" y="0"/>
                  </a:lnTo>
                  <a:lnTo>
                    <a:pt x="5" y="1"/>
                  </a:lnTo>
                  <a:lnTo>
                    <a:pt x="3" y="4"/>
                  </a:lnTo>
                  <a:lnTo>
                    <a:pt x="0" y="6"/>
                  </a:lnTo>
                  <a:lnTo>
                    <a:pt x="0" y="11"/>
                  </a:lnTo>
                  <a:lnTo>
                    <a:pt x="0" y="20"/>
                  </a:lnTo>
                  <a:lnTo>
                    <a:pt x="71" y="20"/>
                  </a:lnTo>
                  <a:lnTo>
                    <a:pt x="71" y="0"/>
                  </a:lnTo>
                  <a:lnTo>
                    <a:pt x="60" y="0"/>
                  </a:lnTo>
                  <a:lnTo>
                    <a:pt x="31" y="0"/>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52" name="Rectangle 135">
              <a:extLst>
                <a:ext uri="{FF2B5EF4-FFF2-40B4-BE49-F238E27FC236}">
                  <a16:creationId xmlns:a16="http://schemas.microsoft.com/office/drawing/2014/main" id="{F4F5DBE2-CF1F-2E9E-1C8C-F115282C7E93}"/>
                </a:ext>
              </a:extLst>
            </p:cNvPr>
            <p:cNvSpPr>
              <a:spLocks noChangeArrowheads="1"/>
            </p:cNvSpPr>
            <p:nvPr/>
          </p:nvSpPr>
          <p:spPr bwMode="auto">
            <a:xfrm>
              <a:off x="9361012" y="2040313"/>
              <a:ext cx="287338" cy="141288"/>
            </a:xfrm>
            <a:prstGeom prst="rect">
              <a:avLst/>
            </a:prstGeom>
            <a:solidFill>
              <a:srgbClr val="15B0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53" name="Rectangle 136">
              <a:extLst>
                <a:ext uri="{FF2B5EF4-FFF2-40B4-BE49-F238E27FC236}">
                  <a16:creationId xmlns:a16="http://schemas.microsoft.com/office/drawing/2014/main" id="{AB71E4A7-7442-5353-16FB-C709CD1B59A8}"/>
                </a:ext>
              </a:extLst>
            </p:cNvPr>
            <p:cNvSpPr>
              <a:spLocks noChangeArrowheads="1"/>
            </p:cNvSpPr>
            <p:nvPr/>
          </p:nvSpPr>
          <p:spPr bwMode="auto">
            <a:xfrm>
              <a:off x="9394349" y="2073650"/>
              <a:ext cx="219075" cy="74613"/>
            </a:xfrm>
            <a:prstGeom prst="rect">
              <a:avLst/>
            </a:prstGeom>
            <a:solidFill>
              <a:srgbClr val="1695A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sp>
          <p:nvSpPr>
            <p:cNvPr id="454" name="Rectangle 137">
              <a:extLst>
                <a:ext uri="{FF2B5EF4-FFF2-40B4-BE49-F238E27FC236}">
                  <a16:creationId xmlns:a16="http://schemas.microsoft.com/office/drawing/2014/main" id="{62DE5E67-6589-F322-A861-D5D3D20BD860}"/>
                </a:ext>
              </a:extLst>
            </p:cNvPr>
            <p:cNvSpPr>
              <a:spLocks noChangeArrowheads="1"/>
            </p:cNvSpPr>
            <p:nvPr/>
          </p:nvSpPr>
          <p:spPr bwMode="auto">
            <a:xfrm>
              <a:off x="9348312" y="2176838"/>
              <a:ext cx="309563" cy="34925"/>
            </a:xfrm>
            <a:prstGeom prst="rect">
              <a:avLst/>
            </a:prstGeom>
            <a:solidFill>
              <a:srgbClr val="1695A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95A5A6"/>
                </a:solidFill>
                <a:effectLst/>
                <a:uLnTx/>
                <a:uFillTx/>
                <a:cs typeface="Arial" panose="020B0604020202020204" pitchFamily="34" charset="0"/>
              </a:endParaRPr>
            </a:p>
          </p:txBody>
        </p:sp>
      </p:grpSp>
      <p:sp>
        <p:nvSpPr>
          <p:cNvPr id="2" name="Rectangle 1">
            <a:extLst>
              <a:ext uri="{FF2B5EF4-FFF2-40B4-BE49-F238E27FC236}">
                <a16:creationId xmlns:a16="http://schemas.microsoft.com/office/drawing/2014/main" id="{ED8920A1-2DE9-F200-35EB-C0D4EEFBBC62}"/>
              </a:ext>
            </a:extLst>
          </p:cNvPr>
          <p:cNvSpPr/>
          <p:nvPr/>
        </p:nvSpPr>
        <p:spPr>
          <a:xfrm>
            <a:off x="1213181" y="1985496"/>
            <a:ext cx="7899470" cy="3825534"/>
          </a:xfrm>
          <a:prstGeom prst="rect">
            <a:avLst/>
          </a:prstGeom>
          <a:solidFill>
            <a:schemeClr val="bg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Arial" panose="020B0604020202020204" pitchFamily="34" charset="0"/>
            </a:endParaRPr>
          </a:p>
        </p:txBody>
      </p:sp>
    </p:spTree>
    <p:custDataLst>
      <p:tags r:id="rId1"/>
    </p:custDataLst>
    <p:extLst>
      <p:ext uri="{BB962C8B-B14F-4D97-AF65-F5344CB8AC3E}">
        <p14:creationId xmlns:p14="http://schemas.microsoft.com/office/powerpoint/2010/main" val="230294595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1E150F0-CAEF-2F3D-E5E6-975532BA05C4}"/>
              </a:ext>
            </a:extLst>
          </p:cNvPr>
          <p:cNvSpPr>
            <a:spLocks noGrp="1"/>
          </p:cNvSpPr>
          <p:nvPr>
            <p:ph type="body" sz="quarter" idx="10"/>
          </p:nvPr>
        </p:nvSpPr>
        <p:spPr>
          <a:xfrm>
            <a:off x="998400" y="1923439"/>
            <a:ext cx="10195200" cy="4546800"/>
          </a:xfrm>
        </p:spPr>
        <p:txBody>
          <a:bodyPr/>
          <a:lstStyle/>
          <a:p>
            <a:r>
              <a:rPr lang="en-US" sz="2000" b="1">
                <a:latin typeface="+mn-lt"/>
              </a:rPr>
              <a:t>Did the Applicant utilize any of FDEM’s standardized form(s)? </a:t>
            </a:r>
          </a:p>
          <a:p>
            <a:pPr lvl="1"/>
            <a:r>
              <a:rPr lang="en-US" sz="1800">
                <a:latin typeface="+mn-lt"/>
              </a:rPr>
              <a:t>Yes, the Applicant utilized applicable FDEM PA standardized form(s).</a:t>
            </a:r>
          </a:p>
          <a:p>
            <a:pPr lvl="1"/>
            <a:r>
              <a:rPr lang="en-US" sz="1800">
                <a:latin typeface="+mn-lt"/>
              </a:rPr>
              <a:t>No, the Applicant did not utilize FDEM PA standardized form(s).</a:t>
            </a:r>
          </a:p>
          <a:p>
            <a:r>
              <a:rPr lang="en-US" sz="2000" b="1">
                <a:latin typeface="+mn-lt"/>
              </a:rPr>
              <a:t>For all forms applicable to the Applicant and work performed, please select the forms utilized.</a:t>
            </a:r>
          </a:p>
          <a:p>
            <a:pPr marL="0" indent="0">
              <a:buNone/>
            </a:pPr>
            <a:endParaRPr lang="en-US"/>
          </a:p>
        </p:txBody>
      </p:sp>
      <p:sp>
        <p:nvSpPr>
          <p:cNvPr id="4" name="Title 3">
            <a:extLst>
              <a:ext uri="{FF2B5EF4-FFF2-40B4-BE49-F238E27FC236}">
                <a16:creationId xmlns:a16="http://schemas.microsoft.com/office/drawing/2014/main" id="{239AC8FE-7137-001A-55A8-23B210811D07}"/>
              </a:ext>
            </a:extLst>
          </p:cNvPr>
          <p:cNvSpPr>
            <a:spLocks noGrp="1"/>
          </p:cNvSpPr>
          <p:nvPr>
            <p:ph type="title"/>
          </p:nvPr>
        </p:nvSpPr>
        <p:spPr/>
        <p:txBody>
          <a:bodyPr/>
          <a:lstStyle/>
          <a:p>
            <a:r>
              <a:rPr lang="en-US">
                <a:latin typeface="+mn-lt"/>
              </a:rPr>
              <a:t>PDQ - Review</a:t>
            </a:r>
          </a:p>
        </p:txBody>
      </p:sp>
      <p:sp>
        <p:nvSpPr>
          <p:cNvPr id="6" name="TextBox 5">
            <a:extLst>
              <a:ext uri="{FF2B5EF4-FFF2-40B4-BE49-F238E27FC236}">
                <a16:creationId xmlns:a16="http://schemas.microsoft.com/office/drawing/2014/main" id="{F3F15BD7-DC7B-E224-7BD1-C3C89853B3FC}"/>
              </a:ext>
            </a:extLst>
          </p:cNvPr>
          <p:cNvSpPr txBox="1"/>
          <p:nvPr/>
        </p:nvSpPr>
        <p:spPr>
          <a:xfrm>
            <a:off x="551584" y="1319773"/>
            <a:ext cx="1871794" cy="523220"/>
          </a:xfrm>
          <a:prstGeom prst="rect">
            <a:avLst/>
          </a:prstGeom>
          <a:noFill/>
        </p:spPr>
        <p:txBody>
          <a:bodyPr wrap="none" rtlCol="0">
            <a:spAutoFit/>
          </a:bodyPr>
          <a:lstStyle/>
          <a:p>
            <a:r>
              <a:rPr lang="en-US" sz="2800">
                <a:cs typeface="Arial" panose="020B0604020202020204" pitchFamily="34" charset="0"/>
              </a:rPr>
              <a:t>Question 1:</a:t>
            </a:r>
          </a:p>
        </p:txBody>
      </p:sp>
      <p:grpSp>
        <p:nvGrpSpPr>
          <p:cNvPr id="8" name="Group 7">
            <a:extLst>
              <a:ext uri="{FF2B5EF4-FFF2-40B4-BE49-F238E27FC236}">
                <a16:creationId xmlns:a16="http://schemas.microsoft.com/office/drawing/2014/main" id="{1EE8FB40-C6F4-785D-A9F2-34C51540CFF1}"/>
              </a:ext>
            </a:extLst>
          </p:cNvPr>
          <p:cNvGrpSpPr/>
          <p:nvPr/>
        </p:nvGrpSpPr>
        <p:grpSpPr>
          <a:xfrm>
            <a:off x="9751254" y="4810146"/>
            <a:ext cx="1848277" cy="1470035"/>
            <a:chOff x="10015658" y="5008450"/>
            <a:chExt cx="1848277" cy="1470035"/>
          </a:xfrm>
        </p:grpSpPr>
        <p:pic>
          <p:nvPicPr>
            <p:cNvPr id="2" name="Graphic 176">
              <a:extLst>
                <a:ext uri="{FF2B5EF4-FFF2-40B4-BE49-F238E27FC236}">
                  <a16:creationId xmlns:a16="http://schemas.microsoft.com/office/drawing/2014/main" id="{858859DB-CF68-42C7-BE7E-3E9485AFB16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15658" y="5008450"/>
              <a:ext cx="1686797" cy="1289904"/>
            </a:xfrm>
            <a:prstGeom prst="rect">
              <a:avLst/>
            </a:prstGeom>
          </p:spPr>
        </p:pic>
        <p:pic>
          <p:nvPicPr>
            <p:cNvPr id="7" name="Picture 6" descr="A picture containing text, logo, weapon, symbol&#10;&#10;Description automatically generated">
              <a:extLst>
                <a:ext uri="{FF2B5EF4-FFF2-40B4-BE49-F238E27FC236}">
                  <a16:creationId xmlns:a16="http://schemas.microsoft.com/office/drawing/2014/main" id="{F9911186-FDDB-0911-C175-BB5AD226628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873648" y="5492299"/>
              <a:ext cx="990287" cy="986186"/>
            </a:xfrm>
            <a:prstGeom prst="rect">
              <a:avLst/>
            </a:prstGeom>
          </p:spPr>
        </p:pic>
      </p:grpSp>
    </p:spTree>
    <p:custDataLst>
      <p:tags r:id="rId1"/>
    </p:custDataLst>
    <p:extLst>
      <p:ext uri="{BB962C8B-B14F-4D97-AF65-F5344CB8AC3E}">
        <p14:creationId xmlns:p14="http://schemas.microsoft.com/office/powerpoint/2010/main" val="410411554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1E150F0-CAEF-2F3D-E5E6-975532BA05C4}"/>
              </a:ext>
            </a:extLst>
          </p:cNvPr>
          <p:cNvSpPr>
            <a:spLocks noGrp="1"/>
          </p:cNvSpPr>
          <p:nvPr>
            <p:ph type="body" sz="quarter" idx="10"/>
          </p:nvPr>
        </p:nvSpPr>
        <p:spPr>
          <a:xfrm>
            <a:off x="998400" y="1923439"/>
            <a:ext cx="10195200" cy="4546800"/>
          </a:xfrm>
        </p:spPr>
        <p:txBody>
          <a:bodyPr/>
          <a:lstStyle/>
          <a:p>
            <a:r>
              <a:rPr lang="en-US" sz="2000" b="1">
                <a:latin typeface="+mn-lt"/>
              </a:rPr>
              <a:t>Did an employee(s) from the Applicant attend any FDEM F-ROC training(s)? </a:t>
            </a:r>
          </a:p>
          <a:p>
            <a:pPr lvl="1"/>
            <a:r>
              <a:rPr lang="en-US" sz="1800">
                <a:latin typeface="+mn-lt"/>
              </a:rPr>
              <a:t>Yes, the Applicant attended FDEM F-ROC training(s).</a:t>
            </a:r>
          </a:p>
          <a:p>
            <a:pPr lvl="1"/>
            <a:r>
              <a:rPr lang="en-US" sz="1800">
                <a:latin typeface="+mn-lt"/>
              </a:rPr>
              <a:t>No, the Applicant did not attend any FDEM F-ROC training(s).</a:t>
            </a:r>
          </a:p>
          <a:p>
            <a:r>
              <a:rPr lang="en-US" sz="2000" b="1">
                <a:latin typeface="+mn-lt"/>
              </a:rPr>
              <a:t>If yes, please select all that apply: </a:t>
            </a:r>
            <a:r>
              <a:rPr lang="en-US" sz="2000">
                <a:solidFill>
                  <a:srgbClr val="00B050"/>
                </a:solidFill>
                <a:latin typeface="+mn-lt"/>
              </a:rPr>
              <a:t>(courses subject to change)</a:t>
            </a:r>
          </a:p>
          <a:p>
            <a:pPr lvl="1"/>
            <a:r>
              <a:rPr lang="en-US" sz="1800">
                <a:latin typeface="+mn-lt"/>
              </a:rPr>
              <a:t>A Comprehensive Approach to F-ROC Administration</a:t>
            </a:r>
          </a:p>
          <a:p>
            <a:pPr lvl="1"/>
            <a:r>
              <a:rPr lang="en-US" sz="1800">
                <a:latin typeface="+mn-lt"/>
              </a:rPr>
              <a:t>F-ROC: Process overview</a:t>
            </a:r>
          </a:p>
          <a:p>
            <a:pPr lvl="1"/>
            <a:r>
              <a:rPr lang="en-US" sz="1800">
                <a:latin typeface="+mn-lt"/>
              </a:rPr>
              <a:t>F-ROC: Debris Removal using the F-ROC Approach</a:t>
            </a:r>
          </a:p>
          <a:p>
            <a:pPr lvl="1"/>
            <a:r>
              <a:rPr lang="en-US" sz="1800">
                <a:latin typeface="+mn-lt"/>
              </a:rPr>
              <a:t>F-ROC: Procurement using the F-ROC Approach</a:t>
            </a:r>
          </a:p>
          <a:p>
            <a:pPr lvl="1"/>
            <a:r>
              <a:rPr lang="en-US" sz="1800">
                <a:latin typeface="+mn-lt"/>
              </a:rPr>
              <a:t>F-ROC: Project Administration using the F-ROC Approach </a:t>
            </a:r>
            <a:endParaRPr lang="en-US" sz="2800">
              <a:latin typeface="+mn-lt"/>
            </a:endParaRPr>
          </a:p>
          <a:p>
            <a:pPr marL="0" indent="0">
              <a:buNone/>
            </a:pPr>
            <a:endParaRPr lang="en-US"/>
          </a:p>
        </p:txBody>
      </p:sp>
      <p:sp>
        <p:nvSpPr>
          <p:cNvPr id="4" name="Title 3">
            <a:extLst>
              <a:ext uri="{FF2B5EF4-FFF2-40B4-BE49-F238E27FC236}">
                <a16:creationId xmlns:a16="http://schemas.microsoft.com/office/drawing/2014/main" id="{239AC8FE-7137-001A-55A8-23B210811D07}"/>
              </a:ext>
            </a:extLst>
          </p:cNvPr>
          <p:cNvSpPr>
            <a:spLocks noGrp="1"/>
          </p:cNvSpPr>
          <p:nvPr>
            <p:ph type="title"/>
          </p:nvPr>
        </p:nvSpPr>
        <p:spPr/>
        <p:txBody>
          <a:bodyPr/>
          <a:lstStyle/>
          <a:p>
            <a:r>
              <a:rPr lang="en-US">
                <a:latin typeface="+mn-lt"/>
              </a:rPr>
              <a:t>PDQ - Review</a:t>
            </a:r>
          </a:p>
        </p:txBody>
      </p:sp>
      <p:sp>
        <p:nvSpPr>
          <p:cNvPr id="6" name="TextBox 5">
            <a:extLst>
              <a:ext uri="{FF2B5EF4-FFF2-40B4-BE49-F238E27FC236}">
                <a16:creationId xmlns:a16="http://schemas.microsoft.com/office/drawing/2014/main" id="{F3F15BD7-DC7B-E224-7BD1-C3C89853B3FC}"/>
              </a:ext>
            </a:extLst>
          </p:cNvPr>
          <p:cNvSpPr txBox="1"/>
          <p:nvPr/>
        </p:nvSpPr>
        <p:spPr>
          <a:xfrm>
            <a:off x="551584" y="1319773"/>
            <a:ext cx="1871794" cy="523220"/>
          </a:xfrm>
          <a:prstGeom prst="rect">
            <a:avLst/>
          </a:prstGeom>
          <a:noFill/>
        </p:spPr>
        <p:txBody>
          <a:bodyPr wrap="none" rtlCol="0">
            <a:spAutoFit/>
          </a:bodyPr>
          <a:lstStyle/>
          <a:p>
            <a:r>
              <a:rPr lang="en-US" sz="2800">
                <a:cs typeface="Arial" panose="020B0604020202020204" pitchFamily="34" charset="0"/>
              </a:rPr>
              <a:t>Question 2:</a:t>
            </a:r>
          </a:p>
        </p:txBody>
      </p:sp>
    </p:spTree>
    <p:custDataLst>
      <p:tags r:id="rId1"/>
    </p:custDataLst>
    <p:extLst>
      <p:ext uri="{BB962C8B-B14F-4D97-AF65-F5344CB8AC3E}">
        <p14:creationId xmlns:p14="http://schemas.microsoft.com/office/powerpoint/2010/main" val="184555208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3030A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126D11-1926-40CB-A970-0DB36DA2942C}"/>
              </a:ext>
            </a:extLst>
          </p:cNvPr>
          <p:cNvSpPr>
            <a:spLocks noGrp="1"/>
          </p:cNvSpPr>
          <p:nvPr>
            <p:ph type="title"/>
          </p:nvPr>
        </p:nvSpPr>
        <p:spPr>
          <a:xfrm>
            <a:off x="838200" y="3363203"/>
            <a:ext cx="10515600" cy="1018714"/>
          </a:xfrm>
        </p:spPr>
        <p:txBody>
          <a:bodyPr>
            <a:noAutofit/>
          </a:bodyPr>
          <a:lstStyle/>
          <a:p>
            <a:pPr algn="ctr"/>
            <a:r>
              <a:rPr lang="en-US" sz="6000">
                <a:latin typeface="+mn-lt"/>
              </a:rPr>
              <a:t>Module 4</a:t>
            </a:r>
            <a:br>
              <a:rPr lang="en-US" sz="6000">
                <a:latin typeface="+mn-lt"/>
              </a:rPr>
            </a:br>
            <a:r>
              <a:rPr lang="en-US" sz="6000">
                <a:latin typeface="+mn-lt"/>
              </a:rPr>
              <a:t>Integration and Application</a:t>
            </a:r>
          </a:p>
        </p:txBody>
      </p:sp>
    </p:spTree>
    <p:custDataLst>
      <p:tags r:id="rId1"/>
    </p:custDataLst>
    <p:extLst>
      <p:ext uri="{BB962C8B-B14F-4D97-AF65-F5344CB8AC3E}">
        <p14:creationId xmlns:p14="http://schemas.microsoft.com/office/powerpoint/2010/main" val="288680587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A0E7791-F54D-A80F-FF80-B68E8FC0E520}"/>
              </a:ext>
            </a:extLst>
          </p:cNvPr>
          <p:cNvPicPr>
            <a:picLocks noChangeAspect="1"/>
          </p:cNvPicPr>
          <p:nvPr/>
        </p:nvPicPr>
        <p:blipFill>
          <a:blip r:embed="rId3"/>
          <a:stretch>
            <a:fillRect/>
          </a:stretch>
        </p:blipFill>
        <p:spPr>
          <a:xfrm>
            <a:off x="1993689" y="1521085"/>
            <a:ext cx="8204622" cy="4813547"/>
          </a:xfrm>
          <a:prstGeom prst="rect">
            <a:avLst/>
          </a:prstGeom>
        </p:spPr>
      </p:pic>
    </p:spTree>
    <p:custDataLst>
      <p:tags r:id="rId1"/>
    </p:custDataLst>
    <p:extLst>
      <p:ext uri="{BB962C8B-B14F-4D97-AF65-F5344CB8AC3E}">
        <p14:creationId xmlns:p14="http://schemas.microsoft.com/office/powerpoint/2010/main" val="14121683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F826531-353C-B925-20DB-8DA1097D42A5}"/>
              </a:ext>
            </a:extLst>
          </p:cNvPr>
          <p:cNvSpPr>
            <a:spLocks noGrp="1"/>
          </p:cNvSpPr>
          <p:nvPr>
            <p:ph type="body" sz="quarter" idx="10"/>
          </p:nvPr>
        </p:nvSpPr>
        <p:spPr>
          <a:xfrm>
            <a:off x="111051" y="1560471"/>
            <a:ext cx="7712950" cy="4546800"/>
          </a:xfrm>
        </p:spPr>
        <p:txBody>
          <a:bodyPr/>
          <a:lstStyle/>
          <a:p>
            <a:pPr marL="0" indent="0">
              <a:buNone/>
            </a:pPr>
            <a:r>
              <a:rPr lang="en-US" b="1">
                <a:latin typeface="+mn-lt"/>
              </a:rPr>
              <a:t>The Road to Recovery for Sunshine County</a:t>
            </a:r>
          </a:p>
          <a:p>
            <a:r>
              <a:rPr lang="en-US" sz="2400">
                <a:latin typeface="+mn-lt"/>
              </a:rPr>
              <a:t>This case study will focus on efforts of Sunshine County, a picturesque beach community on Florida’s West Coast, as it grapples with the impact of Hurricane Sofia, a Category 3 Hurricane.</a:t>
            </a:r>
          </a:p>
          <a:p>
            <a:r>
              <a:rPr lang="en-US" sz="2400">
                <a:latin typeface="+mn-lt"/>
              </a:rPr>
              <a:t>The case study will explore steps and activities that Sunshine County can do to prepare before, during, and after  the event.</a:t>
            </a:r>
          </a:p>
          <a:p>
            <a:r>
              <a:rPr lang="en-US" sz="2400">
                <a:latin typeface="+mn-lt"/>
              </a:rPr>
              <a:t>Tools and resources available on the F-ROC website should be used throughout this activity.</a:t>
            </a:r>
          </a:p>
          <a:p>
            <a:endParaRPr lang="en-US" sz="2400"/>
          </a:p>
        </p:txBody>
      </p:sp>
      <p:sp>
        <p:nvSpPr>
          <p:cNvPr id="2" name="Title 1">
            <a:extLst>
              <a:ext uri="{FF2B5EF4-FFF2-40B4-BE49-F238E27FC236}">
                <a16:creationId xmlns:a16="http://schemas.microsoft.com/office/drawing/2014/main" id="{73A47EC2-4DCF-EC44-82E2-08F2352B867D}"/>
              </a:ext>
            </a:extLst>
          </p:cNvPr>
          <p:cNvSpPr>
            <a:spLocks noGrp="1"/>
          </p:cNvSpPr>
          <p:nvPr>
            <p:ph type="title"/>
          </p:nvPr>
        </p:nvSpPr>
        <p:spPr/>
        <p:txBody>
          <a:bodyPr/>
          <a:lstStyle/>
          <a:p>
            <a:r>
              <a:rPr lang="en-US">
                <a:latin typeface="+mn-lt"/>
              </a:rPr>
              <a:t>Case Study – Sunshine County</a:t>
            </a:r>
          </a:p>
        </p:txBody>
      </p:sp>
      <p:sp>
        <p:nvSpPr>
          <p:cNvPr id="10" name="TextBox 9">
            <a:extLst>
              <a:ext uri="{FF2B5EF4-FFF2-40B4-BE49-F238E27FC236}">
                <a16:creationId xmlns:a16="http://schemas.microsoft.com/office/drawing/2014/main" id="{4266A4D5-DC4D-73AC-A214-A5B80AB9A55F}"/>
              </a:ext>
            </a:extLst>
          </p:cNvPr>
          <p:cNvSpPr txBox="1"/>
          <p:nvPr/>
        </p:nvSpPr>
        <p:spPr>
          <a:xfrm>
            <a:off x="973667" y="6987454"/>
            <a:ext cx="4052044" cy="230832"/>
          </a:xfrm>
          <a:prstGeom prst="rect">
            <a:avLst/>
          </a:prstGeom>
          <a:noFill/>
        </p:spPr>
        <p:txBody>
          <a:bodyPr wrap="square" rtlCol="0">
            <a:spAutoFit/>
          </a:bodyPr>
          <a:lstStyle/>
          <a:p>
            <a:r>
              <a:rPr lang="en-US" sz="900">
                <a:hlinkClick r:id="rId3" tooltip="http://commons.wikimedia.org/wiki/File%3ADaytona_Beach%2C_Florida_(4783857222).jpg"/>
              </a:rPr>
              <a:t>This Photo</a:t>
            </a:r>
            <a:r>
              <a:rPr lang="en-US" sz="900"/>
              <a:t> by Unknown Author is licensed under </a:t>
            </a:r>
            <a:r>
              <a:rPr lang="en-US" sz="900">
                <a:hlinkClick r:id="rId4" tooltip="https://creativecommons.org/licenses/by-sa/3.0/"/>
              </a:rPr>
              <a:t>CC BY-SA</a:t>
            </a:r>
            <a:endParaRPr lang="en-US" sz="900"/>
          </a:p>
        </p:txBody>
      </p:sp>
      <p:grpSp>
        <p:nvGrpSpPr>
          <p:cNvPr id="12" name="Group 11">
            <a:extLst>
              <a:ext uri="{FF2B5EF4-FFF2-40B4-BE49-F238E27FC236}">
                <a16:creationId xmlns:a16="http://schemas.microsoft.com/office/drawing/2014/main" id="{DC31152D-BCA1-3C0B-B21A-A0013F6247B5}"/>
              </a:ext>
            </a:extLst>
          </p:cNvPr>
          <p:cNvGrpSpPr/>
          <p:nvPr/>
        </p:nvGrpSpPr>
        <p:grpSpPr>
          <a:xfrm>
            <a:off x="7928557" y="2342167"/>
            <a:ext cx="3854478" cy="2514254"/>
            <a:chOff x="8027175" y="2342167"/>
            <a:chExt cx="3755861" cy="2514254"/>
          </a:xfrm>
        </p:grpSpPr>
        <p:pic>
          <p:nvPicPr>
            <p:cNvPr id="9" name="Picture 8">
              <a:extLst>
                <a:ext uri="{FF2B5EF4-FFF2-40B4-BE49-F238E27FC236}">
                  <a16:creationId xmlns:a16="http://schemas.microsoft.com/office/drawing/2014/main" id="{B92AEB7F-87C5-DD19-1D95-A16EE53A4DBD}"/>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8027175" y="2342167"/>
              <a:ext cx="3755861" cy="2514254"/>
            </a:xfrm>
            <a:prstGeom prst="rect">
              <a:avLst/>
            </a:prstGeom>
            <a:ln w="3175">
              <a:solidFill>
                <a:schemeClr val="tx1"/>
              </a:solidFill>
            </a:ln>
            <a:effectLst>
              <a:outerShdw blurRad="50800" dist="38100" dir="2700000" algn="tl" rotWithShape="0">
                <a:prstClr val="black">
                  <a:alpha val="40000"/>
                </a:prstClr>
              </a:outerShdw>
            </a:effectLst>
          </p:spPr>
        </p:pic>
        <p:sp>
          <p:nvSpPr>
            <p:cNvPr id="11" name="Rectangle 10">
              <a:extLst>
                <a:ext uri="{FF2B5EF4-FFF2-40B4-BE49-F238E27FC236}">
                  <a16:creationId xmlns:a16="http://schemas.microsoft.com/office/drawing/2014/main" id="{8B1CBE09-333D-22FA-E9DF-A6F64D93575D}"/>
                </a:ext>
              </a:extLst>
            </p:cNvPr>
            <p:cNvSpPr/>
            <p:nvPr/>
          </p:nvSpPr>
          <p:spPr>
            <a:xfrm>
              <a:off x="8027175" y="2425569"/>
              <a:ext cx="2319333" cy="707886"/>
            </a:xfrm>
            <a:prstGeom prst="rect">
              <a:avLst/>
            </a:prstGeom>
            <a:noFill/>
          </p:spPr>
          <p:txBody>
            <a:bodyPr wrap="square" lIns="91440" tIns="45720" rIns="91440" bIns="45720">
              <a:spAutoFit/>
            </a:bodyPr>
            <a:lstStyle/>
            <a:p>
              <a:pPr algn="ctr"/>
              <a:r>
                <a:rPr lang="en-US" sz="2000" b="1" cap="none" spc="50">
                  <a:ln w="9525" cmpd="sng">
                    <a:solidFill>
                      <a:schemeClr val="accent1"/>
                    </a:solidFill>
                    <a:prstDash val="solid"/>
                  </a:ln>
                  <a:solidFill>
                    <a:srgbClr val="70AD47">
                      <a:tint val="1000"/>
                    </a:srgbClr>
                  </a:solidFill>
                  <a:effectLst>
                    <a:glow rad="38100">
                      <a:schemeClr val="accent1">
                        <a:alpha val="40000"/>
                      </a:schemeClr>
                    </a:glow>
                  </a:effectLst>
                  <a:latin typeface="Roboto Black" panose="02000000000000000000" pitchFamily="2" charset="0"/>
                  <a:ea typeface="Roboto Black" panose="02000000000000000000" pitchFamily="2" charset="0"/>
                  <a:cs typeface="Roboto Black" panose="02000000000000000000" pitchFamily="2" charset="0"/>
                </a:rPr>
                <a:t>Greetings from Sunshine County!</a:t>
              </a:r>
            </a:p>
          </p:txBody>
        </p:sp>
      </p:grpSp>
    </p:spTree>
    <p:custDataLst>
      <p:tags r:id="rId1"/>
    </p:custDataLst>
    <p:extLst>
      <p:ext uri="{BB962C8B-B14F-4D97-AF65-F5344CB8AC3E}">
        <p14:creationId xmlns:p14="http://schemas.microsoft.com/office/powerpoint/2010/main" val="304645563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851BEF-C135-FFD3-5CDF-D8F531022E4B}"/>
              </a:ext>
            </a:extLst>
          </p:cNvPr>
          <p:cNvSpPr>
            <a:spLocks noGrp="1"/>
          </p:cNvSpPr>
          <p:nvPr>
            <p:ph type="body" sz="quarter" idx="10"/>
          </p:nvPr>
        </p:nvSpPr>
        <p:spPr>
          <a:xfrm>
            <a:off x="349247" y="1504630"/>
            <a:ext cx="6484324" cy="4546800"/>
          </a:xfrm>
        </p:spPr>
        <p:txBody>
          <a:bodyPr>
            <a:normAutofit/>
          </a:bodyPr>
          <a:lstStyle/>
          <a:p>
            <a:r>
              <a:rPr lang="en-US" sz="2400">
                <a:latin typeface="Calibri" panose="020F0502020204030204" pitchFamily="34" charset="0"/>
                <a:cs typeface="Calibri" panose="020F0502020204030204" pitchFamily="34" charset="0"/>
              </a:rPr>
              <a:t>Rocky has recently been hired as the Emergency Management Director of Sunshine County. He is taking over for Fran, an Emergency Management veteran who held the position for over 20 years.</a:t>
            </a:r>
          </a:p>
          <a:p>
            <a:r>
              <a:rPr lang="en-US" sz="2400">
                <a:latin typeface="Calibri" panose="020F0502020204030204" pitchFamily="34" charset="0"/>
                <a:cs typeface="Calibri" panose="020F0502020204030204" pitchFamily="34" charset="0"/>
              </a:rPr>
              <a:t>Rocky is noticing that much of the knowledge and information for his organization, including policies, procedures, and other important information was not written down, and documentation is scarce. He’s only a few weeks away from the Hurricane Season and is scrambling to get everything in alignment.</a:t>
            </a:r>
            <a:endParaRPr lang="en-US" sz="2400">
              <a:solidFill>
                <a:srgbClr val="FF0000"/>
              </a:solidFill>
              <a:latin typeface="Calibri" panose="020F0502020204030204" pitchFamily="34" charset="0"/>
              <a:cs typeface="Calibri" panose="020F0502020204030204" pitchFamily="34" charset="0"/>
            </a:endParaRPr>
          </a:p>
        </p:txBody>
      </p:sp>
      <p:sp>
        <p:nvSpPr>
          <p:cNvPr id="3" name="Title 2">
            <a:extLst>
              <a:ext uri="{FF2B5EF4-FFF2-40B4-BE49-F238E27FC236}">
                <a16:creationId xmlns:a16="http://schemas.microsoft.com/office/drawing/2014/main" id="{20ABE15B-18FC-891F-C55A-51D309143A8E}"/>
              </a:ext>
            </a:extLst>
          </p:cNvPr>
          <p:cNvSpPr>
            <a:spLocks noGrp="1"/>
          </p:cNvSpPr>
          <p:nvPr>
            <p:ph type="title"/>
          </p:nvPr>
        </p:nvSpPr>
        <p:spPr/>
        <p:txBody>
          <a:bodyPr/>
          <a:lstStyle/>
          <a:p>
            <a:r>
              <a:rPr lang="en-US">
                <a:latin typeface="+mn-lt"/>
              </a:rPr>
              <a:t>Sunshine County – New EM Director</a:t>
            </a:r>
          </a:p>
        </p:txBody>
      </p:sp>
      <p:pic>
        <p:nvPicPr>
          <p:cNvPr id="6" name="Picture 5">
            <a:extLst>
              <a:ext uri="{FF2B5EF4-FFF2-40B4-BE49-F238E27FC236}">
                <a16:creationId xmlns:a16="http://schemas.microsoft.com/office/drawing/2014/main" id="{87B64147-0381-29AC-41A9-C1B13D668C81}"/>
              </a:ext>
            </a:extLst>
          </p:cNvPr>
          <p:cNvPicPr>
            <a:picLocks noChangeAspect="1"/>
          </p:cNvPicPr>
          <p:nvPr/>
        </p:nvPicPr>
        <p:blipFill>
          <a:blip r:embed="rId3"/>
          <a:stretch>
            <a:fillRect/>
          </a:stretch>
        </p:blipFill>
        <p:spPr>
          <a:xfrm>
            <a:off x="7149271" y="2059063"/>
            <a:ext cx="4553184" cy="3200564"/>
          </a:xfrm>
          <a:prstGeom prst="rect">
            <a:avLst/>
          </a:prstGeom>
        </p:spPr>
      </p:pic>
    </p:spTree>
    <p:custDataLst>
      <p:tags r:id="rId1"/>
    </p:custDataLst>
    <p:extLst>
      <p:ext uri="{BB962C8B-B14F-4D97-AF65-F5344CB8AC3E}">
        <p14:creationId xmlns:p14="http://schemas.microsoft.com/office/powerpoint/2010/main" val="17096481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F1EC34-1F61-4257-B5C1-8B03E03C802E}"/>
              </a:ext>
            </a:extLst>
          </p:cNvPr>
          <p:cNvSpPr>
            <a:spLocks noGrp="1"/>
          </p:cNvSpPr>
          <p:nvPr>
            <p:ph type="title"/>
          </p:nvPr>
        </p:nvSpPr>
        <p:spPr/>
        <p:txBody>
          <a:bodyPr/>
          <a:lstStyle/>
          <a:p>
            <a:r>
              <a:rPr lang="en-US">
                <a:latin typeface="+mn-lt"/>
              </a:rPr>
              <a:t>Course Objectives</a:t>
            </a:r>
          </a:p>
        </p:txBody>
      </p:sp>
      <p:sp>
        <p:nvSpPr>
          <p:cNvPr id="4" name="TextBox 125">
            <a:extLst>
              <a:ext uri="{FF2B5EF4-FFF2-40B4-BE49-F238E27FC236}">
                <a16:creationId xmlns:a16="http://schemas.microsoft.com/office/drawing/2014/main" id="{29591EB8-CBE7-F388-84F9-02D91C202067}"/>
              </a:ext>
            </a:extLst>
          </p:cNvPr>
          <p:cNvSpPr txBox="1"/>
          <p:nvPr/>
        </p:nvSpPr>
        <p:spPr>
          <a:xfrm>
            <a:off x="1607021" y="2829866"/>
            <a:ext cx="735792" cy="584775"/>
          </a:xfrm>
          <a:prstGeom prst="rect">
            <a:avLst/>
          </a:prstGeom>
          <a:noFill/>
        </p:spPr>
        <p:txBody>
          <a:bodyPr wrap="square" rtlCol="0">
            <a:spAutoFit/>
          </a:bodyPr>
          <a:lstStyle/>
          <a:p>
            <a:pPr algn="ctr"/>
            <a:r>
              <a:rPr lang="en-US" sz="3200" b="1">
                <a:solidFill>
                  <a:srgbClr val="483698"/>
                </a:solidFill>
                <a:ea typeface="Cambria Math" panose="02040503050406030204" pitchFamily="18" charset="0"/>
                <a:cs typeface="Arial" panose="020B0604020202020204" pitchFamily="34" charset="0"/>
              </a:rPr>
              <a:t>02</a:t>
            </a:r>
          </a:p>
        </p:txBody>
      </p:sp>
      <p:sp>
        <p:nvSpPr>
          <p:cNvPr id="6" name="Rectangle 128">
            <a:extLst>
              <a:ext uri="{FF2B5EF4-FFF2-40B4-BE49-F238E27FC236}">
                <a16:creationId xmlns:a16="http://schemas.microsoft.com/office/drawing/2014/main" id="{843862B6-5D9A-764B-365B-D30462511E40}"/>
              </a:ext>
            </a:extLst>
          </p:cNvPr>
          <p:cNvSpPr/>
          <p:nvPr/>
        </p:nvSpPr>
        <p:spPr>
          <a:xfrm>
            <a:off x="1720024" y="3286117"/>
            <a:ext cx="4057430" cy="73866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cs typeface="Arial" panose="020B0604020202020204" pitchFamily="34" charset="0"/>
              </a:rPr>
              <a:t>Explore </a:t>
            </a:r>
            <a:r>
              <a:rPr lang="en-US" sz="1400" b="1">
                <a:cs typeface="Arial" panose="020B0604020202020204" pitchFamily="34" charset="0"/>
              </a:rPr>
              <a:t>best practices for engaging stakeholders </a:t>
            </a:r>
            <a:r>
              <a:rPr lang="en-US" sz="1400">
                <a:cs typeface="Arial" panose="020B0604020202020204" pitchFamily="34" charset="0"/>
              </a:rPr>
              <a:t>and obtaining their input in completing your Disaster Readiness Assessment.</a:t>
            </a:r>
          </a:p>
        </p:txBody>
      </p:sp>
      <p:sp>
        <p:nvSpPr>
          <p:cNvPr id="7" name="TextBox 150">
            <a:extLst>
              <a:ext uri="{FF2B5EF4-FFF2-40B4-BE49-F238E27FC236}">
                <a16:creationId xmlns:a16="http://schemas.microsoft.com/office/drawing/2014/main" id="{3755CF9B-2ECA-E165-F733-4D46D4CAF13B}"/>
              </a:ext>
            </a:extLst>
          </p:cNvPr>
          <p:cNvSpPr txBox="1"/>
          <p:nvPr/>
        </p:nvSpPr>
        <p:spPr>
          <a:xfrm>
            <a:off x="1511790" y="4133919"/>
            <a:ext cx="979159" cy="584775"/>
          </a:xfrm>
          <a:prstGeom prst="rect">
            <a:avLst/>
          </a:prstGeom>
          <a:noFill/>
        </p:spPr>
        <p:txBody>
          <a:bodyPr wrap="square" rtlCol="0">
            <a:spAutoFit/>
          </a:bodyPr>
          <a:lstStyle/>
          <a:p>
            <a:pPr algn="ctr"/>
            <a:r>
              <a:rPr lang="en-US" sz="3200" b="1">
                <a:solidFill>
                  <a:srgbClr val="00338D"/>
                </a:solidFill>
                <a:ea typeface="Cambria Math" panose="02040503050406030204" pitchFamily="18" charset="0"/>
                <a:cs typeface="Arial" panose="020B0604020202020204" pitchFamily="34" charset="0"/>
              </a:rPr>
              <a:t>03</a:t>
            </a:r>
          </a:p>
        </p:txBody>
      </p:sp>
      <p:sp>
        <p:nvSpPr>
          <p:cNvPr id="9" name="Rectangle 153">
            <a:extLst>
              <a:ext uri="{FF2B5EF4-FFF2-40B4-BE49-F238E27FC236}">
                <a16:creationId xmlns:a16="http://schemas.microsoft.com/office/drawing/2014/main" id="{CC522C03-DE85-05AC-7592-1962BEF85BA0}"/>
              </a:ext>
            </a:extLst>
          </p:cNvPr>
          <p:cNvSpPr/>
          <p:nvPr/>
        </p:nvSpPr>
        <p:spPr>
          <a:xfrm>
            <a:off x="1746477" y="4586044"/>
            <a:ext cx="3929729" cy="523220"/>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cs typeface="Arial" panose="020B0604020202020204" pitchFamily="34" charset="0"/>
              </a:rPr>
              <a:t>Explore the significance of your </a:t>
            </a:r>
            <a:r>
              <a:rPr lang="en-US" sz="1400" b="1">
                <a:cs typeface="Arial" panose="020B0604020202020204" pitchFamily="34" charset="0"/>
              </a:rPr>
              <a:t>Customized Abatement Plan in disaster preparedness.</a:t>
            </a:r>
          </a:p>
        </p:txBody>
      </p:sp>
      <p:sp>
        <p:nvSpPr>
          <p:cNvPr id="10" name="TextBox 155">
            <a:extLst>
              <a:ext uri="{FF2B5EF4-FFF2-40B4-BE49-F238E27FC236}">
                <a16:creationId xmlns:a16="http://schemas.microsoft.com/office/drawing/2014/main" id="{EDF5817A-98ED-DF20-B1C7-BD9BBC85DC6F}"/>
              </a:ext>
            </a:extLst>
          </p:cNvPr>
          <p:cNvSpPr txBox="1"/>
          <p:nvPr/>
        </p:nvSpPr>
        <p:spPr>
          <a:xfrm>
            <a:off x="7153595" y="1607979"/>
            <a:ext cx="724053" cy="584775"/>
          </a:xfrm>
          <a:prstGeom prst="rect">
            <a:avLst/>
          </a:prstGeom>
          <a:noFill/>
        </p:spPr>
        <p:txBody>
          <a:bodyPr wrap="square" rtlCol="0">
            <a:spAutoFit/>
          </a:bodyPr>
          <a:lstStyle/>
          <a:p>
            <a:pPr algn="ctr"/>
            <a:r>
              <a:rPr lang="en-US" sz="3200" b="1">
                <a:solidFill>
                  <a:srgbClr val="00A3A1"/>
                </a:solidFill>
                <a:ea typeface="Cambria Math" panose="02040503050406030204" pitchFamily="18" charset="0"/>
                <a:cs typeface="Arial" panose="020B0604020202020204" pitchFamily="34" charset="0"/>
              </a:rPr>
              <a:t>05</a:t>
            </a:r>
          </a:p>
        </p:txBody>
      </p:sp>
      <p:sp>
        <p:nvSpPr>
          <p:cNvPr id="12" name="Rectangle 158">
            <a:extLst>
              <a:ext uri="{FF2B5EF4-FFF2-40B4-BE49-F238E27FC236}">
                <a16:creationId xmlns:a16="http://schemas.microsoft.com/office/drawing/2014/main" id="{BE69707A-D981-F600-90A2-A61919A8E767}"/>
              </a:ext>
            </a:extLst>
          </p:cNvPr>
          <p:cNvSpPr/>
          <p:nvPr/>
        </p:nvSpPr>
        <p:spPr>
          <a:xfrm>
            <a:off x="7178489" y="2074259"/>
            <a:ext cx="4480108" cy="73866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cs typeface="Arial" panose="020B0604020202020204" pitchFamily="34" charset="0"/>
              </a:rPr>
              <a:t>Gain hands-on experience reviewing, revising, and fine-tuning a </a:t>
            </a:r>
            <a:r>
              <a:rPr lang="en-US" sz="1400" b="1">
                <a:cs typeface="Arial" panose="020B0604020202020204" pitchFamily="34" charset="0"/>
              </a:rPr>
              <a:t>Customized Abatement Plan</a:t>
            </a:r>
            <a:r>
              <a:rPr lang="en-US" sz="1400">
                <a:cs typeface="Arial" panose="020B0604020202020204" pitchFamily="34" charset="0"/>
              </a:rPr>
              <a:t> to ensure it aligns with your organizational goals and community needs.</a:t>
            </a:r>
          </a:p>
        </p:txBody>
      </p:sp>
      <p:sp>
        <p:nvSpPr>
          <p:cNvPr id="13" name="TextBox 160">
            <a:extLst>
              <a:ext uri="{FF2B5EF4-FFF2-40B4-BE49-F238E27FC236}">
                <a16:creationId xmlns:a16="http://schemas.microsoft.com/office/drawing/2014/main" id="{B8C23170-0E60-9379-2B78-3555B93E3ECA}"/>
              </a:ext>
            </a:extLst>
          </p:cNvPr>
          <p:cNvSpPr txBox="1"/>
          <p:nvPr/>
        </p:nvSpPr>
        <p:spPr>
          <a:xfrm>
            <a:off x="7159490" y="4122915"/>
            <a:ext cx="597864" cy="584775"/>
          </a:xfrm>
          <a:prstGeom prst="rect">
            <a:avLst/>
          </a:prstGeom>
          <a:noFill/>
        </p:spPr>
        <p:txBody>
          <a:bodyPr wrap="square" rtlCol="0">
            <a:spAutoFit/>
          </a:bodyPr>
          <a:lstStyle/>
          <a:p>
            <a:pPr algn="ctr"/>
            <a:r>
              <a:rPr lang="en-US" sz="3200" b="1">
                <a:solidFill>
                  <a:srgbClr val="009A44"/>
                </a:solidFill>
                <a:ea typeface="Cambria Math" panose="02040503050406030204" pitchFamily="18" charset="0"/>
                <a:cs typeface="Arial" panose="020B0604020202020204" pitchFamily="34" charset="0"/>
              </a:rPr>
              <a:t>07</a:t>
            </a:r>
          </a:p>
        </p:txBody>
      </p:sp>
      <p:sp>
        <p:nvSpPr>
          <p:cNvPr id="15" name="Rectangle 163">
            <a:extLst>
              <a:ext uri="{FF2B5EF4-FFF2-40B4-BE49-F238E27FC236}">
                <a16:creationId xmlns:a16="http://schemas.microsoft.com/office/drawing/2014/main" id="{E03188C8-E351-B8AA-243E-B59C085DA8BB}"/>
              </a:ext>
            </a:extLst>
          </p:cNvPr>
          <p:cNvSpPr/>
          <p:nvPr/>
        </p:nvSpPr>
        <p:spPr>
          <a:xfrm>
            <a:off x="7196414" y="4586044"/>
            <a:ext cx="4690786" cy="73866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cs typeface="Arial" panose="020B0604020202020204" pitchFamily="34" charset="0"/>
              </a:rPr>
              <a:t>Apply practical techniques to communicate and share findings from </a:t>
            </a:r>
            <a:r>
              <a:rPr lang="en-US" sz="1400" b="1">
                <a:cs typeface="Arial" panose="020B0604020202020204" pitchFamily="34" charset="0"/>
              </a:rPr>
              <a:t>Post-Disaster Questionnaires </a:t>
            </a:r>
            <a:r>
              <a:rPr lang="en-US" sz="1400">
                <a:cs typeface="Arial" panose="020B0604020202020204" pitchFamily="34" charset="0"/>
              </a:rPr>
              <a:t>with relevant stakeholders.</a:t>
            </a:r>
          </a:p>
        </p:txBody>
      </p:sp>
      <p:sp>
        <p:nvSpPr>
          <p:cNvPr id="16" name="TextBox 177">
            <a:extLst>
              <a:ext uri="{FF2B5EF4-FFF2-40B4-BE49-F238E27FC236}">
                <a16:creationId xmlns:a16="http://schemas.microsoft.com/office/drawing/2014/main" id="{CD3AEC8A-590A-7D6A-1B5B-D255FE33E802}"/>
              </a:ext>
            </a:extLst>
          </p:cNvPr>
          <p:cNvSpPr txBox="1"/>
          <p:nvPr/>
        </p:nvSpPr>
        <p:spPr>
          <a:xfrm>
            <a:off x="7093495" y="5381777"/>
            <a:ext cx="722987" cy="584775"/>
          </a:xfrm>
          <a:prstGeom prst="rect">
            <a:avLst/>
          </a:prstGeom>
          <a:noFill/>
        </p:spPr>
        <p:txBody>
          <a:bodyPr wrap="square" rtlCol="0">
            <a:spAutoFit/>
          </a:bodyPr>
          <a:lstStyle/>
          <a:p>
            <a:pPr algn="ctr"/>
            <a:r>
              <a:rPr lang="en-US" sz="3200" b="1">
                <a:solidFill>
                  <a:srgbClr val="005EB8"/>
                </a:solidFill>
                <a:ea typeface="Cambria Math" panose="02040503050406030204" pitchFamily="18" charset="0"/>
                <a:cs typeface="Arial" panose="020B0604020202020204" pitchFamily="34" charset="0"/>
              </a:rPr>
              <a:t>08</a:t>
            </a:r>
          </a:p>
        </p:txBody>
      </p:sp>
      <p:sp>
        <p:nvSpPr>
          <p:cNvPr id="18" name="Rectangle 180">
            <a:extLst>
              <a:ext uri="{FF2B5EF4-FFF2-40B4-BE49-F238E27FC236}">
                <a16:creationId xmlns:a16="http://schemas.microsoft.com/office/drawing/2014/main" id="{92791412-5E41-BD22-6EF9-D12CD851E8A5}"/>
              </a:ext>
            </a:extLst>
          </p:cNvPr>
          <p:cNvSpPr/>
          <p:nvPr/>
        </p:nvSpPr>
        <p:spPr>
          <a:xfrm>
            <a:off x="7196414" y="5821880"/>
            <a:ext cx="3944074" cy="73866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cs typeface="Arial" panose="020B0604020202020204" pitchFamily="34" charset="0"/>
              </a:rPr>
              <a:t>Gain a comprehensive understanding of </a:t>
            </a:r>
            <a:r>
              <a:rPr lang="en-US" sz="1400" b="1">
                <a:cs typeface="Arial" panose="020B0604020202020204" pitchFamily="34" charset="0"/>
              </a:rPr>
              <a:t>F-ROC forms and documentation </a:t>
            </a:r>
            <a:r>
              <a:rPr lang="en-US" sz="1400">
                <a:cs typeface="Arial" panose="020B0604020202020204" pitchFamily="34" charset="0"/>
              </a:rPr>
              <a:t>and their significance in the Public Assistance process.</a:t>
            </a:r>
          </a:p>
        </p:txBody>
      </p:sp>
      <p:sp>
        <p:nvSpPr>
          <p:cNvPr id="19" name="TextBox 182">
            <a:extLst>
              <a:ext uri="{FF2B5EF4-FFF2-40B4-BE49-F238E27FC236}">
                <a16:creationId xmlns:a16="http://schemas.microsoft.com/office/drawing/2014/main" id="{B7C657ED-E29C-DF22-02D1-14B069421C4D}"/>
              </a:ext>
            </a:extLst>
          </p:cNvPr>
          <p:cNvSpPr txBox="1"/>
          <p:nvPr/>
        </p:nvSpPr>
        <p:spPr>
          <a:xfrm>
            <a:off x="7159490" y="2835714"/>
            <a:ext cx="724053" cy="584775"/>
          </a:xfrm>
          <a:prstGeom prst="rect">
            <a:avLst/>
          </a:prstGeom>
          <a:noFill/>
        </p:spPr>
        <p:txBody>
          <a:bodyPr wrap="square" rtlCol="0">
            <a:spAutoFit/>
          </a:bodyPr>
          <a:lstStyle/>
          <a:p>
            <a:pPr algn="ctr"/>
            <a:r>
              <a:rPr lang="en-US" sz="3200" b="1">
                <a:solidFill>
                  <a:srgbClr val="EAAA00"/>
                </a:solidFill>
                <a:ea typeface="Cambria Math" panose="02040503050406030204" pitchFamily="18" charset="0"/>
                <a:cs typeface="Arial" panose="020B0604020202020204" pitchFamily="34" charset="0"/>
              </a:rPr>
              <a:t>06</a:t>
            </a:r>
          </a:p>
        </p:txBody>
      </p:sp>
      <p:sp>
        <p:nvSpPr>
          <p:cNvPr id="21" name="Rectangle 185">
            <a:extLst>
              <a:ext uri="{FF2B5EF4-FFF2-40B4-BE49-F238E27FC236}">
                <a16:creationId xmlns:a16="http://schemas.microsoft.com/office/drawing/2014/main" id="{E95D7FF4-5E47-BB5E-1891-61ED68D47B17}"/>
              </a:ext>
            </a:extLst>
          </p:cNvPr>
          <p:cNvSpPr/>
          <p:nvPr/>
        </p:nvSpPr>
        <p:spPr>
          <a:xfrm>
            <a:off x="7222702" y="3256411"/>
            <a:ext cx="4105492" cy="73866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cs typeface="Arial" panose="020B0604020202020204" pitchFamily="34" charset="0"/>
              </a:rPr>
              <a:t>Examine the importance of </a:t>
            </a:r>
            <a:r>
              <a:rPr lang="en-US" sz="1400" b="1">
                <a:cs typeface="Arial" panose="020B0604020202020204" pitchFamily="34" charset="0"/>
              </a:rPr>
              <a:t>completing a Post-Disaster Questionnaire </a:t>
            </a:r>
            <a:r>
              <a:rPr lang="en-US" sz="1400">
                <a:cs typeface="Arial" panose="020B0604020202020204" pitchFamily="34" charset="0"/>
              </a:rPr>
              <a:t>as part of the recovery process.</a:t>
            </a:r>
          </a:p>
        </p:txBody>
      </p:sp>
      <p:sp>
        <p:nvSpPr>
          <p:cNvPr id="22" name="TextBox 187">
            <a:extLst>
              <a:ext uri="{FF2B5EF4-FFF2-40B4-BE49-F238E27FC236}">
                <a16:creationId xmlns:a16="http://schemas.microsoft.com/office/drawing/2014/main" id="{30D41119-AF5B-69F7-5CCE-307674FC052C}"/>
              </a:ext>
            </a:extLst>
          </p:cNvPr>
          <p:cNvSpPr txBox="1"/>
          <p:nvPr/>
        </p:nvSpPr>
        <p:spPr>
          <a:xfrm>
            <a:off x="1617962" y="5333854"/>
            <a:ext cx="735792" cy="584775"/>
          </a:xfrm>
          <a:prstGeom prst="rect">
            <a:avLst/>
          </a:prstGeom>
          <a:noFill/>
        </p:spPr>
        <p:txBody>
          <a:bodyPr wrap="square" rtlCol="0">
            <a:spAutoFit/>
          </a:bodyPr>
          <a:lstStyle/>
          <a:p>
            <a:pPr algn="ctr"/>
            <a:r>
              <a:rPr lang="en-US" sz="3200" b="1">
                <a:solidFill>
                  <a:srgbClr val="6D2077"/>
                </a:solidFill>
                <a:ea typeface="Cambria Math" panose="02040503050406030204" pitchFamily="18" charset="0"/>
                <a:cs typeface="Arial" panose="020B0604020202020204" pitchFamily="34" charset="0"/>
              </a:rPr>
              <a:t>04</a:t>
            </a:r>
          </a:p>
        </p:txBody>
      </p:sp>
      <p:sp>
        <p:nvSpPr>
          <p:cNvPr id="24" name="Rectangle 190">
            <a:extLst>
              <a:ext uri="{FF2B5EF4-FFF2-40B4-BE49-F238E27FC236}">
                <a16:creationId xmlns:a16="http://schemas.microsoft.com/office/drawing/2014/main" id="{26B27D6F-6CD2-D8D9-C4A8-57220427DD4A}"/>
              </a:ext>
            </a:extLst>
          </p:cNvPr>
          <p:cNvSpPr/>
          <p:nvPr/>
        </p:nvSpPr>
        <p:spPr>
          <a:xfrm>
            <a:off x="1722940" y="5775274"/>
            <a:ext cx="3812982" cy="523220"/>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cs typeface="Arial" panose="020B0604020202020204" pitchFamily="34" charset="0"/>
              </a:rPr>
              <a:t>Learn how to </a:t>
            </a:r>
            <a:r>
              <a:rPr lang="en-US" sz="1400" b="1">
                <a:cs typeface="Arial" panose="020B0604020202020204" pitchFamily="34" charset="0"/>
              </a:rPr>
              <a:t>interpret and analyze data </a:t>
            </a:r>
            <a:r>
              <a:rPr lang="en-US" sz="1400">
                <a:cs typeface="Arial" panose="020B0604020202020204" pitchFamily="34" charset="0"/>
              </a:rPr>
              <a:t>from the Customized Abatement Plan.</a:t>
            </a:r>
          </a:p>
        </p:txBody>
      </p:sp>
      <p:sp>
        <p:nvSpPr>
          <p:cNvPr id="25" name="TextBox 192">
            <a:extLst>
              <a:ext uri="{FF2B5EF4-FFF2-40B4-BE49-F238E27FC236}">
                <a16:creationId xmlns:a16="http://schemas.microsoft.com/office/drawing/2014/main" id="{7D68C285-FC1D-50CE-4C6C-30E0D1E30BA7}"/>
              </a:ext>
            </a:extLst>
          </p:cNvPr>
          <p:cNvSpPr txBox="1"/>
          <p:nvPr/>
        </p:nvSpPr>
        <p:spPr>
          <a:xfrm>
            <a:off x="1573831" y="1602197"/>
            <a:ext cx="858549" cy="584775"/>
          </a:xfrm>
          <a:prstGeom prst="rect">
            <a:avLst/>
          </a:prstGeom>
          <a:noFill/>
        </p:spPr>
        <p:txBody>
          <a:bodyPr wrap="square" rtlCol="0">
            <a:spAutoFit/>
          </a:bodyPr>
          <a:lstStyle/>
          <a:p>
            <a:pPr algn="ctr"/>
            <a:r>
              <a:rPr lang="en-US" sz="3200" b="1">
                <a:solidFill>
                  <a:srgbClr val="0091DA"/>
                </a:solidFill>
                <a:ea typeface="Cambria Math" panose="02040503050406030204" pitchFamily="18" charset="0"/>
                <a:cs typeface="Arial" panose="020B0604020202020204" pitchFamily="34" charset="0"/>
              </a:rPr>
              <a:t>01</a:t>
            </a:r>
            <a:endParaRPr lang="en-US" sz="2800" b="1">
              <a:solidFill>
                <a:srgbClr val="0091DA"/>
              </a:solidFill>
              <a:ea typeface="Cambria Math" panose="02040503050406030204" pitchFamily="18" charset="0"/>
              <a:cs typeface="Arial" panose="020B0604020202020204" pitchFamily="34" charset="0"/>
            </a:endParaRPr>
          </a:p>
        </p:txBody>
      </p:sp>
      <p:sp>
        <p:nvSpPr>
          <p:cNvPr id="27" name="Rectangle 202">
            <a:extLst>
              <a:ext uri="{FF2B5EF4-FFF2-40B4-BE49-F238E27FC236}">
                <a16:creationId xmlns:a16="http://schemas.microsoft.com/office/drawing/2014/main" id="{B56643AB-99C1-E984-9897-675C59F3EE4E}"/>
              </a:ext>
            </a:extLst>
          </p:cNvPr>
          <p:cNvSpPr/>
          <p:nvPr/>
        </p:nvSpPr>
        <p:spPr>
          <a:xfrm>
            <a:off x="1746477" y="2068477"/>
            <a:ext cx="3929728" cy="523220"/>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cs typeface="Arial" panose="020B0604020202020204" pitchFamily="34" charset="0"/>
              </a:rPr>
              <a:t>Examine the importance and intricacies of completing a </a:t>
            </a:r>
            <a:r>
              <a:rPr lang="en-US" sz="1400" b="1">
                <a:cs typeface="Arial" panose="020B0604020202020204" pitchFamily="34" charset="0"/>
              </a:rPr>
              <a:t>Disaster Readiness Assessment.</a:t>
            </a:r>
          </a:p>
        </p:txBody>
      </p:sp>
      <p:grpSp>
        <p:nvGrpSpPr>
          <p:cNvPr id="32" name="Group 31">
            <a:extLst>
              <a:ext uri="{FF2B5EF4-FFF2-40B4-BE49-F238E27FC236}">
                <a16:creationId xmlns:a16="http://schemas.microsoft.com/office/drawing/2014/main" id="{29764615-C94B-7C7B-9D5D-DB5FFB3CE112}"/>
              </a:ext>
            </a:extLst>
          </p:cNvPr>
          <p:cNvGrpSpPr/>
          <p:nvPr/>
        </p:nvGrpSpPr>
        <p:grpSpPr>
          <a:xfrm>
            <a:off x="553968" y="2843025"/>
            <a:ext cx="1102844" cy="1106424"/>
            <a:chOff x="100321" y="2128428"/>
            <a:chExt cx="803823" cy="712968"/>
          </a:xfrm>
        </p:grpSpPr>
        <p:sp>
          <p:nvSpPr>
            <p:cNvPr id="35" name="Oval Callout 62">
              <a:extLst>
                <a:ext uri="{FF2B5EF4-FFF2-40B4-BE49-F238E27FC236}">
                  <a16:creationId xmlns:a16="http://schemas.microsoft.com/office/drawing/2014/main" id="{6F820641-214D-A890-1E4A-919D97F52D36}"/>
                </a:ext>
              </a:extLst>
            </p:cNvPr>
            <p:cNvSpPr/>
            <p:nvPr/>
          </p:nvSpPr>
          <p:spPr>
            <a:xfrm>
              <a:off x="100321" y="2128428"/>
              <a:ext cx="803823" cy="712968"/>
            </a:xfrm>
            <a:prstGeom prst="wedgeEllipseCallout">
              <a:avLst>
                <a:gd name="adj1" fmla="val 740"/>
                <a:gd name="adj2" fmla="val 15678"/>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cs typeface="Arial" panose="020B0604020202020204" pitchFamily="34" charset="0"/>
              </a:endParaRPr>
            </a:p>
          </p:txBody>
        </p:sp>
        <p:sp>
          <p:nvSpPr>
            <p:cNvPr id="36" name="Oval 63">
              <a:extLst>
                <a:ext uri="{FF2B5EF4-FFF2-40B4-BE49-F238E27FC236}">
                  <a16:creationId xmlns:a16="http://schemas.microsoft.com/office/drawing/2014/main" id="{CE648AB1-FF9A-2AB0-B29D-EDD187B8D9FF}"/>
                </a:ext>
              </a:extLst>
            </p:cNvPr>
            <p:cNvSpPr/>
            <p:nvPr/>
          </p:nvSpPr>
          <p:spPr>
            <a:xfrm>
              <a:off x="154546" y="2179706"/>
              <a:ext cx="695372" cy="624428"/>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cs typeface="Arial" panose="020B0604020202020204" pitchFamily="34" charset="0"/>
              </a:endParaRPr>
            </a:p>
          </p:txBody>
        </p:sp>
        <p:grpSp>
          <p:nvGrpSpPr>
            <p:cNvPr id="167" name="Group 166">
              <a:extLst>
                <a:ext uri="{FF2B5EF4-FFF2-40B4-BE49-F238E27FC236}">
                  <a16:creationId xmlns:a16="http://schemas.microsoft.com/office/drawing/2014/main" id="{B55DA695-202F-7547-F1F5-DD31D917A7BB}"/>
                </a:ext>
              </a:extLst>
            </p:cNvPr>
            <p:cNvGrpSpPr/>
            <p:nvPr/>
          </p:nvGrpSpPr>
          <p:grpSpPr>
            <a:xfrm>
              <a:off x="288243" y="2315286"/>
              <a:ext cx="427979" cy="372862"/>
              <a:chOff x="-5280026" y="5880100"/>
              <a:chExt cx="1179513" cy="977901"/>
            </a:xfrm>
            <a:solidFill>
              <a:srgbClr val="483698"/>
            </a:solidFill>
          </p:grpSpPr>
          <p:sp>
            <p:nvSpPr>
              <p:cNvPr id="168" name="Freeform 130">
                <a:extLst>
                  <a:ext uri="{FF2B5EF4-FFF2-40B4-BE49-F238E27FC236}">
                    <a16:creationId xmlns:a16="http://schemas.microsoft.com/office/drawing/2014/main" id="{CD52E846-BB7D-E0F9-050D-9438BC905DC7}"/>
                  </a:ext>
                </a:extLst>
              </p:cNvPr>
              <p:cNvSpPr>
                <a:spLocks/>
              </p:cNvSpPr>
              <p:nvPr/>
            </p:nvSpPr>
            <p:spPr bwMode="auto">
              <a:xfrm>
                <a:off x="-4792663" y="5880100"/>
                <a:ext cx="203200" cy="234950"/>
              </a:xfrm>
              <a:custGeom>
                <a:avLst/>
                <a:gdLst/>
                <a:ahLst/>
                <a:cxnLst>
                  <a:cxn ang="0">
                    <a:pos x="193" y="445"/>
                  </a:cxn>
                  <a:cxn ang="0">
                    <a:pos x="213" y="443"/>
                  </a:cxn>
                  <a:cxn ang="0">
                    <a:pos x="251" y="432"/>
                  </a:cxn>
                  <a:cxn ang="0">
                    <a:pos x="286" y="411"/>
                  </a:cxn>
                  <a:cxn ang="0">
                    <a:pos x="317" y="383"/>
                  </a:cxn>
                  <a:cxn ang="0">
                    <a:pos x="343" y="348"/>
                  </a:cxn>
                  <a:cxn ang="0">
                    <a:pos x="363" y="309"/>
                  </a:cxn>
                  <a:cxn ang="0">
                    <a:pos x="377" y="269"/>
                  </a:cxn>
                  <a:cxn ang="0">
                    <a:pos x="384" y="227"/>
                  </a:cxn>
                  <a:cxn ang="0">
                    <a:pos x="385" y="207"/>
                  </a:cxn>
                  <a:cxn ang="0">
                    <a:pos x="382" y="166"/>
                  </a:cxn>
                  <a:cxn ang="0">
                    <a:pos x="371" y="128"/>
                  </a:cxn>
                  <a:cxn ang="0">
                    <a:pos x="352" y="94"/>
                  </a:cxn>
                  <a:cxn ang="0">
                    <a:pos x="330" y="63"/>
                  </a:cxn>
                  <a:cxn ang="0">
                    <a:pos x="300" y="37"/>
                  </a:cxn>
                  <a:cxn ang="0">
                    <a:pos x="268" y="18"/>
                  </a:cxn>
                  <a:cxn ang="0">
                    <a:pos x="232" y="5"/>
                  </a:cxn>
                  <a:cxn ang="0">
                    <a:pos x="193" y="0"/>
                  </a:cxn>
                  <a:cxn ang="0">
                    <a:pos x="173" y="2"/>
                  </a:cxn>
                  <a:cxn ang="0">
                    <a:pos x="136" y="11"/>
                  </a:cxn>
                  <a:cxn ang="0">
                    <a:pos x="101" y="26"/>
                  </a:cxn>
                  <a:cxn ang="0">
                    <a:pos x="70" y="50"/>
                  </a:cxn>
                  <a:cxn ang="0">
                    <a:pos x="44" y="77"/>
                  </a:cxn>
                  <a:cxn ang="0">
                    <a:pos x="24" y="110"/>
                  </a:cxn>
                  <a:cxn ang="0">
                    <a:pos x="9" y="147"/>
                  </a:cxn>
                  <a:cxn ang="0">
                    <a:pos x="2" y="186"/>
                  </a:cxn>
                  <a:cxn ang="0">
                    <a:pos x="0" y="207"/>
                  </a:cxn>
                  <a:cxn ang="0">
                    <a:pos x="4" y="248"/>
                  </a:cxn>
                  <a:cxn ang="0">
                    <a:pos x="16" y="289"/>
                  </a:cxn>
                  <a:cxn ang="0">
                    <a:pos x="32" y="330"/>
                  </a:cxn>
                  <a:cxn ang="0">
                    <a:pos x="56" y="366"/>
                  </a:cxn>
                  <a:cxn ang="0">
                    <a:pos x="84" y="398"/>
                  </a:cxn>
                  <a:cxn ang="0">
                    <a:pos x="117" y="423"/>
                  </a:cxn>
                  <a:cxn ang="0">
                    <a:pos x="154" y="438"/>
                  </a:cxn>
                  <a:cxn ang="0">
                    <a:pos x="183" y="444"/>
                  </a:cxn>
                  <a:cxn ang="0">
                    <a:pos x="193" y="445"/>
                  </a:cxn>
                </a:cxnLst>
                <a:rect l="0" t="0" r="r" b="b"/>
                <a:pathLst>
                  <a:path w="385" h="445">
                    <a:moveTo>
                      <a:pt x="193" y="445"/>
                    </a:moveTo>
                    <a:lnTo>
                      <a:pt x="193" y="445"/>
                    </a:lnTo>
                    <a:lnTo>
                      <a:pt x="203" y="444"/>
                    </a:lnTo>
                    <a:lnTo>
                      <a:pt x="213" y="443"/>
                    </a:lnTo>
                    <a:lnTo>
                      <a:pt x="232" y="438"/>
                    </a:lnTo>
                    <a:lnTo>
                      <a:pt x="251" y="432"/>
                    </a:lnTo>
                    <a:lnTo>
                      <a:pt x="268" y="423"/>
                    </a:lnTo>
                    <a:lnTo>
                      <a:pt x="286" y="411"/>
                    </a:lnTo>
                    <a:lnTo>
                      <a:pt x="301" y="398"/>
                    </a:lnTo>
                    <a:lnTo>
                      <a:pt x="317" y="383"/>
                    </a:lnTo>
                    <a:lnTo>
                      <a:pt x="330" y="366"/>
                    </a:lnTo>
                    <a:lnTo>
                      <a:pt x="343" y="348"/>
                    </a:lnTo>
                    <a:lnTo>
                      <a:pt x="353" y="330"/>
                    </a:lnTo>
                    <a:lnTo>
                      <a:pt x="363" y="309"/>
                    </a:lnTo>
                    <a:lnTo>
                      <a:pt x="371" y="289"/>
                    </a:lnTo>
                    <a:lnTo>
                      <a:pt x="377" y="269"/>
                    </a:lnTo>
                    <a:lnTo>
                      <a:pt x="382" y="248"/>
                    </a:lnTo>
                    <a:lnTo>
                      <a:pt x="384" y="227"/>
                    </a:lnTo>
                    <a:lnTo>
                      <a:pt x="385" y="207"/>
                    </a:lnTo>
                    <a:lnTo>
                      <a:pt x="385" y="207"/>
                    </a:lnTo>
                    <a:lnTo>
                      <a:pt x="384" y="186"/>
                    </a:lnTo>
                    <a:lnTo>
                      <a:pt x="382" y="166"/>
                    </a:lnTo>
                    <a:lnTo>
                      <a:pt x="377" y="147"/>
                    </a:lnTo>
                    <a:lnTo>
                      <a:pt x="371" y="128"/>
                    </a:lnTo>
                    <a:lnTo>
                      <a:pt x="363" y="110"/>
                    </a:lnTo>
                    <a:lnTo>
                      <a:pt x="352" y="94"/>
                    </a:lnTo>
                    <a:lnTo>
                      <a:pt x="341" y="77"/>
                    </a:lnTo>
                    <a:lnTo>
                      <a:pt x="330" y="63"/>
                    </a:lnTo>
                    <a:lnTo>
                      <a:pt x="315" y="50"/>
                    </a:lnTo>
                    <a:lnTo>
                      <a:pt x="300" y="37"/>
                    </a:lnTo>
                    <a:lnTo>
                      <a:pt x="285" y="26"/>
                    </a:lnTo>
                    <a:lnTo>
                      <a:pt x="268" y="18"/>
                    </a:lnTo>
                    <a:lnTo>
                      <a:pt x="251" y="11"/>
                    </a:lnTo>
                    <a:lnTo>
                      <a:pt x="232" y="5"/>
                    </a:lnTo>
                    <a:lnTo>
                      <a:pt x="213" y="2"/>
                    </a:lnTo>
                    <a:lnTo>
                      <a:pt x="193" y="0"/>
                    </a:lnTo>
                    <a:lnTo>
                      <a:pt x="193" y="0"/>
                    </a:lnTo>
                    <a:lnTo>
                      <a:pt x="173" y="2"/>
                    </a:lnTo>
                    <a:lnTo>
                      <a:pt x="154" y="5"/>
                    </a:lnTo>
                    <a:lnTo>
                      <a:pt x="136" y="11"/>
                    </a:lnTo>
                    <a:lnTo>
                      <a:pt x="118" y="18"/>
                    </a:lnTo>
                    <a:lnTo>
                      <a:pt x="101" y="26"/>
                    </a:lnTo>
                    <a:lnTo>
                      <a:pt x="85" y="37"/>
                    </a:lnTo>
                    <a:lnTo>
                      <a:pt x="70" y="50"/>
                    </a:lnTo>
                    <a:lnTo>
                      <a:pt x="57" y="63"/>
                    </a:lnTo>
                    <a:lnTo>
                      <a:pt x="44" y="77"/>
                    </a:lnTo>
                    <a:lnTo>
                      <a:pt x="34" y="94"/>
                    </a:lnTo>
                    <a:lnTo>
                      <a:pt x="24" y="110"/>
                    </a:lnTo>
                    <a:lnTo>
                      <a:pt x="16" y="128"/>
                    </a:lnTo>
                    <a:lnTo>
                      <a:pt x="9" y="147"/>
                    </a:lnTo>
                    <a:lnTo>
                      <a:pt x="4" y="166"/>
                    </a:lnTo>
                    <a:lnTo>
                      <a:pt x="2" y="186"/>
                    </a:lnTo>
                    <a:lnTo>
                      <a:pt x="0" y="207"/>
                    </a:lnTo>
                    <a:lnTo>
                      <a:pt x="0" y="207"/>
                    </a:lnTo>
                    <a:lnTo>
                      <a:pt x="2" y="227"/>
                    </a:lnTo>
                    <a:lnTo>
                      <a:pt x="4" y="248"/>
                    </a:lnTo>
                    <a:lnTo>
                      <a:pt x="9" y="269"/>
                    </a:lnTo>
                    <a:lnTo>
                      <a:pt x="16" y="289"/>
                    </a:lnTo>
                    <a:lnTo>
                      <a:pt x="23" y="309"/>
                    </a:lnTo>
                    <a:lnTo>
                      <a:pt x="32" y="330"/>
                    </a:lnTo>
                    <a:lnTo>
                      <a:pt x="44" y="348"/>
                    </a:lnTo>
                    <a:lnTo>
                      <a:pt x="56" y="366"/>
                    </a:lnTo>
                    <a:lnTo>
                      <a:pt x="70" y="383"/>
                    </a:lnTo>
                    <a:lnTo>
                      <a:pt x="84" y="398"/>
                    </a:lnTo>
                    <a:lnTo>
                      <a:pt x="101" y="411"/>
                    </a:lnTo>
                    <a:lnTo>
                      <a:pt x="117" y="423"/>
                    </a:lnTo>
                    <a:lnTo>
                      <a:pt x="135" y="432"/>
                    </a:lnTo>
                    <a:lnTo>
                      <a:pt x="154" y="438"/>
                    </a:lnTo>
                    <a:lnTo>
                      <a:pt x="173" y="443"/>
                    </a:lnTo>
                    <a:lnTo>
                      <a:pt x="183" y="444"/>
                    </a:lnTo>
                    <a:lnTo>
                      <a:pt x="193" y="445"/>
                    </a:lnTo>
                    <a:lnTo>
                      <a:pt x="193" y="4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sp>
            <p:nvSpPr>
              <p:cNvPr id="169" name="Freeform 131">
                <a:extLst>
                  <a:ext uri="{FF2B5EF4-FFF2-40B4-BE49-F238E27FC236}">
                    <a16:creationId xmlns:a16="http://schemas.microsoft.com/office/drawing/2014/main" id="{D4878BA8-7BC3-65D3-2B6D-D8E7CC97E29C}"/>
                  </a:ext>
                </a:extLst>
              </p:cNvPr>
              <p:cNvSpPr>
                <a:spLocks/>
              </p:cNvSpPr>
              <p:nvPr/>
            </p:nvSpPr>
            <p:spPr bwMode="auto">
              <a:xfrm>
                <a:off x="-4710113" y="6132513"/>
                <a:ext cx="38100" cy="23813"/>
              </a:xfrm>
              <a:custGeom>
                <a:avLst/>
                <a:gdLst/>
                <a:ahLst/>
                <a:cxnLst>
                  <a:cxn ang="0">
                    <a:pos x="63" y="1"/>
                  </a:cxn>
                  <a:cxn ang="0">
                    <a:pos x="63" y="1"/>
                  </a:cxn>
                  <a:cxn ang="0">
                    <a:pos x="36" y="0"/>
                  </a:cxn>
                  <a:cxn ang="0">
                    <a:pos x="9" y="1"/>
                  </a:cxn>
                  <a:cxn ang="0">
                    <a:pos x="9" y="1"/>
                  </a:cxn>
                  <a:cxn ang="0">
                    <a:pos x="5" y="2"/>
                  </a:cxn>
                  <a:cxn ang="0">
                    <a:pos x="4" y="5"/>
                  </a:cxn>
                  <a:cxn ang="0">
                    <a:pos x="4" y="5"/>
                  </a:cxn>
                  <a:cxn ang="0">
                    <a:pos x="0" y="12"/>
                  </a:cxn>
                  <a:cxn ang="0">
                    <a:pos x="0" y="12"/>
                  </a:cxn>
                  <a:cxn ang="0">
                    <a:pos x="0" y="14"/>
                  </a:cxn>
                  <a:cxn ang="0">
                    <a:pos x="0" y="17"/>
                  </a:cxn>
                  <a:cxn ang="0">
                    <a:pos x="0" y="17"/>
                  </a:cxn>
                  <a:cxn ang="0">
                    <a:pos x="13" y="42"/>
                  </a:cxn>
                  <a:cxn ang="0">
                    <a:pos x="13" y="42"/>
                  </a:cxn>
                  <a:cxn ang="0">
                    <a:pos x="15" y="44"/>
                  </a:cxn>
                  <a:cxn ang="0">
                    <a:pos x="17" y="45"/>
                  </a:cxn>
                  <a:cxn ang="0">
                    <a:pos x="17" y="45"/>
                  </a:cxn>
                  <a:cxn ang="0">
                    <a:pos x="36" y="45"/>
                  </a:cxn>
                  <a:cxn ang="0">
                    <a:pos x="36" y="45"/>
                  </a:cxn>
                  <a:cxn ang="0">
                    <a:pos x="56" y="45"/>
                  </a:cxn>
                  <a:cxn ang="0">
                    <a:pos x="56" y="45"/>
                  </a:cxn>
                  <a:cxn ang="0">
                    <a:pos x="57" y="44"/>
                  </a:cxn>
                  <a:cxn ang="0">
                    <a:pos x="59" y="42"/>
                  </a:cxn>
                  <a:cxn ang="0">
                    <a:pos x="59" y="42"/>
                  </a:cxn>
                  <a:cxn ang="0">
                    <a:pos x="63" y="33"/>
                  </a:cxn>
                  <a:cxn ang="0">
                    <a:pos x="69" y="24"/>
                  </a:cxn>
                  <a:cxn ang="0">
                    <a:pos x="69" y="24"/>
                  </a:cxn>
                  <a:cxn ang="0">
                    <a:pos x="71" y="19"/>
                  </a:cxn>
                  <a:cxn ang="0">
                    <a:pos x="71" y="14"/>
                  </a:cxn>
                  <a:cxn ang="0">
                    <a:pos x="71" y="9"/>
                  </a:cxn>
                  <a:cxn ang="0">
                    <a:pos x="69" y="5"/>
                  </a:cxn>
                  <a:cxn ang="0">
                    <a:pos x="69" y="5"/>
                  </a:cxn>
                  <a:cxn ang="0">
                    <a:pos x="66" y="2"/>
                  </a:cxn>
                  <a:cxn ang="0">
                    <a:pos x="63" y="1"/>
                  </a:cxn>
                  <a:cxn ang="0">
                    <a:pos x="63" y="1"/>
                  </a:cxn>
                </a:cxnLst>
                <a:rect l="0" t="0" r="r" b="b"/>
                <a:pathLst>
                  <a:path w="71" h="45">
                    <a:moveTo>
                      <a:pt x="63" y="1"/>
                    </a:moveTo>
                    <a:lnTo>
                      <a:pt x="63" y="1"/>
                    </a:lnTo>
                    <a:lnTo>
                      <a:pt x="36" y="0"/>
                    </a:lnTo>
                    <a:lnTo>
                      <a:pt x="9" y="1"/>
                    </a:lnTo>
                    <a:lnTo>
                      <a:pt x="9" y="1"/>
                    </a:lnTo>
                    <a:lnTo>
                      <a:pt x="5" y="2"/>
                    </a:lnTo>
                    <a:lnTo>
                      <a:pt x="4" y="5"/>
                    </a:lnTo>
                    <a:lnTo>
                      <a:pt x="4" y="5"/>
                    </a:lnTo>
                    <a:lnTo>
                      <a:pt x="0" y="12"/>
                    </a:lnTo>
                    <a:lnTo>
                      <a:pt x="0" y="12"/>
                    </a:lnTo>
                    <a:lnTo>
                      <a:pt x="0" y="14"/>
                    </a:lnTo>
                    <a:lnTo>
                      <a:pt x="0" y="17"/>
                    </a:lnTo>
                    <a:lnTo>
                      <a:pt x="0" y="17"/>
                    </a:lnTo>
                    <a:lnTo>
                      <a:pt x="13" y="42"/>
                    </a:lnTo>
                    <a:lnTo>
                      <a:pt x="13" y="42"/>
                    </a:lnTo>
                    <a:lnTo>
                      <a:pt x="15" y="44"/>
                    </a:lnTo>
                    <a:lnTo>
                      <a:pt x="17" y="45"/>
                    </a:lnTo>
                    <a:lnTo>
                      <a:pt x="17" y="45"/>
                    </a:lnTo>
                    <a:lnTo>
                      <a:pt x="36" y="45"/>
                    </a:lnTo>
                    <a:lnTo>
                      <a:pt x="36" y="45"/>
                    </a:lnTo>
                    <a:lnTo>
                      <a:pt x="56" y="45"/>
                    </a:lnTo>
                    <a:lnTo>
                      <a:pt x="56" y="45"/>
                    </a:lnTo>
                    <a:lnTo>
                      <a:pt x="57" y="44"/>
                    </a:lnTo>
                    <a:lnTo>
                      <a:pt x="59" y="42"/>
                    </a:lnTo>
                    <a:lnTo>
                      <a:pt x="59" y="42"/>
                    </a:lnTo>
                    <a:lnTo>
                      <a:pt x="63" y="33"/>
                    </a:lnTo>
                    <a:lnTo>
                      <a:pt x="69" y="24"/>
                    </a:lnTo>
                    <a:lnTo>
                      <a:pt x="69" y="24"/>
                    </a:lnTo>
                    <a:lnTo>
                      <a:pt x="71" y="19"/>
                    </a:lnTo>
                    <a:lnTo>
                      <a:pt x="71" y="14"/>
                    </a:lnTo>
                    <a:lnTo>
                      <a:pt x="71" y="9"/>
                    </a:lnTo>
                    <a:lnTo>
                      <a:pt x="69" y="5"/>
                    </a:lnTo>
                    <a:lnTo>
                      <a:pt x="69" y="5"/>
                    </a:lnTo>
                    <a:lnTo>
                      <a:pt x="66" y="2"/>
                    </a:lnTo>
                    <a:lnTo>
                      <a:pt x="63" y="1"/>
                    </a:lnTo>
                    <a:lnTo>
                      <a:pt x="63"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sp>
            <p:nvSpPr>
              <p:cNvPr id="170" name="Freeform 132">
                <a:extLst>
                  <a:ext uri="{FF2B5EF4-FFF2-40B4-BE49-F238E27FC236}">
                    <a16:creationId xmlns:a16="http://schemas.microsoft.com/office/drawing/2014/main" id="{E1572FC0-B590-0F63-A1B3-3FE7186A0E3A}"/>
                  </a:ext>
                </a:extLst>
              </p:cNvPr>
              <p:cNvSpPr>
                <a:spLocks/>
              </p:cNvSpPr>
              <p:nvPr/>
            </p:nvSpPr>
            <p:spPr bwMode="auto">
              <a:xfrm>
                <a:off x="-4862513" y="6132513"/>
                <a:ext cx="346075" cy="193675"/>
              </a:xfrm>
              <a:custGeom>
                <a:avLst/>
                <a:gdLst/>
                <a:ahLst/>
                <a:cxnLst>
                  <a:cxn ang="0">
                    <a:pos x="654" y="119"/>
                  </a:cxn>
                  <a:cxn ang="0">
                    <a:pos x="654" y="119"/>
                  </a:cxn>
                  <a:cxn ang="0">
                    <a:pos x="653" y="106"/>
                  </a:cxn>
                  <a:cxn ang="0">
                    <a:pos x="651" y="94"/>
                  </a:cxn>
                  <a:cxn ang="0">
                    <a:pos x="648" y="84"/>
                  </a:cxn>
                  <a:cxn ang="0">
                    <a:pos x="644" y="73"/>
                  </a:cxn>
                  <a:cxn ang="0">
                    <a:pos x="640" y="63"/>
                  </a:cxn>
                  <a:cxn ang="0">
                    <a:pos x="634" y="53"/>
                  </a:cxn>
                  <a:cxn ang="0">
                    <a:pos x="628" y="44"/>
                  </a:cxn>
                  <a:cxn ang="0">
                    <a:pos x="621" y="35"/>
                  </a:cxn>
                  <a:cxn ang="0">
                    <a:pos x="612" y="27"/>
                  </a:cxn>
                  <a:cxn ang="0">
                    <a:pos x="603" y="20"/>
                  </a:cxn>
                  <a:cxn ang="0">
                    <a:pos x="595" y="14"/>
                  </a:cxn>
                  <a:cxn ang="0">
                    <a:pos x="584" y="9"/>
                  </a:cxn>
                  <a:cxn ang="0">
                    <a:pos x="574" y="6"/>
                  </a:cxn>
                  <a:cxn ang="0">
                    <a:pos x="563" y="2"/>
                  </a:cxn>
                  <a:cxn ang="0">
                    <a:pos x="552" y="1"/>
                  </a:cxn>
                  <a:cxn ang="0">
                    <a:pos x="541" y="0"/>
                  </a:cxn>
                  <a:cxn ang="0">
                    <a:pos x="438" y="0"/>
                  </a:cxn>
                  <a:cxn ang="0">
                    <a:pos x="366" y="139"/>
                  </a:cxn>
                  <a:cxn ang="0">
                    <a:pos x="366" y="139"/>
                  </a:cxn>
                  <a:cxn ang="0">
                    <a:pos x="359" y="105"/>
                  </a:cxn>
                  <a:cxn ang="0">
                    <a:pos x="359" y="105"/>
                  </a:cxn>
                  <a:cxn ang="0">
                    <a:pos x="347" y="54"/>
                  </a:cxn>
                  <a:cxn ang="0">
                    <a:pos x="347" y="54"/>
                  </a:cxn>
                  <a:cxn ang="0">
                    <a:pos x="307" y="54"/>
                  </a:cxn>
                  <a:cxn ang="0">
                    <a:pos x="307" y="54"/>
                  </a:cxn>
                  <a:cxn ang="0">
                    <a:pos x="306" y="55"/>
                  </a:cxn>
                  <a:cxn ang="0">
                    <a:pos x="305" y="57"/>
                  </a:cxn>
                  <a:cxn ang="0">
                    <a:pos x="305" y="57"/>
                  </a:cxn>
                  <a:cxn ang="0">
                    <a:pos x="289" y="131"/>
                  </a:cxn>
                  <a:cxn ang="0">
                    <a:pos x="289" y="131"/>
                  </a:cxn>
                  <a:cxn ang="0">
                    <a:pos x="287" y="139"/>
                  </a:cxn>
                  <a:cxn ang="0">
                    <a:pos x="215" y="0"/>
                  </a:cxn>
                  <a:cxn ang="0">
                    <a:pos x="112" y="0"/>
                  </a:cxn>
                  <a:cxn ang="0">
                    <a:pos x="112" y="0"/>
                  </a:cxn>
                  <a:cxn ang="0">
                    <a:pos x="100" y="1"/>
                  </a:cxn>
                  <a:cxn ang="0">
                    <a:pos x="90" y="2"/>
                  </a:cxn>
                  <a:cxn ang="0">
                    <a:pos x="79" y="6"/>
                  </a:cxn>
                  <a:cxn ang="0">
                    <a:pos x="69" y="9"/>
                  </a:cxn>
                  <a:cxn ang="0">
                    <a:pos x="59" y="14"/>
                  </a:cxn>
                  <a:cxn ang="0">
                    <a:pos x="50" y="20"/>
                  </a:cxn>
                  <a:cxn ang="0">
                    <a:pos x="40" y="27"/>
                  </a:cxn>
                  <a:cxn ang="0">
                    <a:pos x="33" y="35"/>
                  </a:cxn>
                  <a:cxn ang="0">
                    <a:pos x="25" y="44"/>
                  </a:cxn>
                  <a:cxn ang="0">
                    <a:pos x="19" y="53"/>
                  </a:cxn>
                  <a:cxn ang="0">
                    <a:pos x="13" y="63"/>
                  </a:cxn>
                  <a:cxn ang="0">
                    <a:pos x="8" y="73"/>
                  </a:cxn>
                  <a:cxn ang="0">
                    <a:pos x="5" y="84"/>
                  </a:cxn>
                  <a:cxn ang="0">
                    <a:pos x="3" y="94"/>
                  </a:cxn>
                  <a:cxn ang="0">
                    <a:pos x="0" y="106"/>
                  </a:cxn>
                  <a:cxn ang="0">
                    <a:pos x="0" y="119"/>
                  </a:cxn>
                  <a:cxn ang="0">
                    <a:pos x="0" y="367"/>
                  </a:cxn>
                  <a:cxn ang="0">
                    <a:pos x="654" y="367"/>
                  </a:cxn>
                  <a:cxn ang="0">
                    <a:pos x="654" y="119"/>
                  </a:cxn>
                </a:cxnLst>
                <a:rect l="0" t="0" r="r" b="b"/>
                <a:pathLst>
                  <a:path w="654" h="367">
                    <a:moveTo>
                      <a:pt x="654" y="119"/>
                    </a:moveTo>
                    <a:lnTo>
                      <a:pt x="654" y="119"/>
                    </a:lnTo>
                    <a:lnTo>
                      <a:pt x="653" y="106"/>
                    </a:lnTo>
                    <a:lnTo>
                      <a:pt x="651" y="94"/>
                    </a:lnTo>
                    <a:lnTo>
                      <a:pt x="648" y="84"/>
                    </a:lnTo>
                    <a:lnTo>
                      <a:pt x="644" y="73"/>
                    </a:lnTo>
                    <a:lnTo>
                      <a:pt x="640" y="63"/>
                    </a:lnTo>
                    <a:lnTo>
                      <a:pt x="634" y="53"/>
                    </a:lnTo>
                    <a:lnTo>
                      <a:pt x="628" y="44"/>
                    </a:lnTo>
                    <a:lnTo>
                      <a:pt x="621" y="35"/>
                    </a:lnTo>
                    <a:lnTo>
                      <a:pt x="612" y="27"/>
                    </a:lnTo>
                    <a:lnTo>
                      <a:pt x="603" y="20"/>
                    </a:lnTo>
                    <a:lnTo>
                      <a:pt x="595" y="14"/>
                    </a:lnTo>
                    <a:lnTo>
                      <a:pt x="584" y="9"/>
                    </a:lnTo>
                    <a:lnTo>
                      <a:pt x="574" y="6"/>
                    </a:lnTo>
                    <a:lnTo>
                      <a:pt x="563" y="2"/>
                    </a:lnTo>
                    <a:lnTo>
                      <a:pt x="552" y="1"/>
                    </a:lnTo>
                    <a:lnTo>
                      <a:pt x="541" y="0"/>
                    </a:lnTo>
                    <a:lnTo>
                      <a:pt x="438" y="0"/>
                    </a:lnTo>
                    <a:lnTo>
                      <a:pt x="366" y="139"/>
                    </a:lnTo>
                    <a:lnTo>
                      <a:pt x="366" y="139"/>
                    </a:lnTo>
                    <a:lnTo>
                      <a:pt x="359" y="105"/>
                    </a:lnTo>
                    <a:lnTo>
                      <a:pt x="359" y="105"/>
                    </a:lnTo>
                    <a:lnTo>
                      <a:pt x="347" y="54"/>
                    </a:lnTo>
                    <a:lnTo>
                      <a:pt x="347" y="54"/>
                    </a:lnTo>
                    <a:lnTo>
                      <a:pt x="307" y="54"/>
                    </a:lnTo>
                    <a:lnTo>
                      <a:pt x="307" y="54"/>
                    </a:lnTo>
                    <a:lnTo>
                      <a:pt x="306" y="55"/>
                    </a:lnTo>
                    <a:lnTo>
                      <a:pt x="305" y="57"/>
                    </a:lnTo>
                    <a:lnTo>
                      <a:pt x="305" y="57"/>
                    </a:lnTo>
                    <a:lnTo>
                      <a:pt x="289" y="131"/>
                    </a:lnTo>
                    <a:lnTo>
                      <a:pt x="289" y="131"/>
                    </a:lnTo>
                    <a:lnTo>
                      <a:pt x="287" y="139"/>
                    </a:lnTo>
                    <a:lnTo>
                      <a:pt x="215" y="0"/>
                    </a:lnTo>
                    <a:lnTo>
                      <a:pt x="112" y="0"/>
                    </a:lnTo>
                    <a:lnTo>
                      <a:pt x="112" y="0"/>
                    </a:lnTo>
                    <a:lnTo>
                      <a:pt x="100" y="1"/>
                    </a:lnTo>
                    <a:lnTo>
                      <a:pt x="90" y="2"/>
                    </a:lnTo>
                    <a:lnTo>
                      <a:pt x="79" y="6"/>
                    </a:lnTo>
                    <a:lnTo>
                      <a:pt x="69" y="9"/>
                    </a:lnTo>
                    <a:lnTo>
                      <a:pt x="59" y="14"/>
                    </a:lnTo>
                    <a:lnTo>
                      <a:pt x="50" y="20"/>
                    </a:lnTo>
                    <a:lnTo>
                      <a:pt x="40" y="27"/>
                    </a:lnTo>
                    <a:lnTo>
                      <a:pt x="33" y="35"/>
                    </a:lnTo>
                    <a:lnTo>
                      <a:pt x="25" y="44"/>
                    </a:lnTo>
                    <a:lnTo>
                      <a:pt x="19" y="53"/>
                    </a:lnTo>
                    <a:lnTo>
                      <a:pt x="13" y="63"/>
                    </a:lnTo>
                    <a:lnTo>
                      <a:pt x="8" y="73"/>
                    </a:lnTo>
                    <a:lnTo>
                      <a:pt x="5" y="84"/>
                    </a:lnTo>
                    <a:lnTo>
                      <a:pt x="3" y="94"/>
                    </a:lnTo>
                    <a:lnTo>
                      <a:pt x="0" y="106"/>
                    </a:lnTo>
                    <a:lnTo>
                      <a:pt x="0" y="119"/>
                    </a:lnTo>
                    <a:lnTo>
                      <a:pt x="0" y="367"/>
                    </a:lnTo>
                    <a:lnTo>
                      <a:pt x="654" y="367"/>
                    </a:lnTo>
                    <a:lnTo>
                      <a:pt x="654" y="11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sp>
            <p:nvSpPr>
              <p:cNvPr id="171" name="Freeform 133">
                <a:extLst>
                  <a:ext uri="{FF2B5EF4-FFF2-40B4-BE49-F238E27FC236}">
                    <a16:creationId xmlns:a16="http://schemas.microsoft.com/office/drawing/2014/main" id="{EA8973D9-6D07-81CD-ED7E-7BCA8C8B9E19}"/>
                  </a:ext>
                </a:extLst>
              </p:cNvPr>
              <p:cNvSpPr>
                <a:spLocks/>
              </p:cNvSpPr>
              <p:nvPr/>
            </p:nvSpPr>
            <p:spPr bwMode="auto">
              <a:xfrm>
                <a:off x="-5272088" y="5997575"/>
                <a:ext cx="217488" cy="238125"/>
              </a:xfrm>
              <a:custGeom>
                <a:avLst/>
                <a:gdLst/>
                <a:ahLst/>
                <a:cxnLst>
                  <a:cxn ang="0">
                    <a:pos x="206" y="450"/>
                  </a:cxn>
                  <a:cxn ang="0">
                    <a:pos x="247" y="445"/>
                  </a:cxn>
                  <a:cxn ang="0">
                    <a:pos x="286" y="432"/>
                  </a:cxn>
                  <a:cxn ang="0">
                    <a:pos x="321" y="412"/>
                  </a:cxn>
                  <a:cxn ang="0">
                    <a:pos x="352" y="385"/>
                  </a:cxn>
                  <a:cxn ang="0">
                    <a:pos x="377" y="351"/>
                  </a:cxn>
                  <a:cxn ang="0">
                    <a:pos x="396" y="313"/>
                  </a:cxn>
                  <a:cxn ang="0">
                    <a:pos x="407" y="270"/>
                  </a:cxn>
                  <a:cxn ang="0">
                    <a:pos x="412" y="226"/>
                  </a:cxn>
                  <a:cxn ang="0">
                    <a:pos x="411" y="202"/>
                  </a:cxn>
                  <a:cxn ang="0">
                    <a:pos x="403" y="158"/>
                  </a:cxn>
                  <a:cxn ang="0">
                    <a:pos x="387" y="118"/>
                  </a:cxn>
                  <a:cxn ang="0">
                    <a:pos x="365" y="83"/>
                  </a:cxn>
                  <a:cxn ang="0">
                    <a:pos x="337" y="52"/>
                  </a:cxn>
                  <a:cxn ang="0">
                    <a:pos x="304" y="27"/>
                  </a:cxn>
                  <a:cxn ang="0">
                    <a:pos x="267" y="11"/>
                  </a:cxn>
                  <a:cxn ang="0">
                    <a:pos x="227" y="1"/>
                  </a:cxn>
                  <a:cxn ang="0">
                    <a:pos x="206" y="0"/>
                  </a:cxn>
                  <a:cxn ang="0">
                    <a:pos x="164" y="5"/>
                  </a:cxn>
                  <a:cxn ang="0">
                    <a:pos x="125" y="18"/>
                  </a:cxn>
                  <a:cxn ang="0">
                    <a:pos x="91" y="39"/>
                  </a:cxn>
                  <a:cxn ang="0">
                    <a:pos x="61" y="66"/>
                  </a:cxn>
                  <a:cxn ang="0">
                    <a:pos x="36" y="99"/>
                  </a:cxn>
                  <a:cxn ang="0">
                    <a:pos x="16" y="138"/>
                  </a:cxn>
                  <a:cxn ang="0">
                    <a:pos x="4" y="180"/>
                  </a:cxn>
                  <a:cxn ang="0">
                    <a:pos x="0" y="226"/>
                  </a:cxn>
                  <a:cxn ang="0">
                    <a:pos x="2" y="248"/>
                  </a:cxn>
                  <a:cxn ang="0">
                    <a:pos x="10" y="292"/>
                  </a:cxn>
                  <a:cxn ang="0">
                    <a:pos x="25" y="333"/>
                  </a:cxn>
                  <a:cxn ang="0">
                    <a:pos x="48" y="368"/>
                  </a:cxn>
                  <a:cxn ang="0">
                    <a:pos x="75" y="399"/>
                  </a:cxn>
                  <a:cxn ang="0">
                    <a:pos x="108" y="423"/>
                  </a:cxn>
                  <a:cxn ang="0">
                    <a:pos x="144" y="440"/>
                  </a:cxn>
                  <a:cxn ang="0">
                    <a:pos x="184" y="449"/>
                  </a:cxn>
                  <a:cxn ang="0">
                    <a:pos x="206" y="450"/>
                  </a:cxn>
                </a:cxnLst>
                <a:rect l="0" t="0" r="r" b="b"/>
                <a:pathLst>
                  <a:path w="412" h="450">
                    <a:moveTo>
                      <a:pt x="206" y="450"/>
                    </a:moveTo>
                    <a:lnTo>
                      <a:pt x="206" y="450"/>
                    </a:lnTo>
                    <a:lnTo>
                      <a:pt x="227" y="449"/>
                    </a:lnTo>
                    <a:lnTo>
                      <a:pt x="247" y="445"/>
                    </a:lnTo>
                    <a:lnTo>
                      <a:pt x="267" y="440"/>
                    </a:lnTo>
                    <a:lnTo>
                      <a:pt x="286" y="432"/>
                    </a:lnTo>
                    <a:lnTo>
                      <a:pt x="304" y="423"/>
                    </a:lnTo>
                    <a:lnTo>
                      <a:pt x="321" y="412"/>
                    </a:lnTo>
                    <a:lnTo>
                      <a:pt x="337" y="399"/>
                    </a:lnTo>
                    <a:lnTo>
                      <a:pt x="352" y="385"/>
                    </a:lnTo>
                    <a:lnTo>
                      <a:pt x="365" y="368"/>
                    </a:lnTo>
                    <a:lnTo>
                      <a:pt x="377" y="351"/>
                    </a:lnTo>
                    <a:lnTo>
                      <a:pt x="387" y="333"/>
                    </a:lnTo>
                    <a:lnTo>
                      <a:pt x="396" y="313"/>
                    </a:lnTo>
                    <a:lnTo>
                      <a:pt x="403" y="292"/>
                    </a:lnTo>
                    <a:lnTo>
                      <a:pt x="407" y="270"/>
                    </a:lnTo>
                    <a:lnTo>
                      <a:pt x="411" y="248"/>
                    </a:lnTo>
                    <a:lnTo>
                      <a:pt x="412" y="226"/>
                    </a:lnTo>
                    <a:lnTo>
                      <a:pt x="412" y="226"/>
                    </a:lnTo>
                    <a:lnTo>
                      <a:pt x="411" y="202"/>
                    </a:lnTo>
                    <a:lnTo>
                      <a:pt x="407" y="180"/>
                    </a:lnTo>
                    <a:lnTo>
                      <a:pt x="403" y="158"/>
                    </a:lnTo>
                    <a:lnTo>
                      <a:pt x="396" y="138"/>
                    </a:lnTo>
                    <a:lnTo>
                      <a:pt x="387" y="118"/>
                    </a:lnTo>
                    <a:lnTo>
                      <a:pt x="377" y="99"/>
                    </a:lnTo>
                    <a:lnTo>
                      <a:pt x="365" y="83"/>
                    </a:lnTo>
                    <a:lnTo>
                      <a:pt x="352" y="66"/>
                    </a:lnTo>
                    <a:lnTo>
                      <a:pt x="337" y="52"/>
                    </a:lnTo>
                    <a:lnTo>
                      <a:pt x="321" y="39"/>
                    </a:lnTo>
                    <a:lnTo>
                      <a:pt x="304" y="27"/>
                    </a:lnTo>
                    <a:lnTo>
                      <a:pt x="286" y="18"/>
                    </a:lnTo>
                    <a:lnTo>
                      <a:pt x="267" y="11"/>
                    </a:lnTo>
                    <a:lnTo>
                      <a:pt x="247" y="5"/>
                    </a:lnTo>
                    <a:lnTo>
                      <a:pt x="227" y="1"/>
                    </a:lnTo>
                    <a:lnTo>
                      <a:pt x="206" y="0"/>
                    </a:lnTo>
                    <a:lnTo>
                      <a:pt x="206" y="0"/>
                    </a:lnTo>
                    <a:lnTo>
                      <a:pt x="184" y="1"/>
                    </a:lnTo>
                    <a:lnTo>
                      <a:pt x="164" y="5"/>
                    </a:lnTo>
                    <a:lnTo>
                      <a:pt x="144" y="11"/>
                    </a:lnTo>
                    <a:lnTo>
                      <a:pt x="125" y="18"/>
                    </a:lnTo>
                    <a:lnTo>
                      <a:pt x="108" y="27"/>
                    </a:lnTo>
                    <a:lnTo>
                      <a:pt x="91" y="39"/>
                    </a:lnTo>
                    <a:lnTo>
                      <a:pt x="75" y="52"/>
                    </a:lnTo>
                    <a:lnTo>
                      <a:pt x="61" y="66"/>
                    </a:lnTo>
                    <a:lnTo>
                      <a:pt x="48" y="83"/>
                    </a:lnTo>
                    <a:lnTo>
                      <a:pt x="36" y="99"/>
                    </a:lnTo>
                    <a:lnTo>
                      <a:pt x="25" y="118"/>
                    </a:lnTo>
                    <a:lnTo>
                      <a:pt x="16" y="138"/>
                    </a:lnTo>
                    <a:lnTo>
                      <a:pt x="10" y="158"/>
                    </a:lnTo>
                    <a:lnTo>
                      <a:pt x="4" y="180"/>
                    </a:lnTo>
                    <a:lnTo>
                      <a:pt x="2" y="202"/>
                    </a:lnTo>
                    <a:lnTo>
                      <a:pt x="0" y="226"/>
                    </a:lnTo>
                    <a:lnTo>
                      <a:pt x="0" y="226"/>
                    </a:lnTo>
                    <a:lnTo>
                      <a:pt x="2" y="248"/>
                    </a:lnTo>
                    <a:lnTo>
                      <a:pt x="4" y="270"/>
                    </a:lnTo>
                    <a:lnTo>
                      <a:pt x="10" y="292"/>
                    </a:lnTo>
                    <a:lnTo>
                      <a:pt x="16" y="313"/>
                    </a:lnTo>
                    <a:lnTo>
                      <a:pt x="25" y="333"/>
                    </a:lnTo>
                    <a:lnTo>
                      <a:pt x="36" y="351"/>
                    </a:lnTo>
                    <a:lnTo>
                      <a:pt x="48" y="368"/>
                    </a:lnTo>
                    <a:lnTo>
                      <a:pt x="61" y="385"/>
                    </a:lnTo>
                    <a:lnTo>
                      <a:pt x="75" y="399"/>
                    </a:lnTo>
                    <a:lnTo>
                      <a:pt x="91" y="412"/>
                    </a:lnTo>
                    <a:lnTo>
                      <a:pt x="108" y="423"/>
                    </a:lnTo>
                    <a:lnTo>
                      <a:pt x="125" y="432"/>
                    </a:lnTo>
                    <a:lnTo>
                      <a:pt x="144" y="440"/>
                    </a:lnTo>
                    <a:lnTo>
                      <a:pt x="164" y="445"/>
                    </a:lnTo>
                    <a:lnTo>
                      <a:pt x="184" y="449"/>
                    </a:lnTo>
                    <a:lnTo>
                      <a:pt x="206" y="450"/>
                    </a:lnTo>
                    <a:lnTo>
                      <a:pt x="206" y="45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sp>
            <p:nvSpPr>
              <p:cNvPr id="172" name="Freeform 134">
                <a:extLst>
                  <a:ext uri="{FF2B5EF4-FFF2-40B4-BE49-F238E27FC236}">
                    <a16:creationId xmlns:a16="http://schemas.microsoft.com/office/drawing/2014/main" id="{3349DD1C-33E0-2421-352C-1AD8358BD99B}"/>
                  </a:ext>
                </a:extLst>
              </p:cNvPr>
              <p:cNvSpPr>
                <a:spLocks/>
              </p:cNvSpPr>
              <p:nvPr/>
            </p:nvSpPr>
            <p:spPr bwMode="auto">
              <a:xfrm>
                <a:off x="-5280026" y="6259513"/>
                <a:ext cx="338138" cy="598488"/>
              </a:xfrm>
              <a:custGeom>
                <a:avLst/>
                <a:gdLst/>
                <a:ahLst/>
                <a:cxnLst>
                  <a:cxn ang="0">
                    <a:pos x="514" y="494"/>
                  </a:cxn>
                  <a:cxn ang="0">
                    <a:pos x="497" y="495"/>
                  </a:cxn>
                  <a:cxn ang="0">
                    <a:pos x="389" y="494"/>
                  </a:cxn>
                  <a:cxn ang="0">
                    <a:pos x="389" y="206"/>
                  </a:cxn>
                  <a:cxn ang="0">
                    <a:pos x="386" y="164"/>
                  </a:cxn>
                  <a:cxn ang="0">
                    <a:pos x="374" y="126"/>
                  </a:cxn>
                  <a:cxn ang="0">
                    <a:pos x="356" y="91"/>
                  </a:cxn>
                  <a:cxn ang="0">
                    <a:pos x="333" y="60"/>
                  </a:cxn>
                  <a:cxn ang="0">
                    <a:pos x="303" y="35"/>
                  </a:cxn>
                  <a:cxn ang="0">
                    <a:pos x="270" y="15"/>
                  </a:cxn>
                  <a:cxn ang="0">
                    <a:pos x="234" y="3"/>
                  </a:cxn>
                  <a:cxn ang="0">
                    <a:pos x="195" y="0"/>
                  </a:cxn>
                  <a:cxn ang="0">
                    <a:pos x="175" y="1"/>
                  </a:cxn>
                  <a:cxn ang="0">
                    <a:pos x="137" y="9"/>
                  </a:cxn>
                  <a:cxn ang="0">
                    <a:pos x="101" y="24"/>
                  </a:cxn>
                  <a:cxn ang="0">
                    <a:pos x="71" y="47"/>
                  </a:cxn>
                  <a:cxn ang="0">
                    <a:pos x="45" y="74"/>
                  </a:cxn>
                  <a:cxn ang="0">
                    <a:pos x="24" y="107"/>
                  </a:cxn>
                  <a:cxn ang="0">
                    <a:pos x="9" y="145"/>
                  </a:cxn>
                  <a:cxn ang="0">
                    <a:pos x="1" y="185"/>
                  </a:cxn>
                  <a:cxn ang="0">
                    <a:pos x="0" y="525"/>
                  </a:cxn>
                  <a:cxn ang="0">
                    <a:pos x="1" y="547"/>
                  </a:cxn>
                  <a:cxn ang="0">
                    <a:pos x="9" y="588"/>
                  </a:cxn>
                  <a:cxn ang="0">
                    <a:pos x="26" y="626"/>
                  </a:cxn>
                  <a:cxn ang="0">
                    <a:pos x="48" y="660"/>
                  </a:cxn>
                  <a:cxn ang="0">
                    <a:pos x="61" y="675"/>
                  </a:cxn>
                  <a:cxn ang="0">
                    <a:pos x="79" y="698"/>
                  </a:cxn>
                  <a:cxn ang="0">
                    <a:pos x="101" y="716"/>
                  </a:cxn>
                  <a:cxn ang="0">
                    <a:pos x="127" y="728"/>
                  </a:cxn>
                  <a:cxn ang="0">
                    <a:pos x="156" y="731"/>
                  </a:cxn>
                  <a:cxn ang="0">
                    <a:pos x="389" y="997"/>
                  </a:cxn>
                  <a:cxn ang="0">
                    <a:pos x="391" y="1011"/>
                  </a:cxn>
                  <a:cxn ang="0">
                    <a:pos x="395" y="1037"/>
                  </a:cxn>
                  <a:cxn ang="0">
                    <a:pos x="405" y="1060"/>
                  </a:cxn>
                  <a:cxn ang="0">
                    <a:pos x="418" y="1082"/>
                  </a:cxn>
                  <a:cxn ang="0">
                    <a:pos x="435" y="1099"/>
                  </a:cxn>
                  <a:cxn ang="0">
                    <a:pos x="454" y="1113"/>
                  </a:cxn>
                  <a:cxn ang="0">
                    <a:pos x="477" y="1124"/>
                  </a:cxn>
                  <a:cxn ang="0">
                    <a:pos x="501" y="1129"/>
                  </a:cxn>
                  <a:cxn ang="0">
                    <a:pos x="514" y="1130"/>
                  </a:cxn>
                  <a:cxn ang="0">
                    <a:pos x="539" y="1126"/>
                  </a:cxn>
                  <a:cxn ang="0">
                    <a:pos x="563" y="1119"/>
                  </a:cxn>
                  <a:cxn ang="0">
                    <a:pos x="584" y="1108"/>
                  </a:cxn>
                  <a:cxn ang="0">
                    <a:pos x="603" y="1091"/>
                  </a:cxn>
                  <a:cxn ang="0">
                    <a:pos x="618" y="1071"/>
                  </a:cxn>
                  <a:cxn ang="0">
                    <a:pos x="629" y="1049"/>
                  </a:cxn>
                  <a:cxn ang="0">
                    <a:pos x="637" y="1024"/>
                  </a:cxn>
                  <a:cxn ang="0">
                    <a:pos x="639" y="997"/>
                  </a:cxn>
                  <a:cxn ang="0">
                    <a:pos x="639" y="626"/>
                  </a:cxn>
                  <a:cxn ang="0">
                    <a:pos x="637" y="600"/>
                  </a:cxn>
                  <a:cxn ang="0">
                    <a:pos x="629" y="574"/>
                  </a:cxn>
                  <a:cxn ang="0">
                    <a:pos x="618" y="552"/>
                  </a:cxn>
                  <a:cxn ang="0">
                    <a:pos x="603" y="533"/>
                  </a:cxn>
                  <a:cxn ang="0">
                    <a:pos x="584" y="516"/>
                  </a:cxn>
                  <a:cxn ang="0">
                    <a:pos x="563" y="505"/>
                  </a:cxn>
                  <a:cxn ang="0">
                    <a:pos x="539" y="496"/>
                  </a:cxn>
                  <a:cxn ang="0">
                    <a:pos x="514" y="494"/>
                  </a:cxn>
                </a:cxnLst>
                <a:rect l="0" t="0" r="r" b="b"/>
                <a:pathLst>
                  <a:path w="639" h="1130">
                    <a:moveTo>
                      <a:pt x="514" y="494"/>
                    </a:moveTo>
                    <a:lnTo>
                      <a:pt x="514" y="494"/>
                    </a:lnTo>
                    <a:lnTo>
                      <a:pt x="497" y="495"/>
                    </a:lnTo>
                    <a:lnTo>
                      <a:pt x="497" y="495"/>
                    </a:lnTo>
                    <a:lnTo>
                      <a:pt x="485" y="494"/>
                    </a:lnTo>
                    <a:lnTo>
                      <a:pt x="389" y="494"/>
                    </a:lnTo>
                    <a:lnTo>
                      <a:pt x="389" y="206"/>
                    </a:lnTo>
                    <a:lnTo>
                      <a:pt x="389" y="206"/>
                    </a:lnTo>
                    <a:lnTo>
                      <a:pt x="388" y="185"/>
                    </a:lnTo>
                    <a:lnTo>
                      <a:pt x="386" y="164"/>
                    </a:lnTo>
                    <a:lnTo>
                      <a:pt x="381" y="145"/>
                    </a:lnTo>
                    <a:lnTo>
                      <a:pt x="374" y="126"/>
                    </a:lnTo>
                    <a:lnTo>
                      <a:pt x="366" y="107"/>
                    </a:lnTo>
                    <a:lnTo>
                      <a:pt x="356" y="91"/>
                    </a:lnTo>
                    <a:lnTo>
                      <a:pt x="345" y="74"/>
                    </a:lnTo>
                    <a:lnTo>
                      <a:pt x="333" y="60"/>
                    </a:lnTo>
                    <a:lnTo>
                      <a:pt x="319" y="47"/>
                    </a:lnTo>
                    <a:lnTo>
                      <a:pt x="303" y="35"/>
                    </a:lnTo>
                    <a:lnTo>
                      <a:pt x="288" y="24"/>
                    </a:lnTo>
                    <a:lnTo>
                      <a:pt x="270" y="15"/>
                    </a:lnTo>
                    <a:lnTo>
                      <a:pt x="253" y="9"/>
                    </a:lnTo>
                    <a:lnTo>
                      <a:pt x="234" y="3"/>
                    </a:lnTo>
                    <a:lnTo>
                      <a:pt x="215" y="1"/>
                    </a:lnTo>
                    <a:lnTo>
                      <a:pt x="195" y="0"/>
                    </a:lnTo>
                    <a:lnTo>
                      <a:pt x="195" y="0"/>
                    </a:lnTo>
                    <a:lnTo>
                      <a:pt x="175" y="1"/>
                    </a:lnTo>
                    <a:lnTo>
                      <a:pt x="156" y="3"/>
                    </a:lnTo>
                    <a:lnTo>
                      <a:pt x="137" y="9"/>
                    </a:lnTo>
                    <a:lnTo>
                      <a:pt x="119" y="15"/>
                    </a:lnTo>
                    <a:lnTo>
                      <a:pt x="101" y="24"/>
                    </a:lnTo>
                    <a:lnTo>
                      <a:pt x="86" y="35"/>
                    </a:lnTo>
                    <a:lnTo>
                      <a:pt x="71" y="47"/>
                    </a:lnTo>
                    <a:lnTo>
                      <a:pt x="57" y="60"/>
                    </a:lnTo>
                    <a:lnTo>
                      <a:pt x="45" y="74"/>
                    </a:lnTo>
                    <a:lnTo>
                      <a:pt x="33" y="91"/>
                    </a:lnTo>
                    <a:lnTo>
                      <a:pt x="24" y="107"/>
                    </a:lnTo>
                    <a:lnTo>
                      <a:pt x="15" y="126"/>
                    </a:lnTo>
                    <a:lnTo>
                      <a:pt x="9" y="145"/>
                    </a:lnTo>
                    <a:lnTo>
                      <a:pt x="4" y="164"/>
                    </a:lnTo>
                    <a:lnTo>
                      <a:pt x="1" y="185"/>
                    </a:lnTo>
                    <a:lnTo>
                      <a:pt x="0" y="206"/>
                    </a:lnTo>
                    <a:lnTo>
                      <a:pt x="0" y="525"/>
                    </a:lnTo>
                    <a:lnTo>
                      <a:pt x="0" y="525"/>
                    </a:lnTo>
                    <a:lnTo>
                      <a:pt x="1" y="547"/>
                    </a:lnTo>
                    <a:lnTo>
                      <a:pt x="5" y="568"/>
                    </a:lnTo>
                    <a:lnTo>
                      <a:pt x="9" y="588"/>
                    </a:lnTo>
                    <a:lnTo>
                      <a:pt x="17" y="609"/>
                    </a:lnTo>
                    <a:lnTo>
                      <a:pt x="26" y="626"/>
                    </a:lnTo>
                    <a:lnTo>
                      <a:pt x="37" y="644"/>
                    </a:lnTo>
                    <a:lnTo>
                      <a:pt x="48" y="660"/>
                    </a:lnTo>
                    <a:lnTo>
                      <a:pt x="61" y="675"/>
                    </a:lnTo>
                    <a:lnTo>
                      <a:pt x="61" y="675"/>
                    </a:lnTo>
                    <a:lnTo>
                      <a:pt x="70" y="688"/>
                    </a:lnTo>
                    <a:lnTo>
                      <a:pt x="79" y="698"/>
                    </a:lnTo>
                    <a:lnTo>
                      <a:pt x="90" y="708"/>
                    </a:lnTo>
                    <a:lnTo>
                      <a:pt x="101" y="716"/>
                    </a:lnTo>
                    <a:lnTo>
                      <a:pt x="114" y="722"/>
                    </a:lnTo>
                    <a:lnTo>
                      <a:pt x="127" y="728"/>
                    </a:lnTo>
                    <a:lnTo>
                      <a:pt x="142" y="730"/>
                    </a:lnTo>
                    <a:lnTo>
                      <a:pt x="156" y="731"/>
                    </a:lnTo>
                    <a:lnTo>
                      <a:pt x="389" y="731"/>
                    </a:lnTo>
                    <a:lnTo>
                      <a:pt x="389" y="997"/>
                    </a:lnTo>
                    <a:lnTo>
                      <a:pt x="389" y="997"/>
                    </a:lnTo>
                    <a:lnTo>
                      <a:pt x="391" y="1011"/>
                    </a:lnTo>
                    <a:lnTo>
                      <a:pt x="392" y="1024"/>
                    </a:lnTo>
                    <a:lnTo>
                      <a:pt x="395" y="1037"/>
                    </a:lnTo>
                    <a:lnTo>
                      <a:pt x="399" y="1049"/>
                    </a:lnTo>
                    <a:lnTo>
                      <a:pt x="405" y="1060"/>
                    </a:lnTo>
                    <a:lnTo>
                      <a:pt x="411" y="1071"/>
                    </a:lnTo>
                    <a:lnTo>
                      <a:pt x="418" y="1082"/>
                    </a:lnTo>
                    <a:lnTo>
                      <a:pt x="426" y="1091"/>
                    </a:lnTo>
                    <a:lnTo>
                      <a:pt x="435" y="1099"/>
                    </a:lnTo>
                    <a:lnTo>
                      <a:pt x="445" y="1108"/>
                    </a:lnTo>
                    <a:lnTo>
                      <a:pt x="454" y="1113"/>
                    </a:lnTo>
                    <a:lnTo>
                      <a:pt x="466" y="1119"/>
                    </a:lnTo>
                    <a:lnTo>
                      <a:pt x="477" y="1124"/>
                    </a:lnTo>
                    <a:lnTo>
                      <a:pt x="490" y="1126"/>
                    </a:lnTo>
                    <a:lnTo>
                      <a:pt x="501" y="1129"/>
                    </a:lnTo>
                    <a:lnTo>
                      <a:pt x="514" y="1130"/>
                    </a:lnTo>
                    <a:lnTo>
                      <a:pt x="514" y="1130"/>
                    </a:lnTo>
                    <a:lnTo>
                      <a:pt x="527" y="1129"/>
                    </a:lnTo>
                    <a:lnTo>
                      <a:pt x="539" y="1126"/>
                    </a:lnTo>
                    <a:lnTo>
                      <a:pt x="551" y="1124"/>
                    </a:lnTo>
                    <a:lnTo>
                      <a:pt x="563" y="1119"/>
                    </a:lnTo>
                    <a:lnTo>
                      <a:pt x="573" y="1113"/>
                    </a:lnTo>
                    <a:lnTo>
                      <a:pt x="584" y="1108"/>
                    </a:lnTo>
                    <a:lnTo>
                      <a:pt x="593" y="1099"/>
                    </a:lnTo>
                    <a:lnTo>
                      <a:pt x="603" y="1091"/>
                    </a:lnTo>
                    <a:lnTo>
                      <a:pt x="611" y="1082"/>
                    </a:lnTo>
                    <a:lnTo>
                      <a:pt x="618" y="1071"/>
                    </a:lnTo>
                    <a:lnTo>
                      <a:pt x="624" y="1060"/>
                    </a:lnTo>
                    <a:lnTo>
                      <a:pt x="629" y="1049"/>
                    </a:lnTo>
                    <a:lnTo>
                      <a:pt x="634" y="1037"/>
                    </a:lnTo>
                    <a:lnTo>
                      <a:pt x="637" y="1024"/>
                    </a:lnTo>
                    <a:lnTo>
                      <a:pt x="638" y="1011"/>
                    </a:lnTo>
                    <a:lnTo>
                      <a:pt x="639" y="997"/>
                    </a:lnTo>
                    <a:lnTo>
                      <a:pt x="639" y="626"/>
                    </a:lnTo>
                    <a:lnTo>
                      <a:pt x="639" y="626"/>
                    </a:lnTo>
                    <a:lnTo>
                      <a:pt x="638" y="613"/>
                    </a:lnTo>
                    <a:lnTo>
                      <a:pt x="637" y="600"/>
                    </a:lnTo>
                    <a:lnTo>
                      <a:pt x="634" y="587"/>
                    </a:lnTo>
                    <a:lnTo>
                      <a:pt x="629" y="574"/>
                    </a:lnTo>
                    <a:lnTo>
                      <a:pt x="624" y="564"/>
                    </a:lnTo>
                    <a:lnTo>
                      <a:pt x="618" y="552"/>
                    </a:lnTo>
                    <a:lnTo>
                      <a:pt x="611" y="542"/>
                    </a:lnTo>
                    <a:lnTo>
                      <a:pt x="603" y="533"/>
                    </a:lnTo>
                    <a:lnTo>
                      <a:pt x="593" y="524"/>
                    </a:lnTo>
                    <a:lnTo>
                      <a:pt x="584" y="516"/>
                    </a:lnTo>
                    <a:lnTo>
                      <a:pt x="573" y="509"/>
                    </a:lnTo>
                    <a:lnTo>
                      <a:pt x="563" y="505"/>
                    </a:lnTo>
                    <a:lnTo>
                      <a:pt x="551" y="500"/>
                    </a:lnTo>
                    <a:lnTo>
                      <a:pt x="539" y="496"/>
                    </a:lnTo>
                    <a:lnTo>
                      <a:pt x="527" y="494"/>
                    </a:lnTo>
                    <a:lnTo>
                      <a:pt x="514" y="494"/>
                    </a:lnTo>
                    <a:lnTo>
                      <a:pt x="514" y="49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sp>
            <p:nvSpPr>
              <p:cNvPr id="173" name="Freeform 135">
                <a:extLst>
                  <a:ext uri="{FF2B5EF4-FFF2-40B4-BE49-F238E27FC236}">
                    <a16:creationId xmlns:a16="http://schemas.microsoft.com/office/drawing/2014/main" id="{7CDAF173-2204-0E5C-E3DB-36983A156214}"/>
                  </a:ext>
                </a:extLst>
              </p:cNvPr>
              <p:cNvSpPr>
                <a:spLocks/>
              </p:cNvSpPr>
              <p:nvPr/>
            </p:nvSpPr>
            <p:spPr bwMode="auto">
              <a:xfrm>
                <a:off x="-4325938" y="5997575"/>
                <a:ext cx="217488" cy="238125"/>
              </a:xfrm>
              <a:custGeom>
                <a:avLst/>
                <a:gdLst/>
                <a:ahLst/>
                <a:cxnLst>
                  <a:cxn ang="0">
                    <a:pos x="206" y="450"/>
                  </a:cxn>
                  <a:cxn ang="0">
                    <a:pos x="247" y="445"/>
                  </a:cxn>
                  <a:cxn ang="0">
                    <a:pos x="286" y="432"/>
                  </a:cxn>
                  <a:cxn ang="0">
                    <a:pos x="321" y="412"/>
                  </a:cxn>
                  <a:cxn ang="0">
                    <a:pos x="351" y="385"/>
                  </a:cxn>
                  <a:cxn ang="0">
                    <a:pos x="377" y="351"/>
                  </a:cxn>
                  <a:cxn ang="0">
                    <a:pos x="396" y="313"/>
                  </a:cxn>
                  <a:cxn ang="0">
                    <a:pos x="408" y="270"/>
                  </a:cxn>
                  <a:cxn ang="0">
                    <a:pos x="411" y="226"/>
                  </a:cxn>
                  <a:cxn ang="0">
                    <a:pos x="411" y="202"/>
                  </a:cxn>
                  <a:cxn ang="0">
                    <a:pos x="403" y="158"/>
                  </a:cxn>
                  <a:cxn ang="0">
                    <a:pos x="387" y="118"/>
                  </a:cxn>
                  <a:cxn ang="0">
                    <a:pos x="365" y="83"/>
                  </a:cxn>
                  <a:cxn ang="0">
                    <a:pos x="337" y="52"/>
                  </a:cxn>
                  <a:cxn ang="0">
                    <a:pos x="304" y="27"/>
                  </a:cxn>
                  <a:cxn ang="0">
                    <a:pos x="267" y="11"/>
                  </a:cxn>
                  <a:cxn ang="0">
                    <a:pos x="227" y="1"/>
                  </a:cxn>
                  <a:cxn ang="0">
                    <a:pos x="206" y="0"/>
                  </a:cxn>
                  <a:cxn ang="0">
                    <a:pos x="165" y="5"/>
                  </a:cxn>
                  <a:cxn ang="0">
                    <a:pos x="126" y="18"/>
                  </a:cxn>
                  <a:cxn ang="0">
                    <a:pos x="90" y="39"/>
                  </a:cxn>
                  <a:cxn ang="0">
                    <a:pos x="61" y="66"/>
                  </a:cxn>
                  <a:cxn ang="0">
                    <a:pos x="35" y="99"/>
                  </a:cxn>
                  <a:cxn ang="0">
                    <a:pos x="16" y="138"/>
                  </a:cxn>
                  <a:cxn ang="0">
                    <a:pos x="4" y="180"/>
                  </a:cxn>
                  <a:cxn ang="0">
                    <a:pos x="0" y="226"/>
                  </a:cxn>
                  <a:cxn ang="0">
                    <a:pos x="1" y="248"/>
                  </a:cxn>
                  <a:cxn ang="0">
                    <a:pos x="9" y="292"/>
                  </a:cxn>
                  <a:cxn ang="0">
                    <a:pos x="26" y="333"/>
                  </a:cxn>
                  <a:cxn ang="0">
                    <a:pos x="47" y="368"/>
                  </a:cxn>
                  <a:cxn ang="0">
                    <a:pos x="75" y="399"/>
                  </a:cxn>
                  <a:cxn ang="0">
                    <a:pos x="108" y="423"/>
                  </a:cxn>
                  <a:cxn ang="0">
                    <a:pos x="145" y="440"/>
                  </a:cxn>
                  <a:cxn ang="0">
                    <a:pos x="185" y="449"/>
                  </a:cxn>
                  <a:cxn ang="0">
                    <a:pos x="206" y="450"/>
                  </a:cxn>
                </a:cxnLst>
                <a:rect l="0" t="0" r="r" b="b"/>
                <a:pathLst>
                  <a:path w="411" h="450">
                    <a:moveTo>
                      <a:pt x="206" y="450"/>
                    </a:moveTo>
                    <a:lnTo>
                      <a:pt x="206" y="450"/>
                    </a:lnTo>
                    <a:lnTo>
                      <a:pt x="227" y="449"/>
                    </a:lnTo>
                    <a:lnTo>
                      <a:pt x="247" y="445"/>
                    </a:lnTo>
                    <a:lnTo>
                      <a:pt x="267" y="440"/>
                    </a:lnTo>
                    <a:lnTo>
                      <a:pt x="286" y="432"/>
                    </a:lnTo>
                    <a:lnTo>
                      <a:pt x="304" y="423"/>
                    </a:lnTo>
                    <a:lnTo>
                      <a:pt x="321" y="412"/>
                    </a:lnTo>
                    <a:lnTo>
                      <a:pt x="337" y="399"/>
                    </a:lnTo>
                    <a:lnTo>
                      <a:pt x="351" y="385"/>
                    </a:lnTo>
                    <a:lnTo>
                      <a:pt x="365" y="368"/>
                    </a:lnTo>
                    <a:lnTo>
                      <a:pt x="377" y="351"/>
                    </a:lnTo>
                    <a:lnTo>
                      <a:pt x="387" y="333"/>
                    </a:lnTo>
                    <a:lnTo>
                      <a:pt x="396" y="313"/>
                    </a:lnTo>
                    <a:lnTo>
                      <a:pt x="403" y="292"/>
                    </a:lnTo>
                    <a:lnTo>
                      <a:pt x="408" y="270"/>
                    </a:lnTo>
                    <a:lnTo>
                      <a:pt x="411" y="248"/>
                    </a:lnTo>
                    <a:lnTo>
                      <a:pt x="411" y="226"/>
                    </a:lnTo>
                    <a:lnTo>
                      <a:pt x="411" y="226"/>
                    </a:lnTo>
                    <a:lnTo>
                      <a:pt x="411" y="202"/>
                    </a:lnTo>
                    <a:lnTo>
                      <a:pt x="408" y="180"/>
                    </a:lnTo>
                    <a:lnTo>
                      <a:pt x="403" y="158"/>
                    </a:lnTo>
                    <a:lnTo>
                      <a:pt x="396" y="138"/>
                    </a:lnTo>
                    <a:lnTo>
                      <a:pt x="387" y="118"/>
                    </a:lnTo>
                    <a:lnTo>
                      <a:pt x="377" y="99"/>
                    </a:lnTo>
                    <a:lnTo>
                      <a:pt x="365" y="83"/>
                    </a:lnTo>
                    <a:lnTo>
                      <a:pt x="351" y="66"/>
                    </a:lnTo>
                    <a:lnTo>
                      <a:pt x="337" y="52"/>
                    </a:lnTo>
                    <a:lnTo>
                      <a:pt x="321" y="39"/>
                    </a:lnTo>
                    <a:lnTo>
                      <a:pt x="304" y="27"/>
                    </a:lnTo>
                    <a:lnTo>
                      <a:pt x="286" y="18"/>
                    </a:lnTo>
                    <a:lnTo>
                      <a:pt x="267" y="11"/>
                    </a:lnTo>
                    <a:lnTo>
                      <a:pt x="247" y="5"/>
                    </a:lnTo>
                    <a:lnTo>
                      <a:pt x="227" y="1"/>
                    </a:lnTo>
                    <a:lnTo>
                      <a:pt x="206" y="0"/>
                    </a:lnTo>
                    <a:lnTo>
                      <a:pt x="206" y="0"/>
                    </a:lnTo>
                    <a:lnTo>
                      <a:pt x="185" y="1"/>
                    </a:lnTo>
                    <a:lnTo>
                      <a:pt x="165" y="5"/>
                    </a:lnTo>
                    <a:lnTo>
                      <a:pt x="145" y="11"/>
                    </a:lnTo>
                    <a:lnTo>
                      <a:pt x="126" y="18"/>
                    </a:lnTo>
                    <a:lnTo>
                      <a:pt x="108" y="27"/>
                    </a:lnTo>
                    <a:lnTo>
                      <a:pt x="90" y="39"/>
                    </a:lnTo>
                    <a:lnTo>
                      <a:pt x="75" y="52"/>
                    </a:lnTo>
                    <a:lnTo>
                      <a:pt x="61" y="66"/>
                    </a:lnTo>
                    <a:lnTo>
                      <a:pt x="47" y="83"/>
                    </a:lnTo>
                    <a:lnTo>
                      <a:pt x="35" y="99"/>
                    </a:lnTo>
                    <a:lnTo>
                      <a:pt x="26" y="118"/>
                    </a:lnTo>
                    <a:lnTo>
                      <a:pt x="16" y="138"/>
                    </a:lnTo>
                    <a:lnTo>
                      <a:pt x="9" y="158"/>
                    </a:lnTo>
                    <a:lnTo>
                      <a:pt x="4" y="180"/>
                    </a:lnTo>
                    <a:lnTo>
                      <a:pt x="1" y="202"/>
                    </a:lnTo>
                    <a:lnTo>
                      <a:pt x="0" y="226"/>
                    </a:lnTo>
                    <a:lnTo>
                      <a:pt x="0" y="226"/>
                    </a:lnTo>
                    <a:lnTo>
                      <a:pt x="1" y="248"/>
                    </a:lnTo>
                    <a:lnTo>
                      <a:pt x="4" y="270"/>
                    </a:lnTo>
                    <a:lnTo>
                      <a:pt x="9" y="292"/>
                    </a:lnTo>
                    <a:lnTo>
                      <a:pt x="16" y="313"/>
                    </a:lnTo>
                    <a:lnTo>
                      <a:pt x="26" y="333"/>
                    </a:lnTo>
                    <a:lnTo>
                      <a:pt x="35" y="351"/>
                    </a:lnTo>
                    <a:lnTo>
                      <a:pt x="47" y="368"/>
                    </a:lnTo>
                    <a:lnTo>
                      <a:pt x="61" y="385"/>
                    </a:lnTo>
                    <a:lnTo>
                      <a:pt x="75" y="399"/>
                    </a:lnTo>
                    <a:lnTo>
                      <a:pt x="90" y="412"/>
                    </a:lnTo>
                    <a:lnTo>
                      <a:pt x="108" y="423"/>
                    </a:lnTo>
                    <a:lnTo>
                      <a:pt x="126" y="432"/>
                    </a:lnTo>
                    <a:lnTo>
                      <a:pt x="145" y="440"/>
                    </a:lnTo>
                    <a:lnTo>
                      <a:pt x="165" y="445"/>
                    </a:lnTo>
                    <a:lnTo>
                      <a:pt x="185" y="449"/>
                    </a:lnTo>
                    <a:lnTo>
                      <a:pt x="206" y="450"/>
                    </a:lnTo>
                    <a:lnTo>
                      <a:pt x="206" y="45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sp>
            <p:nvSpPr>
              <p:cNvPr id="174" name="Freeform 136">
                <a:extLst>
                  <a:ext uri="{FF2B5EF4-FFF2-40B4-BE49-F238E27FC236}">
                    <a16:creationId xmlns:a16="http://schemas.microsoft.com/office/drawing/2014/main" id="{D5F92516-AA01-4B25-2CDA-31DF57FC4CE7}"/>
                  </a:ext>
                </a:extLst>
              </p:cNvPr>
              <p:cNvSpPr>
                <a:spLocks/>
              </p:cNvSpPr>
              <p:nvPr/>
            </p:nvSpPr>
            <p:spPr bwMode="auto">
              <a:xfrm>
                <a:off x="-4438651" y="6259513"/>
                <a:ext cx="338138" cy="598488"/>
              </a:xfrm>
              <a:custGeom>
                <a:avLst/>
                <a:gdLst/>
                <a:ahLst/>
                <a:cxnLst>
                  <a:cxn ang="0">
                    <a:pos x="445" y="0"/>
                  </a:cxn>
                  <a:cxn ang="0">
                    <a:pos x="406" y="3"/>
                  </a:cxn>
                  <a:cxn ang="0">
                    <a:pos x="370" y="15"/>
                  </a:cxn>
                  <a:cxn ang="0">
                    <a:pos x="337" y="35"/>
                  </a:cxn>
                  <a:cxn ang="0">
                    <a:pos x="308" y="60"/>
                  </a:cxn>
                  <a:cxn ang="0">
                    <a:pos x="283" y="91"/>
                  </a:cxn>
                  <a:cxn ang="0">
                    <a:pos x="266" y="126"/>
                  </a:cxn>
                  <a:cxn ang="0">
                    <a:pos x="255" y="164"/>
                  </a:cxn>
                  <a:cxn ang="0">
                    <a:pos x="250" y="206"/>
                  </a:cxn>
                  <a:cxn ang="0">
                    <a:pos x="156" y="494"/>
                  </a:cxn>
                  <a:cxn ang="0">
                    <a:pos x="143" y="495"/>
                  </a:cxn>
                  <a:cxn ang="0">
                    <a:pos x="125" y="494"/>
                  </a:cxn>
                  <a:cxn ang="0">
                    <a:pos x="112" y="494"/>
                  </a:cxn>
                  <a:cxn ang="0">
                    <a:pos x="89" y="500"/>
                  </a:cxn>
                  <a:cxn ang="0">
                    <a:pos x="66" y="509"/>
                  </a:cxn>
                  <a:cxn ang="0">
                    <a:pos x="46" y="524"/>
                  </a:cxn>
                  <a:cxn ang="0">
                    <a:pos x="30" y="542"/>
                  </a:cxn>
                  <a:cxn ang="0">
                    <a:pos x="16" y="564"/>
                  </a:cxn>
                  <a:cxn ang="0">
                    <a:pos x="6" y="587"/>
                  </a:cxn>
                  <a:cxn ang="0">
                    <a:pos x="1" y="613"/>
                  </a:cxn>
                  <a:cxn ang="0">
                    <a:pos x="0" y="997"/>
                  </a:cxn>
                  <a:cxn ang="0">
                    <a:pos x="1" y="1011"/>
                  </a:cxn>
                  <a:cxn ang="0">
                    <a:pos x="6" y="1037"/>
                  </a:cxn>
                  <a:cxn ang="0">
                    <a:pos x="16" y="1060"/>
                  </a:cxn>
                  <a:cxn ang="0">
                    <a:pos x="30" y="1082"/>
                  </a:cxn>
                  <a:cxn ang="0">
                    <a:pos x="46" y="1099"/>
                  </a:cxn>
                  <a:cxn ang="0">
                    <a:pos x="66" y="1113"/>
                  </a:cxn>
                  <a:cxn ang="0">
                    <a:pos x="89" y="1124"/>
                  </a:cxn>
                  <a:cxn ang="0">
                    <a:pos x="112" y="1129"/>
                  </a:cxn>
                  <a:cxn ang="0">
                    <a:pos x="125" y="1130"/>
                  </a:cxn>
                  <a:cxn ang="0">
                    <a:pos x="151" y="1126"/>
                  </a:cxn>
                  <a:cxn ang="0">
                    <a:pos x="175" y="1119"/>
                  </a:cxn>
                  <a:cxn ang="0">
                    <a:pos x="196" y="1108"/>
                  </a:cxn>
                  <a:cxn ang="0">
                    <a:pos x="214" y="1091"/>
                  </a:cxn>
                  <a:cxn ang="0">
                    <a:pos x="229" y="1071"/>
                  </a:cxn>
                  <a:cxn ang="0">
                    <a:pos x="241" y="1049"/>
                  </a:cxn>
                  <a:cxn ang="0">
                    <a:pos x="248" y="1024"/>
                  </a:cxn>
                  <a:cxn ang="0">
                    <a:pos x="250" y="997"/>
                  </a:cxn>
                  <a:cxn ang="0">
                    <a:pos x="484" y="731"/>
                  </a:cxn>
                  <a:cxn ang="0">
                    <a:pos x="498" y="730"/>
                  </a:cxn>
                  <a:cxn ang="0">
                    <a:pos x="526" y="722"/>
                  </a:cxn>
                  <a:cxn ang="0">
                    <a:pos x="550" y="708"/>
                  </a:cxn>
                  <a:cxn ang="0">
                    <a:pos x="570" y="688"/>
                  </a:cxn>
                  <a:cxn ang="0">
                    <a:pos x="578" y="675"/>
                  </a:cxn>
                  <a:cxn ang="0">
                    <a:pos x="604" y="644"/>
                  </a:cxn>
                  <a:cxn ang="0">
                    <a:pos x="623" y="609"/>
                  </a:cxn>
                  <a:cxn ang="0">
                    <a:pos x="635" y="568"/>
                  </a:cxn>
                  <a:cxn ang="0">
                    <a:pos x="640" y="525"/>
                  </a:cxn>
                  <a:cxn ang="0">
                    <a:pos x="640" y="206"/>
                  </a:cxn>
                  <a:cxn ang="0">
                    <a:pos x="636" y="164"/>
                  </a:cxn>
                  <a:cxn ang="0">
                    <a:pos x="624" y="126"/>
                  </a:cxn>
                  <a:cxn ang="0">
                    <a:pos x="607" y="91"/>
                  </a:cxn>
                  <a:cxn ang="0">
                    <a:pos x="583" y="60"/>
                  </a:cxn>
                  <a:cxn ang="0">
                    <a:pos x="554" y="35"/>
                  </a:cxn>
                  <a:cxn ang="0">
                    <a:pos x="521" y="15"/>
                  </a:cxn>
                  <a:cxn ang="0">
                    <a:pos x="484" y="3"/>
                  </a:cxn>
                  <a:cxn ang="0">
                    <a:pos x="445" y="0"/>
                  </a:cxn>
                </a:cxnLst>
                <a:rect l="0" t="0" r="r" b="b"/>
                <a:pathLst>
                  <a:path w="640" h="1130">
                    <a:moveTo>
                      <a:pt x="445" y="0"/>
                    </a:moveTo>
                    <a:lnTo>
                      <a:pt x="445" y="0"/>
                    </a:lnTo>
                    <a:lnTo>
                      <a:pt x="425" y="1"/>
                    </a:lnTo>
                    <a:lnTo>
                      <a:pt x="406" y="3"/>
                    </a:lnTo>
                    <a:lnTo>
                      <a:pt x="387" y="9"/>
                    </a:lnTo>
                    <a:lnTo>
                      <a:pt x="370" y="15"/>
                    </a:lnTo>
                    <a:lnTo>
                      <a:pt x="353" y="24"/>
                    </a:lnTo>
                    <a:lnTo>
                      <a:pt x="337" y="35"/>
                    </a:lnTo>
                    <a:lnTo>
                      <a:pt x="321" y="47"/>
                    </a:lnTo>
                    <a:lnTo>
                      <a:pt x="308" y="60"/>
                    </a:lnTo>
                    <a:lnTo>
                      <a:pt x="295" y="74"/>
                    </a:lnTo>
                    <a:lnTo>
                      <a:pt x="283" y="91"/>
                    </a:lnTo>
                    <a:lnTo>
                      <a:pt x="274" y="107"/>
                    </a:lnTo>
                    <a:lnTo>
                      <a:pt x="266" y="126"/>
                    </a:lnTo>
                    <a:lnTo>
                      <a:pt x="260" y="145"/>
                    </a:lnTo>
                    <a:lnTo>
                      <a:pt x="255" y="164"/>
                    </a:lnTo>
                    <a:lnTo>
                      <a:pt x="252" y="185"/>
                    </a:lnTo>
                    <a:lnTo>
                      <a:pt x="250" y="206"/>
                    </a:lnTo>
                    <a:lnTo>
                      <a:pt x="250" y="494"/>
                    </a:lnTo>
                    <a:lnTo>
                      <a:pt x="156" y="494"/>
                    </a:lnTo>
                    <a:lnTo>
                      <a:pt x="156" y="494"/>
                    </a:lnTo>
                    <a:lnTo>
                      <a:pt x="143" y="495"/>
                    </a:lnTo>
                    <a:lnTo>
                      <a:pt x="143" y="495"/>
                    </a:lnTo>
                    <a:lnTo>
                      <a:pt x="125" y="494"/>
                    </a:lnTo>
                    <a:lnTo>
                      <a:pt x="125" y="494"/>
                    </a:lnTo>
                    <a:lnTo>
                      <a:pt x="112" y="494"/>
                    </a:lnTo>
                    <a:lnTo>
                      <a:pt x="101" y="496"/>
                    </a:lnTo>
                    <a:lnTo>
                      <a:pt x="89" y="500"/>
                    </a:lnTo>
                    <a:lnTo>
                      <a:pt x="77" y="505"/>
                    </a:lnTo>
                    <a:lnTo>
                      <a:pt x="66" y="509"/>
                    </a:lnTo>
                    <a:lnTo>
                      <a:pt x="56" y="516"/>
                    </a:lnTo>
                    <a:lnTo>
                      <a:pt x="46" y="524"/>
                    </a:lnTo>
                    <a:lnTo>
                      <a:pt x="37" y="533"/>
                    </a:lnTo>
                    <a:lnTo>
                      <a:pt x="30" y="542"/>
                    </a:lnTo>
                    <a:lnTo>
                      <a:pt x="23" y="552"/>
                    </a:lnTo>
                    <a:lnTo>
                      <a:pt x="16" y="564"/>
                    </a:lnTo>
                    <a:lnTo>
                      <a:pt x="11" y="574"/>
                    </a:lnTo>
                    <a:lnTo>
                      <a:pt x="6" y="587"/>
                    </a:lnTo>
                    <a:lnTo>
                      <a:pt x="4" y="600"/>
                    </a:lnTo>
                    <a:lnTo>
                      <a:pt x="1" y="613"/>
                    </a:lnTo>
                    <a:lnTo>
                      <a:pt x="0" y="626"/>
                    </a:lnTo>
                    <a:lnTo>
                      <a:pt x="0" y="997"/>
                    </a:lnTo>
                    <a:lnTo>
                      <a:pt x="0" y="997"/>
                    </a:lnTo>
                    <a:lnTo>
                      <a:pt x="1" y="1011"/>
                    </a:lnTo>
                    <a:lnTo>
                      <a:pt x="4" y="1024"/>
                    </a:lnTo>
                    <a:lnTo>
                      <a:pt x="6" y="1037"/>
                    </a:lnTo>
                    <a:lnTo>
                      <a:pt x="11" y="1049"/>
                    </a:lnTo>
                    <a:lnTo>
                      <a:pt x="16" y="1060"/>
                    </a:lnTo>
                    <a:lnTo>
                      <a:pt x="23" y="1071"/>
                    </a:lnTo>
                    <a:lnTo>
                      <a:pt x="30" y="1082"/>
                    </a:lnTo>
                    <a:lnTo>
                      <a:pt x="37" y="1091"/>
                    </a:lnTo>
                    <a:lnTo>
                      <a:pt x="46" y="1099"/>
                    </a:lnTo>
                    <a:lnTo>
                      <a:pt x="56" y="1108"/>
                    </a:lnTo>
                    <a:lnTo>
                      <a:pt x="66" y="1113"/>
                    </a:lnTo>
                    <a:lnTo>
                      <a:pt x="77" y="1119"/>
                    </a:lnTo>
                    <a:lnTo>
                      <a:pt x="89" y="1124"/>
                    </a:lnTo>
                    <a:lnTo>
                      <a:pt x="101" y="1126"/>
                    </a:lnTo>
                    <a:lnTo>
                      <a:pt x="112" y="1129"/>
                    </a:lnTo>
                    <a:lnTo>
                      <a:pt x="125" y="1130"/>
                    </a:lnTo>
                    <a:lnTo>
                      <a:pt x="125" y="1130"/>
                    </a:lnTo>
                    <a:lnTo>
                      <a:pt x="138" y="1129"/>
                    </a:lnTo>
                    <a:lnTo>
                      <a:pt x="151" y="1126"/>
                    </a:lnTo>
                    <a:lnTo>
                      <a:pt x="163" y="1124"/>
                    </a:lnTo>
                    <a:lnTo>
                      <a:pt x="175" y="1119"/>
                    </a:lnTo>
                    <a:lnTo>
                      <a:pt x="185" y="1113"/>
                    </a:lnTo>
                    <a:lnTo>
                      <a:pt x="196" y="1108"/>
                    </a:lnTo>
                    <a:lnTo>
                      <a:pt x="206" y="1099"/>
                    </a:lnTo>
                    <a:lnTo>
                      <a:pt x="214" y="1091"/>
                    </a:lnTo>
                    <a:lnTo>
                      <a:pt x="222" y="1082"/>
                    </a:lnTo>
                    <a:lnTo>
                      <a:pt x="229" y="1071"/>
                    </a:lnTo>
                    <a:lnTo>
                      <a:pt x="235" y="1060"/>
                    </a:lnTo>
                    <a:lnTo>
                      <a:pt x="241" y="1049"/>
                    </a:lnTo>
                    <a:lnTo>
                      <a:pt x="244" y="1037"/>
                    </a:lnTo>
                    <a:lnTo>
                      <a:pt x="248" y="1024"/>
                    </a:lnTo>
                    <a:lnTo>
                      <a:pt x="250" y="1011"/>
                    </a:lnTo>
                    <a:lnTo>
                      <a:pt x="250" y="997"/>
                    </a:lnTo>
                    <a:lnTo>
                      <a:pt x="250" y="731"/>
                    </a:lnTo>
                    <a:lnTo>
                      <a:pt x="484" y="731"/>
                    </a:lnTo>
                    <a:lnTo>
                      <a:pt x="484" y="731"/>
                    </a:lnTo>
                    <a:lnTo>
                      <a:pt x="498" y="730"/>
                    </a:lnTo>
                    <a:lnTo>
                      <a:pt x="512" y="728"/>
                    </a:lnTo>
                    <a:lnTo>
                      <a:pt x="526" y="722"/>
                    </a:lnTo>
                    <a:lnTo>
                      <a:pt x="538" y="716"/>
                    </a:lnTo>
                    <a:lnTo>
                      <a:pt x="550" y="708"/>
                    </a:lnTo>
                    <a:lnTo>
                      <a:pt x="561" y="698"/>
                    </a:lnTo>
                    <a:lnTo>
                      <a:pt x="570" y="688"/>
                    </a:lnTo>
                    <a:lnTo>
                      <a:pt x="578" y="675"/>
                    </a:lnTo>
                    <a:lnTo>
                      <a:pt x="578" y="675"/>
                    </a:lnTo>
                    <a:lnTo>
                      <a:pt x="591" y="660"/>
                    </a:lnTo>
                    <a:lnTo>
                      <a:pt x="604" y="644"/>
                    </a:lnTo>
                    <a:lnTo>
                      <a:pt x="615" y="626"/>
                    </a:lnTo>
                    <a:lnTo>
                      <a:pt x="623" y="609"/>
                    </a:lnTo>
                    <a:lnTo>
                      <a:pt x="630" y="588"/>
                    </a:lnTo>
                    <a:lnTo>
                      <a:pt x="635" y="568"/>
                    </a:lnTo>
                    <a:lnTo>
                      <a:pt x="639" y="547"/>
                    </a:lnTo>
                    <a:lnTo>
                      <a:pt x="640" y="525"/>
                    </a:lnTo>
                    <a:lnTo>
                      <a:pt x="640" y="206"/>
                    </a:lnTo>
                    <a:lnTo>
                      <a:pt x="640" y="206"/>
                    </a:lnTo>
                    <a:lnTo>
                      <a:pt x="639" y="185"/>
                    </a:lnTo>
                    <a:lnTo>
                      <a:pt x="636" y="164"/>
                    </a:lnTo>
                    <a:lnTo>
                      <a:pt x="631" y="145"/>
                    </a:lnTo>
                    <a:lnTo>
                      <a:pt x="624" y="126"/>
                    </a:lnTo>
                    <a:lnTo>
                      <a:pt x="616" y="107"/>
                    </a:lnTo>
                    <a:lnTo>
                      <a:pt x="607" y="91"/>
                    </a:lnTo>
                    <a:lnTo>
                      <a:pt x="595" y="74"/>
                    </a:lnTo>
                    <a:lnTo>
                      <a:pt x="583" y="60"/>
                    </a:lnTo>
                    <a:lnTo>
                      <a:pt x="569" y="47"/>
                    </a:lnTo>
                    <a:lnTo>
                      <a:pt x="554" y="35"/>
                    </a:lnTo>
                    <a:lnTo>
                      <a:pt x="538" y="24"/>
                    </a:lnTo>
                    <a:lnTo>
                      <a:pt x="521" y="15"/>
                    </a:lnTo>
                    <a:lnTo>
                      <a:pt x="503" y="9"/>
                    </a:lnTo>
                    <a:lnTo>
                      <a:pt x="484" y="3"/>
                    </a:lnTo>
                    <a:lnTo>
                      <a:pt x="465" y="1"/>
                    </a:lnTo>
                    <a:lnTo>
                      <a:pt x="445" y="0"/>
                    </a:lnTo>
                    <a:lnTo>
                      <a:pt x="44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sp>
            <p:nvSpPr>
              <p:cNvPr id="175" name="Rectangle 137">
                <a:extLst>
                  <a:ext uri="{FF2B5EF4-FFF2-40B4-BE49-F238E27FC236}">
                    <a16:creationId xmlns:a16="http://schemas.microsoft.com/office/drawing/2014/main" id="{FAF50EFC-790F-6AEE-AB7D-9D5CF766086A}"/>
                  </a:ext>
                </a:extLst>
              </p:cNvPr>
              <p:cNvSpPr>
                <a:spLocks noChangeArrowheads="1"/>
              </p:cNvSpPr>
              <p:nvPr/>
            </p:nvSpPr>
            <p:spPr bwMode="auto">
              <a:xfrm>
                <a:off x="-4905376" y="6486525"/>
                <a:ext cx="430213" cy="3714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sz="2000"/>
              </a:p>
            </p:txBody>
          </p:sp>
          <p:sp>
            <p:nvSpPr>
              <p:cNvPr id="176" name="Freeform 138">
                <a:extLst>
                  <a:ext uri="{FF2B5EF4-FFF2-40B4-BE49-F238E27FC236}">
                    <a16:creationId xmlns:a16="http://schemas.microsoft.com/office/drawing/2014/main" id="{7E88B16B-C2D8-CF66-25CB-F1E2A182B74E}"/>
                  </a:ext>
                </a:extLst>
              </p:cNvPr>
              <p:cNvSpPr>
                <a:spLocks/>
              </p:cNvSpPr>
              <p:nvPr/>
            </p:nvSpPr>
            <p:spPr bwMode="auto">
              <a:xfrm>
                <a:off x="-5026026" y="6356350"/>
                <a:ext cx="669925" cy="90488"/>
              </a:xfrm>
              <a:custGeom>
                <a:avLst/>
                <a:gdLst/>
                <a:ahLst/>
                <a:cxnLst>
                  <a:cxn ang="0">
                    <a:pos x="1191" y="171"/>
                  </a:cxn>
                  <a:cxn ang="0">
                    <a:pos x="1206" y="168"/>
                  </a:cxn>
                  <a:cxn ang="0">
                    <a:pos x="1220" y="164"/>
                  </a:cxn>
                  <a:cxn ang="0">
                    <a:pos x="1233" y="156"/>
                  </a:cxn>
                  <a:cxn ang="0">
                    <a:pos x="1245" y="146"/>
                  </a:cxn>
                  <a:cxn ang="0">
                    <a:pos x="1253" y="133"/>
                  </a:cxn>
                  <a:cxn ang="0">
                    <a:pos x="1260" y="119"/>
                  </a:cxn>
                  <a:cxn ang="0">
                    <a:pos x="1265" y="102"/>
                  </a:cxn>
                  <a:cxn ang="0">
                    <a:pos x="1266" y="86"/>
                  </a:cxn>
                  <a:cxn ang="0">
                    <a:pos x="1266" y="76"/>
                  </a:cxn>
                  <a:cxn ang="0">
                    <a:pos x="1263" y="60"/>
                  </a:cxn>
                  <a:cxn ang="0">
                    <a:pos x="1258" y="44"/>
                  </a:cxn>
                  <a:cxn ang="0">
                    <a:pos x="1250" y="30"/>
                  </a:cxn>
                  <a:cxn ang="0">
                    <a:pos x="1239" y="20"/>
                  </a:cxn>
                  <a:cxn ang="0">
                    <a:pos x="1227" y="10"/>
                  </a:cxn>
                  <a:cxn ang="0">
                    <a:pos x="1213" y="3"/>
                  </a:cxn>
                  <a:cxn ang="0">
                    <a:pos x="1199" y="1"/>
                  </a:cxn>
                  <a:cxn ang="0">
                    <a:pos x="76" y="0"/>
                  </a:cxn>
                  <a:cxn ang="0">
                    <a:pos x="68" y="1"/>
                  </a:cxn>
                  <a:cxn ang="0">
                    <a:pos x="53" y="3"/>
                  </a:cxn>
                  <a:cxn ang="0">
                    <a:pos x="39" y="10"/>
                  </a:cxn>
                  <a:cxn ang="0">
                    <a:pos x="28" y="20"/>
                  </a:cxn>
                  <a:cxn ang="0">
                    <a:pos x="18" y="30"/>
                  </a:cxn>
                  <a:cxn ang="0">
                    <a:pos x="10" y="44"/>
                  </a:cxn>
                  <a:cxn ang="0">
                    <a:pos x="4" y="60"/>
                  </a:cxn>
                  <a:cxn ang="0">
                    <a:pos x="0" y="76"/>
                  </a:cxn>
                  <a:cxn ang="0">
                    <a:pos x="0" y="86"/>
                  </a:cxn>
                  <a:cxn ang="0">
                    <a:pos x="2" y="102"/>
                  </a:cxn>
                  <a:cxn ang="0">
                    <a:pos x="6" y="119"/>
                  </a:cxn>
                  <a:cxn ang="0">
                    <a:pos x="13" y="133"/>
                  </a:cxn>
                  <a:cxn ang="0">
                    <a:pos x="23" y="146"/>
                  </a:cxn>
                  <a:cxn ang="0">
                    <a:pos x="33" y="156"/>
                  </a:cxn>
                  <a:cxn ang="0">
                    <a:pos x="46" y="164"/>
                  </a:cxn>
                  <a:cxn ang="0">
                    <a:pos x="61" y="168"/>
                  </a:cxn>
                  <a:cxn ang="0">
                    <a:pos x="76" y="171"/>
                  </a:cxn>
                  <a:cxn ang="0">
                    <a:pos x="228" y="171"/>
                  </a:cxn>
                  <a:cxn ang="0">
                    <a:pos x="1108" y="171"/>
                  </a:cxn>
                </a:cxnLst>
                <a:rect l="0" t="0" r="r" b="b"/>
                <a:pathLst>
                  <a:path w="1266" h="171">
                    <a:moveTo>
                      <a:pt x="1191" y="171"/>
                    </a:moveTo>
                    <a:lnTo>
                      <a:pt x="1191" y="171"/>
                    </a:lnTo>
                    <a:lnTo>
                      <a:pt x="1199" y="171"/>
                    </a:lnTo>
                    <a:lnTo>
                      <a:pt x="1206" y="168"/>
                    </a:lnTo>
                    <a:lnTo>
                      <a:pt x="1213" y="167"/>
                    </a:lnTo>
                    <a:lnTo>
                      <a:pt x="1220" y="164"/>
                    </a:lnTo>
                    <a:lnTo>
                      <a:pt x="1227" y="160"/>
                    </a:lnTo>
                    <a:lnTo>
                      <a:pt x="1233" y="156"/>
                    </a:lnTo>
                    <a:lnTo>
                      <a:pt x="1239" y="151"/>
                    </a:lnTo>
                    <a:lnTo>
                      <a:pt x="1245" y="146"/>
                    </a:lnTo>
                    <a:lnTo>
                      <a:pt x="1250" y="140"/>
                    </a:lnTo>
                    <a:lnTo>
                      <a:pt x="1253" y="133"/>
                    </a:lnTo>
                    <a:lnTo>
                      <a:pt x="1258" y="126"/>
                    </a:lnTo>
                    <a:lnTo>
                      <a:pt x="1260" y="119"/>
                    </a:lnTo>
                    <a:lnTo>
                      <a:pt x="1263" y="110"/>
                    </a:lnTo>
                    <a:lnTo>
                      <a:pt x="1265" y="102"/>
                    </a:lnTo>
                    <a:lnTo>
                      <a:pt x="1266" y="94"/>
                    </a:lnTo>
                    <a:lnTo>
                      <a:pt x="1266" y="86"/>
                    </a:lnTo>
                    <a:lnTo>
                      <a:pt x="1266" y="86"/>
                    </a:lnTo>
                    <a:lnTo>
                      <a:pt x="1266" y="76"/>
                    </a:lnTo>
                    <a:lnTo>
                      <a:pt x="1265" y="68"/>
                    </a:lnTo>
                    <a:lnTo>
                      <a:pt x="1263" y="60"/>
                    </a:lnTo>
                    <a:lnTo>
                      <a:pt x="1260" y="51"/>
                    </a:lnTo>
                    <a:lnTo>
                      <a:pt x="1258" y="44"/>
                    </a:lnTo>
                    <a:lnTo>
                      <a:pt x="1253" y="37"/>
                    </a:lnTo>
                    <a:lnTo>
                      <a:pt x="1250" y="30"/>
                    </a:lnTo>
                    <a:lnTo>
                      <a:pt x="1245" y="24"/>
                    </a:lnTo>
                    <a:lnTo>
                      <a:pt x="1239" y="20"/>
                    </a:lnTo>
                    <a:lnTo>
                      <a:pt x="1233" y="15"/>
                    </a:lnTo>
                    <a:lnTo>
                      <a:pt x="1227" y="10"/>
                    </a:lnTo>
                    <a:lnTo>
                      <a:pt x="1220" y="7"/>
                    </a:lnTo>
                    <a:lnTo>
                      <a:pt x="1213" y="3"/>
                    </a:lnTo>
                    <a:lnTo>
                      <a:pt x="1206" y="2"/>
                    </a:lnTo>
                    <a:lnTo>
                      <a:pt x="1199" y="1"/>
                    </a:lnTo>
                    <a:lnTo>
                      <a:pt x="1191" y="0"/>
                    </a:lnTo>
                    <a:lnTo>
                      <a:pt x="76" y="0"/>
                    </a:lnTo>
                    <a:lnTo>
                      <a:pt x="76" y="0"/>
                    </a:lnTo>
                    <a:lnTo>
                      <a:pt x="68" y="1"/>
                    </a:lnTo>
                    <a:lnTo>
                      <a:pt x="61" y="2"/>
                    </a:lnTo>
                    <a:lnTo>
                      <a:pt x="53" y="3"/>
                    </a:lnTo>
                    <a:lnTo>
                      <a:pt x="46" y="7"/>
                    </a:lnTo>
                    <a:lnTo>
                      <a:pt x="39" y="10"/>
                    </a:lnTo>
                    <a:lnTo>
                      <a:pt x="33" y="15"/>
                    </a:lnTo>
                    <a:lnTo>
                      <a:pt x="28" y="20"/>
                    </a:lnTo>
                    <a:lnTo>
                      <a:pt x="23" y="24"/>
                    </a:lnTo>
                    <a:lnTo>
                      <a:pt x="18" y="30"/>
                    </a:lnTo>
                    <a:lnTo>
                      <a:pt x="13" y="37"/>
                    </a:lnTo>
                    <a:lnTo>
                      <a:pt x="10" y="44"/>
                    </a:lnTo>
                    <a:lnTo>
                      <a:pt x="6" y="51"/>
                    </a:lnTo>
                    <a:lnTo>
                      <a:pt x="4" y="60"/>
                    </a:lnTo>
                    <a:lnTo>
                      <a:pt x="2" y="68"/>
                    </a:lnTo>
                    <a:lnTo>
                      <a:pt x="0" y="76"/>
                    </a:lnTo>
                    <a:lnTo>
                      <a:pt x="0" y="86"/>
                    </a:lnTo>
                    <a:lnTo>
                      <a:pt x="0" y="86"/>
                    </a:lnTo>
                    <a:lnTo>
                      <a:pt x="0" y="94"/>
                    </a:lnTo>
                    <a:lnTo>
                      <a:pt x="2" y="102"/>
                    </a:lnTo>
                    <a:lnTo>
                      <a:pt x="4" y="110"/>
                    </a:lnTo>
                    <a:lnTo>
                      <a:pt x="6" y="119"/>
                    </a:lnTo>
                    <a:lnTo>
                      <a:pt x="10" y="126"/>
                    </a:lnTo>
                    <a:lnTo>
                      <a:pt x="13" y="133"/>
                    </a:lnTo>
                    <a:lnTo>
                      <a:pt x="18" y="140"/>
                    </a:lnTo>
                    <a:lnTo>
                      <a:pt x="23" y="146"/>
                    </a:lnTo>
                    <a:lnTo>
                      <a:pt x="28" y="151"/>
                    </a:lnTo>
                    <a:lnTo>
                      <a:pt x="33" y="156"/>
                    </a:lnTo>
                    <a:lnTo>
                      <a:pt x="39" y="160"/>
                    </a:lnTo>
                    <a:lnTo>
                      <a:pt x="46" y="164"/>
                    </a:lnTo>
                    <a:lnTo>
                      <a:pt x="53" y="167"/>
                    </a:lnTo>
                    <a:lnTo>
                      <a:pt x="61" y="168"/>
                    </a:lnTo>
                    <a:lnTo>
                      <a:pt x="68" y="171"/>
                    </a:lnTo>
                    <a:lnTo>
                      <a:pt x="76" y="171"/>
                    </a:lnTo>
                    <a:lnTo>
                      <a:pt x="117" y="171"/>
                    </a:lnTo>
                    <a:lnTo>
                      <a:pt x="228" y="171"/>
                    </a:lnTo>
                    <a:lnTo>
                      <a:pt x="1039" y="171"/>
                    </a:lnTo>
                    <a:lnTo>
                      <a:pt x="1108" y="171"/>
                    </a:lnTo>
                    <a:lnTo>
                      <a:pt x="1191" y="17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grpSp>
      </p:grpSp>
      <p:grpSp>
        <p:nvGrpSpPr>
          <p:cNvPr id="37" name="Group 36">
            <a:extLst>
              <a:ext uri="{FF2B5EF4-FFF2-40B4-BE49-F238E27FC236}">
                <a16:creationId xmlns:a16="http://schemas.microsoft.com/office/drawing/2014/main" id="{FDAC48AA-0164-CBE5-864E-D960A0DE7C89}"/>
              </a:ext>
            </a:extLst>
          </p:cNvPr>
          <p:cNvGrpSpPr/>
          <p:nvPr/>
        </p:nvGrpSpPr>
        <p:grpSpPr>
          <a:xfrm>
            <a:off x="5893754" y="4046018"/>
            <a:ext cx="1106424" cy="1106424"/>
            <a:chOff x="5586949" y="4364600"/>
            <a:chExt cx="853755" cy="741311"/>
          </a:xfrm>
        </p:grpSpPr>
        <p:sp>
          <p:nvSpPr>
            <p:cNvPr id="72" name="Oval Callout 83">
              <a:extLst>
                <a:ext uri="{FF2B5EF4-FFF2-40B4-BE49-F238E27FC236}">
                  <a16:creationId xmlns:a16="http://schemas.microsoft.com/office/drawing/2014/main" id="{35B3640C-59EA-8FDE-C3F2-CF748AAB347F}"/>
                </a:ext>
              </a:extLst>
            </p:cNvPr>
            <p:cNvSpPr/>
            <p:nvPr/>
          </p:nvSpPr>
          <p:spPr>
            <a:xfrm flipV="1">
              <a:off x="5586949" y="4364600"/>
              <a:ext cx="853755" cy="741311"/>
            </a:xfrm>
            <a:prstGeom prst="wedgeEllipseCallout">
              <a:avLst>
                <a:gd name="adj1" fmla="val -1045"/>
                <a:gd name="adj2" fmla="val 27912"/>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cs typeface="Arial" panose="020B0604020202020204" pitchFamily="34" charset="0"/>
              </a:endParaRPr>
            </a:p>
          </p:txBody>
        </p:sp>
        <p:sp>
          <p:nvSpPr>
            <p:cNvPr id="73" name="Oval 84">
              <a:extLst>
                <a:ext uri="{FF2B5EF4-FFF2-40B4-BE49-F238E27FC236}">
                  <a16:creationId xmlns:a16="http://schemas.microsoft.com/office/drawing/2014/main" id="{94C71C91-89CE-A298-06D3-A9D7EFA8168E}"/>
                </a:ext>
              </a:extLst>
            </p:cNvPr>
            <p:cNvSpPr/>
            <p:nvPr/>
          </p:nvSpPr>
          <p:spPr>
            <a:xfrm flipV="1">
              <a:off x="5644543" y="4416371"/>
              <a:ext cx="738567" cy="638375"/>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cs typeface="Arial" panose="020B0604020202020204" pitchFamily="34" charset="0"/>
              </a:endParaRPr>
            </a:p>
          </p:txBody>
        </p:sp>
        <p:sp>
          <p:nvSpPr>
            <p:cNvPr id="178" name="Freeform 125">
              <a:extLst>
                <a:ext uri="{FF2B5EF4-FFF2-40B4-BE49-F238E27FC236}">
                  <a16:creationId xmlns:a16="http://schemas.microsoft.com/office/drawing/2014/main" id="{4DA70F06-8EA1-0B42-E882-EE875E550FFF}"/>
                </a:ext>
              </a:extLst>
            </p:cNvPr>
            <p:cNvSpPr>
              <a:spLocks/>
            </p:cNvSpPr>
            <p:nvPr/>
          </p:nvSpPr>
          <p:spPr bwMode="auto">
            <a:xfrm>
              <a:off x="5865400" y="4546211"/>
              <a:ext cx="86653" cy="97981"/>
            </a:xfrm>
            <a:custGeom>
              <a:avLst/>
              <a:gdLst/>
              <a:ahLst/>
              <a:cxnLst>
                <a:cxn ang="0">
                  <a:pos x="195" y="450"/>
                </a:cxn>
                <a:cxn ang="0">
                  <a:pos x="215" y="448"/>
                </a:cxn>
                <a:cxn ang="0">
                  <a:pos x="254" y="437"/>
                </a:cxn>
                <a:cxn ang="0">
                  <a:pos x="289" y="415"/>
                </a:cxn>
                <a:cxn ang="0">
                  <a:pos x="320" y="387"/>
                </a:cxn>
                <a:cxn ang="0">
                  <a:pos x="346" y="353"/>
                </a:cxn>
                <a:cxn ang="0">
                  <a:pos x="367" y="314"/>
                </a:cxn>
                <a:cxn ang="0">
                  <a:pos x="381" y="273"/>
                </a:cxn>
                <a:cxn ang="0">
                  <a:pos x="389" y="230"/>
                </a:cxn>
                <a:cxn ang="0">
                  <a:pos x="390" y="209"/>
                </a:cxn>
                <a:cxn ang="0">
                  <a:pos x="386" y="168"/>
                </a:cxn>
                <a:cxn ang="0">
                  <a:pos x="374" y="130"/>
                </a:cxn>
                <a:cxn ang="0">
                  <a:pos x="357" y="94"/>
                </a:cxn>
                <a:cxn ang="0">
                  <a:pos x="333" y="64"/>
                </a:cxn>
                <a:cxn ang="0">
                  <a:pos x="305" y="38"/>
                </a:cxn>
                <a:cxn ang="0">
                  <a:pos x="272" y="18"/>
                </a:cxn>
                <a:cxn ang="0">
                  <a:pos x="235" y="6"/>
                </a:cxn>
                <a:cxn ang="0">
                  <a:pos x="195" y="0"/>
                </a:cxn>
                <a:cxn ang="0">
                  <a:pos x="175" y="2"/>
                </a:cxn>
                <a:cxn ang="0">
                  <a:pos x="137" y="11"/>
                </a:cxn>
                <a:cxn ang="0">
                  <a:pos x="103" y="27"/>
                </a:cxn>
                <a:cxn ang="0">
                  <a:pos x="71" y="50"/>
                </a:cxn>
                <a:cxn ang="0">
                  <a:pos x="45" y="79"/>
                </a:cxn>
                <a:cxn ang="0">
                  <a:pos x="24" y="112"/>
                </a:cxn>
                <a:cxn ang="0">
                  <a:pos x="10" y="149"/>
                </a:cxn>
                <a:cxn ang="0">
                  <a:pos x="2" y="188"/>
                </a:cxn>
                <a:cxn ang="0">
                  <a:pos x="0" y="209"/>
                </a:cxn>
                <a:cxn ang="0">
                  <a:pos x="5" y="251"/>
                </a:cxn>
                <a:cxn ang="0">
                  <a:pos x="16" y="293"/>
                </a:cxn>
                <a:cxn ang="0">
                  <a:pos x="33" y="334"/>
                </a:cxn>
                <a:cxn ang="0">
                  <a:pos x="57" y="370"/>
                </a:cxn>
                <a:cxn ang="0">
                  <a:pos x="85" y="402"/>
                </a:cxn>
                <a:cxn ang="0">
                  <a:pos x="118" y="427"/>
                </a:cxn>
                <a:cxn ang="0">
                  <a:pos x="156" y="444"/>
                </a:cxn>
                <a:cxn ang="0">
                  <a:pos x="186" y="450"/>
                </a:cxn>
                <a:cxn ang="0">
                  <a:pos x="195" y="450"/>
                </a:cxn>
              </a:cxnLst>
              <a:rect l="0" t="0" r="r" b="b"/>
              <a:pathLst>
                <a:path w="390" h="450">
                  <a:moveTo>
                    <a:pt x="195" y="450"/>
                  </a:moveTo>
                  <a:lnTo>
                    <a:pt x="195" y="450"/>
                  </a:lnTo>
                  <a:lnTo>
                    <a:pt x="206" y="450"/>
                  </a:lnTo>
                  <a:lnTo>
                    <a:pt x="215" y="448"/>
                  </a:lnTo>
                  <a:lnTo>
                    <a:pt x="235" y="444"/>
                  </a:lnTo>
                  <a:lnTo>
                    <a:pt x="254" y="437"/>
                  </a:lnTo>
                  <a:lnTo>
                    <a:pt x="272" y="427"/>
                  </a:lnTo>
                  <a:lnTo>
                    <a:pt x="289" y="415"/>
                  </a:lnTo>
                  <a:lnTo>
                    <a:pt x="305" y="402"/>
                  </a:lnTo>
                  <a:lnTo>
                    <a:pt x="320" y="387"/>
                  </a:lnTo>
                  <a:lnTo>
                    <a:pt x="334" y="370"/>
                  </a:lnTo>
                  <a:lnTo>
                    <a:pt x="346" y="353"/>
                  </a:lnTo>
                  <a:lnTo>
                    <a:pt x="357" y="334"/>
                  </a:lnTo>
                  <a:lnTo>
                    <a:pt x="367" y="314"/>
                  </a:lnTo>
                  <a:lnTo>
                    <a:pt x="376" y="293"/>
                  </a:lnTo>
                  <a:lnTo>
                    <a:pt x="381" y="273"/>
                  </a:lnTo>
                  <a:lnTo>
                    <a:pt x="386" y="251"/>
                  </a:lnTo>
                  <a:lnTo>
                    <a:pt x="389" y="230"/>
                  </a:lnTo>
                  <a:lnTo>
                    <a:pt x="390" y="209"/>
                  </a:lnTo>
                  <a:lnTo>
                    <a:pt x="390" y="209"/>
                  </a:lnTo>
                  <a:lnTo>
                    <a:pt x="389" y="188"/>
                  </a:lnTo>
                  <a:lnTo>
                    <a:pt x="386" y="168"/>
                  </a:lnTo>
                  <a:lnTo>
                    <a:pt x="381" y="149"/>
                  </a:lnTo>
                  <a:lnTo>
                    <a:pt x="374" y="130"/>
                  </a:lnTo>
                  <a:lnTo>
                    <a:pt x="366" y="112"/>
                  </a:lnTo>
                  <a:lnTo>
                    <a:pt x="357" y="94"/>
                  </a:lnTo>
                  <a:lnTo>
                    <a:pt x="346" y="79"/>
                  </a:lnTo>
                  <a:lnTo>
                    <a:pt x="333" y="64"/>
                  </a:lnTo>
                  <a:lnTo>
                    <a:pt x="319" y="50"/>
                  </a:lnTo>
                  <a:lnTo>
                    <a:pt x="305" y="38"/>
                  </a:lnTo>
                  <a:lnTo>
                    <a:pt x="288" y="27"/>
                  </a:lnTo>
                  <a:lnTo>
                    <a:pt x="272" y="18"/>
                  </a:lnTo>
                  <a:lnTo>
                    <a:pt x="253" y="11"/>
                  </a:lnTo>
                  <a:lnTo>
                    <a:pt x="235" y="6"/>
                  </a:lnTo>
                  <a:lnTo>
                    <a:pt x="215" y="2"/>
                  </a:lnTo>
                  <a:lnTo>
                    <a:pt x="195" y="0"/>
                  </a:lnTo>
                  <a:lnTo>
                    <a:pt x="195" y="0"/>
                  </a:lnTo>
                  <a:lnTo>
                    <a:pt x="175" y="2"/>
                  </a:lnTo>
                  <a:lnTo>
                    <a:pt x="156" y="6"/>
                  </a:lnTo>
                  <a:lnTo>
                    <a:pt x="137" y="11"/>
                  </a:lnTo>
                  <a:lnTo>
                    <a:pt x="120" y="18"/>
                  </a:lnTo>
                  <a:lnTo>
                    <a:pt x="103" y="27"/>
                  </a:lnTo>
                  <a:lnTo>
                    <a:pt x="87" y="38"/>
                  </a:lnTo>
                  <a:lnTo>
                    <a:pt x="71" y="50"/>
                  </a:lnTo>
                  <a:lnTo>
                    <a:pt x="57" y="64"/>
                  </a:lnTo>
                  <a:lnTo>
                    <a:pt x="45" y="79"/>
                  </a:lnTo>
                  <a:lnTo>
                    <a:pt x="33" y="94"/>
                  </a:lnTo>
                  <a:lnTo>
                    <a:pt x="24" y="112"/>
                  </a:lnTo>
                  <a:lnTo>
                    <a:pt x="16" y="130"/>
                  </a:lnTo>
                  <a:lnTo>
                    <a:pt x="10" y="149"/>
                  </a:lnTo>
                  <a:lnTo>
                    <a:pt x="5" y="168"/>
                  </a:lnTo>
                  <a:lnTo>
                    <a:pt x="2" y="188"/>
                  </a:lnTo>
                  <a:lnTo>
                    <a:pt x="0" y="209"/>
                  </a:lnTo>
                  <a:lnTo>
                    <a:pt x="0" y="209"/>
                  </a:lnTo>
                  <a:lnTo>
                    <a:pt x="2" y="230"/>
                  </a:lnTo>
                  <a:lnTo>
                    <a:pt x="5" y="251"/>
                  </a:lnTo>
                  <a:lnTo>
                    <a:pt x="10" y="273"/>
                  </a:lnTo>
                  <a:lnTo>
                    <a:pt x="16" y="293"/>
                  </a:lnTo>
                  <a:lnTo>
                    <a:pt x="24" y="314"/>
                  </a:lnTo>
                  <a:lnTo>
                    <a:pt x="33" y="334"/>
                  </a:lnTo>
                  <a:lnTo>
                    <a:pt x="44" y="353"/>
                  </a:lnTo>
                  <a:lnTo>
                    <a:pt x="57" y="370"/>
                  </a:lnTo>
                  <a:lnTo>
                    <a:pt x="71" y="387"/>
                  </a:lnTo>
                  <a:lnTo>
                    <a:pt x="85" y="402"/>
                  </a:lnTo>
                  <a:lnTo>
                    <a:pt x="102" y="415"/>
                  </a:lnTo>
                  <a:lnTo>
                    <a:pt x="118" y="427"/>
                  </a:lnTo>
                  <a:lnTo>
                    <a:pt x="137" y="437"/>
                  </a:lnTo>
                  <a:lnTo>
                    <a:pt x="156" y="444"/>
                  </a:lnTo>
                  <a:lnTo>
                    <a:pt x="175" y="448"/>
                  </a:lnTo>
                  <a:lnTo>
                    <a:pt x="186" y="450"/>
                  </a:lnTo>
                  <a:lnTo>
                    <a:pt x="195" y="450"/>
                  </a:lnTo>
                  <a:lnTo>
                    <a:pt x="195" y="450"/>
                  </a:lnTo>
                  <a:close/>
                </a:path>
              </a:pathLst>
            </a:custGeom>
            <a:solidFill>
              <a:srgbClr val="009A44"/>
            </a:solid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sp>
          <p:nvSpPr>
            <p:cNvPr id="179" name="Freeform 126">
              <a:extLst>
                <a:ext uri="{FF2B5EF4-FFF2-40B4-BE49-F238E27FC236}">
                  <a16:creationId xmlns:a16="http://schemas.microsoft.com/office/drawing/2014/main" id="{D5F92698-6D30-B878-66F7-0F4979B9E370}"/>
                </a:ext>
              </a:extLst>
            </p:cNvPr>
            <p:cNvSpPr>
              <a:spLocks/>
            </p:cNvSpPr>
            <p:nvPr/>
          </p:nvSpPr>
          <p:spPr bwMode="auto">
            <a:xfrm>
              <a:off x="5900728" y="4651377"/>
              <a:ext cx="15997" cy="9798"/>
            </a:xfrm>
            <a:custGeom>
              <a:avLst/>
              <a:gdLst/>
              <a:ahLst/>
              <a:cxnLst>
                <a:cxn ang="0">
                  <a:pos x="63" y="1"/>
                </a:cxn>
                <a:cxn ang="0">
                  <a:pos x="63" y="1"/>
                </a:cxn>
                <a:cxn ang="0">
                  <a:pos x="35" y="0"/>
                </a:cxn>
                <a:cxn ang="0">
                  <a:pos x="8" y="1"/>
                </a:cxn>
                <a:cxn ang="0">
                  <a:pos x="8" y="1"/>
                </a:cxn>
                <a:cxn ang="0">
                  <a:pos x="4" y="2"/>
                </a:cxn>
                <a:cxn ang="0">
                  <a:pos x="3" y="4"/>
                </a:cxn>
                <a:cxn ang="0">
                  <a:pos x="3" y="4"/>
                </a:cxn>
                <a:cxn ang="0">
                  <a:pos x="0" y="11"/>
                </a:cxn>
                <a:cxn ang="0">
                  <a:pos x="0" y="11"/>
                </a:cxn>
                <a:cxn ang="0">
                  <a:pos x="0" y="14"/>
                </a:cxn>
                <a:cxn ang="0">
                  <a:pos x="0" y="16"/>
                </a:cxn>
                <a:cxn ang="0">
                  <a:pos x="0" y="16"/>
                </a:cxn>
                <a:cxn ang="0">
                  <a:pos x="13" y="42"/>
                </a:cxn>
                <a:cxn ang="0">
                  <a:pos x="13" y="42"/>
                </a:cxn>
                <a:cxn ang="0">
                  <a:pos x="14" y="44"/>
                </a:cxn>
                <a:cxn ang="0">
                  <a:pos x="16" y="44"/>
                </a:cxn>
                <a:cxn ang="0">
                  <a:pos x="16" y="44"/>
                </a:cxn>
                <a:cxn ang="0">
                  <a:pos x="35" y="44"/>
                </a:cxn>
                <a:cxn ang="0">
                  <a:pos x="35" y="44"/>
                </a:cxn>
                <a:cxn ang="0">
                  <a:pos x="55" y="44"/>
                </a:cxn>
                <a:cxn ang="0">
                  <a:pos x="55" y="44"/>
                </a:cxn>
                <a:cxn ang="0">
                  <a:pos x="57" y="44"/>
                </a:cxn>
                <a:cxn ang="0">
                  <a:pos x="59" y="42"/>
                </a:cxn>
                <a:cxn ang="0">
                  <a:pos x="59" y="42"/>
                </a:cxn>
                <a:cxn ang="0">
                  <a:pos x="63" y="33"/>
                </a:cxn>
                <a:cxn ang="0">
                  <a:pos x="68" y="23"/>
                </a:cxn>
                <a:cxn ang="0">
                  <a:pos x="68" y="23"/>
                </a:cxn>
                <a:cxn ang="0">
                  <a:pos x="70" y="18"/>
                </a:cxn>
                <a:cxn ang="0">
                  <a:pos x="72" y="14"/>
                </a:cxn>
                <a:cxn ang="0">
                  <a:pos x="70" y="9"/>
                </a:cxn>
                <a:cxn ang="0">
                  <a:pos x="68" y="4"/>
                </a:cxn>
                <a:cxn ang="0">
                  <a:pos x="68" y="4"/>
                </a:cxn>
                <a:cxn ang="0">
                  <a:pos x="66" y="2"/>
                </a:cxn>
                <a:cxn ang="0">
                  <a:pos x="63" y="1"/>
                </a:cxn>
                <a:cxn ang="0">
                  <a:pos x="63" y="1"/>
                </a:cxn>
              </a:cxnLst>
              <a:rect l="0" t="0" r="r" b="b"/>
              <a:pathLst>
                <a:path w="72" h="44">
                  <a:moveTo>
                    <a:pt x="63" y="1"/>
                  </a:moveTo>
                  <a:lnTo>
                    <a:pt x="63" y="1"/>
                  </a:lnTo>
                  <a:lnTo>
                    <a:pt x="35" y="0"/>
                  </a:lnTo>
                  <a:lnTo>
                    <a:pt x="8" y="1"/>
                  </a:lnTo>
                  <a:lnTo>
                    <a:pt x="8" y="1"/>
                  </a:lnTo>
                  <a:lnTo>
                    <a:pt x="4" y="2"/>
                  </a:lnTo>
                  <a:lnTo>
                    <a:pt x="3" y="4"/>
                  </a:lnTo>
                  <a:lnTo>
                    <a:pt x="3" y="4"/>
                  </a:lnTo>
                  <a:lnTo>
                    <a:pt x="0" y="11"/>
                  </a:lnTo>
                  <a:lnTo>
                    <a:pt x="0" y="11"/>
                  </a:lnTo>
                  <a:lnTo>
                    <a:pt x="0" y="14"/>
                  </a:lnTo>
                  <a:lnTo>
                    <a:pt x="0" y="16"/>
                  </a:lnTo>
                  <a:lnTo>
                    <a:pt x="0" y="16"/>
                  </a:lnTo>
                  <a:lnTo>
                    <a:pt x="13" y="42"/>
                  </a:lnTo>
                  <a:lnTo>
                    <a:pt x="13" y="42"/>
                  </a:lnTo>
                  <a:lnTo>
                    <a:pt x="14" y="44"/>
                  </a:lnTo>
                  <a:lnTo>
                    <a:pt x="16" y="44"/>
                  </a:lnTo>
                  <a:lnTo>
                    <a:pt x="16" y="44"/>
                  </a:lnTo>
                  <a:lnTo>
                    <a:pt x="35" y="44"/>
                  </a:lnTo>
                  <a:lnTo>
                    <a:pt x="35" y="44"/>
                  </a:lnTo>
                  <a:lnTo>
                    <a:pt x="55" y="44"/>
                  </a:lnTo>
                  <a:lnTo>
                    <a:pt x="55" y="44"/>
                  </a:lnTo>
                  <a:lnTo>
                    <a:pt x="57" y="44"/>
                  </a:lnTo>
                  <a:lnTo>
                    <a:pt x="59" y="42"/>
                  </a:lnTo>
                  <a:lnTo>
                    <a:pt x="59" y="42"/>
                  </a:lnTo>
                  <a:lnTo>
                    <a:pt x="63" y="33"/>
                  </a:lnTo>
                  <a:lnTo>
                    <a:pt x="68" y="23"/>
                  </a:lnTo>
                  <a:lnTo>
                    <a:pt x="68" y="23"/>
                  </a:lnTo>
                  <a:lnTo>
                    <a:pt x="70" y="18"/>
                  </a:lnTo>
                  <a:lnTo>
                    <a:pt x="72" y="14"/>
                  </a:lnTo>
                  <a:lnTo>
                    <a:pt x="70" y="9"/>
                  </a:lnTo>
                  <a:lnTo>
                    <a:pt x="68" y="4"/>
                  </a:lnTo>
                  <a:lnTo>
                    <a:pt x="68" y="4"/>
                  </a:lnTo>
                  <a:lnTo>
                    <a:pt x="66" y="2"/>
                  </a:lnTo>
                  <a:lnTo>
                    <a:pt x="63" y="1"/>
                  </a:lnTo>
                  <a:lnTo>
                    <a:pt x="63" y="1"/>
                  </a:lnTo>
                  <a:close/>
                </a:path>
              </a:pathLst>
            </a:custGeom>
            <a:solidFill>
              <a:srgbClr val="009A44"/>
            </a:solid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sp>
          <p:nvSpPr>
            <p:cNvPr id="180" name="Freeform 127">
              <a:extLst>
                <a:ext uri="{FF2B5EF4-FFF2-40B4-BE49-F238E27FC236}">
                  <a16:creationId xmlns:a16="http://schemas.microsoft.com/office/drawing/2014/main" id="{807FC1CC-81CB-2C33-C3AF-54320240CD62}"/>
                </a:ext>
              </a:extLst>
            </p:cNvPr>
            <p:cNvSpPr>
              <a:spLocks/>
            </p:cNvSpPr>
            <p:nvPr/>
          </p:nvSpPr>
          <p:spPr bwMode="auto">
            <a:xfrm>
              <a:off x="5835405" y="4651377"/>
              <a:ext cx="247294" cy="297862"/>
            </a:xfrm>
            <a:custGeom>
              <a:avLst/>
              <a:gdLst/>
              <a:ahLst/>
              <a:cxnLst>
                <a:cxn ang="0">
                  <a:pos x="1029" y="165"/>
                </a:cxn>
                <a:cxn ang="0">
                  <a:pos x="1053" y="160"/>
                </a:cxn>
                <a:cxn ang="0">
                  <a:pos x="1075" y="151"/>
                </a:cxn>
                <a:cxn ang="0">
                  <a:pos x="1092" y="134"/>
                </a:cxn>
                <a:cxn ang="0">
                  <a:pos x="1104" y="114"/>
                </a:cxn>
                <a:cxn ang="0">
                  <a:pos x="1110" y="90"/>
                </a:cxn>
                <a:cxn ang="0">
                  <a:pos x="1110" y="74"/>
                </a:cxn>
                <a:cxn ang="0">
                  <a:pos x="1104" y="50"/>
                </a:cxn>
                <a:cxn ang="0">
                  <a:pos x="1092" y="30"/>
                </a:cxn>
                <a:cxn ang="0">
                  <a:pos x="1075" y="14"/>
                </a:cxn>
                <a:cxn ang="0">
                  <a:pos x="1053" y="4"/>
                </a:cxn>
                <a:cxn ang="0">
                  <a:pos x="1029" y="0"/>
                </a:cxn>
                <a:cxn ang="0">
                  <a:pos x="546" y="0"/>
                </a:cxn>
                <a:cxn ang="0">
                  <a:pos x="370" y="141"/>
                </a:cxn>
                <a:cxn ang="0">
                  <a:pos x="350" y="55"/>
                </a:cxn>
                <a:cxn ang="0">
                  <a:pos x="310" y="55"/>
                </a:cxn>
                <a:cxn ang="0">
                  <a:pos x="308" y="57"/>
                </a:cxn>
                <a:cxn ang="0">
                  <a:pos x="290" y="140"/>
                </a:cxn>
                <a:cxn ang="0">
                  <a:pos x="113" y="0"/>
                </a:cxn>
                <a:cxn ang="0">
                  <a:pos x="79" y="5"/>
                </a:cxn>
                <a:cxn ang="0">
                  <a:pos x="49" y="21"/>
                </a:cxn>
                <a:cxn ang="0">
                  <a:pos x="26" y="43"/>
                </a:cxn>
                <a:cxn ang="0">
                  <a:pos x="8" y="73"/>
                </a:cxn>
                <a:cxn ang="0">
                  <a:pos x="0" y="107"/>
                </a:cxn>
                <a:cxn ang="0">
                  <a:pos x="0" y="572"/>
                </a:cxn>
                <a:cxn ang="0">
                  <a:pos x="5" y="606"/>
                </a:cxn>
                <a:cxn ang="0">
                  <a:pos x="18" y="635"/>
                </a:cxn>
                <a:cxn ang="0">
                  <a:pos x="36" y="660"/>
                </a:cxn>
                <a:cxn ang="0">
                  <a:pos x="62" y="678"/>
                </a:cxn>
                <a:cxn ang="0">
                  <a:pos x="93" y="689"/>
                </a:cxn>
                <a:cxn ang="0">
                  <a:pos x="152" y="1243"/>
                </a:cxn>
                <a:cxn ang="0">
                  <a:pos x="157" y="1267"/>
                </a:cxn>
                <a:cxn ang="0">
                  <a:pos x="167" y="1300"/>
                </a:cxn>
                <a:cxn ang="0">
                  <a:pos x="185" y="1328"/>
                </a:cxn>
                <a:cxn ang="0">
                  <a:pos x="206" y="1349"/>
                </a:cxn>
                <a:cxn ang="0">
                  <a:pos x="230" y="1362"/>
                </a:cxn>
                <a:cxn ang="0">
                  <a:pos x="248" y="1366"/>
                </a:cxn>
                <a:cxn ang="0">
                  <a:pos x="413" y="1366"/>
                </a:cxn>
                <a:cxn ang="0">
                  <a:pos x="438" y="1359"/>
                </a:cxn>
                <a:cxn ang="0">
                  <a:pos x="461" y="1343"/>
                </a:cxn>
                <a:cxn ang="0">
                  <a:pos x="481" y="1320"/>
                </a:cxn>
                <a:cxn ang="0">
                  <a:pos x="497" y="1289"/>
                </a:cxn>
                <a:cxn ang="0">
                  <a:pos x="506" y="1255"/>
                </a:cxn>
                <a:cxn ang="0">
                  <a:pos x="549" y="779"/>
                </a:cxn>
              </a:cxnLst>
              <a:rect l="0" t="0" r="r" b="b"/>
              <a:pathLst>
                <a:path w="1111" h="1367">
                  <a:moveTo>
                    <a:pt x="549" y="165"/>
                  </a:moveTo>
                  <a:lnTo>
                    <a:pt x="1029" y="165"/>
                  </a:lnTo>
                  <a:lnTo>
                    <a:pt x="1029" y="165"/>
                  </a:lnTo>
                  <a:lnTo>
                    <a:pt x="1037" y="164"/>
                  </a:lnTo>
                  <a:lnTo>
                    <a:pt x="1045" y="162"/>
                  </a:lnTo>
                  <a:lnTo>
                    <a:pt x="1053" y="160"/>
                  </a:lnTo>
                  <a:lnTo>
                    <a:pt x="1061" y="158"/>
                  </a:lnTo>
                  <a:lnTo>
                    <a:pt x="1068" y="154"/>
                  </a:lnTo>
                  <a:lnTo>
                    <a:pt x="1075" y="151"/>
                  </a:lnTo>
                  <a:lnTo>
                    <a:pt x="1081" y="146"/>
                  </a:lnTo>
                  <a:lnTo>
                    <a:pt x="1087" y="140"/>
                  </a:lnTo>
                  <a:lnTo>
                    <a:pt x="1092" y="134"/>
                  </a:lnTo>
                  <a:lnTo>
                    <a:pt x="1097" y="128"/>
                  </a:lnTo>
                  <a:lnTo>
                    <a:pt x="1101" y="121"/>
                  </a:lnTo>
                  <a:lnTo>
                    <a:pt x="1104" y="114"/>
                  </a:lnTo>
                  <a:lnTo>
                    <a:pt x="1108" y="107"/>
                  </a:lnTo>
                  <a:lnTo>
                    <a:pt x="1109" y="99"/>
                  </a:lnTo>
                  <a:lnTo>
                    <a:pt x="1110" y="90"/>
                  </a:lnTo>
                  <a:lnTo>
                    <a:pt x="1111" y="82"/>
                  </a:lnTo>
                  <a:lnTo>
                    <a:pt x="1111" y="82"/>
                  </a:lnTo>
                  <a:lnTo>
                    <a:pt x="1110" y="74"/>
                  </a:lnTo>
                  <a:lnTo>
                    <a:pt x="1109" y="66"/>
                  </a:lnTo>
                  <a:lnTo>
                    <a:pt x="1108" y="57"/>
                  </a:lnTo>
                  <a:lnTo>
                    <a:pt x="1104" y="50"/>
                  </a:lnTo>
                  <a:lnTo>
                    <a:pt x="1101" y="43"/>
                  </a:lnTo>
                  <a:lnTo>
                    <a:pt x="1097" y="36"/>
                  </a:lnTo>
                  <a:lnTo>
                    <a:pt x="1092" y="30"/>
                  </a:lnTo>
                  <a:lnTo>
                    <a:pt x="1087" y="24"/>
                  </a:lnTo>
                  <a:lnTo>
                    <a:pt x="1081" y="18"/>
                  </a:lnTo>
                  <a:lnTo>
                    <a:pt x="1075" y="14"/>
                  </a:lnTo>
                  <a:lnTo>
                    <a:pt x="1068" y="10"/>
                  </a:lnTo>
                  <a:lnTo>
                    <a:pt x="1061" y="7"/>
                  </a:lnTo>
                  <a:lnTo>
                    <a:pt x="1053" y="4"/>
                  </a:lnTo>
                  <a:lnTo>
                    <a:pt x="1045" y="2"/>
                  </a:lnTo>
                  <a:lnTo>
                    <a:pt x="1037" y="1"/>
                  </a:lnTo>
                  <a:lnTo>
                    <a:pt x="1029" y="0"/>
                  </a:lnTo>
                  <a:lnTo>
                    <a:pt x="546" y="0"/>
                  </a:lnTo>
                  <a:lnTo>
                    <a:pt x="546" y="0"/>
                  </a:lnTo>
                  <a:lnTo>
                    <a:pt x="546" y="0"/>
                  </a:lnTo>
                  <a:lnTo>
                    <a:pt x="442" y="0"/>
                  </a:lnTo>
                  <a:lnTo>
                    <a:pt x="370" y="141"/>
                  </a:lnTo>
                  <a:lnTo>
                    <a:pt x="370" y="141"/>
                  </a:lnTo>
                  <a:lnTo>
                    <a:pt x="362" y="106"/>
                  </a:lnTo>
                  <a:lnTo>
                    <a:pt x="362" y="106"/>
                  </a:lnTo>
                  <a:lnTo>
                    <a:pt x="350" y="55"/>
                  </a:lnTo>
                  <a:lnTo>
                    <a:pt x="350" y="55"/>
                  </a:lnTo>
                  <a:lnTo>
                    <a:pt x="310" y="55"/>
                  </a:lnTo>
                  <a:lnTo>
                    <a:pt x="310" y="55"/>
                  </a:lnTo>
                  <a:lnTo>
                    <a:pt x="308" y="55"/>
                  </a:lnTo>
                  <a:lnTo>
                    <a:pt x="308" y="57"/>
                  </a:lnTo>
                  <a:lnTo>
                    <a:pt x="308" y="57"/>
                  </a:lnTo>
                  <a:lnTo>
                    <a:pt x="291" y="132"/>
                  </a:lnTo>
                  <a:lnTo>
                    <a:pt x="291" y="132"/>
                  </a:lnTo>
                  <a:lnTo>
                    <a:pt x="290" y="140"/>
                  </a:lnTo>
                  <a:lnTo>
                    <a:pt x="217" y="0"/>
                  </a:lnTo>
                  <a:lnTo>
                    <a:pt x="113" y="0"/>
                  </a:lnTo>
                  <a:lnTo>
                    <a:pt x="113" y="0"/>
                  </a:lnTo>
                  <a:lnTo>
                    <a:pt x="101" y="1"/>
                  </a:lnTo>
                  <a:lnTo>
                    <a:pt x="91" y="2"/>
                  </a:lnTo>
                  <a:lnTo>
                    <a:pt x="79" y="5"/>
                  </a:lnTo>
                  <a:lnTo>
                    <a:pt x="70" y="9"/>
                  </a:lnTo>
                  <a:lnTo>
                    <a:pt x="59" y="15"/>
                  </a:lnTo>
                  <a:lnTo>
                    <a:pt x="49" y="21"/>
                  </a:lnTo>
                  <a:lnTo>
                    <a:pt x="41" y="28"/>
                  </a:lnTo>
                  <a:lnTo>
                    <a:pt x="33" y="35"/>
                  </a:lnTo>
                  <a:lnTo>
                    <a:pt x="26" y="43"/>
                  </a:lnTo>
                  <a:lnTo>
                    <a:pt x="19" y="53"/>
                  </a:lnTo>
                  <a:lnTo>
                    <a:pt x="13" y="62"/>
                  </a:lnTo>
                  <a:lnTo>
                    <a:pt x="8" y="73"/>
                  </a:lnTo>
                  <a:lnTo>
                    <a:pt x="5" y="85"/>
                  </a:lnTo>
                  <a:lnTo>
                    <a:pt x="2" y="95"/>
                  </a:lnTo>
                  <a:lnTo>
                    <a:pt x="0" y="107"/>
                  </a:lnTo>
                  <a:lnTo>
                    <a:pt x="0" y="120"/>
                  </a:lnTo>
                  <a:lnTo>
                    <a:pt x="0" y="572"/>
                  </a:lnTo>
                  <a:lnTo>
                    <a:pt x="0" y="572"/>
                  </a:lnTo>
                  <a:lnTo>
                    <a:pt x="0" y="584"/>
                  </a:lnTo>
                  <a:lnTo>
                    <a:pt x="1" y="594"/>
                  </a:lnTo>
                  <a:lnTo>
                    <a:pt x="5" y="606"/>
                  </a:lnTo>
                  <a:lnTo>
                    <a:pt x="7" y="615"/>
                  </a:lnTo>
                  <a:lnTo>
                    <a:pt x="12" y="626"/>
                  </a:lnTo>
                  <a:lnTo>
                    <a:pt x="18" y="635"/>
                  </a:lnTo>
                  <a:lnTo>
                    <a:pt x="23" y="644"/>
                  </a:lnTo>
                  <a:lnTo>
                    <a:pt x="29" y="652"/>
                  </a:lnTo>
                  <a:lnTo>
                    <a:pt x="36" y="660"/>
                  </a:lnTo>
                  <a:lnTo>
                    <a:pt x="45" y="667"/>
                  </a:lnTo>
                  <a:lnTo>
                    <a:pt x="54" y="673"/>
                  </a:lnTo>
                  <a:lnTo>
                    <a:pt x="62" y="678"/>
                  </a:lnTo>
                  <a:lnTo>
                    <a:pt x="72" y="683"/>
                  </a:lnTo>
                  <a:lnTo>
                    <a:pt x="82" y="686"/>
                  </a:lnTo>
                  <a:lnTo>
                    <a:pt x="93" y="689"/>
                  </a:lnTo>
                  <a:lnTo>
                    <a:pt x="104" y="690"/>
                  </a:lnTo>
                  <a:lnTo>
                    <a:pt x="104" y="690"/>
                  </a:lnTo>
                  <a:lnTo>
                    <a:pt x="152" y="1243"/>
                  </a:lnTo>
                  <a:lnTo>
                    <a:pt x="152" y="1243"/>
                  </a:lnTo>
                  <a:lnTo>
                    <a:pt x="154" y="1255"/>
                  </a:lnTo>
                  <a:lnTo>
                    <a:pt x="157" y="1267"/>
                  </a:lnTo>
                  <a:lnTo>
                    <a:pt x="159" y="1279"/>
                  </a:lnTo>
                  <a:lnTo>
                    <a:pt x="163" y="1289"/>
                  </a:lnTo>
                  <a:lnTo>
                    <a:pt x="167" y="1300"/>
                  </a:lnTo>
                  <a:lnTo>
                    <a:pt x="173" y="1310"/>
                  </a:lnTo>
                  <a:lnTo>
                    <a:pt x="178" y="1320"/>
                  </a:lnTo>
                  <a:lnTo>
                    <a:pt x="185" y="1328"/>
                  </a:lnTo>
                  <a:lnTo>
                    <a:pt x="191" y="1336"/>
                  </a:lnTo>
                  <a:lnTo>
                    <a:pt x="198" y="1343"/>
                  </a:lnTo>
                  <a:lnTo>
                    <a:pt x="206" y="1349"/>
                  </a:lnTo>
                  <a:lnTo>
                    <a:pt x="213" y="1355"/>
                  </a:lnTo>
                  <a:lnTo>
                    <a:pt x="222" y="1359"/>
                  </a:lnTo>
                  <a:lnTo>
                    <a:pt x="230" y="1362"/>
                  </a:lnTo>
                  <a:lnTo>
                    <a:pt x="238" y="1365"/>
                  </a:lnTo>
                  <a:lnTo>
                    <a:pt x="248" y="1366"/>
                  </a:lnTo>
                  <a:lnTo>
                    <a:pt x="248" y="1366"/>
                  </a:lnTo>
                  <a:lnTo>
                    <a:pt x="330" y="1367"/>
                  </a:lnTo>
                  <a:lnTo>
                    <a:pt x="413" y="1366"/>
                  </a:lnTo>
                  <a:lnTo>
                    <a:pt x="413" y="1366"/>
                  </a:lnTo>
                  <a:lnTo>
                    <a:pt x="421" y="1365"/>
                  </a:lnTo>
                  <a:lnTo>
                    <a:pt x="429" y="1362"/>
                  </a:lnTo>
                  <a:lnTo>
                    <a:pt x="438" y="1359"/>
                  </a:lnTo>
                  <a:lnTo>
                    <a:pt x="446" y="1355"/>
                  </a:lnTo>
                  <a:lnTo>
                    <a:pt x="454" y="1349"/>
                  </a:lnTo>
                  <a:lnTo>
                    <a:pt x="461" y="1343"/>
                  </a:lnTo>
                  <a:lnTo>
                    <a:pt x="468" y="1336"/>
                  </a:lnTo>
                  <a:lnTo>
                    <a:pt x="475" y="1328"/>
                  </a:lnTo>
                  <a:lnTo>
                    <a:pt x="481" y="1320"/>
                  </a:lnTo>
                  <a:lnTo>
                    <a:pt x="487" y="1310"/>
                  </a:lnTo>
                  <a:lnTo>
                    <a:pt x="492" y="1300"/>
                  </a:lnTo>
                  <a:lnTo>
                    <a:pt x="497" y="1289"/>
                  </a:lnTo>
                  <a:lnTo>
                    <a:pt x="500" y="1279"/>
                  </a:lnTo>
                  <a:lnTo>
                    <a:pt x="504" y="1267"/>
                  </a:lnTo>
                  <a:lnTo>
                    <a:pt x="506" y="1255"/>
                  </a:lnTo>
                  <a:lnTo>
                    <a:pt x="507" y="1243"/>
                  </a:lnTo>
                  <a:lnTo>
                    <a:pt x="507" y="1243"/>
                  </a:lnTo>
                  <a:lnTo>
                    <a:pt x="549" y="779"/>
                  </a:lnTo>
                  <a:lnTo>
                    <a:pt x="549" y="779"/>
                  </a:lnTo>
                  <a:lnTo>
                    <a:pt x="549" y="165"/>
                  </a:lnTo>
                  <a:close/>
                </a:path>
              </a:pathLst>
            </a:custGeom>
            <a:solidFill>
              <a:srgbClr val="009A44"/>
            </a:solid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sp>
          <p:nvSpPr>
            <p:cNvPr id="181" name="Freeform 128">
              <a:extLst>
                <a:ext uri="{FF2B5EF4-FFF2-40B4-BE49-F238E27FC236}">
                  <a16:creationId xmlns:a16="http://schemas.microsoft.com/office/drawing/2014/main" id="{266E8E79-F53A-ADA4-0B07-072ECABC1008}"/>
                </a:ext>
              </a:extLst>
            </p:cNvPr>
            <p:cNvSpPr>
              <a:spLocks/>
            </p:cNvSpPr>
            <p:nvPr/>
          </p:nvSpPr>
          <p:spPr bwMode="auto">
            <a:xfrm>
              <a:off x="5990714" y="4875427"/>
              <a:ext cx="145310" cy="73813"/>
            </a:xfrm>
            <a:custGeom>
              <a:avLst/>
              <a:gdLst/>
              <a:ahLst/>
              <a:cxnLst>
                <a:cxn ang="0">
                  <a:pos x="397" y="0"/>
                </a:cxn>
                <a:cxn ang="0">
                  <a:pos x="256" y="0"/>
                </a:cxn>
                <a:cxn ang="0">
                  <a:pos x="14" y="250"/>
                </a:cxn>
                <a:cxn ang="0">
                  <a:pos x="14" y="250"/>
                </a:cxn>
                <a:cxn ang="0">
                  <a:pos x="8" y="259"/>
                </a:cxn>
                <a:cxn ang="0">
                  <a:pos x="4" y="268"/>
                </a:cxn>
                <a:cxn ang="0">
                  <a:pos x="0" y="277"/>
                </a:cxn>
                <a:cxn ang="0">
                  <a:pos x="0" y="287"/>
                </a:cxn>
                <a:cxn ang="0">
                  <a:pos x="0" y="298"/>
                </a:cxn>
                <a:cxn ang="0">
                  <a:pos x="4" y="307"/>
                </a:cxn>
                <a:cxn ang="0">
                  <a:pos x="8" y="316"/>
                </a:cxn>
                <a:cxn ang="0">
                  <a:pos x="14" y="325"/>
                </a:cxn>
                <a:cxn ang="0">
                  <a:pos x="14" y="325"/>
                </a:cxn>
                <a:cxn ang="0">
                  <a:pos x="23" y="331"/>
                </a:cxn>
                <a:cxn ang="0">
                  <a:pos x="31" y="335"/>
                </a:cxn>
                <a:cxn ang="0">
                  <a:pos x="40" y="339"/>
                </a:cxn>
                <a:cxn ang="0">
                  <a:pos x="50" y="340"/>
                </a:cxn>
                <a:cxn ang="0">
                  <a:pos x="50" y="340"/>
                </a:cxn>
                <a:cxn ang="0">
                  <a:pos x="60" y="339"/>
                </a:cxn>
                <a:cxn ang="0">
                  <a:pos x="70" y="335"/>
                </a:cxn>
                <a:cxn ang="0">
                  <a:pos x="78" y="331"/>
                </a:cxn>
                <a:cxn ang="0">
                  <a:pos x="86" y="325"/>
                </a:cxn>
                <a:cxn ang="0">
                  <a:pos x="327" y="75"/>
                </a:cxn>
                <a:cxn ang="0">
                  <a:pos x="568" y="325"/>
                </a:cxn>
                <a:cxn ang="0">
                  <a:pos x="568" y="325"/>
                </a:cxn>
                <a:cxn ang="0">
                  <a:pos x="575" y="331"/>
                </a:cxn>
                <a:cxn ang="0">
                  <a:pos x="584" y="335"/>
                </a:cxn>
                <a:cxn ang="0">
                  <a:pos x="594" y="339"/>
                </a:cxn>
                <a:cxn ang="0">
                  <a:pos x="603" y="340"/>
                </a:cxn>
                <a:cxn ang="0">
                  <a:pos x="603" y="340"/>
                </a:cxn>
                <a:cxn ang="0">
                  <a:pos x="613" y="339"/>
                </a:cxn>
                <a:cxn ang="0">
                  <a:pos x="622" y="335"/>
                </a:cxn>
                <a:cxn ang="0">
                  <a:pos x="631" y="331"/>
                </a:cxn>
                <a:cxn ang="0">
                  <a:pos x="638" y="325"/>
                </a:cxn>
                <a:cxn ang="0">
                  <a:pos x="638" y="325"/>
                </a:cxn>
                <a:cxn ang="0">
                  <a:pos x="646" y="316"/>
                </a:cxn>
                <a:cxn ang="0">
                  <a:pos x="650" y="307"/>
                </a:cxn>
                <a:cxn ang="0">
                  <a:pos x="653" y="298"/>
                </a:cxn>
                <a:cxn ang="0">
                  <a:pos x="654" y="287"/>
                </a:cxn>
                <a:cxn ang="0">
                  <a:pos x="653" y="277"/>
                </a:cxn>
                <a:cxn ang="0">
                  <a:pos x="650" y="268"/>
                </a:cxn>
                <a:cxn ang="0">
                  <a:pos x="646" y="259"/>
                </a:cxn>
                <a:cxn ang="0">
                  <a:pos x="638" y="250"/>
                </a:cxn>
                <a:cxn ang="0">
                  <a:pos x="397" y="0"/>
                </a:cxn>
              </a:cxnLst>
              <a:rect l="0" t="0" r="r" b="b"/>
              <a:pathLst>
                <a:path w="654" h="340">
                  <a:moveTo>
                    <a:pt x="397" y="0"/>
                  </a:moveTo>
                  <a:lnTo>
                    <a:pt x="256" y="0"/>
                  </a:lnTo>
                  <a:lnTo>
                    <a:pt x="14" y="250"/>
                  </a:lnTo>
                  <a:lnTo>
                    <a:pt x="14" y="250"/>
                  </a:lnTo>
                  <a:lnTo>
                    <a:pt x="8" y="259"/>
                  </a:lnTo>
                  <a:lnTo>
                    <a:pt x="4" y="268"/>
                  </a:lnTo>
                  <a:lnTo>
                    <a:pt x="0" y="277"/>
                  </a:lnTo>
                  <a:lnTo>
                    <a:pt x="0" y="287"/>
                  </a:lnTo>
                  <a:lnTo>
                    <a:pt x="0" y="298"/>
                  </a:lnTo>
                  <a:lnTo>
                    <a:pt x="4" y="307"/>
                  </a:lnTo>
                  <a:lnTo>
                    <a:pt x="8" y="316"/>
                  </a:lnTo>
                  <a:lnTo>
                    <a:pt x="14" y="325"/>
                  </a:lnTo>
                  <a:lnTo>
                    <a:pt x="14" y="325"/>
                  </a:lnTo>
                  <a:lnTo>
                    <a:pt x="23" y="331"/>
                  </a:lnTo>
                  <a:lnTo>
                    <a:pt x="31" y="335"/>
                  </a:lnTo>
                  <a:lnTo>
                    <a:pt x="40" y="339"/>
                  </a:lnTo>
                  <a:lnTo>
                    <a:pt x="50" y="340"/>
                  </a:lnTo>
                  <a:lnTo>
                    <a:pt x="50" y="340"/>
                  </a:lnTo>
                  <a:lnTo>
                    <a:pt x="60" y="339"/>
                  </a:lnTo>
                  <a:lnTo>
                    <a:pt x="70" y="335"/>
                  </a:lnTo>
                  <a:lnTo>
                    <a:pt x="78" y="331"/>
                  </a:lnTo>
                  <a:lnTo>
                    <a:pt x="86" y="325"/>
                  </a:lnTo>
                  <a:lnTo>
                    <a:pt x="327" y="75"/>
                  </a:lnTo>
                  <a:lnTo>
                    <a:pt x="568" y="325"/>
                  </a:lnTo>
                  <a:lnTo>
                    <a:pt x="568" y="325"/>
                  </a:lnTo>
                  <a:lnTo>
                    <a:pt x="575" y="331"/>
                  </a:lnTo>
                  <a:lnTo>
                    <a:pt x="584" y="335"/>
                  </a:lnTo>
                  <a:lnTo>
                    <a:pt x="594" y="339"/>
                  </a:lnTo>
                  <a:lnTo>
                    <a:pt x="603" y="340"/>
                  </a:lnTo>
                  <a:lnTo>
                    <a:pt x="603" y="340"/>
                  </a:lnTo>
                  <a:lnTo>
                    <a:pt x="613" y="339"/>
                  </a:lnTo>
                  <a:lnTo>
                    <a:pt x="622" y="335"/>
                  </a:lnTo>
                  <a:lnTo>
                    <a:pt x="631" y="331"/>
                  </a:lnTo>
                  <a:lnTo>
                    <a:pt x="638" y="325"/>
                  </a:lnTo>
                  <a:lnTo>
                    <a:pt x="638" y="325"/>
                  </a:lnTo>
                  <a:lnTo>
                    <a:pt x="646" y="316"/>
                  </a:lnTo>
                  <a:lnTo>
                    <a:pt x="650" y="307"/>
                  </a:lnTo>
                  <a:lnTo>
                    <a:pt x="653" y="298"/>
                  </a:lnTo>
                  <a:lnTo>
                    <a:pt x="654" y="287"/>
                  </a:lnTo>
                  <a:lnTo>
                    <a:pt x="653" y="277"/>
                  </a:lnTo>
                  <a:lnTo>
                    <a:pt x="650" y="268"/>
                  </a:lnTo>
                  <a:lnTo>
                    <a:pt x="646" y="259"/>
                  </a:lnTo>
                  <a:lnTo>
                    <a:pt x="638" y="250"/>
                  </a:lnTo>
                  <a:lnTo>
                    <a:pt x="397" y="0"/>
                  </a:lnTo>
                  <a:close/>
                </a:path>
              </a:pathLst>
            </a:custGeom>
            <a:solidFill>
              <a:srgbClr val="009A44"/>
            </a:solid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sp>
          <p:nvSpPr>
            <p:cNvPr id="182" name="Freeform 129">
              <a:extLst>
                <a:ext uri="{FF2B5EF4-FFF2-40B4-BE49-F238E27FC236}">
                  <a16:creationId xmlns:a16="http://schemas.microsoft.com/office/drawing/2014/main" id="{C07DBF5A-219E-C815-B84D-E8E9328BB235}"/>
                </a:ext>
              </a:extLst>
            </p:cNvPr>
            <p:cNvSpPr>
              <a:spLocks/>
            </p:cNvSpPr>
            <p:nvPr/>
          </p:nvSpPr>
          <p:spPr bwMode="auto">
            <a:xfrm>
              <a:off x="5967384" y="4547517"/>
              <a:ext cx="229963" cy="312886"/>
            </a:xfrm>
            <a:custGeom>
              <a:avLst/>
              <a:gdLst/>
              <a:ahLst/>
              <a:cxnLst>
                <a:cxn ang="0">
                  <a:pos x="627" y="127"/>
                </a:cxn>
                <a:cxn ang="0">
                  <a:pos x="624" y="114"/>
                </a:cxn>
                <a:cxn ang="0">
                  <a:pos x="616" y="88"/>
                </a:cxn>
                <a:cxn ang="0">
                  <a:pos x="603" y="66"/>
                </a:cxn>
                <a:cxn ang="0">
                  <a:pos x="587" y="46"/>
                </a:cxn>
                <a:cxn ang="0">
                  <a:pos x="568" y="28"/>
                </a:cxn>
                <a:cxn ang="0">
                  <a:pos x="545" y="15"/>
                </a:cxn>
                <a:cxn ang="0">
                  <a:pos x="520" y="5"/>
                </a:cxn>
                <a:cxn ang="0">
                  <a:pos x="495" y="1"/>
                </a:cxn>
                <a:cxn ang="0">
                  <a:pos x="382" y="0"/>
                </a:cxn>
                <a:cxn ang="0">
                  <a:pos x="369" y="1"/>
                </a:cxn>
                <a:cxn ang="0">
                  <a:pos x="342" y="5"/>
                </a:cxn>
                <a:cxn ang="0">
                  <a:pos x="318" y="15"/>
                </a:cxn>
                <a:cxn ang="0">
                  <a:pos x="296" y="28"/>
                </a:cxn>
                <a:cxn ang="0">
                  <a:pos x="276" y="46"/>
                </a:cxn>
                <a:cxn ang="0">
                  <a:pos x="260" y="66"/>
                </a:cxn>
                <a:cxn ang="0">
                  <a:pos x="248" y="88"/>
                </a:cxn>
                <a:cxn ang="0">
                  <a:pos x="240" y="114"/>
                </a:cxn>
                <a:cxn ang="0">
                  <a:pos x="0" y="127"/>
                </a:cxn>
                <a:cxn ang="0">
                  <a:pos x="5" y="146"/>
                </a:cxn>
                <a:cxn ang="0">
                  <a:pos x="10" y="185"/>
                </a:cxn>
                <a:cxn ang="0">
                  <a:pos x="11" y="205"/>
                </a:cxn>
                <a:cxn ang="0">
                  <a:pos x="297" y="225"/>
                </a:cxn>
                <a:cxn ang="0">
                  <a:pos x="526" y="225"/>
                </a:cxn>
                <a:cxn ang="0">
                  <a:pos x="891" y="225"/>
                </a:cxn>
                <a:cxn ang="0">
                  <a:pos x="900" y="226"/>
                </a:cxn>
                <a:cxn ang="0">
                  <a:pos x="918" y="234"/>
                </a:cxn>
                <a:cxn ang="0">
                  <a:pos x="931" y="250"/>
                </a:cxn>
                <a:cxn ang="0">
                  <a:pos x="939" y="269"/>
                </a:cxn>
                <a:cxn ang="0">
                  <a:pos x="939" y="1286"/>
                </a:cxn>
                <a:cxn ang="0">
                  <a:pos x="939" y="1297"/>
                </a:cxn>
                <a:cxn ang="0">
                  <a:pos x="931" y="1317"/>
                </a:cxn>
                <a:cxn ang="0">
                  <a:pos x="918" y="1332"/>
                </a:cxn>
                <a:cxn ang="0">
                  <a:pos x="900" y="1340"/>
                </a:cxn>
                <a:cxn ang="0">
                  <a:pos x="27" y="1341"/>
                </a:cxn>
                <a:cxn ang="0">
                  <a:pos x="19" y="1439"/>
                </a:cxn>
                <a:cxn ang="0">
                  <a:pos x="891" y="1439"/>
                </a:cxn>
                <a:cxn ang="0">
                  <a:pos x="920" y="1437"/>
                </a:cxn>
                <a:cxn ang="0">
                  <a:pos x="948" y="1427"/>
                </a:cxn>
                <a:cxn ang="0">
                  <a:pos x="974" y="1413"/>
                </a:cxn>
                <a:cxn ang="0">
                  <a:pos x="995" y="1394"/>
                </a:cxn>
                <a:cxn ang="0">
                  <a:pos x="1012" y="1372"/>
                </a:cxn>
                <a:cxn ang="0">
                  <a:pos x="1027" y="1346"/>
                </a:cxn>
                <a:cxn ang="0">
                  <a:pos x="1035" y="1317"/>
                </a:cxn>
                <a:cxn ang="0">
                  <a:pos x="1037" y="1286"/>
                </a:cxn>
                <a:cxn ang="0">
                  <a:pos x="1037" y="280"/>
                </a:cxn>
                <a:cxn ang="0">
                  <a:pos x="1035" y="250"/>
                </a:cxn>
                <a:cxn ang="0">
                  <a:pos x="1027" y="220"/>
                </a:cxn>
                <a:cxn ang="0">
                  <a:pos x="1012" y="194"/>
                </a:cxn>
                <a:cxn ang="0">
                  <a:pos x="995" y="172"/>
                </a:cxn>
                <a:cxn ang="0">
                  <a:pos x="974" y="153"/>
                </a:cxn>
                <a:cxn ang="0">
                  <a:pos x="948" y="139"/>
                </a:cxn>
                <a:cxn ang="0">
                  <a:pos x="920" y="130"/>
                </a:cxn>
                <a:cxn ang="0">
                  <a:pos x="891" y="127"/>
                </a:cxn>
              </a:cxnLst>
              <a:rect l="0" t="0" r="r" b="b"/>
              <a:pathLst>
                <a:path w="1037" h="1439">
                  <a:moveTo>
                    <a:pt x="891" y="127"/>
                  </a:moveTo>
                  <a:lnTo>
                    <a:pt x="627" y="127"/>
                  </a:lnTo>
                  <a:lnTo>
                    <a:pt x="627" y="127"/>
                  </a:lnTo>
                  <a:lnTo>
                    <a:pt x="624" y="114"/>
                  </a:lnTo>
                  <a:lnTo>
                    <a:pt x="621" y="101"/>
                  </a:lnTo>
                  <a:lnTo>
                    <a:pt x="616" y="88"/>
                  </a:lnTo>
                  <a:lnTo>
                    <a:pt x="610" y="76"/>
                  </a:lnTo>
                  <a:lnTo>
                    <a:pt x="603" y="66"/>
                  </a:lnTo>
                  <a:lnTo>
                    <a:pt x="596" y="55"/>
                  </a:lnTo>
                  <a:lnTo>
                    <a:pt x="587" y="46"/>
                  </a:lnTo>
                  <a:lnTo>
                    <a:pt x="577" y="36"/>
                  </a:lnTo>
                  <a:lnTo>
                    <a:pt x="568" y="28"/>
                  </a:lnTo>
                  <a:lnTo>
                    <a:pt x="557" y="21"/>
                  </a:lnTo>
                  <a:lnTo>
                    <a:pt x="545" y="15"/>
                  </a:lnTo>
                  <a:lnTo>
                    <a:pt x="533" y="9"/>
                  </a:lnTo>
                  <a:lnTo>
                    <a:pt x="520" y="5"/>
                  </a:lnTo>
                  <a:lnTo>
                    <a:pt x="508" y="2"/>
                  </a:lnTo>
                  <a:lnTo>
                    <a:pt x="495" y="1"/>
                  </a:lnTo>
                  <a:lnTo>
                    <a:pt x="480" y="0"/>
                  </a:lnTo>
                  <a:lnTo>
                    <a:pt x="382" y="0"/>
                  </a:lnTo>
                  <a:lnTo>
                    <a:pt x="382" y="0"/>
                  </a:lnTo>
                  <a:lnTo>
                    <a:pt x="369" y="1"/>
                  </a:lnTo>
                  <a:lnTo>
                    <a:pt x="355" y="2"/>
                  </a:lnTo>
                  <a:lnTo>
                    <a:pt x="342" y="5"/>
                  </a:lnTo>
                  <a:lnTo>
                    <a:pt x="331" y="9"/>
                  </a:lnTo>
                  <a:lnTo>
                    <a:pt x="318" y="15"/>
                  </a:lnTo>
                  <a:lnTo>
                    <a:pt x="307" y="21"/>
                  </a:lnTo>
                  <a:lnTo>
                    <a:pt x="296" y="28"/>
                  </a:lnTo>
                  <a:lnTo>
                    <a:pt x="286" y="36"/>
                  </a:lnTo>
                  <a:lnTo>
                    <a:pt x="276" y="46"/>
                  </a:lnTo>
                  <a:lnTo>
                    <a:pt x="268" y="55"/>
                  </a:lnTo>
                  <a:lnTo>
                    <a:pt x="260" y="66"/>
                  </a:lnTo>
                  <a:lnTo>
                    <a:pt x="254" y="76"/>
                  </a:lnTo>
                  <a:lnTo>
                    <a:pt x="248" y="88"/>
                  </a:lnTo>
                  <a:lnTo>
                    <a:pt x="243" y="101"/>
                  </a:lnTo>
                  <a:lnTo>
                    <a:pt x="240" y="114"/>
                  </a:lnTo>
                  <a:lnTo>
                    <a:pt x="237" y="127"/>
                  </a:lnTo>
                  <a:lnTo>
                    <a:pt x="0" y="127"/>
                  </a:lnTo>
                  <a:lnTo>
                    <a:pt x="0" y="127"/>
                  </a:lnTo>
                  <a:lnTo>
                    <a:pt x="5" y="146"/>
                  </a:lnTo>
                  <a:lnTo>
                    <a:pt x="7" y="165"/>
                  </a:lnTo>
                  <a:lnTo>
                    <a:pt x="10" y="185"/>
                  </a:lnTo>
                  <a:lnTo>
                    <a:pt x="11" y="205"/>
                  </a:lnTo>
                  <a:lnTo>
                    <a:pt x="11" y="205"/>
                  </a:lnTo>
                  <a:lnTo>
                    <a:pt x="10" y="225"/>
                  </a:lnTo>
                  <a:lnTo>
                    <a:pt x="297" y="225"/>
                  </a:lnTo>
                  <a:lnTo>
                    <a:pt x="336" y="225"/>
                  </a:lnTo>
                  <a:lnTo>
                    <a:pt x="526" y="225"/>
                  </a:lnTo>
                  <a:lnTo>
                    <a:pt x="578" y="225"/>
                  </a:lnTo>
                  <a:lnTo>
                    <a:pt x="891" y="225"/>
                  </a:lnTo>
                  <a:lnTo>
                    <a:pt x="891" y="225"/>
                  </a:lnTo>
                  <a:lnTo>
                    <a:pt x="900" y="226"/>
                  </a:lnTo>
                  <a:lnTo>
                    <a:pt x="910" y="230"/>
                  </a:lnTo>
                  <a:lnTo>
                    <a:pt x="918" y="234"/>
                  </a:lnTo>
                  <a:lnTo>
                    <a:pt x="925" y="241"/>
                  </a:lnTo>
                  <a:lnTo>
                    <a:pt x="931" y="250"/>
                  </a:lnTo>
                  <a:lnTo>
                    <a:pt x="936" y="259"/>
                  </a:lnTo>
                  <a:lnTo>
                    <a:pt x="939" y="269"/>
                  </a:lnTo>
                  <a:lnTo>
                    <a:pt x="939" y="280"/>
                  </a:lnTo>
                  <a:lnTo>
                    <a:pt x="939" y="1286"/>
                  </a:lnTo>
                  <a:lnTo>
                    <a:pt x="939" y="1286"/>
                  </a:lnTo>
                  <a:lnTo>
                    <a:pt x="939" y="1297"/>
                  </a:lnTo>
                  <a:lnTo>
                    <a:pt x="936" y="1308"/>
                  </a:lnTo>
                  <a:lnTo>
                    <a:pt x="931" y="1317"/>
                  </a:lnTo>
                  <a:lnTo>
                    <a:pt x="925" y="1326"/>
                  </a:lnTo>
                  <a:lnTo>
                    <a:pt x="918" y="1332"/>
                  </a:lnTo>
                  <a:lnTo>
                    <a:pt x="910" y="1337"/>
                  </a:lnTo>
                  <a:lnTo>
                    <a:pt x="900" y="1340"/>
                  </a:lnTo>
                  <a:lnTo>
                    <a:pt x="891" y="1341"/>
                  </a:lnTo>
                  <a:lnTo>
                    <a:pt x="27" y="1341"/>
                  </a:lnTo>
                  <a:lnTo>
                    <a:pt x="27" y="1341"/>
                  </a:lnTo>
                  <a:lnTo>
                    <a:pt x="19" y="1439"/>
                  </a:lnTo>
                  <a:lnTo>
                    <a:pt x="891" y="1439"/>
                  </a:lnTo>
                  <a:lnTo>
                    <a:pt x="891" y="1439"/>
                  </a:lnTo>
                  <a:lnTo>
                    <a:pt x="906" y="1439"/>
                  </a:lnTo>
                  <a:lnTo>
                    <a:pt x="920" y="1437"/>
                  </a:lnTo>
                  <a:lnTo>
                    <a:pt x="935" y="1433"/>
                  </a:lnTo>
                  <a:lnTo>
                    <a:pt x="948" y="1427"/>
                  </a:lnTo>
                  <a:lnTo>
                    <a:pt x="961" y="1421"/>
                  </a:lnTo>
                  <a:lnTo>
                    <a:pt x="974" y="1413"/>
                  </a:lnTo>
                  <a:lnTo>
                    <a:pt x="984" y="1405"/>
                  </a:lnTo>
                  <a:lnTo>
                    <a:pt x="995" y="1394"/>
                  </a:lnTo>
                  <a:lnTo>
                    <a:pt x="1004" y="1383"/>
                  </a:lnTo>
                  <a:lnTo>
                    <a:pt x="1012" y="1372"/>
                  </a:lnTo>
                  <a:lnTo>
                    <a:pt x="1020" y="1359"/>
                  </a:lnTo>
                  <a:lnTo>
                    <a:pt x="1027" y="1346"/>
                  </a:lnTo>
                  <a:lnTo>
                    <a:pt x="1031" y="1332"/>
                  </a:lnTo>
                  <a:lnTo>
                    <a:pt x="1035" y="1317"/>
                  </a:lnTo>
                  <a:lnTo>
                    <a:pt x="1037" y="1302"/>
                  </a:lnTo>
                  <a:lnTo>
                    <a:pt x="1037" y="1286"/>
                  </a:lnTo>
                  <a:lnTo>
                    <a:pt x="1037" y="280"/>
                  </a:lnTo>
                  <a:lnTo>
                    <a:pt x="1037" y="280"/>
                  </a:lnTo>
                  <a:lnTo>
                    <a:pt x="1037" y="265"/>
                  </a:lnTo>
                  <a:lnTo>
                    <a:pt x="1035" y="250"/>
                  </a:lnTo>
                  <a:lnTo>
                    <a:pt x="1031" y="234"/>
                  </a:lnTo>
                  <a:lnTo>
                    <a:pt x="1027" y="220"/>
                  </a:lnTo>
                  <a:lnTo>
                    <a:pt x="1020" y="207"/>
                  </a:lnTo>
                  <a:lnTo>
                    <a:pt x="1012" y="194"/>
                  </a:lnTo>
                  <a:lnTo>
                    <a:pt x="1004" y="182"/>
                  </a:lnTo>
                  <a:lnTo>
                    <a:pt x="995" y="172"/>
                  </a:lnTo>
                  <a:lnTo>
                    <a:pt x="984" y="162"/>
                  </a:lnTo>
                  <a:lnTo>
                    <a:pt x="974" y="153"/>
                  </a:lnTo>
                  <a:lnTo>
                    <a:pt x="961" y="146"/>
                  </a:lnTo>
                  <a:lnTo>
                    <a:pt x="948" y="139"/>
                  </a:lnTo>
                  <a:lnTo>
                    <a:pt x="935" y="134"/>
                  </a:lnTo>
                  <a:lnTo>
                    <a:pt x="920" y="130"/>
                  </a:lnTo>
                  <a:lnTo>
                    <a:pt x="906" y="128"/>
                  </a:lnTo>
                  <a:lnTo>
                    <a:pt x="891" y="127"/>
                  </a:lnTo>
                  <a:lnTo>
                    <a:pt x="891" y="127"/>
                  </a:lnTo>
                  <a:close/>
                </a:path>
              </a:pathLst>
            </a:custGeom>
            <a:solidFill>
              <a:srgbClr val="009A44"/>
            </a:solid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grpSp>
      <p:grpSp>
        <p:nvGrpSpPr>
          <p:cNvPr id="8" name="Group 7">
            <a:extLst>
              <a:ext uri="{FF2B5EF4-FFF2-40B4-BE49-F238E27FC236}">
                <a16:creationId xmlns:a16="http://schemas.microsoft.com/office/drawing/2014/main" id="{D3A67654-DAA4-A2FB-0C53-D2C1C8A2338B}"/>
              </a:ext>
            </a:extLst>
          </p:cNvPr>
          <p:cNvGrpSpPr/>
          <p:nvPr/>
        </p:nvGrpSpPr>
        <p:grpSpPr>
          <a:xfrm>
            <a:off x="553969" y="1652428"/>
            <a:ext cx="1102843" cy="1106424"/>
            <a:chOff x="760145" y="5388891"/>
            <a:chExt cx="779579" cy="707368"/>
          </a:xfrm>
        </p:grpSpPr>
        <p:grpSp>
          <p:nvGrpSpPr>
            <p:cNvPr id="123" name="Group 122">
              <a:extLst>
                <a:ext uri="{FF2B5EF4-FFF2-40B4-BE49-F238E27FC236}">
                  <a16:creationId xmlns:a16="http://schemas.microsoft.com/office/drawing/2014/main" id="{0C119C34-E3BC-0E3E-8D47-13DDD040786F}"/>
                </a:ext>
              </a:extLst>
            </p:cNvPr>
            <p:cNvGrpSpPr/>
            <p:nvPr/>
          </p:nvGrpSpPr>
          <p:grpSpPr>
            <a:xfrm>
              <a:off x="760145" y="5388891"/>
              <a:ext cx="779579" cy="707368"/>
              <a:chOff x="729713" y="5742197"/>
              <a:chExt cx="779579" cy="707368"/>
            </a:xfrm>
          </p:grpSpPr>
          <p:sp>
            <p:nvSpPr>
              <p:cNvPr id="62" name="Oval Callout 165">
                <a:extLst>
                  <a:ext uri="{FF2B5EF4-FFF2-40B4-BE49-F238E27FC236}">
                    <a16:creationId xmlns:a16="http://schemas.microsoft.com/office/drawing/2014/main" id="{EDD5225F-FBBD-10B0-DB65-FE861757A8D7}"/>
                  </a:ext>
                </a:extLst>
              </p:cNvPr>
              <p:cNvSpPr/>
              <p:nvPr/>
            </p:nvSpPr>
            <p:spPr>
              <a:xfrm flipV="1">
                <a:off x="729713" y="5742197"/>
                <a:ext cx="779579" cy="707368"/>
              </a:xfrm>
              <a:prstGeom prst="wedgeEllipseCallout">
                <a:avLst>
                  <a:gd name="adj1" fmla="val 1482"/>
                  <a:gd name="adj2" fmla="val 44609"/>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cs typeface="Arial" panose="020B0604020202020204" pitchFamily="34" charset="0"/>
                </a:endParaRPr>
              </a:p>
            </p:txBody>
          </p:sp>
          <p:sp>
            <p:nvSpPr>
              <p:cNvPr id="63" name="Oval 166">
                <a:extLst>
                  <a:ext uri="{FF2B5EF4-FFF2-40B4-BE49-F238E27FC236}">
                    <a16:creationId xmlns:a16="http://schemas.microsoft.com/office/drawing/2014/main" id="{01BD08CE-989E-3EAE-67FA-25024B5D6BCD}"/>
                  </a:ext>
                </a:extLst>
              </p:cNvPr>
              <p:cNvSpPr/>
              <p:nvPr/>
            </p:nvSpPr>
            <p:spPr>
              <a:xfrm flipV="1">
                <a:off x="782303" y="5791306"/>
                <a:ext cx="674399" cy="609145"/>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cs typeface="Arial" panose="020B0604020202020204" pitchFamily="34" charset="0"/>
                </a:endParaRPr>
              </a:p>
            </p:txBody>
          </p:sp>
        </p:grpSp>
        <p:grpSp>
          <p:nvGrpSpPr>
            <p:cNvPr id="183" name="Group 182">
              <a:extLst>
                <a:ext uri="{FF2B5EF4-FFF2-40B4-BE49-F238E27FC236}">
                  <a16:creationId xmlns:a16="http://schemas.microsoft.com/office/drawing/2014/main" id="{9D1D9AC0-97B4-B623-7B57-C6CF984879E8}"/>
                </a:ext>
              </a:extLst>
            </p:cNvPr>
            <p:cNvGrpSpPr/>
            <p:nvPr/>
          </p:nvGrpSpPr>
          <p:grpSpPr>
            <a:xfrm>
              <a:off x="981232" y="5519600"/>
              <a:ext cx="385433" cy="415026"/>
              <a:chOff x="8145463" y="476250"/>
              <a:chExt cx="1060450" cy="1179513"/>
            </a:xfrm>
            <a:solidFill>
              <a:srgbClr val="0091DA"/>
            </a:solidFill>
          </p:grpSpPr>
          <p:sp>
            <p:nvSpPr>
              <p:cNvPr id="184" name="Freeform 33">
                <a:extLst>
                  <a:ext uri="{FF2B5EF4-FFF2-40B4-BE49-F238E27FC236}">
                    <a16:creationId xmlns:a16="http://schemas.microsoft.com/office/drawing/2014/main" id="{959DD0A6-5A37-435B-4114-FD261D8D412E}"/>
                  </a:ext>
                </a:extLst>
              </p:cNvPr>
              <p:cNvSpPr>
                <a:spLocks/>
              </p:cNvSpPr>
              <p:nvPr/>
            </p:nvSpPr>
            <p:spPr bwMode="auto">
              <a:xfrm>
                <a:off x="8439150" y="1154113"/>
                <a:ext cx="471487" cy="30163"/>
              </a:xfrm>
              <a:custGeom>
                <a:avLst/>
                <a:gdLst>
                  <a:gd name="T0" fmla="*/ 0 w 297"/>
                  <a:gd name="T1" fmla="*/ 9 h 19"/>
                  <a:gd name="T2" fmla="*/ 0 w 297"/>
                  <a:gd name="T3" fmla="*/ 9 h 19"/>
                  <a:gd name="T4" fmla="*/ 5 w 297"/>
                  <a:gd name="T5" fmla="*/ 14 h 19"/>
                  <a:gd name="T6" fmla="*/ 10 w 297"/>
                  <a:gd name="T7" fmla="*/ 19 h 19"/>
                  <a:gd name="T8" fmla="*/ 288 w 297"/>
                  <a:gd name="T9" fmla="*/ 19 h 19"/>
                  <a:gd name="T10" fmla="*/ 288 w 297"/>
                  <a:gd name="T11" fmla="*/ 19 h 19"/>
                  <a:gd name="T12" fmla="*/ 297 w 297"/>
                  <a:gd name="T13" fmla="*/ 14 h 19"/>
                  <a:gd name="T14" fmla="*/ 297 w 297"/>
                  <a:gd name="T15" fmla="*/ 9 h 19"/>
                  <a:gd name="T16" fmla="*/ 297 w 297"/>
                  <a:gd name="T17" fmla="*/ 9 h 19"/>
                  <a:gd name="T18" fmla="*/ 297 w 297"/>
                  <a:gd name="T19" fmla="*/ 5 h 19"/>
                  <a:gd name="T20" fmla="*/ 288 w 297"/>
                  <a:gd name="T21" fmla="*/ 0 h 19"/>
                  <a:gd name="T22" fmla="*/ 10 w 297"/>
                  <a:gd name="T23" fmla="*/ 0 h 19"/>
                  <a:gd name="T24" fmla="*/ 10 w 297"/>
                  <a:gd name="T25" fmla="*/ 0 h 19"/>
                  <a:gd name="T26" fmla="*/ 5 w 297"/>
                  <a:gd name="T27" fmla="*/ 5 h 19"/>
                  <a:gd name="T28" fmla="*/ 0 w 297"/>
                  <a:gd name="T29" fmla="*/ 9 h 19"/>
                  <a:gd name="T30" fmla="*/ 0 w 297"/>
                  <a:gd name="T3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7" h="19">
                    <a:moveTo>
                      <a:pt x="0" y="9"/>
                    </a:moveTo>
                    <a:lnTo>
                      <a:pt x="0" y="9"/>
                    </a:lnTo>
                    <a:lnTo>
                      <a:pt x="5" y="14"/>
                    </a:lnTo>
                    <a:lnTo>
                      <a:pt x="10" y="19"/>
                    </a:lnTo>
                    <a:lnTo>
                      <a:pt x="288" y="19"/>
                    </a:lnTo>
                    <a:lnTo>
                      <a:pt x="288" y="19"/>
                    </a:lnTo>
                    <a:lnTo>
                      <a:pt x="297" y="14"/>
                    </a:lnTo>
                    <a:lnTo>
                      <a:pt x="297" y="9"/>
                    </a:lnTo>
                    <a:lnTo>
                      <a:pt x="297" y="9"/>
                    </a:lnTo>
                    <a:lnTo>
                      <a:pt x="297" y="5"/>
                    </a:lnTo>
                    <a:lnTo>
                      <a:pt x="288" y="0"/>
                    </a:lnTo>
                    <a:lnTo>
                      <a:pt x="10" y="0"/>
                    </a:lnTo>
                    <a:lnTo>
                      <a:pt x="10" y="0"/>
                    </a:lnTo>
                    <a:lnTo>
                      <a:pt x="5" y="5"/>
                    </a:lnTo>
                    <a:lnTo>
                      <a:pt x="0" y="9"/>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p>
            </p:txBody>
          </p:sp>
          <p:sp>
            <p:nvSpPr>
              <p:cNvPr id="185" name="Freeform 34">
                <a:extLst>
                  <a:ext uri="{FF2B5EF4-FFF2-40B4-BE49-F238E27FC236}">
                    <a16:creationId xmlns:a16="http://schemas.microsoft.com/office/drawing/2014/main" id="{DE1543BF-BA0D-652B-6660-E9A7C5B89D7E}"/>
                  </a:ext>
                </a:extLst>
              </p:cNvPr>
              <p:cNvSpPr>
                <a:spLocks/>
              </p:cNvSpPr>
              <p:nvPr/>
            </p:nvSpPr>
            <p:spPr bwMode="auto">
              <a:xfrm>
                <a:off x="8439150" y="1243013"/>
                <a:ext cx="471487" cy="28575"/>
              </a:xfrm>
              <a:custGeom>
                <a:avLst/>
                <a:gdLst>
                  <a:gd name="T0" fmla="*/ 288 w 297"/>
                  <a:gd name="T1" fmla="*/ 0 h 18"/>
                  <a:gd name="T2" fmla="*/ 10 w 297"/>
                  <a:gd name="T3" fmla="*/ 0 h 18"/>
                  <a:gd name="T4" fmla="*/ 10 w 297"/>
                  <a:gd name="T5" fmla="*/ 0 h 18"/>
                  <a:gd name="T6" fmla="*/ 5 w 297"/>
                  <a:gd name="T7" fmla="*/ 4 h 18"/>
                  <a:gd name="T8" fmla="*/ 0 w 297"/>
                  <a:gd name="T9" fmla="*/ 9 h 18"/>
                  <a:gd name="T10" fmla="*/ 0 w 297"/>
                  <a:gd name="T11" fmla="*/ 9 h 18"/>
                  <a:gd name="T12" fmla="*/ 5 w 297"/>
                  <a:gd name="T13" fmla="*/ 14 h 18"/>
                  <a:gd name="T14" fmla="*/ 10 w 297"/>
                  <a:gd name="T15" fmla="*/ 18 h 18"/>
                  <a:gd name="T16" fmla="*/ 288 w 297"/>
                  <a:gd name="T17" fmla="*/ 18 h 18"/>
                  <a:gd name="T18" fmla="*/ 288 w 297"/>
                  <a:gd name="T19" fmla="*/ 18 h 18"/>
                  <a:gd name="T20" fmla="*/ 297 w 297"/>
                  <a:gd name="T21" fmla="*/ 14 h 18"/>
                  <a:gd name="T22" fmla="*/ 297 w 297"/>
                  <a:gd name="T23" fmla="*/ 9 h 18"/>
                  <a:gd name="T24" fmla="*/ 297 w 297"/>
                  <a:gd name="T25" fmla="*/ 9 h 18"/>
                  <a:gd name="T26" fmla="*/ 297 w 297"/>
                  <a:gd name="T27" fmla="*/ 4 h 18"/>
                  <a:gd name="T28" fmla="*/ 288 w 297"/>
                  <a:gd name="T29" fmla="*/ 0 h 18"/>
                  <a:gd name="T30" fmla="*/ 288 w 297"/>
                  <a:gd name="T3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7" h="18">
                    <a:moveTo>
                      <a:pt x="288" y="0"/>
                    </a:moveTo>
                    <a:lnTo>
                      <a:pt x="10" y="0"/>
                    </a:lnTo>
                    <a:lnTo>
                      <a:pt x="10" y="0"/>
                    </a:lnTo>
                    <a:lnTo>
                      <a:pt x="5" y="4"/>
                    </a:lnTo>
                    <a:lnTo>
                      <a:pt x="0" y="9"/>
                    </a:lnTo>
                    <a:lnTo>
                      <a:pt x="0" y="9"/>
                    </a:lnTo>
                    <a:lnTo>
                      <a:pt x="5" y="14"/>
                    </a:lnTo>
                    <a:lnTo>
                      <a:pt x="10" y="18"/>
                    </a:lnTo>
                    <a:lnTo>
                      <a:pt x="288" y="18"/>
                    </a:lnTo>
                    <a:lnTo>
                      <a:pt x="288" y="18"/>
                    </a:lnTo>
                    <a:lnTo>
                      <a:pt x="297" y="14"/>
                    </a:lnTo>
                    <a:lnTo>
                      <a:pt x="297" y="9"/>
                    </a:lnTo>
                    <a:lnTo>
                      <a:pt x="297" y="9"/>
                    </a:lnTo>
                    <a:lnTo>
                      <a:pt x="297" y="4"/>
                    </a:lnTo>
                    <a:lnTo>
                      <a:pt x="288" y="0"/>
                    </a:lnTo>
                    <a:lnTo>
                      <a:pt x="28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p>
            </p:txBody>
          </p:sp>
          <p:sp>
            <p:nvSpPr>
              <p:cNvPr id="186" name="Freeform 35">
                <a:extLst>
                  <a:ext uri="{FF2B5EF4-FFF2-40B4-BE49-F238E27FC236}">
                    <a16:creationId xmlns:a16="http://schemas.microsoft.com/office/drawing/2014/main" id="{E499449F-24D5-C495-7F78-E61217162A76}"/>
                  </a:ext>
                </a:extLst>
              </p:cNvPr>
              <p:cNvSpPr>
                <a:spLocks/>
              </p:cNvSpPr>
              <p:nvPr/>
            </p:nvSpPr>
            <p:spPr bwMode="auto">
              <a:xfrm>
                <a:off x="8262938" y="1154113"/>
                <a:ext cx="117475" cy="117475"/>
              </a:xfrm>
              <a:custGeom>
                <a:avLst/>
                <a:gdLst>
                  <a:gd name="T0" fmla="*/ 56 w 74"/>
                  <a:gd name="T1" fmla="*/ 0 h 74"/>
                  <a:gd name="T2" fmla="*/ 18 w 74"/>
                  <a:gd name="T3" fmla="*/ 0 h 74"/>
                  <a:gd name="T4" fmla="*/ 18 w 74"/>
                  <a:gd name="T5" fmla="*/ 0 h 74"/>
                  <a:gd name="T6" fmla="*/ 14 w 74"/>
                  <a:gd name="T7" fmla="*/ 0 h 74"/>
                  <a:gd name="T8" fmla="*/ 9 w 74"/>
                  <a:gd name="T9" fmla="*/ 5 h 74"/>
                  <a:gd name="T10" fmla="*/ 4 w 74"/>
                  <a:gd name="T11" fmla="*/ 9 h 74"/>
                  <a:gd name="T12" fmla="*/ 0 w 74"/>
                  <a:gd name="T13" fmla="*/ 19 h 74"/>
                  <a:gd name="T14" fmla="*/ 0 w 74"/>
                  <a:gd name="T15" fmla="*/ 56 h 74"/>
                  <a:gd name="T16" fmla="*/ 0 w 74"/>
                  <a:gd name="T17" fmla="*/ 56 h 74"/>
                  <a:gd name="T18" fmla="*/ 4 w 74"/>
                  <a:gd name="T19" fmla="*/ 65 h 74"/>
                  <a:gd name="T20" fmla="*/ 9 w 74"/>
                  <a:gd name="T21" fmla="*/ 70 h 74"/>
                  <a:gd name="T22" fmla="*/ 14 w 74"/>
                  <a:gd name="T23" fmla="*/ 74 h 74"/>
                  <a:gd name="T24" fmla="*/ 18 w 74"/>
                  <a:gd name="T25" fmla="*/ 74 h 74"/>
                  <a:gd name="T26" fmla="*/ 56 w 74"/>
                  <a:gd name="T27" fmla="*/ 74 h 74"/>
                  <a:gd name="T28" fmla="*/ 56 w 74"/>
                  <a:gd name="T29" fmla="*/ 74 h 74"/>
                  <a:gd name="T30" fmla="*/ 65 w 74"/>
                  <a:gd name="T31" fmla="*/ 74 h 74"/>
                  <a:gd name="T32" fmla="*/ 69 w 74"/>
                  <a:gd name="T33" fmla="*/ 70 h 74"/>
                  <a:gd name="T34" fmla="*/ 74 w 74"/>
                  <a:gd name="T35" fmla="*/ 65 h 74"/>
                  <a:gd name="T36" fmla="*/ 74 w 74"/>
                  <a:gd name="T37" fmla="*/ 56 h 74"/>
                  <a:gd name="T38" fmla="*/ 74 w 74"/>
                  <a:gd name="T39" fmla="*/ 19 h 74"/>
                  <a:gd name="T40" fmla="*/ 74 w 74"/>
                  <a:gd name="T41" fmla="*/ 19 h 74"/>
                  <a:gd name="T42" fmla="*/ 74 w 74"/>
                  <a:gd name="T43" fmla="*/ 9 h 74"/>
                  <a:gd name="T44" fmla="*/ 69 w 74"/>
                  <a:gd name="T45" fmla="*/ 5 h 74"/>
                  <a:gd name="T46" fmla="*/ 65 w 74"/>
                  <a:gd name="T47" fmla="*/ 0 h 74"/>
                  <a:gd name="T48" fmla="*/ 56 w 74"/>
                  <a:gd name="T49" fmla="*/ 0 h 74"/>
                  <a:gd name="T50" fmla="*/ 56 w 74"/>
                  <a:gd name="T5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4" h="74">
                    <a:moveTo>
                      <a:pt x="56" y="0"/>
                    </a:moveTo>
                    <a:lnTo>
                      <a:pt x="18" y="0"/>
                    </a:lnTo>
                    <a:lnTo>
                      <a:pt x="18" y="0"/>
                    </a:lnTo>
                    <a:lnTo>
                      <a:pt x="14" y="0"/>
                    </a:lnTo>
                    <a:lnTo>
                      <a:pt x="9" y="5"/>
                    </a:lnTo>
                    <a:lnTo>
                      <a:pt x="4" y="9"/>
                    </a:lnTo>
                    <a:lnTo>
                      <a:pt x="0" y="19"/>
                    </a:lnTo>
                    <a:lnTo>
                      <a:pt x="0" y="56"/>
                    </a:lnTo>
                    <a:lnTo>
                      <a:pt x="0" y="56"/>
                    </a:lnTo>
                    <a:lnTo>
                      <a:pt x="4" y="65"/>
                    </a:lnTo>
                    <a:lnTo>
                      <a:pt x="9" y="70"/>
                    </a:lnTo>
                    <a:lnTo>
                      <a:pt x="14" y="74"/>
                    </a:lnTo>
                    <a:lnTo>
                      <a:pt x="18" y="74"/>
                    </a:lnTo>
                    <a:lnTo>
                      <a:pt x="56" y="74"/>
                    </a:lnTo>
                    <a:lnTo>
                      <a:pt x="56" y="74"/>
                    </a:lnTo>
                    <a:lnTo>
                      <a:pt x="65" y="74"/>
                    </a:lnTo>
                    <a:lnTo>
                      <a:pt x="69" y="70"/>
                    </a:lnTo>
                    <a:lnTo>
                      <a:pt x="74" y="65"/>
                    </a:lnTo>
                    <a:lnTo>
                      <a:pt x="74" y="56"/>
                    </a:lnTo>
                    <a:lnTo>
                      <a:pt x="74" y="19"/>
                    </a:lnTo>
                    <a:lnTo>
                      <a:pt x="74" y="19"/>
                    </a:lnTo>
                    <a:lnTo>
                      <a:pt x="74" y="9"/>
                    </a:lnTo>
                    <a:lnTo>
                      <a:pt x="69" y="5"/>
                    </a:lnTo>
                    <a:lnTo>
                      <a:pt x="65" y="0"/>
                    </a:lnTo>
                    <a:lnTo>
                      <a:pt x="56" y="0"/>
                    </a:ln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p>
            </p:txBody>
          </p:sp>
          <p:sp>
            <p:nvSpPr>
              <p:cNvPr id="187" name="Freeform 36">
                <a:extLst>
                  <a:ext uri="{FF2B5EF4-FFF2-40B4-BE49-F238E27FC236}">
                    <a16:creationId xmlns:a16="http://schemas.microsoft.com/office/drawing/2014/main" id="{FF83ECA8-28E2-AA35-A38A-BAD19408E8B1}"/>
                  </a:ext>
                </a:extLst>
              </p:cNvPr>
              <p:cNvSpPr>
                <a:spLocks/>
              </p:cNvSpPr>
              <p:nvPr/>
            </p:nvSpPr>
            <p:spPr bwMode="auto">
              <a:xfrm>
                <a:off x="8439150" y="947738"/>
                <a:ext cx="265112" cy="30163"/>
              </a:xfrm>
              <a:custGeom>
                <a:avLst/>
                <a:gdLst>
                  <a:gd name="T0" fmla="*/ 10 w 167"/>
                  <a:gd name="T1" fmla="*/ 19 h 19"/>
                  <a:gd name="T2" fmla="*/ 158 w 167"/>
                  <a:gd name="T3" fmla="*/ 19 h 19"/>
                  <a:gd name="T4" fmla="*/ 158 w 167"/>
                  <a:gd name="T5" fmla="*/ 19 h 19"/>
                  <a:gd name="T6" fmla="*/ 167 w 167"/>
                  <a:gd name="T7" fmla="*/ 14 h 19"/>
                  <a:gd name="T8" fmla="*/ 167 w 167"/>
                  <a:gd name="T9" fmla="*/ 9 h 19"/>
                  <a:gd name="T10" fmla="*/ 167 w 167"/>
                  <a:gd name="T11" fmla="*/ 9 h 19"/>
                  <a:gd name="T12" fmla="*/ 167 w 167"/>
                  <a:gd name="T13" fmla="*/ 5 h 19"/>
                  <a:gd name="T14" fmla="*/ 158 w 167"/>
                  <a:gd name="T15" fmla="*/ 0 h 19"/>
                  <a:gd name="T16" fmla="*/ 10 w 167"/>
                  <a:gd name="T17" fmla="*/ 0 h 19"/>
                  <a:gd name="T18" fmla="*/ 10 w 167"/>
                  <a:gd name="T19" fmla="*/ 0 h 19"/>
                  <a:gd name="T20" fmla="*/ 5 w 167"/>
                  <a:gd name="T21" fmla="*/ 5 h 19"/>
                  <a:gd name="T22" fmla="*/ 0 w 167"/>
                  <a:gd name="T23" fmla="*/ 9 h 19"/>
                  <a:gd name="T24" fmla="*/ 0 w 167"/>
                  <a:gd name="T25" fmla="*/ 9 h 19"/>
                  <a:gd name="T26" fmla="*/ 5 w 167"/>
                  <a:gd name="T27" fmla="*/ 14 h 19"/>
                  <a:gd name="T28" fmla="*/ 10 w 167"/>
                  <a:gd name="T29" fmla="*/ 19 h 19"/>
                  <a:gd name="T30" fmla="*/ 10 w 167"/>
                  <a:gd name="T31"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9">
                    <a:moveTo>
                      <a:pt x="10" y="19"/>
                    </a:moveTo>
                    <a:lnTo>
                      <a:pt x="158" y="19"/>
                    </a:lnTo>
                    <a:lnTo>
                      <a:pt x="158" y="19"/>
                    </a:lnTo>
                    <a:lnTo>
                      <a:pt x="167" y="14"/>
                    </a:lnTo>
                    <a:lnTo>
                      <a:pt x="167" y="9"/>
                    </a:lnTo>
                    <a:lnTo>
                      <a:pt x="167" y="9"/>
                    </a:lnTo>
                    <a:lnTo>
                      <a:pt x="167" y="5"/>
                    </a:lnTo>
                    <a:lnTo>
                      <a:pt x="158" y="0"/>
                    </a:lnTo>
                    <a:lnTo>
                      <a:pt x="10" y="0"/>
                    </a:lnTo>
                    <a:lnTo>
                      <a:pt x="10" y="0"/>
                    </a:lnTo>
                    <a:lnTo>
                      <a:pt x="5" y="5"/>
                    </a:lnTo>
                    <a:lnTo>
                      <a:pt x="0" y="9"/>
                    </a:lnTo>
                    <a:lnTo>
                      <a:pt x="0" y="9"/>
                    </a:lnTo>
                    <a:lnTo>
                      <a:pt x="5" y="14"/>
                    </a:lnTo>
                    <a:lnTo>
                      <a:pt x="10" y="19"/>
                    </a:lnTo>
                    <a:lnTo>
                      <a:pt x="1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p>
            </p:txBody>
          </p:sp>
          <p:sp>
            <p:nvSpPr>
              <p:cNvPr id="188" name="Freeform 37">
                <a:extLst>
                  <a:ext uri="{FF2B5EF4-FFF2-40B4-BE49-F238E27FC236}">
                    <a16:creationId xmlns:a16="http://schemas.microsoft.com/office/drawing/2014/main" id="{2950EBD5-2F92-2BF8-1AEB-AF38C0175E26}"/>
                  </a:ext>
                </a:extLst>
              </p:cNvPr>
              <p:cNvSpPr>
                <a:spLocks/>
              </p:cNvSpPr>
              <p:nvPr/>
            </p:nvSpPr>
            <p:spPr bwMode="auto">
              <a:xfrm>
                <a:off x="8439150" y="1036638"/>
                <a:ext cx="265112" cy="28575"/>
              </a:xfrm>
              <a:custGeom>
                <a:avLst/>
                <a:gdLst>
                  <a:gd name="T0" fmla="*/ 10 w 167"/>
                  <a:gd name="T1" fmla="*/ 18 h 18"/>
                  <a:gd name="T2" fmla="*/ 158 w 167"/>
                  <a:gd name="T3" fmla="*/ 18 h 18"/>
                  <a:gd name="T4" fmla="*/ 158 w 167"/>
                  <a:gd name="T5" fmla="*/ 18 h 18"/>
                  <a:gd name="T6" fmla="*/ 167 w 167"/>
                  <a:gd name="T7" fmla="*/ 14 h 18"/>
                  <a:gd name="T8" fmla="*/ 167 w 167"/>
                  <a:gd name="T9" fmla="*/ 9 h 18"/>
                  <a:gd name="T10" fmla="*/ 167 w 167"/>
                  <a:gd name="T11" fmla="*/ 9 h 18"/>
                  <a:gd name="T12" fmla="*/ 167 w 167"/>
                  <a:gd name="T13" fmla="*/ 4 h 18"/>
                  <a:gd name="T14" fmla="*/ 158 w 167"/>
                  <a:gd name="T15" fmla="*/ 0 h 18"/>
                  <a:gd name="T16" fmla="*/ 10 w 167"/>
                  <a:gd name="T17" fmla="*/ 0 h 18"/>
                  <a:gd name="T18" fmla="*/ 10 w 167"/>
                  <a:gd name="T19" fmla="*/ 0 h 18"/>
                  <a:gd name="T20" fmla="*/ 5 w 167"/>
                  <a:gd name="T21" fmla="*/ 4 h 18"/>
                  <a:gd name="T22" fmla="*/ 0 w 167"/>
                  <a:gd name="T23" fmla="*/ 9 h 18"/>
                  <a:gd name="T24" fmla="*/ 0 w 167"/>
                  <a:gd name="T25" fmla="*/ 9 h 18"/>
                  <a:gd name="T26" fmla="*/ 5 w 167"/>
                  <a:gd name="T27" fmla="*/ 14 h 18"/>
                  <a:gd name="T28" fmla="*/ 10 w 167"/>
                  <a:gd name="T29" fmla="*/ 18 h 18"/>
                  <a:gd name="T30" fmla="*/ 10 w 167"/>
                  <a:gd name="T3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8">
                    <a:moveTo>
                      <a:pt x="10" y="18"/>
                    </a:moveTo>
                    <a:lnTo>
                      <a:pt x="158" y="18"/>
                    </a:lnTo>
                    <a:lnTo>
                      <a:pt x="158" y="18"/>
                    </a:lnTo>
                    <a:lnTo>
                      <a:pt x="167" y="14"/>
                    </a:lnTo>
                    <a:lnTo>
                      <a:pt x="167" y="9"/>
                    </a:lnTo>
                    <a:lnTo>
                      <a:pt x="167" y="9"/>
                    </a:lnTo>
                    <a:lnTo>
                      <a:pt x="167" y="4"/>
                    </a:lnTo>
                    <a:lnTo>
                      <a:pt x="158" y="0"/>
                    </a:lnTo>
                    <a:lnTo>
                      <a:pt x="10" y="0"/>
                    </a:lnTo>
                    <a:lnTo>
                      <a:pt x="10" y="0"/>
                    </a:lnTo>
                    <a:lnTo>
                      <a:pt x="5" y="4"/>
                    </a:lnTo>
                    <a:lnTo>
                      <a:pt x="0" y="9"/>
                    </a:lnTo>
                    <a:lnTo>
                      <a:pt x="0" y="9"/>
                    </a:lnTo>
                    <a:lnTo>
                      <a:pt x="5" y="14"/>
                    </a:lnTo>
                    <a:lnTo>
                      <a:pt x="10" y="18"/>
                    </a:lnTo>
                    <a:lnTo>
                      <a:pt x="1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p>
            </p:txBody>
          </p:sp>
          <p:sp>
            <p:nvSpPr>
              <p:cNvPr id="189" name="Freeform 38">
                <a:extLst>
                  <a:ext uri="{FF2B5EF4-FFF2-40B4-BE49-F238E27FC236}">
                    <a16:creationId xmlns:a16="http://schemas.microsoft.com/office/drawing/2014/main" id="{BB7EC2DC-6E21-49BD-91CA-AB63D8C7D887}"/>
                  </a:ext>
                </a:extLst>
              </p:cNvPr>
              <p:cNvSpPr>
                <a:spLocks/>
              </p:cNvSpPr>
              <p:nvPr/>
            </p:nvSpPr>
            <p:spPr bwMode="auto">
              <a:xfrm>
                <a:off x="8262938" y="947738"/>
                <a:ext cx="117475" cy="117475"/>
              </a:xfrm>
              <a:custGeom>
                <a:avLst/>
                <a:gdLst>
                  <a:gd name="T0" fmla="*/ 56 w 74"/>
                  <a:gd name="T1" fmla="*/ 0 h 74"/>
                  <a:gd name="T2" fmla="*/ 18 w 74"/>
                  <a:gd name="T3" fmla="*/ 0 h 74"/>
                  <a:gd name="T4" fmla="*/ 18 w 74"/>
                  <a:gd name="T5" fmla="*/ 0 h 74"/>
                  <a:gd name="T6" fmla="*/ 14 w 74"/>
                  <a:gd name="T7" fmla="*/ 0 h 74"/>
                  <a:gd name="T8" fmla="*/ 9 w 74"/>
                  <a:gd name="T9" fmla="*/ 5 h 74"/>
                  <a:gd name="T10" fmla="*/ 4 w 74"/>
                  <a:gd name="T11" fmla="*/ 9 h 74"/>
                  <a:gd name="T12" fmla="*/ 0 w 74"/>
                  <a:gd name="T13" fmla="*/ 19 h 74"/>
                  <a:gd name="T14" fmla="*/ 0 w 74"/>
                  <a:gd name="T15" fmla="*/ 56 h 74"/>
                  <a:gd name="T16" fmla="*/ 0 w 74"/>
                  <a:gd name="T17" fmla="*/ 56 h 74"/>
                  <a:gd name="T18" fmla="*/ 4 w 74"/>
                  <a:gd name="T19" fmla="*/ 65 h 74"/>
                  <a:gd name="T20" fmla="*/ 9 w 74"/>
                  <a:gd name="T21" fmla="*/ 70 h 74"/>
                  <a:gd name="T22" fmla="*/ 14 w 74"/>
                  <a:gd name="T23" fmla="*/ 74 h 74"/>
                  <a:gd name="T24" fmla="*/ 18 w 74"/>
                  <a:gd name="T25" fmla="*/ 74 h 74"/>
                  <a:gd name="T26" fmla="*/ 56 w 74"/>
                  <a:gd name="T27" fmla="*/ 74 h 74"/>
                  <a:gd name="T28" fmla="*/ 56 w 74"/>
                  <a:gd name="T29" fmla="*/ 74 h 74"/>
                  <a:gd name="T30" fmla="*/ 65 w 74"/>
                  <a:gd name="T31" fmla="*/ 74 h 74"/>
                  <a:gd name="T32" fmla="*/ 69 w 74"/>
                  <a:gd name="T33" fmla="*/ 70 h 74"/>
                  <a:gd name="T34" fmla="*/ 74 w 74"/>
                  <a:gd name="T35" fmla="*/ 65 h 74"/>
                  <a:gd name="T36" fmla="*/ 74 w 74"/>
                  <a:gd name="T37" fmla="*/ 56 h 74"/>
                  <a:gd name="T38" fmla="*/ 74 w 74"/>
                  <a:gd name="T39" fmla="*/ 19 h 74"/>
                  <a:gd name="T40" fmla="*/ 74 w 74"/>
                  <a:gd name="T41" fmla="*/ 19 h 74"/>
                  <a:gd name="T42" fmla="*/ 74 w 74"/>
                  <a:gd name="T43" fmla="*/ 9 h 74"/>
                  <a:gd name="T44" fmla="*/ 69 w 74"/>
                  <a:gd name="T45" fmla="*/ 5 h 74"/>
                  <a:gd name="T46" fmla="*/ 65 w 74"/>
                  <a:gd name="T47" fmla="*/ 0 h 74"/>
                  <a:gd name="T48" fmla="*/ 56 w 74"/>
                  <a:gd name="T49" fmla="*/ 0 h 74"/>
                  <a:gd name="T50" fmla="*/ 56 w 74"/>
                  <a:gd name="T5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4" h="74">
                    <a:moveTo>
                      <a:pt x="56" y="0"/>
                    </a:moveTo>
                    <a:lnTo>
                      <a:pt x="18" y="0"/>
                    </a:lnTo>
                    <a:lnTo>
                      <a:pt x="18" y="0"/>
                    </a:lnTo>
                    <a:lnTo>
                      <a:pt x="14" y="0"/>
                    </a:lnTo>
                    <a:lnTo>
                      <a:pt x="9" y="5"/>
                    </a:lnTo>
                    <a:lnTo>
                      <a:pt x="4" y="9"/>
                    </a:lnTo>
                    <a:lnTo>
                      <a:pt x="0" y="19"/>
                    </a:lnTo>
                    <a:lnTo>
                      <a:pt x="0" y="56"/>
                    </a:lnTo>
                    <a:lnTo>
                      <a:pt x="0" y="56"/>
                    </a:lnTo>
                    <a:lnTo>
                      <a:pt x="4" y="65"/>
                    </a:lnTo>
                    <a:lnTo>
                      <a:pt x="9" y="70"/>
                    </a:lnTo>
                    <a:lnTo>
                      <a:pt x="14" y="74"/>
                    </a:lnTo>
                    <a:lnTo>
                      <a:pt x="18" y="74"/>
                    </a:lnTo>
                    <a:lnTo>
                      <a:pt x="56" y="74"/>
                    </a:lnTo>
                    <a:lnTo>
                      <a:pt x="56" y="74"/>
                    </a:lnTo>
                    <a:lnTo>
                      <a:pt x="65" y="74"/>
                    </a:lnTo>
                    <a:lnTo>
                      <a:pt x="69" y="70"/>
                    </a:lnTo>
                    <a:lnTo>
                      <a:pt x="74" y="65"/>
                    </a:lnTo>
                    <a:lnTo>
                      <a:pt x="74" y="56"/>
                    </a:lnTo>
                    <a:lnTo>
                      <a:pt x="74" y="19"/>
                    </a:lnTo>
                    <a:lnTo>
                      <a:pt x="74" y="19"/>
                    </a:lnTo>
                    <a:lnTo>
                      <a:pt x="74" y="9"/>
                    </a:lnTo>
                    <a:lnTo>
                      <a:pt x="69" y="5"/>
                    </a:lnTo>
                    <a:lnTo>
                      <a:pt x="65" y="0"/>
                    </a:lnTo>
                    <a:lnTo>
                      <a:pt x="56" y="0"/>
                    </a:ln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p>
            </p:txBody>
          </p:sp>
          <p:sp>
            <p:nvSpPr>
              <p:cNvPr id="190" name="Freeform 39">
                <a:extLst>
                  <a:ext uri="{FF2B5EF4-FFF2-40B4-BE49-F238E27FC236}">
                    <a16:creationId xmlns:a16="http://schemas.microsoft.com/office/drawing/2014/main" id="{B26A9FD0-62BE-1E44-8512-D07CDC4BBB2E}"/>
                  </a:ext>
                </a:extLst>
              </p:cNvPr>
              <p:cNvSpPr>
                <a:spLocks/>
              </p:cNvSpPr>
              <p:nvPr/>
            </p:nvSpPr>
            <p:spPr bwMode="auto">
              <a:xfrm>
                <a:off x="8439150" y="1360488"/>
                <a:ext cx="265112" cy="30163"/>
              </a:xfrm>
              <a:custGeom>
                <a:avLst/>
                <a:gdLst>
                  <a:gd name="T0" fmla="*/ 158 w 167"/>
                  <a:gd name="T1" fmla="*/ 0 h 19"/>
                  <a:gd name="T2" fmla="*/ 10 w 167"/>
                  <a:gd name="T3" fmla="*/ 0 h 19"/>
                  <a:gd name="T4" fmla="*/ 10 w 167"/>
                  <a:gd name="T5" fmla="*/ 0 h 19"/>
                  <a:gd name="T6" fmla="*/ 5 w 167"/>
                  <a:gd name="T7" fmla="*/ 5 h 19"/>
                  <a:gd name="T8" fmla="*/ 0 w 167"/>
                  <a:gd name="T9" fmla="*/ 9 h 19"/>
                  <a:gd name="T10" fmla="*/ 0 w 167"/>
                  <a:gd name="T11" fmla="*/ 9 h 19"/>
                  <a:gd name="T12" fmla="*/ 5 w 167"/>
                  <a:gd name="T13" fmla="*/ 14 h 19"/>
                  <a:gd name="T14" fmla="*/ 10 w 167"/>
                  <a:gd name="T15" fmla="*/ 19 h 19"/>
                  <a:gd name="T16" fmla="*/ 158 w 167"/>
                  <a:gd name="T17" fmla="*/ 19 h 19"/>
                  <a:gd name="T18" fmla="*/ 158 w 167"/>
                  <a:gd name="T19" fmla="*/ 19 h 19"/>
                  <a:gd name="T20" fmla="*/ 167 w 167"/>
                  <a:gd name="T21" fmla="*/ 14 h 19"/>
                  <a:gd name="T22" fmla="*/ 167 w 167"/>
                  <a:gd name="T23" fmla="*/ 9 h 19"/>
                  <a:gd name="T24" fmla="*/ 167 w 167"/>
                  <a:gd name="T25" fmla="*/ 9 h 19"/>
                  <a:gd name="T26" fmla="*/ 167 w 167"/>
                  <a:gd name="T27" fmla="*/ 5 h 19"/>
                  <a:gd name="T28" fmla="*/ 158 w 167"/>
                  <a:gd name="T29" fmla="*/ 0 h 19"/>
                  <a:gd name="T30" fmla="*/ 158 w 167"/>
                  <a:gd name="T3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9">
                    <a:moveTo>
                      <a:pt x="158" y="0"/>
                    </a:moveTo>
                    <a:lnTo>
                      <a:pt x="10" y="0"/>
                    </a:lnTo>
                    <a:lnTo>
                      <a:pt x="10" y="0"/>
                    </a:lnTo>
                    <a:lnTo>
                      <a:pt x="5" y="5"/>
                    </a:lnTo>
                    <a:lnTo>
                      <a:pt x="0" y="9"/>
                    </a:lnTo>
                    <a:lnTo>
                      <a:pt x="0" y="9"/>
                    </a:lnTo>
                    <a:lnTo>
                      <a:pt x="5" y="14"/>
                    </a:lnTo>
                    <a:lnTo>
                      <a:pt x="10" y="19"/>
                    </a:lnTo>
                    <a:lnTo>
                      <a:pt x="158" y="19"/>
                    </a:lnTo>
                    <a:lnTo>
                      <a:pt x="158" y="19"/>
                    </a:lnTo>
                    <a:lnTo>
                      <a:pt x="167" y="14"/>
                    </a:lnTo>
                    <a:lnTo>
                      <a:pt x="167" y="9"/>
                    </a:lnTo>
                    <a:lnTo>
                      <a:pt x="167" y="9"/>
                    </a:lnTo>
                    <a:lnTo>
                      <a:pt x="167" y="5"/>
                    </a:lnTo>
                    <a:lnTo>
                      <a:pt x="158" y="0"/>
                    </a:lnTo>
                    <a:lnTo>
                      <a:pt x="1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p>
            </p:txBody>
          </p:sp>
          <p:sp>
            <p:nvSpPr>
              <p:cNvPr id="191" name="Freeform 40">
                <a:extLst>
                  <a:ext uri="{FF2B5EF4-FFF2-40B4-BE49-F238E27FC236}">
                    <a16:creationId xmlns:a16="http://schemas.microsoft.com/office/drawing/2014/main" id="{F4371007-EF7B-CCF8-E79D-4AEED8C0E733}"/>
                  </a:ext>
                </a:extLst>
              </p:cNvPr>
              <p:cNvSpPr>
                <a:spLocks/>
              </p:cNvSpPr>
              <p:nvPr/>
            </p:nvSpPr>
            <p:spPr bwMode="auto">
              <a:xfrm>
                <a:off x="8439150" y="1449388"/>
                <a:ext cx="265112" cy="28575"/>
              </a:xfrm>
              <a:custGeom>
                <a:avLst/>
                <a:gdLst>
                  <a:gd name="T0" fmla="*/ 158 w 167"/>
                  <a:gd name="T1" fmla="*/ 0 h 18"/>
                  <a:gd name="T2" fmla="*/ 10 w 167"/>
                  <a:gd name="T3" fmla="*/ 0 h 18"/>
                  <a:gd name="T4" fmla="*/ 10 w 167"/>
                  <a:gd name="T5" fmla="*/ 0 h 18"/>
                  <a:gd name="T6" fmla="*/ 5 w 167"/>
                  <a:gd name="T7" fmla="*/ 4 h 18"/>
                  <a:gd name="T8" fmla="*/ 0 w 167"/>
                  <a:gd name="T9" fmla="*/ 9 h 18"/>
                  <a:gd name="T10" fmla="*/ 0 w 167"/>
                  <a:gd name="T11" fmla="*/ 9 h 18"/>
                  <a:gd name="T12" fmla="*/ 5 w 167"/>
                  <a:gd name="T13" fmla="*/ 14 h 18"/>
                  <a:gd name="T14" fmla="*/ 10 w 167"/>
                  <a:gd name="T15" fmla="*/ 18 h 18"/>
                  <a:gd name="T16" fmla="*/ 158 w 167"/>
                  <a:gd name="T17" fmla="*/ 18 h 18"/>
                  <a:gd name="T18" fmla="*/ 158 w 167"/>
                  <a:gd name="T19" fmla="*/ 18 h 18"/>
                  <a:gd name="T20" fmla="*/ 167 w 167"/>
                  <a:gd name="T21" fmla="*/ 14 h 18"/>
                  <a:gd name="T22" fmla="*/ 167 w 167"/>
                  <a:gd name="T23" fmla="*/ 9 h 18"/>
                  <a:gd name="T24" fmla="*/ 167 w 167"/>
                  <a:gd name="T25" fmla="*/ 9 h 18"/>
                  <a:gd name="T26" fmla="*/ 167 w 167"/>
                  <a:gd name="T27" fmla="*/ 4 h 18"/>
                  <a:gd name="T28" fmla="*/ 158 w 167"/>
                  <a:gd name="T29" fmla="*/ 0 h 18"/>
                  <a:gd name="T30" fmla="*/ 158 w 167"/>
                  <a:gd name="T3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8">
                    <a:moveTo>
                      <a:pt x="158" y="0"/>
                    </a:moveTo>
                    <a:lnTo>
                      <a:pt x="10" y="0"/>
                    </a:lnTo>
                    <a:lnTo>
                      <a:pt x="10" y="0"/>
                    </a:lnTo>
                    <a:lnTo>
                      <a:pt x="5" y="4"/>
                    </a:lnTo>
                    <a:lnTo>
                      <a:pt x="0" y="9"/>
                    </a:lnTo>
                    <a:lnTo>
                      <a:pt x="0" y="9"/>
                    </a:lnTo>
                    <a:lnTo>
                      <a:pt x="5" y="14"/>
                    </a:lnTo>
                    <a:lnTo>
                      <a:pt x="10" y="18"/>
                    </a:lnTo>
                    <a:lnTo>
                      <a:pt x="158" y="18"/>
                    </a:lnTo>
                    <a:lnTo>
                      <a:pt x="158" y="18"/>
                    </a:lnTo>
                    <a:lnTo>
                      <a:pt x="167" y="14"/>
                    </a:lnTo>
                    <a:lnTo>
                      <a:pt x="167" y="9"/>
                    </a:lnTo>
                    <a:lnTo>
                      <a:pt x="167" y="9"/>
                    </a:lnTo>
                    <a:lnTo>
                      <a:pt x="167" y="4"/>
                    </a:lnTo>
                    <a:lnTo>
                      <a:pt x="158" y="0"/>
                    </a:lnTo>
                    <a:lnTo>
                      <a:pt x="1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p>
            </p:txBody>
          </p:sp>
          <p:sp>
            <p:nvSpPr>
              <p:cNvPr id="192" name="Freeform 41">
                <a:extLst>
                  <a:ext uri="{FF2B5EF4-FFF2-40B4-BE49-F238E27FC236}">
                    <a16:creationId xmlns:a16="http://schemas.microsoft.com/office/drawing/2014/main" id="{4EC56CA9-D860-57DC-73B1-4B177A5A93AF}"/>
                  </a:ext>
                </a:extLst>
              </p:cNvPr>
              <p:cNvSpPr>
                <a:spLocks/>
              </p:cNvSpPr>
              <p:nvPr/>
            </p:nvSpPr>
            <p:spPr bwMode="auto">
              <a:xfrm>
                <a:off x="8262938" y="1360488"/>
                <a:ext cx="117475" cy="117475"/>
              </a:xfrm>
              <a:custGeom>
                <a:avLst/>
                <a:gdLst>
                  <a:gd name="T0" fmla="*/ 56 w 74"/>
                  <a:gd name="T1" fmla="*/ 0 h 74"/>
                  <a:gd name="T2" fmla="*/ 18 w 74"/>
                  <a:gd name="T3" fmla="*/ 0 h 74"/>
                  <a:gd name="T4" fmla="*/ 18 w 74"/>
                  <a:gd name="T5" fmla="*/ 0 h 74"/>
                  <a:gd name="T6" fmla="*/ 14 w 74"/>
                  <a:gd name="T7" fmla="*/ 0 h 74"/>
                  <a:gd name="T8" fmla="*/ 9 w 74"/>
                  <a:gd name="T9" fmla="*/ 5 h 74"/>
                  <a:gd name="T10" fmla="*/ 4 w 74"/>
                  <a:gd name="T11" fmla="*/ 9 h 74"/>
                  <a:gd name="T12" fmla="*/ 0 w 74"/>
                  <a:gd name="T13" fmla="*/ 19 h 74"/>
                  <a:gd name="T14" fmla="*/ 0 w 74"/>
                  <a:gd name="T15" fmla="*/ 56 h 74"/>
                  <a:gd name="T16" fmla="*/ 0 w 74"/>
                  <a:gd name="T17" fmla="*/ 56 h 74"/>
                  <a:gd name="T18" fmla="*/ 4 w 74"/>
                  <a:gd name="T19" fmla="*/ 65 h 74"/>
                  <a:gd name="T20" fmla="*/ 9 w 74"/>
                  <a:gd name="T21" fmla="*/ 70 h 74"/>
                  <a:gd name="T22" fmla="*/ 14 w 74"/>
                  <a:gd name="T23" fmla="*/ 74 h 74"/>
                  <a:gd name="T24" fmla="*/ 18 w 74"/>
                  <a:gd name="T25" fmla="*/ 74 h 74"/>
                  <a:gd name="T26" fmla="*/ 56 w 74"/>
                  <a:gd name="T27" fmla="*/ 74 h 74"/>
                  <a:gd name="T28" fmla="*/ 56 w 74"/>
                  <a:gd name="T29" fmla="*/ 74 h 74"/>
                  <a:gd name="T30" fmla="*/ 65 w 74"/>
                  <a:gd name="T31" fmla="*/ 74 h 74"/>
                  <a:gd name="T32" fmla="*/ 69 w 74"/>
                  <a:gd name="T33" fmla="*/ 70 h 74"/>
                  <a:gd name="T34" fmla="*/ 74 w 74"/>
                  <a:gd name="T35" fmla="*/ 65 h 74"/>
                  <a:gd name="T36" fmla="*/ 74 w 74"/>
                  <a:gd name="T37" fmla="*/ 56 h 74"/>
                  <a:gd name="T38" fmla="*/ 74 w 74"/>
                  <a:gd name="T39" fmla="*/ 19 h 74"/>
                  <a:gd name="T40" fmla="*/ 74 w 74"/>
                  <a:gd name="T41" fmla="*/ 19 h 74"/>
                  <a:gd name="T42" fmla="*/ 74 w 74"/>
                  <a:gd name="T43" fmla="*/ 9 h 74"/>
                  <a:gd name="T44" fmla="*/ 69 w 74"/>
                  <a:gd name="T45" fmla="*/ 5 h 74"/>
                  <a:gd name="T46" fmla="*/ 65 w 74"/>
                  <a:gd name="T47" fmla="*/ 0 h 74"/>
                  <a:gd name="T48" fmla="*/ 56 w 74"/>
                  <a:gd name="T49" fmla="*/ 0 h 74"/>
                  <a:gd name="T50" fmla="*/ 56 w 74"/>
                  <a:gd name="T5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4" h="74">
                    <a:moveTo>
                      <a:pt x="56" y="0"/>
                    </a:moveTo>
                    <a:lnTo>
                      <a:pt x="18" y="0"/>
                    </a:lnTo>
                    <a:lnTo>
                      <a:pt x="18" y="0"/>
                    </a:lnTo>
                    <a:lnTo>
                      <a:pt x="14" y="0"/>
                    </a:lnTo>
                    <a:lnTo>
                      <a:pt x="9" y="5"/>
                    </a:lnTo>
                    <a:lnTo>
                      <a:pt x="4" y="9"/>
                    </a:lnTo>
                    <a:lnTo>
                      <a:pt x="0" y="19"/>
                    </a:lnTo>
                    <a:lnTo>
                      <a:pt x="0" y="56"/>
                    </a:lnTo>
                    <a:lnTo>
                      <a:pt x="0" y="56"/>
                    </a:lnTo>
                    <a:lnTo>
                      <a:pt x="4" y="65"/>
                    </a:lnTo>
                    <a:lnTo>
                      <a:pt x="9" y="70"/>
                    </a:lnTo>
                    <a:lnTo>
                      <a:pt x="14" y="74"/>
                    </a:lnTo>
                    <a:lnTo>
                      <a:pt x="18" y="74"/>
                    </a:lnTo>
                    <a:lnTo>
                      <a:pt x="56" y="74"/>
                    </a:lnTo>
                    <a:lnTo>
                      <a:pt x="56" y="74"/>
                    </a:lnTo>
                    <a:lnTo>
                      <a:pt x="65" y="74"/>
                    </a:lnTo>
                    <a:lnTo>
                      <a:pt x="69" y="70"/>
                    </a:lnTo>
                    <a:lnTo>
                      <a:pt x="74" y="65"/>
                    </a:lnTo>
                    <a:lnTo>
                      <a:pt x="74" y="56"/>
                    </a:lnTo>
                    <a:lnTo>
                      <a:pt x="74" y="19"/>
                    </a:lnTo>
                    <a:lnTo>
                      <a:pt x="74" y="19"/>
                    </a:lnTo>
                    <a:lnTo>
                      <a:pt x="74" y="9"/>
                    </a:lnTo>
                    <a:lnTo>
                      <a:pt x="69" y="5"/>
                    </a:lnTo>
                    <a:lnTo>
                      <a:pt x="65" y="0"/>
                    </a:lnTo>
                    <a:lnTo>
                      <a:pt x="56" y="0"/>
                    </a:ln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p>
            </p:txBody>
          </p:sp>
          <p:sp>
            <p:nvSpPr>
              <p:cNvPr id="193" name="Freeform 42">
                <a:extLst>
                  <a:ext uri="{FF2B5EF4-FFF2-40B4-BE49-F238E27FC236}">
                    <a16:creationId xmlns:a16="http://schemas.microsoft.com/office/drawing/2014/main" id="{33427A24-4642-4C17-A31F-5303A0CD8F47}"/>
                  </a:ext>
                </a:extLst>
              </p:cNvPr>
              <p:cNvSpPr>
                <a:spLocks/>
              </p:cNvSpPr>
              <p:nvPr/>
            </p:nvSpPr>
            <p:spPr bwMode="auto">
              <a:xfrm>
                <a:off x="8439150" y="741363"/>
                <a:ext cx="265112" cy="30163"/>
              </a:xfrm>
              <a:custGeom>
                <a:avLst/>
                <a:gdLst>
                  <a:gd name="T0" fmla="*/ 10 w 167"/>
                  <a:gd name="T1" fmla="*/ 19 h 19"/>
                  <a:gd name="T2" fmla="*/ 158 w 167"/>
                  <a:gd name="T3" fmla="*/ 19 h 19"/>
                  <a:gd name="T4" fmla="*/ 158 w 167"/>
                  <a:gd name="T5" fmla="*/ 19 h 19"/>
                  <a:gd name="T6" fmla="*/ 167 w 167"/>
                  <a:gd name="T7" fmla="*/ 14 h 19"/>
                  <a:gd name="T8" fmla="*/ 167 w 167"/>
                  <a:gd name="T9" fmla="*/ 9 h 19"/>
                  <a:gd name="T10" fmla="*/ 167 w 167"/>
                  <a:gd name="T11" fmla="*/ 9 h 19"/>
                  <a:gd name="T12" fmla="*/ 167 w 167"/>
                  <a:gd name="T13" fmla="*/ 5 h 19"/>
                  <a:gd name="T14" fmla="*/ 158 w 167"/>
                  <a:gd name="T15" fmla="*/ 0 h 19"/>
                  <a:gd name="T16" fmla="*/ 10 w 167"/>
                  <a:gd name="T17" fmla="*/ 0 h 19"/>
                  <a:gd name="T18" fmla="*/ 10 w 167"/>
                  <a:gd name="T19" fmla="*/ 0 h 19"/>
                  <a:gd name="T20" fmla="*/ 5 w 167"/>
                  <a:gd name="T21" fmla="*/ 5 h 19"/>
                  <a:gd name="T22" fmla="*/ 0 w 167"/>
                  <a:gd name="T23" fmla="*/ 9 h 19"/>
                  <a:gd name="T24" fmla="*/ 0 w 167"/>
                  <a:gd name="T25" fmla="*/ 9 h 19"/>
                  <a:gd name="T26" fmla="*/ 5 w 167"/>
                  <a:gd name="T27" fmla="*/ 14 h 19"/>
                  <a:gd name="T28" fmla="*/ 10 w 167"/>
                  <a:gd name="T29" fmla="*/ 19 h 19"/>
                  <a:gd name="T30" fmla="*/ 10 w 167"/>
                  <a:gd name="T31"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9">
                    <a:moveTo>
                      <a:pt x="10" y="19"/>
                    </a:moveTo>
                    <a:lnTo>
                      <a:pt x="158" y="19"/>
                    </a:lnTo>
                    <a:lnTo>
                      <a:pt x="158" y="19"/>
                    </a:lnTo>
                    <a:lnTo>
                      <a:pt x="167" y="14"/>
                    </a:lnTo>
                    <a:lnTo>
                      <a:pt x="167" y="9"/>
                    </a:lnTo>
                    <a:lnTo>
                      <a:pt x="167" y="9"/>
                    </a:lnTo>
                    <a:lnTo>
                      <a:pt x="167" y="5"/>
                    </a:lnTo>
                    <a:lnTo>
                      <a:pt x="158" y="0"/>
                    </a:lnTo>
                    <a:lnTo>
                      <a:pt x="10" y="0"/>
                    </a:lnTo>
                    <a:lnTo>
                      <a:pt x="10" y="0"/>
                    </a:lnTo>
                    <a:lnTo>
                      <a:pt x="5" y="5"/>
                    </a:lnTo>
                    <a:lnTo>
                      <a:pt x="0" y="9"/>
                    </a:lnTo>
                    <a:lnTo>
                      <a:pt x="0" y="9"/>
                    </a:lnTo>
                    <a:lnTo>
                      <a:pt x="5" y="14"/>
                    </a:lnTo>
                    <a:lnTo>
                      <a:pt x="10" y="19"/>
                    </a:lnTo>
                    <a:lnTo>
                      <a:pt x="1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p>
            </p:txBody>
          </p:sp>
          <p:sp>
            <p:nvSpPr>
              <p:cNvPr id="194" name="Freeform 43">
                <a:extLst>
                  <a:ext uri="{FF2B5EF4-FFF2-40B4-BE49-F238E27FC236}">
                    <a16:creationId xmlns:a16="http://schemas.microsoft.com/office/drawing/2014/main" id="{29E1497D-52C5-9431-DD3E-E7CE790D7474}"/>
                  </a:ext>
                </a:extLst>
              </p:cNvPr>
              <p:cNvSpPr>
                <a:spLocks/>
              </p:cNvSpPr>
              <p:nvPr/>
            </p:nvSpPr>
            <p:spPr bwMode="auto">
              <a:xfrm>
                <a:off x="8439150" y="830263"/>
                <a:ext cx="265112" cy="28575"/>
              </a:xfrm>
              <a:custGeom>
                <a:avLst/>
                <a:gdLst>
                  <a:gd name="T0" fmla="*/ 10 w 167"/>
                  <a:gd name="T1" fmla="*/ 18 h 18"/>
                  <a:gd name="T2" fmla="*/ 158 w 167"/>
                  <a:gd name="T3" fmla="*/ 18 h 18"/>
                  <a:gd name="T4" fmla="*/ 158 w 167"/>
                  <a:gd name="T5" fmla="*/ 18 h 18"/>
                  <a:gd name="T6" fmla="*/ 167 w 167"/>
                  <a:gd name="T7" fmla="*/ 14 h 18"/>
                  <a:gd name="T8" fmla="*/ 167 w 167"/>
                  <a:gd name="T9" fmla="*/ 9 h 18"/>
                  <a:gd name="T10" fmla="*/ 167 w 167"/>
                  <a:gd name="T11" fmla="*/ 9 h 18"/>
                  <a:gd name="T12" fmla="*/ 167 w 167"/>
                  <a:gd name="T13" fmla="*/ 4 h 18"/>
                  <a:gd name="T14" fmla="*/ 158 w 167"/>
                  <a:gd name="T15" fmla="*/ 0 h 18"/>
                  <a:gd name="T16" fmla="*/ 10 w 167"/>
                  <a:gd name="T17" fmla="*/ 0 h 18"/>
                  <a:gd name="T18" fmla="*/ 10 w 167"/>
                  <a:gd name="T19" fmla="*/ 0 h 18"/>
                  <a:gd name="T20" fmla="*/ 5 w 167"/>
                  <a:gd name="T21" fmla="*/ 4 h 18"/>
                  <a:gd name="T22" fmla="*/ 0 w 167"/>
                  <a:gd name="T23" fmla="*/ 9 h 18"/>
                  <a:gd name="T24" fmla="*/ 0 w 167"/>
                  <a:gd name="T25" fmla="*/ 9 h 18"/>
                  <a:gd name="T26" fmla="*/ 5 w 167"/>
                  <a:gd name="T27" fmla="*/ 14 h 18"/>
                  <a:gd name="T28" fmla="*/ 10 w 167"/>
                  <a:gd name="T29" fmla="*/ 18 h 18"/>
                  <a:gd name="T30" fmla="*/ 10 w 167"/>
                  <a:gd name="T3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8">
                    <a:moveTo>
                      <a:pt x="10" y="18"/>
                    </a:moveTo>
                    <a:lnTo>
                      <a:pt x="158" y="18"/>
                    </a:lnTo>
                    <a:lnTo>
                      <a:pt x="158" y="18"/>
                    </a:lnTo>
                    <a:lnTo>
                      <a:pt x="167" y="14"/>
                    </a:lnTo>
                    <a:lnTo>
                      <a:pt x="167" y="9"/>
                    </a:lnTo>
                    <a:lnTo>
                      <a:pt x="167" y="9"/>
                    </a:lnTo>
                    <a:lnTo>
                      <a:pt x="167" y="4"/>
                    </a:lnTo>
                    <a:lnTo>
                      <a:pt x="158" y="0"/>
                    </a:lnTo>
                    <a:lnTo>
                      <a:pt x="10" y="0"/>
                    </a:lnTo>
                    <a:lnTo>
                      <a:pt x="10" y="0"/>
                    </a:lnTo>
                    <a:lnTo>
                      <a:pt x="5" y="4"/>
                    </a:lnTo>
                    <a:lnTo>
                      <a:pt x="0" y="9"/>
                    </a:lnTo>
                    <a:lnTo>
                      <a:pt x="0" y="9"/>
                    </a:lnTo>
                    <a:lnTo>
                      <a:pt x="5" y="14"/>
                    </a:lnTo>
                    <a:lnTo>
                      <a:pt x="10" y="18"/>
                    </a:lnTo>
                    <a:lnTo>
                      <a:pt x="1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p>
            </p:txBody>
          </p:sp>
          <p:sp>
            <p:nvSpPr>
              <p:cNvPr id="195" name="Freeform 44">
                <a:extLst>
                  <a:ext uri="{FF2B5EF4-FFF2-40B4-BE49-F238E27FC236}">
                    <a16:creationId xmlns:a16="http://schemas.microsoft.com/office/drawing/2014/main" id="{6F48E7AB-908E-7816-653B-83C70CC3B273}"/>
                  </a:ext>
                </a:extLst>
              </p:cNvPr>
              <p:cNvSpPr>
                <a:spLocks/>
              </p:cNvSpPr>
              <p:nvPr/>
            </p:nvSpPr>
            <p:spPr bwMode="auto">
              <a:xfrm>
                <a:off x="8262938" y="741363"/>
                <a:ext cx="117475" cy="117475"/>
              </a:xfrm>
              <a:custGeom>
                <a:avLst/>
                <a:gdLst>
                  <a:gd name="T0" fmla="*/ 56 w 74"/>
                  <a:gd name="T1" fmla="*/ 0 h 74"/>
                  <a:gd name="T2" fmla="*/ 18 w 74"/>
                  <a:gd name="T3" fmla="*/ 0 h 74"/>
                  <a:gd name="T4" fmla="*/ 18 w 74"/>
                  <a:gd name="T5" fmla="*/ 0 h 74"/>
                  <a:gd name="T6" fmla="*/ 14 w 74"/>
                  <a:gd name="T7" fmla="*/ 0 h 74"/>
                  <a:gd name="T8" fmla="*/ 9 w 74"/>
                  <a:gd name="T9" fmla="*/ 5 h 74"/>
                  <a:gd name="T10" fmla="*/ 4 w 74"/>
                  <a:gd name="T11" fmla="*/ 9 h 74"/>
                  <a:gd name="T12" fmla="*/ 0 w 74"/>
                  <a:gd name="T13" fmla="*/ 19 h 74"/>
                  <a:gd name="T14" fmla="*/ 0 w 74"/>
                  <a:gd name="T15" fmla="*/ 56 h 74"/>
                  <a:gd name="T16" fmla="*/ 0 w 74"/>
                  <a:gd name="T17" fmla="*/ 56 h 74"/>
                  <a:gd name="T18" fmla="*/ 4 w 74"/>
                  <a:gd name="T19" fmla="*/ 65 h 74"/>
                  <a:gd name="T20" fmla="*/ 9 w 74"/>
                  <a:gd name="T21" fmla="*/ 70 h 74"/>
                  <a:gd name="T22" fmla="*/ 14 w 74"/>
                  <a:gd name="T23" fmla="*/ 74 h 74"/>
                  <a:gd name="T24" fmla="*/ 18 w 74"/>
                  <a:gd name="T25" fmla="*/ 74 h 74"/>
                  <a:gd name="T26" fmla="*/ 56 w 74"/>
                  <a:gd name="T27" fmla="*/ 74 h 74"/>
                  <a:gd name="T28" fmla="*/ 56 w 74"/>
                  <a:gd name="T29" fmla="*/ 74 h 74"/>
                  <a:gd name="T30" fmla="*/ 65 w 74"/>
                  <a:gd name="T31" fmla="*/ 74 h 74"/>
                  <a:gd name="T32" fmla="*/ 69 w 74"/>
                  <a:gd name="T33" fmla="*/ 70 h 74"/>
                  <a:gd name="T34" fmla="*/ 74 w 74"/>
                  <a:gd name="T35" fmla="*/ 65 h 74"/>
                  <a:gd name="T36" fmla="*/ 74 w 74"/>
                  <a:gd name="T37" fmla="*/ 56 h 74"/>
                  <a:gd name="T38" fmla="*/ 74 w 74"/>
                  <a:gd name="T39" fmla="*/ 19 h 74"/>
                  <a:gd name="T40" fmla="*/ 74 w 74"/>
                  <a:gd name="T41" fmla="*/ 19 h 74"/>
                  <a:gd name="T42" fmla="*/ 74 w 74"/>
                  <a:gd name="T43" fmla="*/ 9 h 74"/>
                  <a:gd name="T44" fmla="*/ 69 w 74"/>
                  <a:gd name="T45" fmla="*/ 5 h 74"/>
                  <a:gd name="T46" fmla="*/ 65 w 74"/>
                  <a:gd name="T47" fmla="*/ 0 h 74"/>
                  <a:gd name="T48" fmla="*/ 56 w 74"/>
                  <a:gd name="T49" fmla="*/ 0 h 74"/>
                  <a:gd name="T50" fmla="*/ 56 w 74"/>
                  <a:gd name="T5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4" h="74">
                    <a:moveTo>
                      <a:pt x="56" y="0"/>
                    </a:moveTo>
                    <a:lnTo>
                      <a:pt x="18" y="0"/>
                    </a:lnTo>
                    <a:lnTo>
                      <a:pt x="18" y="0"/>
                    </a:lnTo>
                    <a:lnTo>
                      <a:pt x="14" y="0"/>
                    </a:lnTo>
                    <a:lnTo>
                      <a:pt x="9" y="5"/>
                    </a:lnTo>
                    <a:lnTo>
                      <a:pt x="4" y="9"/>
                    </a:lnTo>
                    <a:lnTo>
                      <a:pt x="0" y="19"/>
                    </a:lnTo>
                    <a:lnTo>
                      <a:pt x="0" y="56"/>
                    </a:lnTo>
                    <a:lnTo>
                      <a:pt x="0" y="56"/>
                    </a:lnTo>
                    <a:lnTo>
                      <a:pt x="4" y="65"/>
                    </a:lnTo>
                    <a:lnTo>
                      <a:pt x="9" y="70"/>
                    </a:lnTo>
                    <a:lnTo>
                      <a:pt x="14" y="74"/>
                    </a:lnTo>
                    <a:lnTo>
                      <a:pt x="18" y="74"/>
                    </a:lnTo>
                    <a:lnTo>
                      <a:pt x="56" y="74"/>
                    </a:lnTo>
                    <a:lnTo>
                      <a:pt x="56" y="74"/>
                    </a:lnTo>
                    <a:lnTo>
                      <a:pt x="65" y="74"/>
                    </a:lnTo>
                    <a:lnTo>
                      <a:pt x="69" y="70"/>
                    </a:lnTo>
                    <a:lnTo>
                      <a:pt x="74" y="65"/>
                    </a:lnTo>
                    <a:lnTo>
                      <a:pt x="74" y="56"/>
                    </a:lnTo>
                    <a:lnTo>
                      <a:pt x="74" y="19"/>
                    </a:lnTo>
                    <a:lnTo>
                      <a:pt x="74" y="19"/>
                    </a:lnTo>
                    <a:lnTo>
                      <a:pt x="74" y="9"/>
                    </a:lnTo>
                    <a:lnTo>
                      <a:pt x="69" y="5"/>
                    </a:lnTo>
                    <a:lnTo>
                      <a:pt x="65" y="0"/>
                    </a:lnTo>
                    <a:lnTo>
                      <a:pt x="56" y="0"/>
                    </a:ln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p>
            </p:txBody>
          </p:sp>
          <p:sp>
            <p:nvSpPr>
              <p:cNvPr id="196" name="Freeform 45">
                <a:extLst>
                  <a:ext uri="{FF2B5EF4-FFF2-40B4-BE49-F238E27FC236}">
                    <a16:creationId xmlns:a16="http://schemas.microsoft.com/office/drawing/2014/main" id="{D890AE58-E042-0CC9-968E-D9D0A5C652B3}"/>
                  </a:ext>
                </a:extLst>
              </p:cNvPr>
              <p:cNvSpPr>
                <a:spLocks noEditPoints="1"/>
              </p:cNvSpPr>
              <p:nvPr/>
            </p:nvSpPr>
            <p:spPr bwMode="auto">
              <a:xfrm>
                <a:off x="8145463" y="476250"/>
                <a:ext cx="1060450" cy="1179513"/>
              </a:xfrm>
              <a:custGeom>
                <a:avLst/>
                <a:gdLst>
                  <a:gd name="T0" fmla="*/ 556 w 668"/>
                  <a:gd name="T1" fmla="*/ 74 h 743"/>
                  <a:gd name="T2" fmla="*/ 547 w 668"/>
                  <a:gd name="T3" fmla="*/ 56 h 743"/>
                  <a:gd name="T4" fmla="*/ 371 w 668"/>
                  <a:gd name="T5" fmla="*/ 37 h 743"/>
                  <a:gd name="T6" fmla="*/ 366 w 668"/>
                  <a:gd name="T7" fmla="*/ 23 h 743"/>
                  <a:gd name="T8" fmla="*/ 334 w 668"/>
                  <a:gd name="T9" fmla="*/ 19 h 743"/>
                  <a:gd name="T10" fmla="*/ 329 w 668"/>
                  <a:gd name="T11" fmla="*/ 5 h 743"/>
                  <a:gd name="T12" fmla="*/ 241 w 668"/>
                  <a:gd name="T13" fmla="*/ 0 h 743"/>
                  <a:gd name="T14" fmla="*/ 232 w 668"/>
                  <a:gd name="T15" fmla="*/ 5 h 743"/>
                  <a:gd name="T16" fmla="*/ 204 w 668"/>
                  <a:gd name="T17" fmla="*/ 19 h 743"/>
                  <a:gd name="T18" fmla="*/ 195 w 668"/>
                  <a:gd name="T19" fmla="*/ 23 h 743"/>
                  <a:gd name="T20" fmla="*/ 185 w 668"/>
                  <a:gd name="T21" fmla="*/ 56 h 743"/>
                  <a:gd name="T22" fmla="*/ 14 w 668"/>
                  <a:gd name="T23" fmla="*/ 56 h 743"/>
                  <a:gd name="T24" fmla="*/ 0 w 668"/>
                  <a:gd name="T25" fmla="*/ 74 h 743"/>
                  <a:gd name="T26" fmla="*/ 4 w 668"/>
                  <a:gd name="T27" fmla="*/ 733 h 743"/>
                  <a:gd name="T28" fmla="*/ 18 w 668"/>
                  <a:gd name="T29" fmla="*/ 743 h 743"/>
                  <a:gd name="T30" fmla="*/ 538 w 668"/>
                  <a:gd name="T31" fmla="*/ 743 h 743"/>
                  <a:gd name="T32" fmla="*/ 556 w 668"/>
                  <a:gd name="T33" fmla="*/ 733 h 743"/>
                  <a:gd name="T34" fmla="*/ 556 w 668"/>
                  <a:gd name="T35" fmla="*/ 385 h 743"/>
                  <a:gd name="T36" fmla="*/ 603 w 668"/>
                  <a:gd name="T37" fmla="*/ 367 h 743"/>
                  <a:gd name="T38" fmla="*/ 649 w 668"/>
                  <a:gd name="T39" fmla="*/ 320 h 743"/>
                  <a:gd name="T40" fmla="*/ 668 w 668"/>
                  <a:gd name="T41" fmla="*/ 251 h 743"/>
                  <a:gd name="T42" fmla="*/ 659 w 668"/>
                  <a:gd name="T43" fmla="*/ 204 h 743"/>
                  <a:gd name="T44" fmla="*/ 621 w 668"/>
                  <a:gd name="T45" fmla="*/ 149 h 743"/>
                  <a:gd name="T46" fmla="*/ 556 w 668"/>
                  <a:gd name="T47" fmla="*/ 116 h 743"/>
                  <a:gd name="T48" fmla="*/ 529 w 668"/>
                  <a:gd name="T49" fmla="*/ 576 h 743"/>
                  <a:gd name="T50" fmla="*/ 413 w 668"/>
                  <a:gd name="T51" fmla="*/ 580 h 743"/>
                  <a:gd name="T52" fmla="*/ 389 w 668"/>
                  <a:gd name="T53" fmla="*/ 613 h 743"/>
                  <a:gd name="T54" fmla="*/ 55 w 668"/>
                  <a:gd name="T55" fmla="*/ 706 h 743"/>
                  <a:gd name="T56" fmla="*/ 41 w 668"/>
                  <a:gd name="T57" fmla="*/ 696 h 743"/>
                  <a:gd name="T58" fmla="*/ 37 w 668"/>
                  <a:gd name="T59" fmla="*/ 111 h 743"/>
                  <a:gd name="T60" fmla="*/ 51 w 668"/>
                  <a:gd name="T61" fmla="*/ 93 h 743"/>
                  <a:gd name="T62" fmla="*/ 185 w 668"/>
                  <a:gd name="T63" fmla="*/ 93 h 743"/>
                  <a:gd name="T64" fmla="*/ 199 w 668"/>
                  <a:gd name="T65" fmla="*/ 111 h 743"/>
                  <a:gd name="T66" fmla="*/ 352 w 668"/>
                  <a:gd name="T67" fmla="*/ 111 h 743"/>
                  <a:gd name="T68" fmla="*/ 371 w 668"/>
                  <a:gd name="T69" fmla="*/ 102 h 743"/>
                  <a:gd name="T70" fmla="*/ 510 w 668"/>
                  <a:gd name="T71" fmla="*/ 93 h 743"/>
                  <a:gd name="T72" fmla="*/ 524 w 668"/>
                  <a:gd name="T73" fmla="*/ 102 h 743"/>
                  <a:gd name="T74" fmla="*/ 501 w 668"/>
                  <a:gd name="T75" fmla="*/ 116 h 743"/>
                  <a:gd name="T76" fmla="*/ 427 w 668"/>
                  <a:gd name="T77" fmla="*/ 153 h 743"/>
                  <a:gd name="T78" fmla="*/ 389 w 668"/>
                  <a:gd name="T79" fmla="*/ 223 h 743"/>
                  <a:gd name="T80" fmla="*/ 389 w 668"/>
                  <a:gd name="T81" fmla="*/ 279 h 743"/>
                  <a:gd name="T82" fmla="*/ 427 w 668"/>
                  <a:gd name="T83" fmla="*/ 348 h 743"/>
                  <a:gd name="T84" fmla="*/ 501 w 668"/>
                  <a:gd name="T85" fmla="*/ 385 h 743"/>
                  <a:gd name="T86" fmla="*/ 408 w 668"/>
                  <a:gd name="T87" fmla="*/ 706 h 743"/>
                  <a:gd name="T88" fmla="*/ 413 w 668"/>
                  <a:gd name="T89" fmla="*/ 603 h 743"/>
                  <a:gd name="T90" fmla="*/ 427 w 668"/>
                  <a:gd name="T91" fmla="*/ 594 h 743"/>
                  <a:gd name="T92" fmla="*/ 408 w 668"/>
                  <a:gd name="T93" fmla="*/ 706 h 743"/>
                  <a:gd name="T94" fmla="*/ 306 w 668"/>
                  <a:gd name="T95" fmla="*/ 19 h 743"/>
                  <a:gd name="T96" fmla="*/ 315 w 668"/>
                  <a:gd name="T97" fmla="*/ 37 h 743"/>
                  <a:gd name="T98" fmla="*/ 246 w 668"/>
                  <a:gd name="T99" fmla="*/ 28 h 743"/>
                  <a:gd name="T100" fmla="*/ 259 w 668"/>
                  <a:gd name="T101" fmla="*/ 19 h 743"/>
                  <a:gd name="T102" fmla="*/ 529 w 668"/>
                  <a:gd name="T103" fmla="*/ 334 h 743"/>
                  <a:gd name="T104" fmla="*/ 464 w 668"/>
                  <a:gd name="T105" fmla="*/ 251 h 743"/>
                  <a:gd name="T106" fmla="*/ 556 w 668"/>
                  <a:gd name="T107" fmla="*/ 209 h 743"/>
                  <a:gd name="T108" fmla="*/ 556 w 668"/>
                  <a:gd name="T109" fmla="*/ 283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68" h="743">
                    <a:moveTo>
                      <a:pt x="556" y="116"/>
                    </a:moveTo>
                    <a:lnTo>
                      <a:pt x="556" y="74"/>
                    </a:lnTo>
                    <a:lnTo>
                      <a:pt x="556" y="74"/>
                    </a:lnTo>
                    <a:lnTo>
                      <a:pt x="556" y="65"/>
                    </a:lnTo>
                    <a:lnTo>
                      <a:pt x="552" y="60"/>
                    </a:lnTo>
                    <a:lnTo>
                      <a:pt x="547" y="56"/>
                    </a:lnTo>
                    <a:lnTo>
                      <a:pt x="538" y="56"/>
                    </a:lnTo>
                    <a:lnTo>
                      <a:pt x="371" y="56"/>
                    </a:lnTo>
                    <a:lnTo>
                      <a:pt x="371" y="37"/>
                    </a:lnTo>
                    <a:lnTo>
                      <a:pt x="371" y="37"/>
                    </a:lnTo>
                    <a:lnTo>
                      <a:pt x="371" y="28"/>
                    </a:lnTo>
                    <a:lnTo>
                      <a:pt x="366" y="23"/>
                    </a:lnTo>
                    <a:lnTo>
                      <a:pt x="362" y="19"/>
                    </a:lnTo>
                    <a:lnTo>
                      <a:pt x="352" y="19"/>
                    </a:lnTo>
                    <a:lnTo>
                      <a:pt x="334" y="19"/>
                    </a:lnTo>
                    <a:lnTo>
                      <a:pt x="334" y="19"/>
                    </a:lnTo>
                    <a:lnTo>
                      <a:pt x="334" y="9"/>
                    </a:lnTo>
                    <a:lnTo>
                      <a:pt x="329" y="5"/>
                    </a:lnTo>
                    <a:lnTo>
                      <a:pt x="324" y="0"/>
                    </a:lnTo>
                    <a:lnTo>
                      <a:pt x="315" y="0"/>
                    </a:lnTo>
                    <a:lnTo>
                      <a:pt x="241" y="0"/>
                    </a:lnTo>
                    <a:lnTo>
                      <a:pt x="241" y="0"/>
                    </a:lnTo>
                    <a:lnTo>
                      <a:pt x="236" y="0"/>
                    </a:lnTo>
                    <a:lnTo>
                      <a:pt x="232" y="5"/>
                    </a:lnTo>
                    <a:lnTo>
                      <a:pt x="227" y="9"/>
                    </a:lnTo>
                    <a:lnTo>
                      <a:pt x="222" y="19"/>
                    </a:lnTo>
                    <a:lnTo>
                      <a:pt x="204" y="19"/>
                    </a:lnTo>
                    <a:lnTo>
                      <a:pt x="204" y="19"/>
                    </a:lnTo>
                    <a:lnTo>
                      <a:pt x="199" y="19"/>
                    </a:lnTo>
                    <a:lnTo>
                      <a:pt x="195" y="23"/>
                    </a:lnTo>
                    <a:lnTo>
                      <a:pt x="190" y="28"/>
                    </a:lnTo>
                    <a:lnTo>
                      <a:pt x="185" y="37"/>
                    </a:lnTo>
                    <a:lnTo>
                      <a:pt x="185" y="56"/>
                    </a:lnTo>
                    <a:lnTo>
                      <a:pt x="18" y="56"/>
                    </a:lnTo>
                    <a:lnTo>
                      <a:pt x="18" y="56"/>
                    </a:lnTo>
                    <a:lnTo>
                      <a:pt x="14" y="56"/>
                    </a:lnTo>
                    <a:lnTo>
                      <a:pt x="9" y="60"/>
                    </a:lnTo>
                    <a:lnTo>
                      <a:pt x="4" y="65"/>
                    </a:lnTo>
                    <a:lnTo>
                      <a:pt x="0" y="74"/>
                    </a:lnTo>
                    <a:lnTo>
                      <a:pt x="0" y="724"/>
                    </a:lnTo>
                    <a:lnTo>
                      <a:pt x="0" y="724"/>
                    </a:lnTo>
                    <a:lnTo>
                      <a:pt x="4" y="733"/>
                    </a:lnTo>
                    <a:lnTo>
                      <a:pt x="9" y="738"/>
                    </a:lnTo>
                    <a:lnTo>
                      <a:pt x="14" y="743"/>
                    </a:lnTo>
                    <a:lnTo>
                      <a:pt x="18" y="743"/>
                    </a:lnTo>
                    <a:lnTo>
                      <a:pt x="389" y="743"/>
                    </a:lnTo>
                    <a:lnTo>
                      <a:pt x="538" y="743"/>
                    </a:lnTo>
                    <a:lnTo>
                      <a:pt x="538" y="743"/>
                    </a:lnTo>
                    <a:lnTo>
                      <a:pt x="547" y="743"/>
                    </a:lnTo>
                    <a:lnTo>
                      <a:pt x="552" y="738"/>
                    </a:lnTo>
                    <a:lnTo>
                      <a:pt x="556" y="733"/>
                    </a:lnTo>
                    <a:lnTo>
                      <a:pt x="556" y="724"/>
                    </a:lnTo>
                    <a:lnTo>
                      <a:pt x="556" y="576"/>
                    </a:lnTo>
                    <a:lnTo>
                      <a:pt x="556" y="385"/>
                    </a:lnTo>
                    <a:lnTo>
                      <a:pt x="556" y="385"/>
                    </a:lnTo>
                    <a:lnTo>
                      <a:pt x="580" y="381"/>
                    </a:lnTo>
                    <a:lnTo>
                      <a:pt x="603" y="367"/>
                    </a:lnTo>
                    <a:lnTo>
                      <a:pt x="621" y="353"/>
                    </a:lnTo>
                    <a:lnTo>
                      <a:pt x="635" y="339"/>
                    </a:lnTo>
                    <a:lnTo>
                      <a:pt x="649" y="320"/>
                    </a:lnTo>
                    <a:lnTo>
                      <a:pt x="659" y="297"/>
                    </a:lnTo>
                    <a:lnTo>
                      <a:pt x="663" y="274"/>
                    </a:lnTo>
                    <a:lnTo>
                      <a:pt x="668" y="251"/>
                    </a:lnTo>
                    <a:lnTo>
                      <a:pt x="668" y="251"/>
                    </a:lnTo>
                    <a:lnTo>
                      <a:pt x="663" y="227"/>
                    </a:lnTo>
                    <a:lnTo>
                      <a:pt x="659" y="204"/>
                    </a:lnTo>
                    <a:lnTo>
                      <a:pt x="649" y="181"/>
                    </a:lnTo>
                    <a:lnTo>
                      <a:pt x="635" y="162"/>
                    </a:lnTo>
                    <a:lnTo>
                      <a:pt x="621" y="149"/>
                    </a:lnTo>
                    <a:lnTo>
                      <a:pt x="603" y="135"/>
                    </a:lnTo>
                    <a:lnTo>
                      <a:pt x="580" y="121"/>
                    </a:lnTo>
                    <a:lnTo>
                      <a:pt x="556" y="116"/>
                    </a:lnTo>
                    <a:lnTo>
                      <a:pt x="556" y="116"/>
                    </a:lnTo>
                    <a:close/>
                    <a:moveTo>
                      <a:pt x="529" y="390"/>
                    </a:moveTo>
                    <a:lnTo>
                      <a:pt x="529" y="576"/>
                    </a:lnTo>
                    <a:lnTo>
                      <a:pt x="427" y="576"/>
                    </a:lnTo>
                    <a:lnTo>
                      <a:pt x="427" y="576"/>
                    </a:lnTo>
                    <a:lnTo>
                      <a:pt x="413" y="580"/>
                    </a:lnTo>
                    <a:lnTo>
                      <a:pt x="403" y="585"/>
                    </a:lnTo>
                    <a:lnTo>
                      <a:pt x="394" y="599"/>
                    </a:lnTo>
                    <a:lnTo>
                      <a:pt x="389" y="613"/>
                    </a:lnTo>
                    <a:lnTo>
                      <a:pt x="389" y="706"/>
                    </a:lnTo>
                    <a:lnTo>
                      <a:pt x="55" y="706"/>
                    </a:lnTo>
                    <a:lnTo>
                      <a:pt x="55" y="706"/>
                    </a:lnTo>
                    <a:lnTo>
                      <a:pt x="51" y="706"/>
                    </a:lnTo>
                    <a:lnTo>
                      <a:pt x="46" y="701"/>
                    </a:lnTo>
                    <a:lnTo>
                      <a:pt x="41" y="696"/>
                    </a:lnTo>
                    <a:lnTo>
                      <a:pt x="37" y="687"/>
                    </a:lnTo>
                    <a:lnTo>
                      <a:pt x="37" y="111"/>
                    </a:lnTo>
                    <a:lnTo>
                      <a:pt x="37" y="111"/>
                    </a:lnTo>
                    <a:lnTo>
                      <a:pt x="41" y="102"/>
                    </a:lnTo>
                    <a:lnTo>
                      <a:pt x="46" y="97"/>
                    </a:lnTo>
                    <a:lnTo>
                      <a:pt x="51" y="93"/>
                    </a:lnTo>
                    <a:lnTo>
                      <a:pt x="55" y="93"/>
                    </a:lnTo>
                    <a:lnTo>
                      <a:pt x="185" y="93"/>
                    </a:lnTo>
                    <a:lnTo>
                      <a:pt x="185" y="93"/>
                    </a:lnTo>
                    <a:lnTo>
                      <a:pt x="190" y="102"/>
                    </a:lnTo>
                    <a:lnTo>
                      <a:pt x="195" y="107"/>
                    </a:lnTo>
                    <a:lnTo>
                      <a:pt x="199" y="111"/>
                    </a:lnTo>
                    <a:lnTo>
                      <a:pt x="204" y="111"/>
                    </a:lnTo>
                    <a:lnTo>
                      <a:pt x="352" y="111"/>
                    </a:lnTo>
                    <a:lnTo>
                      <a:pt x="352" y="111"/>
                    </a:lnTo>
                    <a:lnTo>
                      <a:pt x="362" y="111"/>
                    </a:lnTo>
                    <a:lnTo>
                      <a:pt x="366" y="107"/>
                    </a:lnTo>
                    <a:lnTo>
                      <a:pt x="371" y="102"/>
                    </a:lnTo>
                    <a:lnTo>
                      <a:pt x="371" y="93"/>
                    </a:lnTo>
                    <a:lnTo>
                      <a:pt x="510" y="93"/>
                    </a:lnTo>
                    <a:lnTo>
                      <a:pt x="510" y="93"/>
                    </a:lnTo>
                    <a:lnTo>
                      <a:pt x="515" y="93"/>
                    </a:lnTo>
                    <a:lnTo>
                      <a:pt x="519" y="97"/>
                    </a:lnTo>
                    <a:lnTo>
                      <a:pt x="524" y="102"/>
                    </a:lnTo>
                    <a:lnTo>
                      <a:pt x="529" y="111"/>
                    </a:lnTo>
                    <a:lnTo>
                      <a:pt x="529" y="111"/>
                    </a:lnTo>
                    <a:lnTo>
                      <a:pt x="501" y="116"/>
                    </a:lnTo>
                    <a:lnTo>
                      <a:pt x="473" y="121"/>
                    </a:lnTo>
                    <a:lnTo>
                      <a:pt x="450" y="135"/>
                    </a:lnTo>
                    <a:lnTo>
                      <a:pt x="427" y="153"/>
                    </a:lnTo>
                    <a:lnTo>
                      <a:pt x="413" y="172"/>
                    </a:lnTo>
                    <a:lnTo>
                      <a:pt x="399" y="195"/>
                    </a:lnTo>
                    <a:lnTo>
                      <a:pt x="389" y="223"/>
                    </a:lnTo>
                    <a:lnTo>
                      <a:pt x="389" y="251"/>
                    </a:lnTo>
                    <a:lnTo>
                      <a:pt x="389" y="251"/>
                    </a:lnTo>
                    <a:lnTo>
                      <a:pt x="389" y="279"/>
                    </a:lnTo>
                    <a:lnTo>
                      <a:pt x="399" y="306"/>
                    </a:lnTo>
                    <a:lnTo>
                      <a:pt x="413" y="330"/>
                    </a:lnTo>
                    <a:lnTo>
                      <a:pt x="427" y="348"/>
                    </a:lnTo>
                    <a:lnTo>
                      <a:pt x="450" y="367"/>
                    </a:lnTo>
                    <a:lnTo>
                      <a:pt x="473" y="381"/>
                    </a:lnTo>
                    <a:lnTo>
                      <a:pt x="501" y="385"/>
                    </a:lnTo>
                    <a:lnTo>
                      <a:pt x="529" y="390"/>
                    </a:lnTo>
                    <a:lnTo>
                      <a:pt x="529" y="390"/>
                    </a:lnTo>
                    <a:close/>
                    <a:moveTo>
                      <a:pt x="408" y="706"/>
                    </a:moveTo>
                    <a:lnTo>
                      <a:pt x="408" y="613"/>
                    </a:lnTo>
                    <a:lnTo>
                      <a:pt x="408" y="613"/>
                    </a:lnTo>
                    <a:lnTo>
                      <a:pt x="413" y="603"/>
                    </a:lnTo>
                    <a:lnTo>
                      <a:pt x="417" y="599"/>
                    </a:lnTo>
                    <a:lnTo>
                      <a:pt x="422" y="594"/>
                    </a:lnTo>
                    <a:lnTo>
                      <a:pt x="427" y="594"/>
                    </a:lnTo>
                    <a:lnTo>
                      <a:pt x="515" y="594"/>
                    </a:lnTo>
                    <a:lnTo>
                      <a:pt x="524" y="594"/>
                    </a:lnTo>
                    <a:lnTo>
                      <a:pt x="408" y="706"/>
                    </a:lnTo>
                    <a:close/>
                    <a:moveTo>
                      <a:pt x="297" y="19"/>
                    </a:moveTo>
                    <a:lnTo>
                      <a:pt x="297" y="19"/>
                    </a:lnTo>
                    <a:lnTo>
                      <a:pt x="306" y="19"/>
                    </a:lnTo>
                    <a:lnTo>
                      <a:pt x="311" y="23"/>
                    </a:lnTo>
                    <a:lnTo>
                      <a:pt x="315" y="28"/>
                    </a:lnTo>
                    <a:lnTo>
                      <a:pt x="315" y="37"/>
                    </a:lnTo>
                    <a:lnTo>
                      <a:pt x="241" y="37"/>
                    </a:lnTo>
                    <a:lnTo>
                      <a:pt x="241" y="37"/>
                    </a:lnTo>
                    <a:lnTo>
                      <a:pt x="246" y="28"/>
                    </a:lnTo>
                    <a:lnTo>
                      <a:pt x="250" y="23"/>
                    </a:lnTo>
                    <a:lnTo>
                      <a:pt x="255" y="19"/>
                    </a:lnTo>
                    <a:lnTo>
                      <a:pt x="259" y="19"/>
                    </a:lnTo>
                    <a:lnTo>
                      <a:pt x="297" y="19"/>
                    </a:lnTo>
                    <a:close/>
                    <a:moveTo>
                      <a:pt x="556" y="283"/>
                    </a:moveTo>
                    <a:lnTo>
                      <a:pt x="529" y="334"/>
                    </a:lnTo>
                    <a:lnTo>
                      <a:pt x="515" y="353"/>
                    </a:lnTo>
                    <a:lnTo>
                      <a:pt x="440" y="279"/>
                    </a:lnTo>
                    <a:lnTo>
                      <a:pt x="464" y="251"/>
                    </a:lnTo>
                    <a:lnTo>
                      <a:pt x="505" y="297"/>
                    </a:lnTo>
                    <a:lnTo>
                      <a:pt x="529" y="265"/>
                    </a:lnTo>
                    <a:lnTo>
                      <a:pt x="556" y="209"/>
                    </a:lnTo>
                    <a:lnTo>
                      <a:pt x="584" y="167"/>
                    </a:lnTo>
                    <a:lnTo>
                      <a:pt x="617" y="186"/>
                    </a:lnTo>
                    <a:lnTo>
                      <a:pt x="556" y="2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p>
            </p:txBody>
          </p:sp>
        </p:grpSp>
      </p:grpSp>
      <p:grpSp>
        <p:nvGrpSpPr>
          <p:cNvPr id="34" name="Group 33">
            <a:extLst>
              <a:ext uri="{FF2B5EF4-FFF2-40B4-BE49-F238E27FC236}">
                <a16:creationId xmlns:a16="http://schemas.microsoft.com/office/drawing/2014/main" id="{F5B3081F-9136-70BB-6FAC-A663A5CFFEBA}"/>
              </a:ext>
            </a:extLst>
          </p:cNvPr>
          <p:cNvGrpSpPr/>
          <p:nvPr/>
        </p:nvGrpSpPr>
        <p:grpSpPr>
          <a:xfrm>
            <a:off x="553968" y="5297002"/>
            <a:ext cx="1102844" cy="1106424"/>
            <a:chOff x="188754" y="5314530"/>
            <a:chExt cx="857016" cy="765828"/>
          </a:xfrm>
        </p:grpSpPr>
        <p:sp>
          <p:nvSpPr>
            <p:cNvPr id="28" name="Oval Callout 168">
              <a:extLst>
                <a:ext uri="{FF2B5EF4-FFF2-40B4-BE49-F238E27FC236}">
                  <a16:creationId xmlns:a16="http://schemas.microsoft.com/office/drawing/2014/main" id="{ADF5626D-F2A9-B190-6933-2395B9A9A925}"/>
                </a:ext>
              </a:extLst>
            </p:cNvPr>
            <p:cNvSpPr/>
            <p:nvPr/>
          </p:nvSpPr>
          <p:spPr>
            <a:xfrm>
              <a:off x="188754" y="5314530"/>
              <a:ext cx="857016" cy="765828"/>
            </a:xfrm>
            <a:prstGeom prst="wedgeEllipseCallout">
              <a:avLst>
                <a:gd name="adj1" fmla="val -1927"/>
                <a:gd name="adj2" fmla="val -6797"/>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cs typeface="Arial" panose="020B0604020202020204" pitchFamily="34" charset="0"/>
              </a:endParaRPr>
            </a:p>
          </p:txBody>
        </p:sp>
        <p:sp>
          <p:nvSpPr>
            <p:cNvPr id="29" name="Oval 169">
              <a:extLst>
                <a:ext uri="{FF2B5EF4-FFF2-40B4-BE49-F238E27FC236}">
                  <a16:creationId xmlns:a16="http://schemas.microsoft.com/office/drawing/2014/main" id="{8E7A0901-3691-69E9-076D-0C25107A209A}"/>
                </a:ext>
              </a:extLst>
            </p:cNvPr>
            <p:cNvSpPr/>
            <p:nvPr/>
          </p:nvSpPr>
          <p:spPr>
            <a:xfrm>
              <a:off x="246568" y="5371758"/>
              <a:ext cx="741388" cy="659487"/>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cs typeface="Arial" panose="020B0604020202020204" pitchFamily="34" charset="0"/>
              </a:endParaRPr>
            </a:p>
          </p:txBody>
        </p:sp>
        <p:grpSp>
          <p:nvGrpSpPr>
            <p:cNvPr id="204" name="Group 203">
              <a:extLst>
                <a:ext uri="{FF2B5EF4-FFF2-40B4-BE49-F238E27FC236}">
                  <a16:creationId xmlns:a16="http://schemas.microsoft.com/office/drawing/2014/main" id="{15E41C2A-51B2-D8ED-D973-24801E670BFA}"/>
                </a:ext>
              </a:extLst>
            </p:cNvPr>
            <p:cNvGrpSpPr/>
            <p:nvPr/>
          </p:nvGrpSpPr>
          <p:grpSpPr>
            <a:xfrm>
              <a:off x="379966" y="5503154"/>
              <a:ext cx="454477" cy="390132"/>
              <a:chOff x="1871663" y="2308226"/>
              <a:chExt cx="449263" cy="392112"/>
            </a:xfrm>
            <a:solidFill>
              <a:srgbClr val="6D2077"/>
            </a:solidFill>
          </p:grpSpPr>
          <p:sp>
            <p:nvSpPr>
              <p:cNvPr id="205" name="Freeform 51">
                <a:extLst>
                  <a:ext uri="{FF2B5EF4-FFF2-40B4-BE49-F238E27FC236}">
                    <a16:creationId xmlns:a16="http://schemas.microsoft.com/office/drawing/2014/main" id="{BD377556-CDCE-653D-CCE1-3922C9D0D578}"/>
                  </a:ext>
                </a:extLst>
              </p:cNvPr>
              <p:cNvSpPr>
                <a:spLocks noEditPoints="1"/>
              </p:cNvSpPr>
              <p:nvPr/>
            </p:nvSpPr>
            <p:spPr bwMode="auto">
              <a:xfrm>
                <a:off x="1911350" y="2308226"/>
                <a:ext cx="369888" cy="250825"/>
              </a:xfrm>
              <a:custGeom>
                <a:avLst/>
                <a:gdLst/>
                <a:ahLst/>
                <a:cxnLst>
                  <a:cxn ang="0">
                    <a:pos x="0" y="21"/>
                  </a:cxn>
                  <a:cxn ang="0">
                    <a:pos x="0" y="291"/>
                  </a:cxn>
                  <a:cxn ang="0">
                    <a:pos x="0" y="291"/>
                  </a:cxn>
                  <a:cxn ang="0">
                    <a:pos x="2" y="301"/>
                  </a:cxn>
                  <a:cxn ang="0">
                    <a:pos x="6" y="307"/>
                  </a:cxn>
                  <a:cxn ang="0">
                    <a:pos x="14" y="312"/>
                  </a:cxn>
                  <a:cxn ang="0">
                    <a:pos x="21" y="314"/>
                  </a:cxn>
                  <a:cxn ang="0">
                    <a:pos x="442" y="314"/>
                  </a:cxn>
                  <a:cxn ang="0">
                    <a:pos x="442" y="314"/>
                  </a:cxn>
                  <a:cxn ang="0">
                    <a:pos x="452" y="312"/>
                  </a:cxn>
                  <a:cxn ang="0">
                    <a:pos x="460" y="307"/>
                  </a:cxn>
                  <a:cxn ang="0">
                    <a:pos x="463" y="301"/>
                  </a:cxn>
                  <a:cxn ang="0">
                    <a:pos x="465" y="291"/>
                  </a:cxn>
                  <a:cxn ang="0">
                    <a:pos x="465" y="21"/>
                  </a:cxn>
                  <a:cxn ang="0">
                    <a:pos x="465" y="21"/>
                  </a:cxn>
                  <a:cxn ang="0">
                    <a:pos x="463" y="13"/>
                  </a:cxn>
                  <a:cxn ang="0">
                    <a:pos x="460" y="6"/>
                  </a:cxn>
                  <a:cxn ang="0">
                    <a:pos x="452" y="2"/>
                  </a:cxn>
                  <a:cxn ang="0">
                    <a:pos x="442" y="0"/>
                  </a:cxn>
                  <a:cxn ang="0">
                    <a:pos x="21" y="0"/>
                  </a:cxn>
                  <a:cxn ang="0">
                    <a:pos x="21" y="0"/>
                  </a:cxn>
                  <a:cxn ang="0">
                    <a:pos x="14" y="2"/>
                  </a:cxn>
                  <a:cxn ang="0">
                    <a:pos x="6" y="6"/>
                  </a:cxn>
                  <a:cxn ang="0">
                    <a:pos x="2" y="13"/>
                  </a:cxn>
                  <a:cxn ang="0">
                    <a:pos x="0" y="21"/>
                  </a:cxn>
                  <a:cxn ang="0">
                    <a:pos x="0" y="21"/>
                  </a:cxn>
                  <a:cxn ang="0">
                    <a:pos x="25" y="32"/>
                  </a:cxn>
                  <a:cxn ang="0">
                    <a:pos x="25" y="32"/>
                  </a:cxn>
                  <a:cxn ang="0">
                    <a:pos x="27" y="28"/>
                  </a:cxn>
                  <a:cxn ang="0">
                    <a:pos x="27" y="26"/>
                  </a:cxn>
                  <a:cxn ang="0">
                    <a:pos x="31" y="25"/>
                  </a:cxn>
                  <a:cxn ang="0">
                    <a:pos x="35" y="25"/>
                  </a:cxn>
                  <a:cxn ang="0">
                    <a:pos x="431" y="25"/>
                  </a:cxn>
                  <a:cxn ang="0">
                    <a:pos x="431" y="25"/>
                  </a:cxn>
                  <a:cxn ang="0">
                    <a:pos x="435" y="25"/>
                  </a:cxn>
                  <a:cxn ang="0">
                    <a:pos x="437" y="26"/>
                  </a:cxn>
                  <a:cxn ang="0">
                    <a:pos x="439" y="28"/>
                  </a:cxn>
                  <a:cxn ang="0">
                    <a:pos x="439" y="32"/>
                  </a:cxn>
                  <a:cxn ang="0">
                    <a:pos x="439" y="282"/>
                  </a:cxn>
                  <a:cxn ang="0">
                    <a:pos x="439" y="282"/>
                  </a:cxn>
                  <a:cxn ang="0">
                    <a:pos x="439" y="284"/>
                  </a:cxn>
                  <a:cxn ang="0">
                    <a:pos x="437" y="287"/>
                  </a:cxn>
                  <a:cxn ang="0">
                    <a:pos x="435" y="289"/>
                  </a:cxn>
                  <a:cxn ang="0">
                    <a:pos x="431" y="289"/>
                  </a:cxn>
                  <a:cxn ang="0">
                    <a:pos x="35" y="289"/>
                  </a:cxn>
                  <a:cxn ang="0">
                    <a:pos x="35" y="289"/>
                  </a:cxn>
                  <a:cxn ang="0">
                    <a:pos x="31" y="289"/>
                  </a:cxn>
                  <a:cxn ang="0">
                    <a:pos x="27" y="287"/>
                  </a:cxn>
                  <a:cxn ang="0">
                    <a:pos x="27" y="284"/>
                  </a:cxn>
                  <a:cxn ang="0">
                    <a:pos x="25" y="282"/>
                  </a:cxn>
                  <a:cxn ang="0">
                    <a:pos x="25" y="32"/>
                  </a:cxn>
                </a:cxnLst>
                <a:rect l="0" t="0" r="r" b="b"/>
                <a:pathLst>
                  <a:path w="465" h="314">
                    <a:moveTo>
                      <a:pt x="0" y="21"/>
                    </a:moveTo>
                    <a:lnTo>
                      <a:pt x="0" y="291"/>
                    </a:lnTo>
                    <a:lnTo>
                      <a:pt x="0" y="291"/>
                    </a:lnTo>
                    <a:lnTo>
                      <a:pt x="2" y="301"/>
                    </a:lnTo>
                    <a:lnTo>
                      <a:pt x="6" y="307"/>
                    </a:lnTo>
                    <a:lnTo>
                      <a:pt x="14" y="312"/>
                    </a:lnTo>
                    <a:lnTo>
                      <a:pt x="21" y="314"/>
                    </a:lnTo>
                    <a:lnTo>
                      <a:pt x="442" y="314"/>
                    </a:lnTo>
                    <a:lnTo>
                      <a:pt x="442" y="314"/>
                    </a:lnTo>
                    <a:lnTo>
                      <a:pt x="452" y="312"/>
                    </a:lnTo>
                    <a:lnTo>
                      <a:pt x="460" y="307"/>
                    </a:lnTo>
                    <a:lnTo>
                      <a:pt x="463" y="301"/>
                    </a:lnTo>
                    <a:lnTo>
                      <a:pt x="465" y="291"/>
                    </a:lnTo>
                    <a:lnTo>
                      <a:pt x="465" y="21"/>
                    </a:lnTo>
                    <a:lnTo>
                      <a:pt x="465" y="21"/>
                    </a:lnTo>
                    <a:lnTo>
                      <a:pt x="463" y="13"/>
                    </a:lnTo>
                    <a:lnTo>
                      <a:pt x="460" y="6"/>
                    </a:lnTo>
                    <a:lnTo>
                      <a:pt x="452" y="2"/>
                    </a:lnTo>
                    <a:lnTo>
                      <a:pt x="442" y="0"/>
                    </a:lnTo>
                    <a:lnTo>
                      <a:pt x="21" y="0"/>
                    </a:lnTo>
                    <a:lnTo>
                      <a:pt x="21" y="0"/>
                    </a:lnTo>
                    <a:lnTo>
                      <a:pt x="14" y="2"/>
                    </a:lnTo>
                    <a:lnTo>
                      <a:pt x="6" y="6"/>
                    </a:lnTo>
                    <a:lnTo>
                      <a:pt x="2" y="13"/>
                    </a:lnTo>
                    <a:lnTo>
                      <a:pt x="0" y="21"/>
                    </a:lnTo>
                    <a:lnTo>
                      <a:pt x="0" y="21"/>
                    </a:lnTo>
                    <a:close/>
                    <a:moveTo>
                      <a:pt x="25" y="32"/>
                    </a:moveTo>
                    <a:lnTo>
                      <a:pt x="25" y="32"/>
                    </a:lnTo>
                    <a:lnTo>
                      <a:pt x="27" y="28"/>
                    </a:lnTo>
                    <a:lnTo>
                      <a:pt x="27" y="26"/>
                    </a:lnTo>
                    <a:lnTo>
                      <a:pt x="31" y="25"/>
                    </a:lnTo>
                    <a:lnTo>
                      <a:pt x="35" y="25"/>
                    </a:lnTo>
                    <a:lnTo>
                      <a:pt x="431" y="25"/>
                    </a:lnTo>
                    <a:lnTo>
                      <a:pt x="431" y="25"/>
                    </a:lnTo>
                    <a:lnTo>
                      <a:pt x="435" y="25"/>
                    </a:lnTo>
                    <a:lnTo>
                      <a:pt x="437" y="26"/>
                    </a:lnTo>
                    <a:lnTo>
                      <a:pt x="439" y="28"/>
                    </a:lnTo>
                    <a:lnTo>
                      <a:pt x="439" y="32"/>
                    </a:lnTo>
                    <a:lnTo>
                      <a:pt x="439" y="282"/>
                    </a:lnTo>
                    <a:lnTo>
                      <a:pt x="439" y="282"/>
                    </a:lnTo>
                    <a:lnTo>
                      <a:pt x="439" y="284"/>
                    </a:lnTo>
                    <a:lnTo>
                      <a:pt x="437" y="287"/>
                    </a:lnTo>
                    <a:lnTo>
                      <a:pt x="435" y="289"/>
                    </a:lnTo>
                    <a:lnTo>
                      <a:pt x="431" y="289"/>
                    </a:lnTo>
                    <a:lnTo>
                      <a:pt x="35" y="289"/>
                    </a:lnTo>
                    <a:lnTo>
                      <a:pt x="35" y="289"/>
                    </a:lnTo>
                    <a:lnTo>
                      <a:pt x="31" y="289"/>
                    </a:lnTo>
                    <a:lnTo>
                      <a:pt x="27" y="287"/>
                    </a:lnTo>
                    <a:lnTo>
                      <a:pt x="27" y="284"/>
                    </a:lnTo>
                    <a:lnTo>
                      <a:pt x="25" y="282"/>
                    </a:lnTo>
                    <a:lnTo>
                      <a:pt x="25" y="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sp>
            <p:nvSpPr>
              <p:cNvPr id="206" name="Freeform 52">
                <a:extLst>
                  <a:ext uri="{FF2B5EF4-FFF2-40B4-BE49-F238E27FC236}">
                    <a16:creationId xmlns:a16="http://schemas.microsoft.com/office/drawing/2014/main" id="{849EBD9D-4AA6-BDC7-377F-4412034A26B8}"/>
                  </a:ext>
                </a:extLst>
              </p:cNvPr>
              <p:cNvSpPr>
                <a:spLocks/>
              </p:cNvSpPr>
              <p:nvPr/>
            </p:nvSpPr>
            <p:spPr bwMode="auto">
              <a:xfrm>
                <a:off x="1871663" y="2681288"/>
                <a:ext cx="449263" cy="19050"/>
              </a:xfrm>
              <a:custGeom>
                <a:avLst/>
                <a:gdLst/>
                <a:ahLst/>
                <a:cxnLst>
                  <a:cxn ang="0">
                    <a:pos x="17" y="25"/>
                  </a:cxn>
                  <a:cxn ang="0">
                    <a:pos x="549" y="25"/>
                  </a:cxn>
                  <a:cxn ang="0">
                    <a:pos x="549" y="25"/>
                  </a:cxn>
                  <a:cxn ang="0">
                    <a:pos x="560" y="23"/>
                  </a:cxn>
                  <a:cxn ang="0">
                    <a:pos x="566" y="18"/>
                  </a:cxn>
                  <a:cxn ang="0">
                    <a:pos x="568" y="16"/>
                  </a:cxn>
                  <a:cxn ang="0">
                    <a:pos x="568" y="12"/>
                  </a:cxn>
                  <a:cxn ang="0">
                    <a:pos x="566" y="2"/>
                  </a:cxn>
                  <a:cxn ang="0">
                    <a:pos x="564" y="0"/>
                  </a:cxn>
                  <a:cxn ang="0">
                    <a:pos x="564" y="0"/>
                  </a:cxn>
                  <a:cxn ang="0">
                    <a:pos x="558" y="2"/>
                  </a:cxn>
                  <a:cxn ang="0">
                    <a:pos x="549" y="4"/>
                  </a:cxn>
                  <a:cxn ang="0">
                    <a:pos x="17" y="4"/>
                  </a:cxn>
                  <a:cxn ang="0">
                    <a:pos x="17" y="4"/>
                  </a:cxn>
                  <a:cxn ang="0">
                    <a:pos x="10" y="2"/>
                  </a:cxn>
                  <a:cxn ang="0">
                    <a:pos x="2" y="0"/>
                  </a:cxn>
                  <a:cxn ang="0">
                    <a:pos x="2" y="2"/>
                  </a:cxn>
                  <a:cxn ang="0">
                    <a:pos x="2" y="2"/>
                  </a:cxn>
                  <a:cxn ang="0">
                    <a:pos x="0" y="12"/>
                  </a:cxn>
                  <a:cxn ang="0">
                    <a:pos x="0" y="16"/>
                  </a:cxn>
                  <a:cxn ang="0">
                    <a:pos x="2" y="18"/>
                  </a:cxn>
                  <a:cxn ang="0">
                    <a:pos x="8" y="23"/>
                  </a:cxn>
                  <a:cxn ang="0">
                    <a:pos x="17" y="25"/>
                  </a:cxn>
                  <a:cxn ang="0">
                    <a:pos x="17" y="25"/>
                  </a:cxn>
                </a:cxnLst>
                <a:rect l="0" t="0" r="r" b="b"/>
                <a:pathLst>
                  <a:path w="568" h="25">
                    <a:moveTo>
                      <a:pt x="17" y="25"/>
                    </a:moveTo>
                    <a:lnTo>
                      <a:pt x="549" y="25"/>
                    </a:lnTo>
                    <a:lnTo>
                      <a:pt x="549" y="25"/>
                    </a:lnTo>
                    <a:lnTo>
                      <a:pt x="560" y="23"/>
                    </a:lnTo>
                    <a:lnTo>
                      <a:pt x="566" y="18"/>
                    </a:lnTo>
                    <a:lnTo>
                      <a:pt x="568" y="16"/>
                    </a:lnTo>
                    <a:lnTo>
                      <a:pt x="568" y="12"/>
                    </a:lnTo>
                    <a:lnTo>
                      <a:pt x="566" y="2"/>
                    </a:lnTo>
                    <a:lnTo>
                      <a:pt x="564" y="0"/>
                    </a:lnTo>
                    <a:lnTo>
                      <a:pt x="564" y="0"/>
                    </a:lnTo>
                    <a:lnTo>
                      <a:pt x="558" y="2"/>
                    </a:lnTo>
                    <a:lnTo>
                      <a:pt x="549" y="4"/>
                    </a:lnTo>
                    <a:lnTo>
                      <a:pt x="17" y="4"/>
                    </a:lnTo>
                    <a:lnTo>
                      <a:pt x="17" y="4"/>
                    </a:lnTo>
                    <a:lnTo>
                      <a:pt x="10" y="2"/>
                    </a:lnTo>
                    <a:lnTo>
                      <a:pt x="2" y="0"/>
                    </a:lnTo>
                    <a:lnTo>
                      <a:pt x="2" y="2"/>
                    </a:lnTo>
                    <a:lnTo>
                      <a:pt x="2" y="2"/>
                    </a:lnTo>
                    <a:lnTo>
                      <a:pt x="0" y="12"/>
                    </a:lnTo>
                    <a:lnTo>
                      <a:pt x="0" y="16"/>
                    </a:lnTo>
                    <a:lnTo>
                      <a:pt x="2" y="18"/>
                    </a:lnTo>
                    <a:lnTo>
                      <a:pt x="8" y="23"/>
                    </a:lnTo>
                    <a:lnTo>
                      <a:pt x="17" y="25"/>
                    </a:lnTo>
                    <a:lnTo>
                      <a:pt x="17" y="2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sp>
            <p:nvSpPr>
              <p:cNvPr id="207" name="Freeform 53">
                <a:extLst>
                  <a:ext uri="{FF2B5EF4-FFF2-40B4-BE49-F238E27FC236}">
                    <a16:creationId xmlns:a16="http://schemas.microsoft.com/office/drawing/2014/main" id="{43132DCF-A0B9-EF82-EBBD-843C326B1D1F}"/>
                  </a:ext>
                </a:extLst>
              </p:cNvPr>
              <p:cNvSpPr>
                <a:spLocks noEditPoints="1"/>
              </p:cNvSpPr>
              <p:nvPr/>
            </p:nvSpPr>
            <p:spPr bwMode="auto">
              <a:xfrm>
                <a:off x="1871663" y="2578101"/>
                <a:ext cx="449263" cy="88900"/>
              </a:xfrm>
              <a:custGeom>
                <a:avLst/>
                <a:gdLst/>
                <a:ahLst/>
                <a:cxnLst>
                  <a:cxn ang="0">
                    <a:pos x="17" y="112"/>
                  </a:cxn>
                  <a:cxn ang="0">
                    <a:pos x="549" y="112"/>
                  </a:cxn>
                  <a:cxn ang="0">
                    <a:pos x="549" y="112"/>
                  </a:cxn>
                  <a:cxn ang="0">
                    <a:pos x="560" y="112"/>
                  </a:cxn>
                  <a:cxn ang="0">
                    <a:pos x="566" y="107"/>
                  </a:cxn>
                  <a:cxn ang="0">
                    <a:pos x="568" y="103"/>
                  </a:cxn>
                  <a:cxn ang="0">
                    <a:pos x="568" y="99"/>
                  </a:cxn>
                  <a:cxn ang="0">
                    <a:pos x="566" y="91"/>
                  </a:cxn>
                  <a:cxn ang="0">
                    <a:pos x="528" y="23"/>
                  </a:cxn>
                  <a:cxn ang="0">
                    <a:pos x="528" y="23"/>
                  </a:cxn>
                  <a:cxn ang="0">
                    <a:pos x="522" y="13"/>
                  </a:cxn>
                  <a:cxn ang="0">
                    <a:pos x="512" y="8"/>
                  </a:cxn>
                  <a:cxn ang="0">
                    <a:pos x="503" y="2"/>
                  </a:cxn>
                  <a:cxn ang="0">
                    <a:pos x="493" y="0"/>
                  </a:cxn>
                  <a:cxn ang="0">
                    <a:pos x="72" y="0"/>
                  </a:cxn>
                  <a:cxn ang="0">
                    <a:pos x="72" y="0"/>
                  </a:cxn>
                  <a:cxn ang="0">
                    <a:pos x="63" y="2"/>
                  </a:cxn>
                  <a:cxn ang="0">
                    <a:pos x="53" y="8"/>
                  </a:cxn>
                  <a:cxn ang="0">
                    <a:pos x="46" y="13"/>
                  </a:cxn>
                  <a:cxn ang="0">
                    <a:pos x="38" y="23"/>
                  </a:cxn>
                  <a:cxn ang="0">
                    <a:pos x="2" y="91"/>
                  </a:cxn>
                  <a:cxn ang="0">
                    <a:pos x="2" y="91"/>
                  </a:cxn>
                  <a:cxn ang="0">
                    <a:pos x="0" y="99"/>
                  </a:cxn>
                  <a:cxn ang="0">
                    <a:pos x="0" y="103"/>
                  </a:cxn>
                  <a:cxn ang="0">
                    <a:pos x="2" y="107"/>
                  </a:cxn>
                  <a:cxn ang="0">
                    <a:pos x="8" y="112"/>
                  </a:cxn>
                  <a:cxn ang="0">
                    <a:pos x="17" y="112"/>
                  </a:cxn>
                  <a:cxn ang="0">
                    <a:pos x="17" y="112"/>
                  </a:cxn>
                  <a:cxn ang="0">
                    <a:pos x="250" y="97"/>
                  </a:cxn>
                  <a:cxn ang="0">
                    <a:pos x="257" y="80"/>
                  </a:cxn>
                  <a:cxn ang="0">
                    <a:pos x="311" y="80"/>
                  </a:cxn>
                  <a:cxn ang="0">
                    <a:pos x="318" y="97"/>
                  </a:cxn>
                  <a:cxn ang="0">
                    <a:pos x="250" y="97"/>
                  </a:cxn>
                  <a:cxn ang="0">
                    <a:pos x="55" y="15"/>
                  </a:cxn>
                  <a:cxn ang="0">
                    <a:pos x="512" y="15"/>
                  </a:cxn>
                  <a:cxn ang="0">
                    <a:pos x="512" y="36"/>
                  </a:cxn>
                  <a:cxn ang="0">
                    <a:pos x="55" y="36"/>
                  </a:cxn>
                  <a:cxn ang="0">
                    <a:pos x="55" y="15"/>
                  </a:cxn>
                  <a:cxn ang="0">
                    <a:pos x="42" y="48"/>
                  </a:cxn>
                  <a:cxn ang="0">
                    <a:pos x="526" y="48"/>
                  </a:cxn>
                  <a:cxn ang="0">
                    <a:pos x="526" y="67"/>
                  </a:cxn>
                  <a:cxn ang="0">
                    <a:pos x="42" y="67"/>
                  </a:cxn>
                  <a:cxn ang="0">
                    <a:pos x="42" y="48"/>
                  </a:cxn>
                </a:cxnLst>
                <a:rect l="0" t="0" r="r" b="b"/>
                <a:pathLst>
                  <a:path w="568" h="112">
                    <a:moveTo>
                      <a:pt x="17" y="112"/>
                    </a:moveTo>
                    <a:lnTo>
                      <a:pt x="549" y="112"/>
                    </a:lnTo>
                    <a:lnTo>
                      <a:pt x="549" y="112"/>
                    </a:lnTo>
                    <a:lnTo>
                      <a:pt x="560" y="112"/>
                    </a:lnTo>
                    <a:lnTo>
                      <a:pt x="566" y="107"/>
                    </a:lnTo>
                    <a:lnTo>
                      <a:pt x="568" y="103"/>
                    </a:lnTo>
                    <a:lnTo>
                      <a:pt x="568" y="99"/>
                    </a:lnTo>
                    <a:lnTo>
                      <a:pt x="566" y="91"/>
                    </a:lnTo>
                    <a:lnTo>
                      <a:pt x="528" y="23"/>
                    </a:lnTo>
                    <a:lnTo>
                      <a:pt x="528" y="23"/>
                    </a:lnTo>
                    <a:lnTo>
                      <a:pt x="522" y="13"/>
                    </a:lnTo>
                    <a:lnTo>
                      <a:pt x="512" y="8"/>
                    </a:lnTo>
                    <a:lnTo>
                      <a:pt x="503" y="2"/>
                    </a:lnTo>
                    <a:lnTo>
                      <a:pt x="493" y="0"/>
                    </a:lnTo>
                    <a:lnTo>
                      <a:pt x="72" y="0"/>
                    </a:lnTo>
                    <a:lnTo>
                      <a:pt x="72" y="0"/>
                    </a:lnTo>
                    <a:lnTo>
                      <a:pt x="63" y="2"/>
                    </a:lnTo>
                    <a:lnTo>
                      <a:pt x="53" y="8"/>
                    </a:lnTo>
                    <a:lnTo>
                      <a:pt x="46" y="13"/>
                    </a:lnTo>
                    <a:lnTo>
                      <a:pt x="38" y="23"/>
                    </a:lnTo>
                    <a:lnTo>
                      <a:pt x="2" y="91"/>
                    </a:lnTo>
                    <a:lnTo>
                      <a:pt x="2" y="91"/>
                    </a:lnTo>
                    <a:lnTo>
                      <a:pt x="0" y="99"/>
                    </a:lnTo>
                    <a:lnTo>
                      <a:pt x="0" y="103"/>
                    </a:lnTo>
                    <a:lnTo>
                      <a:pt x="2" y="107"/>
                    </a:lnTo>
                    <a:lnTo>
                      <a:pt x="8" y="112"/>
                    </a:lnTo>
                    <a:lnTo>
                      <a:pt x="17" y="112"/>
                    </a:lnTo>
                    <a:lnTo>
                      <a:pt x="17" y="112"/>
                    </a:lnTo>
                    <a:close/>
                    <a:moveTo>
                      <a:pt x="250" y="97"/>
                    </a:moveTo>
                    <a:lnTo>
                      <a:pt x="257" y="80"/>
                    </a:lnTo>
                    <a:lnTo>
                      <a:pt x="311" y="80"/>
                    </a:lnTo>
                    <a:lnTo>
                      <a:pt x="318" y="97"/>
                    </a:lnTo>
                    <a:lnTo>
                      <a:pt x="250" y="97"/>
                    </a:lnTo>
                    <a:close/>
                    <a:moveTo>
                      <a:pt x="55" y="15"/>
                    </a:moveTo>
                    <a:lnTo>
                      <a:pt x="512" y="15"/>
                    </a:lnTo>
                    <a:lnTo>
                      <a:pt x="512" y="36"/>
                    </a:lnTo>
                    <a:lnTo>
                      <a:pt x="55" y="36"/>
                    </a:lnTo>
                    <a:lnTo>
                      <a:pt x="55" y="15"/>
                    </a:lnTo>
                    <a:close/>
                    <a:moveTo>
                      <a:pt x="42" y="48"/>
                    </a:moveTo>
                    <a:lnTo>
                      <a:pt x="526" y="48"/>
                    </a:lnTo>
                    <a:lnTo>
                      <a:pt x="526" y="67"/>
                    </a:lnTo>
                    <a:lnTo>
                      <a:pt x="42" y="67"/>
                    </a:lnTo>
                    <a:lnTo>
                      <a:pt x="42" y="4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sp>
            <p:nvSpPr>
              <p:cNvPr id="208" name="Freeform 54">
                <a:extLst>
                  <a:ext uri="{FF2B5EF4-FFF2-40B4-BE49-F238E27FC236}">
                    <a16:creationId xmlns:a16="http://schemas.microsoft.com/office/drawing/2014/main" id="{3DE415B2-8AAF-F532-6C27-8157CCF9ACA0}"/>
                  </a:ext>
                </a:extLst>
              </p:cNvPr>
              <p:cNvSpPr>
                <a:spLocks/>
              </p:cNvSpPr>
              <p:nvPr/>
            </p:nvSpPr>
            <p:spPr bwMode="auto">
              <a:xfrm>
                <a:off x="2124075" y="2362201"/>
                <a:ext cx="49213" cy="60325"/>
              </a:xfrm>
              <a:custGeom>
                <a:avLst/>
                <a:gdLst/>
                <a:ahLst/>
                <a:cxnLst>
                  <a:cxn ang="0">
                    <a:pos x="27" y="61"/>
                  </a:cxn>
                  <a:cxn ang="0">
                    <a:pos x="27" y="61"/>
                  </a:cxn>
                  <a:cxn ang="0">
                    <a:pos x="33" y="77"/>
                  </a:cxn>
                  <a:cxn ang="0">
                    <a:pos x="63" y="77"/>
                  </a:cxn>
                  <a:cxn ang="0">
                    <a:pos x="63" y="77"/>
                  </a:cxn>
                  <a:cxn ang="0">
                    <a:pos x="61" y="63"/>
                  </a:cxn>
                  <a:cxn ang="0">
                    <a:pos x="55" y="50"/>
                  </a:cxn>
                  <a:cxn ang="0">
                    <a:pos x="55" y="50"/>
                  </a:cxn>
                  <a:cxn ang="0">
                    <a:pos x="46" y="33"/>
                  </a:cxn>
                  <a:cxn ang="0">
                    <a:pos x="34" y="18"/>
                  </a:cxn>
                  <a:cxn ang="0">
                    <a:pos x="34" y="18"/>
                  </a:cxn>
                  <a:cxn ang="0">
                    <a:pos x="23" y="8"/>
                  </a:cxn>
                  <a:cxn ang="0">
                    <a:pos x="12" y="0"/>
                  </a:cxn>
                  <a:cxn ang="0">
                    <a:pos x="0" y="29"/>
                  </a:cxn>
                  <a:cxn ang="0">
                    <a:pos x="0" y="29"/>
                  </a:cxn>
                  <a:cxn ang="0">
                    <a:pos x="13" y="39"/>
                  </a:cxn>
                  <a:cxn ang="0">
                    <a:pos x="13" y="39"/>
                  </a:cxn>
                  <a:cxn ang="0">
                    <a:pos x="21" y="50"/>
                  </a:cxn>
                  <a:cxn ang="0">
                    <a:pos x="27" y="61"/>
                  </a:cxn>
                  <a:cxn ang="0">
                    <a:pos x="27" y="61"/>
                  </a:cxn>
                </a:cxnLst>
                <a:rect l="0" t="0" r="r" b="b"/>
                <a:pathLst>
                  <a:path w="63" h="77">
                    <a:moveTo>
                      <a:pt x="27" y="61"/>
                    </a:moveTo>
                    <a:lnTo>
                      <a:pt x="27" y="61"/>
                    </a:lnTo>
                    <a:lnTo>
                      <a:pt x="33" y="77"/>
                    </a:lnTo>
                    <a:lnTo>
                      <a:pt x="63" y="77"/>
                    </a:lnTo>
                    <a:lnTo>
                      <a:pt x="63" y="77"/>
                    </a:lnTo>
                    <a:lnTo>
                      <a:pt x="61" y="63"/>
                    </a:lnTo>
                    <a:lnTo>
                      <a:pt x="55" y="50"/>
                    </a:lnTo>
                    <a:lnTo>
                      <a:pt x="55" y="50"/>
                    </a:lnTo>
                    <a:lnTo>
                      <a:pt x="46" y="33"/>
                    </a:lnTo>
                    <a:lnTo>
                      <a:pt x="34" y="18"/>
                    </a:lnTo>
                    <a:lnTo>
                      <a:pt x="34" y="18"/>
                    </a:lnTo>
                    <a:lnTo>
                      <a:pt x="23" y="8"/>
                    </a:lnTo>
                    <a:lnTo>
                      <a:pt x="12" y="0"/>
                    </a:lnTo>
                    <a:lnTo>
                      <a:pt x="0" y="29"/>
                    </a:lnTo>
                    <a:lnTo>
                      <a:pt x="0" y="29"/>
                    </a:lnTo>
                    <a:lnTo>
                      <a:pt x="13" y="39"/>
                    </a:lnTo>
                    <a:lnTo>
                      <a:pt x="13" y="39"/>
                    </a:lnTo>
                    <a:lnTo>
                      <a:pt x="21" y="50"/>
                    </a:lnTo>
                    <a:lnTo>
                      <a:pt x="27" y="61"/>
                    </a:lnTo>
                    <a:lnTo>
                      <a:pt x="27" y="6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sp>
            <p:nvSpPr>
              <p:cNvPr id="209" name="Freeform 55">
                <a:extLst>
                  <a:ext uri="{FF2B5EF4-FFF2-40B4-BE49-F238E27FC236}">
                    <a16:creationId xmlns:a16="http://schemas.microsoft.com/office/drawing/2014/main" id="{61DD8B15-E9A8-2E61-F0C0-BBD464EFDA39}"/>
                  </a:ext>
                </a:extLst>
              </p:cNvPr>
              <p:cNvSpPr>
                <a:spLocks/>
              </p:cNvSpPr>
              <p:nvPr/>
            </p:nvSpPr>
            <p:spPr bwMode="auto">
              <a:xfrm>
                <a:off x="2124075" y="2436813"/>
                <a:ext cx="49213" cy="60325"/>
              </a:xfrm>
              <a:custGeom>
                <a:avLst/>
                <a:gdLst/>
                <a:ahLst/>
                <a:cxnLst>
                  <a:cxn ang="0">
                    <a:pos x="34" y="59"/>
                  </a:cxn>
                  <a:cxn ang="0">
                    <a:pos x="34" y="59"/>
                  </a:cxn>
                  <a:cxn ang="0">
                    <a:pos x="46" y="45"/>
                  </a:cxn>
                  <a:cxn ang="0">
                    <a:pos x="55" y="28"/>
                  </a:cxn>
                  <a:cxn ang="0">
                    <a:pos x="55" y="28"/>
                  </a:cxn>
                  <a:cxn ang="0">
                    <a:pos x="61" y="15"/>
                  </a:cxn>
                  <a:cxn ang="0">
                    <a:pos x="63" y="0"/>
                  </a:cxn>
                  <a:cxn ang="0">
                    <a:pos x="33" y="0"/>
                  </a:cxn>
                  <a:cxn ang="0">
                    <a:pos x="33" y="0"/>
                  </a:cxn>
                  <a:cxn ang="0">
                    <a:pos x="27" y="17"/>
                  </a:cxn>
                  <a:cxn ang="0">
                    <a:pos x="27" y="17"/>
                  </a:cxn>
                  <a:cxn ang="0">
                    <a:pos x="21" y="28"/>
                  </a:cxn>
                  <a:cxn ang="0">
                    <a:pos x="13" y="38"/>
                  </a:cxn>
                  <a:cxn ang="0">
                    <a:pos x="13" y="38"/>
                  </a:cxn>
                  <a:cxn ang="0">
                    <a:pos x="0" y="47"/>
                  </a:cxn>
                  <a:cxn ang="0">
                    <a:pos x="12" y="76"/>
                  </a:cxn>
                  <a:cxn ang="0">
                    <a:pos x="12" y="76"/>
                  </a:cxn>
                  <a:cxn ang="0">
                    <a:pos x="23" y="68"/>
                  </a:cxn>
                  <a:cxn ang="0">
                    <a:pos x="34" y="59"/>
                  </a:cxn>
                  <a:cxn ang="0">
                    <a:pos x="34" y="59"/>
                  </a:cxn>
                </a:cxnLst>
                <a:rect l="0" t="0" r="r" b="b"/>
                <a:pathLst>
                  <a:path w="63" h="76">
                    <a:moveTo>
                      <a:pt x="34" y="59"/>
                    </a:moveTo>
                    <a:lnTo>
                      <a:pt x="34" y="59"/>
                    </a:lnTo>
                    <a:lnTo>
                      <a:pt x="46" y="45"/>
                    </a:lnTo>
                    <a:lnTo>
                      <a:pt x="55" y="28"/>
                    </a:lnTo>
                    <a:lnTo>
                      <a:pt x="55" y="28"/>
                    </a:lnTo>
                    <a:lnTo>
                      <a:pt x="61" y="15"/>
                    </a:lnTo>
                    <a:lnTo>
                      <a:pt x="63" y="0"/>
                    </a:lnTo>
                    <a:lnTo>
                      <a:pt x="33" y="0"/>
                    </a:lnTo>
                    <a:lnTo>
                      <a:pt x="33" y="0"/>
                    </a:lnTo>
                    <a:lnTo>
                      <a:pt x="27" y="17"/>
                    </a:lnTo>
                    <a:lnTo>
                      <a:pt x="27" y="17"/>
                    </a:lnTo>
                    <a:lnTo>
                      <a:pt x="21" y="28"/>
                    </a:lnTo>
                    <a:lnTo>
                      <a:pt x="13" y="38"/>
                    </a:lnTo>
                    <a:lnTo>
                      <a:pt x="13" y="38"/>
                    </a:lnTo>
                    <a:lnTo>
                      <a:pt x="0" y="47"/>
                    </a:lnTo>
                    <a:lnTo>
                      <a:pt x="12" y="76"/>
                    </a:lnTo>
                    <a:lnTo>
                      <a:pt x="12" y="76"/>
                    </a:lnTo>
                    <a:lnTo>
                      <a:pt x="23" y="68"/>
                    </a:lnTo>
                    <a:lnTo>
                      <a:pt x="34" y="59"/>
                    </a:lnTo>
                    <a:lnTo>
                      <a:pt x="34" y="5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sp>
            <p:nvSpPr>
              <p:cNvPr id="210" name="Freeform 56">
                <a:extLst>
                  <a:ext uri="{FF2B5EF4-FFF2-40B4-BE49-F238E27FC236}">
                    <a16:creationId xmlns:a16="http://schemas.microsoft.com/office/drawing/2014/main" id="{94E35068-1851-D330-78B0-DEEB7DB90B1B}"/>
                  </a:ext>
                </a:extLst>
              </p:cNvPr>
              <p:cNvSpPr>
                <a:spLocks/>
              </p:cNvSpPr>
              <p:nvPr/>
            </p:nvSpPr>
            <p:spPr bwMode="auto">
              <a:xfrm>
                <a:off x="2019300" y="2352676"/>
                <a:ext cx="100013" cy="100013"/>
              </a:xfrm>
              <a:custGeom>
                <a:avLst/>
                <a:gdLst/>
                <a:ahLst/>
                <a:cxnLst>
                  <a:cxn ang="0">
                    <a:pos x="13" y="122"/>
                  </a:cxn>
                  <a:cxn ang="0">
                    <a:pos x="32" y="114"/>
                  </a:cxn>
                  <a:cxn ang="0">
                    <a:pos x="32" y="114"/>
                  </a:cxn>
                  <a:cxn ang="0">
                    <a:pos x="30" y="97"/>
                  </a:cxn>
                  <a:cxn ang="0">
                    <a:pos x="30" y="97"/>
                  </a:cxn>
                  <a:cxn ang="0">
                    <a:pos x="30" y="84"/>
                  </a:cxn>
                  <a:cxn ang="0">
                    <a:pos x="34" y="72"/>
                  </a:cxn>
                  <a:cxn ang="0">
                    <a:pos x="34" y="72"/>
                  </a:cxn>
                  <a:cxn ang="0">
                    <a:pos x="42" y="61"/>
                  </a:cxn>
                  <a:cxn ang="0">
                    <a:pos x="49" y="50"/>
                  </a:cxn>
                  <a:cxn ang="0">
                    <a:pos x="49" y="50"/>
                  </a:cxn>
                  <a:cxn ang="0">
                    <a:pos x="59" y="42"/>
                  </a:cxn>
                  <a:cxn ang="0">
                    <a:pos x="70" y="36"/>
                  </a:cxn>
                  <a:cxn ang="0">
                    <a:pos x="70" y="36"/>
                  </a:cxn>
                  <a:cxn ang="0">
                    <a:pos x="82" y="32"/>
                  </a:cxn>
                  <a:cxn ang="0">
                    <a:pos x="91" y="31"/>
                  </a:cxn>
                  <a:cxn ang="0">
                    <a:pos x="103" y="31"/>
                  </a:cxn>
                  <a:cxn ang="0">
                    <a:pos x="112" y="32"/>
                  </a:cxn>
                  <a:cxn ang="0">
                    <a:pos x="125" y="4"/>
                  </a:cxn>
                  <a:cxn ang="0">
                    <a:pos x="125" y="4"/>
                  </a:cxn>
                  <a:cxn ang="0">
                    <a:pos x="110" y="0"/>
                  </a:cxn>
                  <a:cxn ang="0">
                    <a:pos x="97" y="0"/>
                  </a:cxn>
                  <a:cxn ang="0">
                    <a:pos x="97" y="0"/>
                  </a:cxn>
                  <a:cxn ang="0">
                    <a:pos x="78" y="2"/>
                  </a:cxn>
                  <a:cxn ang="0">
                    <a:pos x="59" y="8"/>
                  </a:cxn>
                  <a:cxn ang="0">
                    <a:pos x="59" y="8"/>
                  </a:cxn>
                  <a:cxn ang="0">
                    <a:pos x="42" y="17"/>
                  </a:cxn>
                  <a:cxn ang="0">
                    <a:pos x="28" y="29"/>
                  </a:cxn>
                  <a:cxn ang="0">
                    <a:pos x="28" y="29"/>
                  </a:cxn>
                  <a:cxn ang="0">
                    <a:pos x="15" y="44"/>
                  </a:cxn>
                  <a:cxn ang="0">
                    <a:pos x="5" y="61"/>
                  </a:cxn>
                  <a:cxn ang="0">
                    <a:pos x="5" y="61"/>
                  </a:cxn>
                  <a:cxn ang="0">
                    <a:pos x="2" y="78"/>
                  </a:cxn>
                  <a:cxn ang="0">
                    <a:pos x="0" y="97"/>
                  </a:cxn>
                  <a:cxn ang="0">
                    <a:pos x="0" y="97"/>
                  </a:cxn>
                  <a:cxn ang="0">
                    <a:pos x="0" y="112"/>
                  </a:cxn>
                  <a:cxn ang="0">
                    <a:pos x="4" y="126"/>
                  </a:cxn>
                  <a:cxn ang="0">
                    <a:pos x="13" y="122"/>
                  </a:cxn>
                </a:cxnLst>
                <a:rect l="0" t="0" r="r" b="b"/>
                <a:pathLst>
                  <a:path w="125" h="126">
                    <a:moveTo>
                      <a:pt x="13" y="122"/>
                    </a:moveTo>
                    <a:lnTo>
                      <a:pt x="32" y="114"/>
                    </a:lnTo>
                    <a:lnTo>
                      <a:pt x="32" y="114"/>
                    </a:lnTo>
                    <a:lnTo>
                      <a:pt x="30" y="97"/>
                    </a:lnTo>
                    <a:lnTo>
                      <a:pt x="30" y="97"/>
                    </a:lnTo>
                    <a:lnTo>
                      <a:pt x="30" y="84"/>
                    </a:lnTo>
                    <a:lnTo>
                      <a:pt x="34" y="72"/>
                    </a:lnTo>
                    <a:lnTo>
                      <a:pt x="34" y="72"/>
                    </a:lnTo>
                    <a:lnTo>
                      <a:pt x="42" y="61"/>
                    </a:lnTo>
                    <a:lnTo>
                      <a:pt x="49" y="50"/>
                    </a:lnTo>
                    <a:lnTo>
                      <a:pt x="49" y="50"/>
                    </a:lnTo>
                    <a:lnTo>
                      <a:pt x="59" y="42"/>
                    </a:lnTo>
                    <a:lnTo>
                      <a:pt x="70" y="36"/>
                    </a:lnTo>
                    <a:lnTo>
                      <a:pt x="70" y="36"/>
                    </a:lnTo>
                    <a:lnTo>
                      <a:pt x="82" y="32"/>
                    </a:lnTo>
                    <a:lnTo>
                      <a:pt x="91" y="31"/>
                    </a:lnTo>
                    <a:lnTo>
                      <a:pt x="103" y="31"/>
                    </a:lnTo>
                    <a:lnTo>
                      <a:pt x="112" y="32"/>
                    </a:lnTo>
                    <a:lnTo>
                      <a:pt x="125" y="4"/>
                    </a:lnTo>
                    <a:lnTo>
                      <a:pt x="125" y="4"/>
                    </a:lnTo>
                    <a:lnTo>
                      <a:pt x="110" y="0"/>
                    </a:lnTo>
                    <a:lnTo>
                      <a:pt x="97" y="0"/>
                    </a:lnTo>
                    <a:lnTo>
                      <a:pt x="97" y="0"/>
                    </a:lnTo>
                    <a:lnTo>
                      <a:pt x="78" y="2"/>
                    </a:lnTo>
                    <a:lnTo>
                      <a:pt x="59" y="8"/>
                    </a:lnTo>
                    <a:lnTo>
                      <a:pt x="59" y="8"/>
                    </a:lnTo>
                    <a:lnTo>
                      <a:pt x="42" y="17"/>
                    </a:lnTo>
                    <a:lnTo>
                      <a:pt x="28" y="29"/>
                    </a:lnTo>
                    <a:lnTo>
                      <a:pt x="28" y="29"/>
                    </a:lnTo>
                    <a:lnTo>
                      <a:pt x="15" y="44"/>
                    </a:lnTo>
                    <a:lnTo>
                      <a:pt x="5" y="61"/>
                    </a:lnTo>
                    <a:lnTo>
                      <a:pt x="5" y="61"/>
                    </a:lnTo>
                    <a:lnTo>
                      <a:pt x="2" y="78"/>
                    </a:lnTo>
                    <a:lnTo>
                      <a:pt x="0" y="97"/>
                    </a:lnTo>
                    <a:lnTo>
                      <a:pt x="0" y="97"/>
                    </a:lnTo>
                    <a:lnTo>
                      <a:pt x="0" y="112"/>
                    </a:lnTo>
                    <a:lnTo>
                      <a:pt x="4" y="126"/>
                    </a:lnTo>
                    <a:lnTo>
                      <a:pt x="13" y="1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sp>
            <p:nvSpPr>
              <p:cNvPr id="211" name="Freeform 57">
                <a:extLst>
                  <a:ext uri="{FF2B5EF4-FFF2-40B4-BE49-F238E27FC236}">
                    <a16:creationId xmlns:a16="http://schemas.microsoft.com/office/drawing/2014/main" id="{B3EEB6BF-DDC1-2626-424A-80F88DDCD3ED}"/>
                  </a:ext>
                </a:extLst>
              </p:cNvPr>
              <p:cNvSpPr>
                <a:spLocks/>
              </p:cNvSpPr>
              <p:nvPr/>
            </p:nvSpPr>
            <p:spPr bwMode="auto">
              <a:xfrm>
                <a:off x="2028825" y="2457451"/>
                <a:ext cx="90488" cy="49213"/>
              </a:xfrm>
              <a:custGeom>
                <a:avLst/>
                <a:gdLst/>
                <a:ahLst/>
                <a:cxnLst>
                  <a:cxn ang="0">
                    <a:pos x="59" y="28"/>
                  </a:cxn>
                  <a:cxn ang="0">
                    <a:pos x="59" y="28"/>
                  </a:cxn>
                  <a:cxn ang="0">
                    <a:pos x="48" y="20"/>
                  </a:cxn>
                  <a:cxn ang="0">
                    <a:pos x="38" y="13"/>
                  </a:cxn>
                  <a:cxn ang="0">
                    <a:pos x="38" y="13"/>
                  </a:cxn>
                  <a:cxn ang="0">
                    <a:pos x="29" y="0"/>
                  </a:cxn>
                  <a:cxn ang="0">
                    <a:pos x="0" y="11"/>
                  </a:cxn>
                  <a:cxn ang="0">
                    <a:pos x="0" y="11"/>
                  </a:cxn>
                  <a:cxn ang="0">
                    <a:pos x="8" y="24"/>
                  </a:cxn>
                  <a:cxn ang="0">
                    <a:pos x="17" y="34"/>
                  </a:cxn>
                  <a:cxn ang="0">
                    <a:pos x="17" y="34"/>
                  </a:cxn>
                  <a:cxn ang="0">
                    <a:pos x="31" y="47"/>
                  </a:cxn>
                  <a:cxn ang="0">
                    <a:pos x="48" y="57"/>
                  </a:cxn>
                  <a:cxn ang="0">
                    <a:pos x="48" y="57"/>
                  </a:cxn>
                  <a:cxn ang="0">
                    <a:pos x="65" y="60"/>
                  </a:cxn>
                  <a:cxn ang="0">
                    <a:pos x="80" y="62"/>
                  </a:cxn>
                  <a:cxn ang="0">
                    <a:pos x="97" y="62"/>
                  </a:cxn>
                  <a:cxn ang="0">
                    <a:pos x="114" y="59"/>
                  </a:cxn>
                  <a:cxn ang="0">
                    <a:pos x="101" y="30"/>
                  </a:cxn>
                  <a:cxn ang="0">
                    <a:pos x="101" y="30"/>
                  </a:cxn>
                  <a:cxn ang="0">
                    <a:pos x="92" y="32"/>
                  </a:cxn>
                  <a:cxn ang="0">
                    <a:pos x="80" y="32"/>
                  </a:cxn>
                  <a:cxn ang="0">
                    <a:pos x="71" y="30"/>
                  </a:cxn>
                  <a:cxn ang="0">
                    <a:pos x="59" y="28"/>
                  </a:cxn>
                  <a:cxn ang="0">
                    <a:pos x="59" y="28"/>
                  </a:cxn>
                </a:cxnLst>
                <a:rect l="0" t="0" r="r" b="b"/>
                <a:pathLst>
                  <a:path w="114" h="62">
                    <a:moveTo>
                      <a:pt x="59" y="28"/>
                    </a:moveTo>
                    <a:lnTo>
                      <a:pt x="59" y="28"/>
                    </a:lnTo>
                    <a:lnTo>
                      <a:pt x="48" y="20"/>
                    </a:lnTo>
                    <a:lnTo>
                      <a:pt x="38" y="13"/>
                    </a:lnTo>
                    <a:lnTo>
                      <a:pt x="38" y="13"/>
                    </a:lnTo>
                    <a:lnTo>
                      <a:pt x="29" y="0"/>
                    </a:lnTo>
                    <a:lnTo>
                      <a:pt x="0" y="11"/>
                    </a:lnTo>
                    <a:lnTo>
                      <a:pt x="0" y="11"/>
                    </a:lnTo>
                    <a:lnTo>
                      <a:pt x="8" y="24"/>
                    </a:lnTo>
                    <a:lnTo>
                      <a:pt x="17" y="34"/>
                    </a:lnTo>
                    <a:lnTo>
                      <a:pt x="17" y="34"/>
                    </a:lnTo>
                    <a:lnTo>
                      <a:pt x="31" y="47"/>
                    </a:lnTo>
                    <a:lnTo>
                      <a:pt x="48" y="57"/>
                    </a:lnTo>
                    <a:lnTo>
                      <a:pt x="48" y="57"/>
                    </a:lnTo>
                    <a:lnTo>
                      <a:pt x="65" y="60"/>
                    </a:lnTo>
                    <a:lnTo>
                      <a:pt x="80" y="62"/>
                    </a:lnTo>
                    <a:lnTo>
                      <a:pt x="97" y="62"/>
                    </a:lnTo>
                    <a:lnTo>
                      <a:pt x="114" y="59"/>
                    </a:lnTo>
                    <a:lnTo>
                      <a:pt x="101" y="30"/>
                    </a:lnTo>
                    <a:lnTo>
                      <a:pt x="101" y="30"/>
                    </a:lnTo>
                    <a:lnTo>
                      <a:pt x="92" y="32"/>
                    </a:lnTo>
                    <a:lnTo>
                      <a:pt x="80" y="32"/>
                    </a:lnTo>
                    <a:lnTo>
                      <a:pt x="71" y="30"/>
                    </a:lnTo>
                    <a:lnTo>
                      <a:pt x="59" y="28"/>
                    </a:lnTo>
                    <a:lnTo>
                      <a:pt x="59"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grpSp>
      </p:grpSp>
      <p:grpSp>
        <p:nvGrpSpPr>
          <p:cNvPr id="33" name="Group 32">
            <a:extLst>
              <a:ext uri="{FF2B5EF4-FFF2-40B4-BE49-F238E27FC236}">
                <a16:creationId xmlns:a16="http://schemas.microsoft.com/office/drawing/2014/main" id="{FE7C5FAF-9BA6-DA3B-61B0-4D08A1F9E053}"/>
              </a:ext>
            </a:extLst>
          </p:cNvPr>
          <p:cNvGrpSpPr/>
          <p:nvPr/>
        </p:nvGrpSpPr>
        <p:grpSpPr>
          <a:xfrm>
            <a:off x="556066" y="4054776"/>
            <a:ext cx="1106424" cy="1106424"/>
            <a:chOff x="189241" y="4247840"/>
            <a:chExt cx="867253" cy="759701"/>
          </a:xfrm>
        </p:grpSpPr>
        <p:sp>
          <p:nvSpPr>
            <p:cNvPr id="40" name="Oval Callout 77">
              <a:extLst>
                <a:ext uri="{FF2B5EF4-FFF2-40B4-BE49-F238E27FC236}">
                  <a16:creationId xmlns:a16="http://schemas.microsoft.com/office/drawing/2014/main" id="{78BF2609-4ECF-00A4-84C8-DE9F0E6EE57C}"/>
                </a:ext>
              </a:extLst>
            </p:cNvPr>
            <p:cNvSpPr/>
            <p:nvPr/>
          </p:nvSpPr>
          <p:spPr>
            <a:xfrm flipV="1">
              <a:off x="189241" y="4247840"/>
              <a:ext cx="867253" cy="759701"/>
            </a:xfrm>
            <a:prstGeom prst="wedgeEllipseCallout">
              <a:avLst>
                <a:gd name="adj1" fmla="val -10682"/>
                <a:gd name="adj2" fmla="val -24659"/>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cs typeface="Arial" panose="020B0604020202020204" pitchFamily="34" charset="0"/>
              </a:endParaRPr>
            </a:p>
          </p:txBody>
        </p:sp>
        <p:sp>
          <p:nvSpPr>
            <p:cNvPr id="41" name="Oval 78">
              <a:extLst>
                <a:ext uri="{FF2B5EF4-FFF2-40B4-BE49-F238E27FC236}">
                  <a16:creationId xmlns:a16="http://schemas.microsoft.com/office/drawing/2014/main" id="{761B77AC-D52E-8929-3B23-461EE3583F00}"/>
                </a:ext>
              </a:extLst>
            </p:cNvPr>
            <p:cNvSpPr/>
            <p:nvPr/>
          </p:nvSpPr>
          <p:spPr>
            <a:xfrm flipV="1">
              <a:off x="247403" y="4296950"/>
              <a:ext cx="750244" cy="654211"/>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cs typeface="Arial" panose="020B0604020202020204" pitchFamily="34" charset="0"/>
              </a:endParaRPr>
            </a:p>
          </p:txBody>
        </p:sp>
        <p:grpSp>
          <p:nvGrpSpPr>
            <p:cNvPr id="212" name="Group 247">
              <a:extLst>
                <a:ext uri="{FF2B5EF4-FFF2-40B4-BE49-F238E27FC236}">
                  <a16:creationId xmlns:a16="http://schemas.microsoft.com/office/drawing/2014/main" id="{5035550E-5BFD-C58B-650D-78EDA307F322}"/>
                </a:ext>
              </a:extLst>
            </p:cNvPr>
            <p:cNvGrpSpPr/>
            <p:nvPr/>
          </p:nvGrpSpPr>
          <p:grpSpPr>
            <a:xfrm>
              <a:off x="421998" y="4431763"/>
              <a:ext cx="440432" cy="417310"/>
              <a:chOff x="-4678363" y="3956050"/>
              <a:chExt cx="1117600" cy="1122363"/>
            </a:xfrm>
            <a:solidFill>
              <a:srgbClr val="00338D"/>
            </a:solidFill>
          </p:grpSpPr>
          <p:sp>
            <p:nvSpPr>
              <p:cNvPr id="213" name="Freeform 150">
                <a:extLst>
                  <a:ext uri="{FF2B5EF4-FFF2-40B4-BE49-F238E27FC236}">
                    <a16:creationId xmlns:a16="http://schemas.microsoft.com/office/drawing/2014/main" id="{AB1DD197-BF66-B226-58E5-A587DA26EF4A}"/>
                  </a:ext>
                </a:extLst>
              </p:cNvPr>
              <p:cNvSpPr>
                <a:spLocks noEditPoints="1"/>
              </p:cNvSpPr>
              <p:nvPr/>
            </p:nvSpPr>
            <p:spPr bwMode="auto">
              <a:xfrm>
                <a:off x="-4678363" y="3956050"/>
                <a:ext cx="982662" cy="965200"/>
              </a:xfrm>
              <a:custGeom>
                <a:avLst/>
                <a:gdLst/>
                <a:ahLst/>
                <a:cxnLst>
                  <a:cxn ang="0">
                    <a:pos x="200" y="56"/>
                  </a:cxn>
                  <a:cxn ang="0">
                    <a:pos x="217" y="17"/>
                  </a:cxn>
                  <a:cxn ang="0">
                    <a:pos x="255" y="0"/>
                  </a:cxn>
                  <a:cxn ang="0">
                    <a:pos x="286" y="10"/>
                  </a:cxn>
                  <a:cxn ang="0">
                    <a:pos x="309" y="44"/>
                  </a:cxn>
                  <a:cxn ang="0">
                    <a:pos x="309" y="305"/>
                  </a:cxn>
                  <a:cxn ang="0">
                    <a:pos x="286" y="340"/>
                  </a:cxn>
                  <a:cxn ang="0">
                    <a:pos x="255" y="349"/>
                  </a:cxn>
                  <a:cxn ang="0">
                    <a:pos x="217" y="333"/>
                  </a:cxn>
                  <a:cxn ang="0">
                    <a:pos x="200" y="294"/>
                  </a:cxn>
                  <a:cxn ang="0">
                    <a:pos x="1139" y="455"/>
                  </a:cxn>
                  <a:cxn ang="0">
                    <a:pos x="1145" y="150"/>
                  </a:cxn>
                  <a:cxn ang="0">
                    <a:pos x="1173" y="154"/>
                  </a:cxn>
                  <a:cxn ang="0">
                    <a:pos x="1204" y="172"/>
                  </a:cxn>
                  <a:cxn ang="0">
                    <a:pos x="1228" y="200"/>
                  </a:cxn>
                  <a:cxn ang="0">
                    <a:pos x="1239" y="234"/>
                  </a:cxn>
                  <a:cxn ang="0">
                    <a:pos x="1216" y="707"/>
                  </a:cxn>
                  <a:cxn ang="0">
                    <a:pos x="1139" y="521"/>
                  </a:cxn>
                  <a:cxn ang="0">
                    <a:pos x="674" y="1117"/>
                  </a:cxn>
                  <a:cxn ang="0">
                    <a:pos x="699" y="1217"/>
                  </a:cxn>
                  <a:cxn ang="0">
                    <a:pos x="75" y="1215"/>
                  </a:cxn>
                  <a:cxn ang="0">
                    <a:pos x="42" y="1201"/>
                  </a:cxn>
                  <a:cxn ang="0">
                    <a:pos x="23" y="1182"/>
                  </a:cxn>
                  <a:cxn ang="0">
                    <a:pos x="5" y="1150"/>
                  </a:cxn>
                  <a:cxn ang="0">
                    <a:pos x="0" y="244"/>
                  </a:cxn>
                  <a:cxn ang="0">
                    <a:pos x="5" y="216"/>
                  </a:cxn>
                  <a:cxn ang="0">
                    <a:pos x="23" y="184"/>
                  </a:cxn>
                  <a:cxn ang="0">
                    <a:pos x="50" y="162"/>
                  </a:cxn>
                  <a:cxn ang="0">
                    <a:pos x="85" y="151"/>
                  </a:cxn>
                  <a:cxn ang="0">
                    <a:pos x="638" y="294"/>
                  </a:cxn>
                  <a:cxn ang="0">
                    <a:pos x="621" y="333"/>
                  </a:cxn>
                  <a:cxn ang="0">
                    <a:pos x="582" y="349"/>
                  </a:cxn>
                  <a:cxn ang="0">
                    <a:pos x="552" y="340"/>
                  </a:cxn>
                  <a:cxn ang="0">
                    <a:pos x="528" y="305"/>
                  </a:cxn>
                  <a:cxn ang="0">
                    <a:pos x="377" y="150"/>
                  </a:cxn>
                  <a:cxn ang="0">
                    <a:pos x="528" y="44"/>
                  </a:cxn>
                  <a:cxn ang="0">
                    <a:pos x="552" y="10"/>
                  </a:cxn>
                  <a:cxn ang="0">
                    <a:pos x="582" y="0"/>
                  </a:cxn>
                  <a:cxn ang="0">
                    <a:pos x="621" y="17"/>
                  </a:cxn>
                  <a:cxn ang="0">
                    <a:pos x="638" y="56"/>
                  </a:cxn>
                  <a:cxn ang="0">
                    <a:pos x="965" y="294"/>
                  </a:cxn>
                  <a:cxn ang="0">
                    <a:pos x="948" y="333"/>
                  </a:cxn>
                  <a:cxn ang="0">
                    <a:pos x="909" y="349"/>
                  </a:cxn>
                  <a:cxn ang="0">
                    <a:pos x="877" y="340"/>
                  </a:cxn>
                  <a:cxn ang="0">
                    <a:pos x="855" y="305"/>
                  </a:cxn>
                  <a:cxn ang="0">
                    <a:pos x="704" y="150"/>
                  </a:cxn>
                  <a:cxn ang="0">
                    <a:pos x="855" y="44"/>
                  </a:cxn>
                  <a:cxn ang="0">
                    <a:pos x="877" y="10"/>
                  </a:cxn>
                  <a:cxn ang="0">
                    <a:pos x="909" y="0"/>
                  </a:cxn>
                  <a:cxn ang="0">
                    <a:pos x="948" y="17"/>
                  </a:cxn>
                  <a:cxn ang="0">
                    <a:pos x="965" y="56"/>
                  </a:cxn>
                </a:cxnLst>
                <a:rect l="0" t="0" r="r" b="b"/>
                <a:pathLst>
                  <a:path w="1239" h="1217">
                    <a:moveTo>
                      <a:pt x="95" y="150"/>
                    </a:moveTo>
                    <a:lnTo>
                      <a:pt x="200" y="150"/>
                    </a:lnTo>
                    <a:lnTo>
                      <a:pt x="200" y="56"/>
                    </a:lnTo>
                    <a:lnTo>
                      <a:pt x="200" y="56"/>
                    </a:lnTo>
                    <a:lnTo>
                      <a:pt x="201" y="44"/>
                    </a:lnTo>
                    <a:lnTo>
                      <a:pt x="204" y="35"/>
                    </a:lnTo>
                    <a:lnTo>
                      <a:pt x="210" y="25"/>
                    </a:lnTo>
                    <a:lnTo>
                      <a:pt x="217" y="17"/>
                    </a:lnTo>
                    <a:lnTo>
                      <a:pt x="223" y="10"/>
                    </a:lnTo>
                    <a:lnTo>
                      <a:pt x="233" y="4"/>
                    </a:lnTo>
                    <a:lnTo>
                      <a:pt x="244" y="1"/>
                    </a:lnTo>
                    <a:lnTo>
                      <a:pt x="255" y="0"/>
                    </a:lnTo>
                    <a:lnTo>
                      <a:pt x="255" y="0"/>
                    </a:lnTo>
                    <a:lnTo>
                      <a:pt x="266" y="1"/>
                    </a:lnTo>
                    <a:lnTo>
                      <a:pt x="276" y="4"/>
                    </a:lnTo>
                    <a:lnTo>
                      <a:pt x="286" y="10"/>
                    </a:lnTo>
                    <a:lnTo>
                      <a:pt x="294" y="17"/>
                    </a:lnTo>
                    <a:lnTo>
                      <a:pt x="301" y="25"/>
                    </a:lnTo>
                    <a:lnTo>
                      <a:pt x="307" y="35"/>
                    </a:lnTo>
                    <a:lnTo>
                      <a:pt x="309" y="44"/>
                    </a:lnTo>
                    <a:lnTo>
                      <a:pt x="311" y="56"/>
                    </a:lnTo>
                    <a:lnTo>
                      <a:pt x="311" y="294"/>
                    </a:lnTo>
                    <a:lnTo>
                      <a:pt x="311" y="294"/>
                    </a:lnTo>
                    <a:lnTo>
                      <a:pt x="309" y="305"/>
                    </a:lnTo>
                    <a:lnTo>
                      <a:pt x="307" y="316"/>
                    </a:lnTo>
                    <a:lnTo>
                      <a:pt x="301" y="326"/>
                    </a:lnTo>
                    <a:lnTo>
                      <a:pt x="294" y="333"/>
                    </a:lnTo>
                    <a:lnTo>
                      <a:pt x="286" y="340"/>
                    </a:lnTo>
                    <a:lnTo>
                      <a:pt x="276" y="345"/>
                    </a:lnTo>
                    <a:lnTo>
                      <a:pt x="266" y="348"/>
                    </a:lnTo>
                    <a:lnTo>
                      <a:pt x="255" y="349"/>
                    </a:lnTo>
                    <a:lnTo>
                      <a:pt x="255" y="349"/>
                    </a:lnTo>
                    <a:lnTo>
                      <a:pt x="244" y="348"/>
                    </a:lnTo>
                    <a:lnTo>
                      <a:pt x="233" y="345"/>
                    </a:lnTo>
                    <a:lnTo>
                      <a:pt x="223" y="340"/>
                    </a:lnTo>
                    <a:lnTo>
                      <a:pt x="217" y="333"/>
                    </a:lnTo>
                    <a:lnTo>
                      <a:pt x="210" y="326"/>
                    </a:lnTo>
                    <a:lnTo>
                      <a:pt x="204" y="316"/>
                    </a:lnTo>
                    <a:lnTo>
                      <a:pt x="201" y="305"/>
                    </a:lnTo>
                    <a:lnTo>
                      <a:pt x="200" y="294"/>
                    </a:lnTo>
                    <a:lnTo>
                      <a:pt x="200" y="249"/>
                    </a:lnTo>
                    <a:lnTo>
                      <a:pt x="100" y="249"/>
                    </a:lnTo>
                    <a:lnTo>
                      <a:pt x="100" y="455"/>
                    </a:lnTo>
                    <a:lnTo>
                      <a:pt x="1139" y="455"/>
                    </a:lnTo>
                    <a:lnTo>
                      <a:pt x="1139" y="249"/>
                    </a:lnTo>
                    <a:lnTo>
                      <a:pt x="1030" y="249"/>
                    </a:lnTo>
                    <a:lnTo>
                      <a:pt x="1031" y="150"/>
                    </a:lnTo>
                    <a:lnTo>
                      <a:pt x="1145" y="150"/>
                    </a:lnTo>
                    <a:lnTo>
                      <a:pt x="1145" y="150"/>
                    </a:lnTo>
                    <a:lnTo>
                      <a:pt x="1155" y="151"/>
                    </a:lnTo>
                    <a:lnTo>
                      <a:pt x="1164" y="153"/>
                    </a:lnTo>
                    <a:lnTo>
                      <a:pt x="1173" y="154"/>
                    </a:lnTo>
                    <a:lnTo>
                      <a:pt x="1181" y="158"/>
                    </a:lnTo>
                    <a:lnTo>
                      <a:pt x="1189" y="162"/>
                    </a:lnTo>
                    <a:lnTo>
                      <a:pt x="1198" y="166"/>
                    </a:lnTo>
                    <a:lnTo>
                      <a:pt x="1204" y="172"/>
                    </a:lnTo>
                    <a:lnTo>
                      <a:pt x="1211" y="177"/>
                    </a:lnTo>
                    <a:lnTo>
                      <a:pt x="1217" y="184"/>
                    </a:lnTo>
                    <a:lnTo>
                      <a:pt x="1222" y="191"/>
                    </a:lnTo>
                    <a:lnTo>
                      <a:pt x="1228" y="200"/>
                    </a:lnTo>
                    <a:lnTo>
                      <a:pt x="1232" y="208"/>
                    </a:lnTo>
                    <a:lnTo>
                      <a:pt x="1235" y="216"/>
                    </a:lnTo>
                    <a:lnTo>
                      <a:pt x="1236" y="226"/>
                    </a:lnTo>
                    <a:lnTo>
                      <a:pt x="1239" y="234"/>
                    </a:lnTo>
                    <a:lnTo>
                      <a:pt x="1239" y="244"/>
                    </a:lnTo>
                    <a:lnTo>
                      <a:pt x="1239" y="718"/>
                    </a:lnTo>
                    <a:lnTo>
                      <a:pt x="1239" y="718"/>
                    </a:lnTo>
                    <a:lnTo>
                      <a:pt x="1216" y="707"/>
                    </a:lnTo>
                    <a:lnTo>
                      <a:pt x="1191" y="697"/>
                    </a:lnTo>
                    <a:lnTo>
                      <a:pt x="1164" y="690"/>
                    </a:lnTo>
                    <a:lnTo>
                      <a:pt x="1139" y="683"/>
                    </a:lnTo>
                    <a:lnTo>
                      <a:pt x="1139" y="521"/>
                    </a:lnTo>
                    <a:lnTo>
                      <a:pt x="100" y="521"/>
                    </a:lnTo>
                    <a:lnTo>
                      <a:pt x="100" y="1117"/>
                    </a:lnTo>
                    <a:lnTo>
                      <a:pt x="674" y="1117"/>
                    </a:lnTo>
                    <a:lnTo>
                      <a:pt x="674" y="1117"/>
                    </a:lnTo>
                    <a:lnTo>
                      <a:pt x="678" y="1143"/>
                    </a:lnTo>
                    <a:lnTo>
                      <a:pt x="683" y="1168"/>
                    </a:lnTo>
                    <a:lnTo>
                      <a:pt x="690" y="1193"/>
                    </a:lnTo>
                    <a:lnTo>
                      <a:pt x="699" y="1217"/>
                    </a:lnTo>
                    <a:lnTo>
                      <a:pt x="95" y="1217"/>
                    </a:lnTo>
                    <a:lnTo>
                      <a:pt x="95" y="1217"/>
                    </a:lnTo>
                    <a:lnTo>
                      <a:pt x="85" y="1217"/>
                    </a:lnTo>
                    <a:lnTo>
                      <a:pt x="75" y="1215"/>
                    </a:lnTo>
                    <a:lnTo>
                      <a:pt x="67" y="1212"/>
                    </a:lnTo>
                    <a:lnTo>
                      <a:pt x="59" y="1210"/>
                    </a:lnTo>
                    <a:lnTo>
                      <a:pt x="50" y="1205"/>
                    </a:lnTo>
                    <a:lnTo>
                      <a:pt x="42" y="1201"/>
                    </a:lnTo>
                    <a:lnTo>
                      <a:pt x="35" y="1196"/>
                    </a:lnTo>
                    <a:lnTo>
                      <a:pt x="28" y="1189"/>
                    </a:lnTo>
                    <a:lnTo>
                      <a:pt x="28" y="1189"/>
                    </a:lnTo>
                    <a:lnTo>
                      <a:pt x="23" y="1182"/>
                    </a:lnTo>
                    <a:lnTo>
                      <a:pt x="17" y="1175"/>
                    </a:lnTo>
                    <a:lnTo>
                      <a:pt x="11" y="1168"/>
                    </a:lnTo>
                    <a:lnTo>
                      <a:pt x="9" y="1160"/>
                    </a:lnTo>
                    <a:lnTo>
                      <a:pt x="5" y="1150"/>
                    </a:lnTo>
                    <a:lnTo>
                      <a:pt x="3" y="1142"/>
                    </a:lnTo>
                    <a:lnTo>
                      <a:pt x="0" y="1132"/>
                    </a:lnTo>
                    <a:lnTo>
                      <a:pt x="0" y="1122"/>
                    </a:lnTo>
                    <a:lnTo>
                      <a:pt x="0" y="244"/>
                    </a:lnTo>
                    <a:lnTo>
                      <a:pt x="0" y="244"/>
                    </a:lnTo>
                    <a:lnTo>
                      <a:pt x="0" y="234"/>
                    </a:lnTo>
                    <a:lnTo>
                      <a:pt x="3" y="226"/>
                    </a:lnTo>
                    <a:lnTo>
                      <a:pt x="5" y="216"/>
                    </a:lnTo>
                    <a:lnTo>
                      <a:pt x="7" y="208"/>
                    </a:lnTo>
                    <a:lnTo>
                      <a:pt x="11" y="200"/>
                    </a:lnTo>
                    <a:lnTo>
                      <a:pt x="17" y="191"/>
                    </a:lnTo>
                    <a:lnTo>
                      <a:pt x="23" y="184"/>
                    </a:lnTo>
                    <a:lnTo>
                      <a:pt x="28" y="177"/>
                    </a:lnTo>
                    <a:lnTo>
                      <a:pt x="35" y="172"/>
                    </a:lnTo>
                    <a:lnTo>
                      <a:pt x="42" y="166"/>
                    </a:lnTo>
                    <a:lnTo>
                      <a:pt x="50" y="162"/>
                    </a:lnTo>
                    <a:lnTo>
                      <a:pt x="59" y="158"/>
                    </a:lnTo>
                    <a:lnTo>
                      <a:pt x="67" y="154"/>
                    </a:lnTo>
                    <a:lnTo>
                      <a:pt x="75" y="153"/>
                    </a:lnTo>
                    <a:lnTo>
                      <a:pt x="85" y="151"/>
                    </a:lnTo>
                    <a:lnTo>
                      <a:pt x="95" y="150"/>
                    </a:lnTo>
                    <a:lnTo>
                      <a:pt x="95" y="150"/>
                    </a:lnTo>
                    <a:close/>
                    <a:moveTo>
                      <a:pt x="638" y="294"/>
                    </a:moveTo>
                    <a:lnTo>
                      <a:pt x="638" y="294"/>
                    </a:lnTo>
                    <a:lnTo>
                      <a:pt x="636" y="305"/>
                    </a:lnTo>
                    <a:lnTo>
                      <a:pt x="634" y="315"/>
                    </a:lnTo>
                    <a:lnTo>
                      <a:pt x="628" y="324"/>
                    </a:lnTo>
                    <a:lnTo>
                      <a:pt x="621" y="333"/>
                    </a:lnTo>
                    <a:lnTo>
                      <a:pt x="613" y="340"/>
                    </a:lnTo>
                    <a:lnTo>
                      <a:pt x="605" y="345"/>
                    </a:lnTo>
                    <a:lnTo>
                      <a:pt x="593" y="348"/>
                    </a:lnTo>
                    <a:lnTo>
                      <a:pt x="582" y="349"/>
                    </a:lnTo>
                    <a:lnTo>
                      <a:pt x="582" y="349"/>
                    </a:lnTo>
                    <a:lnTo>
                      <a:pt x="571" y="348"/>
                    </a:lnTo>
                    <a:lnTo>
                      <a:pt x="560" y="345"/>
                    </a:lnTo>
                    <a:lnTo>
                      <a:pt x="552" y="340"/>
                    </a:lnTo>
                    <a:lnTo>
                      <a:pt x="544" y="333"/>
                    </a:lnTo>
                    <a:lnTo>
                      <a:pt x="537" y="324"/>
                    </a:lnTo>
                    <a:lnTo>
                      <a:pt x="531" y="315"/>
                    </a:lnTo>
                    <a:lnTo>
                      <a:pt x="528" y="305"/>
                    </a:lnTo>
                    <a:lnTo>
                      <a:pt x="527" y="294"/>
                    </a:lnTo>
                    <a:lnTo>
                      <a:pt x="527" y="249"/>
                    </a:lnTo>
                    <a:lnTo>
                      <a:pt x="376" y="249"/>
                    </a:lnTo>
                    <a:lnTo>
                      <a:pt x="377" y="150"/>
                    </a:lnTo>
                    <a:lnTo>
                      <a:pt x="527" y="150"/>
                    </a:lnTo>
                    <a:lnTo>
                      <a:pt x="527" y="56"/>
                    </a:lnTo>
                    <a:lnTo>
                      <a:pt x="527" y="56"/>
                    </a:lnTo>
                    <a:lnTo>
                      <a:pt x="528" y="44"/>
                    </a:lnTo>
                    <a:lnTo>
                      <a:pt x="531" y="33"/>
                    </a:lnTo>
                    <a:lnTo>
                      <a:pt x="537" y="24"/>
                    </a:lnTo>
                    <a:lnTo>
                      <a:pt x="544" y="17"/>
                    </a:lnTo>
                    <a:lnTo>
                      <a:pt x="552" y="10"/>
                    </a:lnTo>
                    <a:lnTo>
                      <a:pt x="560" y="4"/>
                    </a:lnTo>
                    <a:lnTo>
                      <a:pt x="571" y="1"/>
                    </a:lnTo>
                    <a:lnTo>
                      <a:pt x="582" y="0"/>
                    </a:lnTo>
                    <a:lnTo>
                      <a:pt x="582" y="0"/>
                    </a:lnTo>
                    <a:lnTo>
                      <a:pt x="593" y="1"/>
                    </a:lnTo>
                    <a:lnTo>
                      <a:pt x="605" y="4"/>
                    </a:lnTo>
                    <a:lnTo>
                      <a:pt x="613" y="10"/>
                    </a:lnTo>
                    <a:lnTo>
                      <a:pt x="621" y="17"/>
                    </a:lnTo>
                    <a:lnTo>
                      <a:pt x="628" y="24"/>
                    </a:lnTo>
                    <a:lnTo>
                      <a:pt x="634" y="33"/>
                    </a:lnTo>
                    <a:lnTo>
                      <a:pt x="636" y="44"/>
                    </a:lnTo>
                    <a:lnTo>
                      <a:pt x="638" y="56"/>
                    </a:lnTo>
                    <a:lnTo>
                      <a:pt x="638" y="294"/>
                    </a:lnTo>
                    <a:lnTo>
                      <a:pt x="638" y="294"/>
                    </a:lnTo>
                    <a:close/>
                    <a:moveTo>
                      <a:pt x="965" y="294"/>
                    </a:moveTo>
                    <a:lnTo>
                      <a:pt x="965" y="294"/>
                    </a:lnTo>
                    <a:lnTo>
                      <a:pt x="963" y="305"/>
                    </a:lnTo>
                    <a:lnTo>
                      <a:pt x="961" y="316"/>
                    </a:lnTo>
                    <a:lnTo>
                      <a:pt x="955" y="326"/>
                    </a:lnTo>
                    <a:lnTo>
                      <a:pt x="948" y="333"/>
                    </a:lnTo>
                    <a:lnTo>
                      <a:pt x="940" y="340"/>
                    </a:lnTo>
                    <a:lnTo>
                      <a:pt x="930" y="345"/>
                    </a:lnTo>
                    <a:lnTo>
                      <a:pt x="920" y="348"/>
                    </a:lnTo>
                    <a:lnTo>
                      <a:pt x="909" y="349"/>
                    </a:lnTo>
                    <a:lnTo>
                      <a:pt x="909" y="349"/>
                    </a:lnTo>
                    <a:lnTo>
                      <a:pt x="898" y="348"/>
                    </a:lnTo>
                    <a:lnTo>
                      <a:pt x="887" y="345"/>
                    </a:lnTo>
                    <a:lnTo>
                      <a:pt x="877" y="340"/>
                    </a:lnTo>
                    <a:lnTo>
                      <a:pt x="871" y="333"/>
                    </a:lnTo>
                    <a:lnTo>
                      <a:pt x="864" y="326"/>
                    </a:lnTo>
                    <a:lnTo>
                      <a:pt x="858" y="316"/>
                    </a:lnTo>
                    <a:lnTo>
                      <a:pt x="855" y="305"/>
                    </a:lnTo>
                    <a:lnTo>
                      <a:pt x="854" y="294"/>
                    </a:lnTo>
                    <a:lnTo>
                      <a:pt x="854" y="249"/>
                    </a:lnTo>
                    <a:lnTo>
                      <a:pt x="704" y="249"/>
                    </a:lnTo>
                    <a:lnTo>
                      <a:pt x="704" y="150"/>
                    </a:lnTo>
                    <a:lnTo>
                      <a:pt x="854" y="150"/>
                    </a:lnTo>
                    <a:lnTo>
                      <a:pt x="854" y="56"/>
                    </a:lnTo>
                    <a:lnTo>
                      <a:pt x="854" y="56"/>
                    </a:lnTo>
                    <a:lnTo>
                      <a:pt x="855" y="44"/>
                    </a:lnTo>
                    <a:lnTo>
                      <a:pt x="858" y="35"/>
                    </a:lnTo>
                    <a:lnTo>
                      <a:pt x="864" y="25"/>
                    </a:lnTo>
                    <a:lnTo>
                      <a:pt x="871" y="17"/>
                    </a:lnTo>
                    <a:lnTo>
                      <a:pt x="877" y="10"/>
                    </a:lnTo>
                    <a:lnTo>
                      <a:pt x="887" y="4"/>
                    </a:lnTo>
                    <a:lnTo>
                      <a:pt x="898" y="1"/>
                    </a:lnTo>
                    <a:lnTo>
                      <a:pt x="909" y="0"/>
                    </a:lnTo>
                    <a:lnTo>
                      <a:pt x="909" y="0"/>
                    </a:lnTo>
                    <a:lnTo>
                      <a:pt x="920" y="1"/>
                    </a:lnTo>
                    <a:lnTo>
                      <a:pt x="930" y="4"/>
                    </a:lnTo>
                    <a:lnTo>
                      <a:pt x="940" y="10"/>
                    </a:lnTo>
                    <a:lnTo>
                      <a:pt x="948" y="17"/>
                    </a:lnTo>
                    <a:lnTo>
                      <a:pt x="955" y="25"/>
                    </a:lnTo>
                    <a:lnTo>
                      <a:pt x="961" y="35"/>
                    </a:lnTo>
                    <a:lnTo>
                      <a:pt x="963" y="44"/>
                    </a:lnTo>
                    <a:lnTo>
                      <a:pt x="965" y="56"/>
                    </a:lnTo>
                    <a:lnTo>
                      <a:pt x="965" y="294"/>
                    </a:lnTo>
                    <a:lnTo>
                      <a:pt x="965" y="29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sp>
            <p:nvSpPr>
              <p:cNvPr id="214" name="Freeform 151">
                <a:extLst>
                  <a:ext uri="{FF2B5EF4-FFF2-40B4-BE49-F238E27FC236}">
                    <a16:creationId xmlns:a16="http://schemas.microsoft.com/office/drawing/2014/main" id="{D913F671-CC08-A90D-15EA-C111F1BBAAAB}"/>
                  </a:ext>
                </a:extLst>
              </p:cNvPr>
              <p:cNvSpPr>
                <a:spLocks noEditPoints="1"/>
              </p:cNvSpPr>
              <p:nvPr/>
            </p:nvSpPr>
            <p:spPr bwMode="auto">
              <a:xfrm>
                <a:off x="-4476750" y="4484688"/>
                <a:ext cx="579437" cy="246063"/>
              </a:xfrm>
              <a:custGeom>
                <a:avLst/>
                <a:gdLst/>
                <a:ahLst/>
                <a:cxnLst>
                  <a:cxn ang="0">
                    <a:pos x="153" y="2"/>
                  </a:cxn>
                  <a:cxn ang="0">
                    <a:pos x="172" y="14"/>
                  </a:cxn>
                  <a:cxn ang="0">
                    <a:pos x="178" y="80"/>
                  </a:cxn>
                  <a:cxn ang="0">
                    <a:pos x="172" y="98"/>
                  </a:cxn>
                  <a:cxn ang="0">
                    <a:pos x="153" y="111"/>
                  </a:cxn>
                  <a:cxn ang="0">
                    <a:pos x="24" y="111"/>
                  </a:cxn>
                  <a:cxn ang="0">
                    <a:pos x="6" y="98"/>
                  </a:cxn>
                  <a:cxn ang="0">
                    <a:pos x="0" y="31"/>
                  </a:cxn>
                  <a:cxn ang="0">
                    <a:pos x="6" y="14"/>
                  </a:cxn>
                  <a:cxn ang="0">
                    <a:pos x="24" y="2"/>
                  </a:cxn>
                  <a:cxn ang="0">
                    <a:pos x="427" y="200"/>
                  </a:cxn>
                  <a:cxn ang="0">
                    <a:pos x="442" y="205"/>
                  </a:cxn>
                  <a:cxn ang="0">
                    <a:pos x="453" y="222"/>
                  </a:cxn>
                  <a:cxn ang="0">
                    <a:pos x="447" y="254"/>
                  </a:cxn>
                  <a:cxn ang="0">
                    <a:pos x="427" y="310"/>
                  </a:cxn>
                  <a:cxn ang="0">
                    <a:pos x="294" y="309"/>
                  </a:cxn>
                  <a:cxn ang="0">
                    <a:pos x="279" y="294"/>
                  </a:cxn>
                  <a:cxn ang="0">
                    <a:pos x="277" y="227"/>
                  </a:cxn>
                  <a:cxn ang="0">
                    <a:pos x="286" y="208"/>
                  </a:cxn>
                  <a:cxn ang="0">
                    <a:pos x="305" y="200"/>
                  </a:cxn>
                  <a:cxn ang="0">
                    <a:pos x="150" y="200"/>
                  </a:cxn>
                  <a:cxn ang="0">
                    <a:pos x="169" y="208"/>
                  </a:cxn>
                  <a:cxn ang="0">
                    <a:pos x="178" y="227"/>
                  </a:cxn>
                  <a:cxn ang="0">
                    <a:pos x="175" y="294"/>
                  </a:cxn>
                  <a:cxn ang="0">
                    <a:pos x="161" y="309"/>
                  </a:cxn>
                  <a:cxn ang="0">
                    <a:pos x="28" y="310"/>
                  </a:cxn>
                  <a:cxn ang="0">
                    <a:pos x="9" y="304"/>
                  </a:cxn>
                  <a:cxn ang="0">
                    <a:pos x="0" y="283"/>
                  </a:cxn>
                  <a:cxn ang="0">
                    <a:pos x="2" y="218"/>
                  </a:cxn>
                  <a:cxn ang="0">
                    <a:pos x="17" y="202"/>
                  </a:cxn>
                  <a:cxn ang="0">
                    <a:pos x="582" y="0"/>
                  </a:cxn>
                  <a:cxn ang="0">
                    <a:pos x="721" y="6"/>
                  </a:cxn>
                  <a:cxn ang="0">
                    <a:pos x="707" y="25"/>
                  </a:cxn>
                  <a:cxn ang="0">
                    <a:pos x="620" y="60"/>
                  </a:cxn>
                  <a:cxn ang="0">
                    <a:pos x="560" y="100"/>
                  </a:cxn>
                  <a:cxn ang="0">
                    <a:pos x="555" y="28"/>
                  </a:cxn>
                  <a:cxn ang="0">
                    <a:pos x="563" y="8"/>
                  </a:cxn>
                  <a:cxn ang="0">
                    <a:pos x="582" y="0"/>
                  </a:cxn>
                  <a:cxn ang="0">
                    <a:pos x="427" y="0"/>
                  </a:cxn>
                  <a:cxn ang="0">
                    <a:pos x="447" y="8"/>
                  </a:cxn>
                  <a:cxn ang="0">
                    <a:pos x="455" y="28"/>
                  </a:cxn>
                  <a:cxn ang="0">
                    <a:pos x="452" y="94"/>
                  </a:cxn>
                  <a:cxn ang="0">
                    <a:pos x="438" y="110"/>
                  </a:cxn>
                  <a:cxn ang="0">
                    <a:pos x="305" y="111"/>
                  </a:cxn>
                  <a:cxn ang="0">
                    <a:pos x="286" y="103"/>
                  </a:cxn>
                  <a:cxn ang="0">
                    <a:pos x="277" y="83"/>
                  </a:cxn>
                  <a:cxn ang="0">
                    <a:pos x="279" y="17"/>
                  </a:cxn>
                  <a:cxn ang="0">
                    <a:pos x="294" y="3"/>
                  </a:cxn>
                </a:cxnLst>
                <a:rect l="0" t="0" r="r" b="b"/>
                <a:pathLst>
                  <a:path w="731" h="310">
                    <a:moveTo>
                      <a:pt x="31" y="0"/>
                    </a:moveTo>
                    <a:lnTo>
                      <a:pt x="147" y="0"/>
                    </a:lnTo>
                    <a:lnTo>
                      <a:pt x="147" y="0"/>
                    </a:lnTo>
                    <a:lnTo>
                      <a:pt x="153" y="2"/>
                    </a:lnTo>
                    <a:lnTo>
                      <a:pt x="158" y="3"/>
                    </a:lnTo>
                    <a:lnTo>
                      <a:pt x="164" y="6"/>
                    </a:lnTo>
                    <a:lnTo>
                      <a:pt x="168" y="10"/>
                    </a:lnTo>
                    <a:lnTo>
                      <a:pt x="172" y="14"/>
                    </a:lnTo>
                    <a:lnTo>
                      <a:pt x="175" y="20"/>
                    </a:lnTo>
                    <a:lnTo>
                      <a:pt x="176" y="25"/>
                    </a:lnTo>
                    <a:lnTo>
                      <a:pt x="178" y="31"/>
                    </a:lnTo>
                    <a:lnTo>
                      <a:pt x="178" y="80"/>
                    </a:lnTo>
                    <a:lnTo>
                      <a:pt x="178" y="80"/>
                    </a:lnTo>
                    <a:lnTo>
                      <a:pt x="176" y="87"/>
                    </a:lnTo>
                    <a:lnTo>
                      <a:pt x="175" y="93"/>
                    </a:lnTo>
                    <a:lnTo>
                      <a:pt x="172" y="98"/>
                    </a:lnTo>
                    <a:lnTo>
                      <a:pt x="168" y="103"/>
                    </a:lnTo>
                    <a:lnTo>
                      <a:pt x="164" y="105"/>
                    </a:lnTo>
                    <a:lnTo>
                      <a:pt x="158" y="108"/>
                    </a:lnTo>
                    <a:lnTo>
                      <a:pt x="153" y="111"/>
                    </a:lnTo>
                    <a:lnTo>
                      <a:pt x="147" y="111"/>
                    </a:lnTo>
                    <a:lnTo>
                      <a:pt x="31" y="111"/>
                    </a:lnTo>
                    <a:lnTo>
                      <a:pt x="31" y="111"/>
                    </a:lnTo>
                    <a:lnTo>
                      <a:pt x="24" y="111"/>
                    </a:lnTo>
                    <a:lnTo>
                      <a:pt x="18" y="108"/>
                    </a:lnTo>
                    <a:lnTo>
                      <a:pt x="14" y="105"/>
                    </a:lnTo>
                    <a:lnTo>
                      <a:pt x="9" y="103"/>
                    </a:lnTo>
                    <a:lnTo>
                      <a:pt x="6" y="98"/>
                    </a:lnTo>
                    <a:lnTo>
                      <a:pt x="3" y="93"/>
                    </a:lnTo>
                    <a:lnTo>
                      <a:pt x="0" y="87"/>
                    </a:lnTo>
                    <a:lnTo>
                      <a:pt x="0" y="80"/>
                    </a:lnTo>
                    <a:lnTo>
                      <a:pt x="0" y="31"/>
                    </a:lnTo>
                    <a:lnTo>
                      <a:pt x="0" y="31"/>
                    </a:lnTo>
                    <a:lnTo>
                      <a:pt x="0" y="25"/>
                    </a:lnTo>
                    <a:lnTo>
                      <a:pt x="3" y="20"/>
                    </a:lnTo>
                    <a:lnTo>
                      <a:pt x="6" y="14"/>
                    </a:lnTo>
                    <a:lnTo>
                      <a:pt x="9" y="10"/>
                    </a:lnTo>
                    <a:lnTo>
                      <a:pt x="14" y="6"/>
                    </a:lnTo>
                    <a:lnTo>
                      <a:pt x="18" y="3"/>
                    </a:lnTo>
                    <a:lnTo>
                      <a:pt x="24" y="2"/>
                    </a:lnTo>
                    <a:lnTo>
                      <a:pt x="31" y="0"/>
                    </a:lnTo>
                    <a:lnTo>
                      <a:pt x="31" y="0"/>
                    </a:lnTo>
                    <a:close/>
                    <a:moveTo>
                      <a:pt x="305" y="200"/>
                    </a:moveTo>
                    <a:lnTo>
                      <a:pt x="427" y="200"/>
                    </a:lnTo>
                    <a:lnTo>
                      <a:pt x="427" y="200"/>
                    </a:lnTo>
                    <a:lnTo>
                      <a:pt x="433" y="201"/>
                    </a:lnTo>
                    <a:lnTo>
                      <a:pt x="438" y="202"/>
                    </a:lnTo>
                    <a:lnTo>
                      <a:pt x="442" y="205"/>
                    </a:lnTo>
                    <a:lnTo>
                      <a:pt x="447" y="208"/>
                    </a:lnTo>
                    <a:lnTo>
                      <a:pt x="449" y="212"/>
                    </a:lnTo>
                    <a:lnTo>
                      <a:pt x="452" y="218"/>
                    </a:lnTo>
                    <a:lnTo>
                      <a:pt x="453" y="222"/>
                    </a:lnTo>
                    <a:lnTo>
                      <a:pt x="455" y="227"/>
                    </a:lnTo>
                    <a:lnTo>
                      <a:pt x="455" y="234"/>
                    </a:lnTo>
                    <a:lnTo>
                      <a:pt x="455" y="234"/>
                    </a:lnTo>
                    <a:lnTo>
                      <a:pt x="447" y="254"/>
                    </a:lnTo>
                    <a:lnTo>
                      <a:pt x="438" y="272"/>
                    </a:lnTo>
                    <a:lnTo>
                      <a:pt x="433" y="291"/>
                    </a:lnTo>
                    <a:lnTo>
                      <a:pt x="427" y="310"/>
                    </a:lnTo>
                    <a:lnTo>
                      <a:pt x="427" y="310"/>
                    </a:lnTo>
                    <a:lnTo>
                      <a:pt x="305" y="310"/>
                    </a:lnTo>
                    <a:lnTo>
                      <a:pt x="305" y="310"/>
                    </a:lnTo>
                    <a:lnTo>
                      <a:pt x="300" y="310"/>
                    </a:lnTo>
                    <a:lnTo>
                      <a:pt x="294" y="309"/>
                    </a:lnTo>
                    <a:lnTo>
                      <a:pt x="290" y="306"/>
                    </a:lnTo>
                    <a:lnTo>
                      <a:pt x="286" y="304"/>
                    </a:lnTo>
                    <a:lnTo>
                      <a:pt x="282" y="299"/>
                    </a:lnTo>
                    <a:lnTo>
                      <a:pt x="279" y="294"/>
                    </a:lnTo>
                    <a:lnTo>
                      <a:pt x="277" y="288"/>
                    </a:lnTo>
                    <a:lnTo>
                      <a:pt x="277" y="283"/>
                    </a:lnTo>
                    <a:lnTo>
                      <a:pt x="277" y="227"/>
                    </a:lnTo>
                    <a:lnTo>
                      <a:pt x="277" y="227"/>
                    </a:lnTo>
                    <a:lnTo>
                      <a:pt x="277" y="222"/>
                    </a:lnTo>
                    <a:lnTo>
                      <a:pt x="279" y="218"/>
                    </a:lnTo>
                    <a:lnTo>
                      <a:pt x="282" y="212"/>
                    </a:lnTo>
                    <a:lnTo>
                      <a:pt x="286" y="208"/>
                    </a:lnTo>
                    <a:lnTo>
                      <a:pt x="290" y="205"/>
                    </a:lnTo>
                    <a:lnTo>
                      <a:pt x="294" y="202"/>
                    </a:lnTo>
                    <a:lnTo>
                      <a:pt x="300" y="201"/>
                    </a:lnTo>
                    <a:lnTo>
                      <a:pt x="305" y="200"/>
                    </a:lnTo>
                    <a:lnTo>
                      <a:pt x="305" y="200"/>
                    </a:lnTo>
                    <a:close/>
                    <a:moveTo>
                      <a:pt x="28" y="200"/>
                    </a:moveTo>
                    <a:lnTo>
                      <a:pt x="150" y="200"/>
                    </a:lnTo>
                    <a:lnTo>
                      <a:pt x="150" y="200"/>
                    </a:lnTo>
                    <a:lnTo>
                      <a:pt x="156" y="201"/>
                    </a:lnTo>
                    <a:lnTo>
                      <a:pt x="161" y="202"/>
                    </a:lnTo>
                    <a:lnTo>
                      <a:pt x="165" y="205"/>
                    </a:lnTo>
                    <a:lnTo>
                      <a:pt x="169" y="208"/>
                    </a:lnTo>
                    <a:lnTo>
                      <a:pt x="172" y="212"/>
                    </a:lnTo>
                    <a:lnTo>
                      <a:pt x="175" y="218"/>
                    </a:lnTo>
                    <a:lnTo>
                      <a:pt x="176" y="222"/>
                    </a:lnTo>
                    <a:lnTo>
                      <a:pt x="178" y="227"/>
                    </a:lnTo>
                    <a:lnTo>
                      <a:pt x="178" y="283"/>
                    </a:lnTo>
                    <a:lnTo>
                      <a:pt x="178" y="283"/>
                    </a:lnTo>
                    <a:lnTo>
                      <a:pt x="176" y="288"/>
                    </a:lnTo>
                    <a:lnTo>
                      <a:pt x="175" y="294"/>
                    </a:lnTo>
                    <a:lnTo>
                      <a:pt x="172" y="299"/>
                    </a:lnTo>
                    <a:lnTo>
                      <a:pt x="169" y="304"/>
                    </a:lnTo>
                    <a:lnTo>
                      <a:pt x="165" y="306"/>
                    </a:lnTo>
                    <a:lnTo>
                      <a:pt x="161" y="309"/>
                    </a:lnTo>
                    <a:lnTo>
                      <a:pt x="156" y="310"/>
                    </a:lnTo>
                    <a:lnTo>
                      <a:pt x="150" y="310"/>
                    </a:lnTo>
                    <a:lnTo>
                      <a:pt x="28" y="310"/>
                    </a:lnTo>
                    <a:lnTo>
                      <a:pt x="28" y="310"/>
                    </a:lnTo>
                    <a:lnTo>
                      <a:pt x="23" y="310"/>
                    </a:lnTo>
                    <a:lnTo>
                      <a:pt x="17" y="309"/>
                    </a:lnTo>
                    <a:lnTo>
                      <a:pt x="13" y="306"/>
                    </a:lnTo>
                    <a:lnTo>
                      <a:pt x="9" y="304"/>
                    </a:lnTo>
                    <a:lnTo>
                      <a:pt x="4" y="299"/>
                    </a:lnTo>
                    <a:lnTo>
                      <a:pt x="2" y="294"/>
                    </a:lnTo>
                    <a:lnTo>
                      <a:pt x="0" y="288"/>
                    </a:lnTo>
                    <a:lnTo>
                      <a:pt x="0" y="283"/>
                    </a:lnTo>
                    <a:lnTo>
                      <a:pt x="0" y="227"/>
                    </a:lnTo>
                    <a:lnTo>
                      <a:pt x="0" y="227"/>
                    </a:lnTo>
                    <a:lnTo>
                      <a:pt x="0" y="222"/>
                    </a:lnTo>
                    <a:lnTo>
                      <a:pt x="2" y="218"/>
                    </a:lnTo>
                    <a:lnTo>
                      <a:pt x="4" y="212"/>
                    </a:lnTo>
                    <a:lnTo>
                      <a:pt x="9" y="208"/>
                    </a:lnTo>
                    <a:lnTo>
                      <a:pt x="13" y="205"/>
                    </a:lnTo>
                    <a:lnTo>
                      <a:pt x="17" y="202"/>
                    </a:lnTo>
                    <a:lnTo>
                      <a:pt x="23" y="201"/>
                    </a:lnTo>
                    <a:lnTo>
                      <a:pt x="28" y="200"/>
                    </a:lnTo>
                    <a:lnTo>
                      <a:pt x="28" y="200"/>
                    </a:lnTo>
                    <a:close/>
                    <a:moveTo>
                      <a:pt x="582" y="0"/>
                    </a:moveTo>
                    <a:lnTo>
                      <a:pt x="704" y="0"/>
                    </a:lnTo>
                    <a:lnTo>
                      <a:pt x="704" y="0"/>
                    </a:lnTo>
                    <a:lnTo>
                      <a:pt x="713" y="2"/>
                    </a:lnTo>
                    <a:lnTo>
                      <a:pt x="721" y="6"/>
                    </a:lnTo>
                    <a:lnTo>
                      <a:pt x="726" y="11"/>
                    </a:lnTo>
                    <a:lnTo>
                      <a:pt x="731" y="20"/>
                    </a:lnTo>
                    <a:lnTo>
                      <a:pt x="731" y="20"/>
                    </a:lnTo>
                    <a:lnTo>
                      <a:pt x="707" y="25"/>
                    </a:lnTo>
                    <a:lnTo>
                      <a:pt x="685" y="32"/>
                    </a:lnTo>
                    <a:lnTo>
                      <a:pt x="663" y="40"/>
                    </a:lnTo>
                    <a:lnTo>
                      <a:pt x="640" y="50"/>
                    </a:lnTo>
                    <a:lnTo>
                      <a:pt x="620" y="60"/>
                    </a:lnTo>
                    <a:lnTo>
                      <a:pt x="599" y="72"/>
                    </a:lnTo>
                    <a:lnTo>
                      <a:pt x="580" y="86"/>
                    </a:lnTo>
                    <a:lnTo>
                      <a:pt x="560" y="100"/>
                    </a:lnTo>
                    <a:lnTo>
                      <a:pt x="560" y="100"/>
                    </a:lnTo>
                    <a:lnTo>
                      <a:pt x="556" y="93"/>
                    </a:lnTo>
                    <a:lnTo>
                      <a:pt x="555" y="83"/>
                    </a:lnTo>
                    <a:lnTo>
                      <a:pt x="555" y="28"/>
                    </a:lnTo>
                    <a:lnTo>
                      <a:pt x="555" y="28"/>
                    </a:lnTo>
                    <a:lnTo>
                      <a:pt x="555" y="22"/>
                    </a:lnTo>
                    <a:lnTo>
                      <a:pt x="556" y="17"/>
                    </a:lnTo>
                    <a:lnTo>
                      <a:pt x="559" y="13"/>
                    </a:lnTo>
                    <a:lnTo>
                      <a:pt x="563" y="8"/>
                    </a:lnTo>
                    <a:lnTo>
                      <a:pt x="567" y="6"/>
                    </a:lnTo>
                    <a:lnTo>
                      <a:pt x="571" y="3"/>
                    </a:lnTo>
                    <a:lnTo>
                      <a:pt x="577" y="2"/>
                    </a:lnTo>
                    <a:lnTo>
                      <a:pt x="582" y="0"/>
                    </a:lnTo>
                    <a:lnTo>
                      <a:pt x="582" y="0"/>
                    </a:lnTo>
                    <a:close/>
                    <a:moveTo>
                      <a:pt x="305" y="0"/>
                    </a:moveTo>
                    <a:lnTo>
                      <a:pt x="427" y="0"/>
                    </a:lnTo>
                    <a:lnTo>
                      <a:pt x="427" y="0"/>
                    </a:lnTo>
                    <a:lnTo>
                      <a:pt x="433" y="2"/>
                    </a:lnTo>
                    <a:lnTo>
                      <a:pt x="438" y="3"/>
                    </a:lnTo>
                    <a:lnTo>
                      <a:pt x="442" y="6"/>
                    </a:lnTo>
                    <a:lnTo>
                      <a:pt x="447" y="8"/>
                    </a:lnTo>
                    <a:lnTo>
                      <a:pt x="449" y="13"/>
                    </a:lnTo>
                    <a:lnTo>
                      <a:pt x="452" y="17"/>
                    </a:lnTo>
                    <a:lnTo>
                      <a:pt x="453" y="22"/>
                    </a:lnTo>
                    <a:lnTo>
                      <a:pt x="455" y="28"/>
                    </a:lnTo>
                    <a:lnTo>
                      <a:pt x="455" y="83"/>
                    </a:lnTo>
                    <a:lnTo>
                      <a:pt x="455" y="83"/>
                    </a:lnTo>
                    <a:lnTo>
                      <a:pt x="453" y="89"/>
                    </a:lnTo>
                    <a:lnTo>
                      <a:pt x="452" y="94"/>
                    </a:lnTo>
                    <a:lnTo>
                      <a:pt x="449" y="98"/>
                    </a:lnTo>
                    <a:lnTo>
                      <a:pt x="447" y="103"/>
                    </a:lnTo>
                    <a:lnTo>
                      <a:pt x="442" y="107"/>
                    </a:lnTo>
                    <a:lnTo>
                      <a:pt x="438" y="110"/>
                    </a:lnTo>
                    <a:lnTo>
                      <a:pt x="433" y="111"/>
                    </a:lnTo>
                    <a:lnTo>
                      <a:pt x="427" y="111"/>
                    </a:lnTo>
                    <a:lnTo>
                      <a:pt x="305" y="111"/>
                    </a:lnTo>
                    <a:lnTo>
                      <a:pt x="305" y="111"/>
                    </a:lnTo>
                    <a:lnTo>
                      <a:pt x="300" y="111"/>
                    </a:lnTo>
                    <a:lnTo>
                      <a:pt x="294" y="110"/>
                    </a:lnTo>
                    <a:lnTo>
                      <a:pt x="290" y="107"/>
                    </a:lnTo>
                    <a:lnTo>
                      <a:pt x="286" y="103"/>
                    </a:lnTo>
                    <a:lnTo>
                      <a:pt x="282" y="98"/>
                    </a:lnTo>
                    <a:lnTo>
                      <a:pt x="279" y="94"/>
                    </a:lnTo>
                    <a:lnTo>
                      <a:pt x="277" y="89"/>
                    </a:lnTo>
                    <a:lnTo>
                      <a:pt x="277" y="83"/>
                    </a:lnTo>
                    <a:lnTo>
                      <a:pt x="277" y="28"/>
                    </a:lnTo>
                    <a:lnTo>
                      <a:pt x="277" y="28"/>
                    </a:lnTo>
                    <a:lnTo>
                      <a:pt x="277" y="22"/>
                    </a:lnTo>
                    <a:lnTo>
                      <a:pt x="279" y="17"/>
                    </a:lnTo>
                    <a:lnTo>
                      <a:pt x="282" y="13"/>
                    </a:lnTo>
                    <a:lnTo>
                      <a:pt x="286" y="8"/>
                    </a:lnTo>
                    <a:lnTo>
                      <a:pt x="290" y="6"/>
                    </a:lnTo>
                    <a:lnTo>
                      <a:pt x="294" y="3"/>
                    </a:lnTo>
                    <a:lnTo>
                      <a:pt x="300" y="2"/>
                    </a:lnTo>
                    <a:lnTo>
                      <a:pt x="305" y="0"/>
                    </a:lnTo>
                    <a:lnTo>
                      <a:pt x="3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sp>
            <p:nvSpPr>
              <p:cNvPr id="215" name="Freeform 152">
                <a:extLst>
                  <a:ext uri="{FF2B5EF4-FFF2-40B4-BE49-F238E27FC236}">
                    <a16:creationId xmlns:a16="http://schemas.microsoft.com/office/drawing/2014/main" id="{CBDC59DB-DC74-0714-D34E-ABFE7C44FD9F}"/>
                  </a:ext>
                </a:extLst>
              </p:cNvPr>
              <p:cNvSpPr>
                <a:spLocks noEditPoints="1"/>
              </p:cNvSpPr>
              <p:nvPr/>
            </p:nvSpPr>
            <p:spPr bwMode="auto">
              <a:xfrm>
                <a:off x="-4106863" y="4532313"/>
                <a:ext cx="546100" cy="546100"/>
              </a:xfrm>
              <a:custGeom>
                <a:avLst/>
                <a:gdLst/>
                <a:ahLst/>
                <a:cxnLst>
                  <a:cxn ang="0">
                    <a:pos x="319" y="101"/>
                  </a:cxn>
                  <a:cxn ang="0">
                    <a:pos x="248" y="119"/>
                  </a:cxn>
                  <a:cxn ang="0">
                    <a:pos x="188" y="155"/>
                  </a:cxn>
                  <a:cxn ang="0">
                    <a:pos x="155" y="189"/>
                  </a:cxn>
                  <a:cxn ang="0">
                    <a:pos x="119" y="249"/>
                  </a:cxn>
                  <a:cxn ang="0">
                    <a:pos x="101" y="319"/>
                  </a:cxn>
                  <a:cxn ang="0">
                    <a:pos x="101" y="369"/>
                  </a:cxn>
                  <a:cxn ang="0">
                    <a:pos x="119" y="439"/>
                  </a:cxn>
                  <a:cxn ang="0">
                    <a:pos x="155" y="499"/>
                  </a:cxn>
                  <a:cxn ang="0">
                    <a:pos x="188" y="532"/>
                  </a:cxn>
                  <a:cxn ang="0">
                    <a:pos x="248" y="568"/>
                  </a:cxn>
                  <a:cxn ang="0">
                    <a:pos x="319" y="586"/>
                  </a:cxn>
                  <a:cxn ang="0">
                    <a:pos x="368" y="586"/>
                  </a:cxn>
                  <a:cxn ang="0">
                    <a:pos x="438" y="568"/>
                  </a:cxn>
                  <a:cxn ang="0">
                    <a:pos x="499" y="532"/>
                  </a:cxn>
                  <a:cxn ang="0">
                    <a:pos x="532" y="499"/>
                  </a:cxn>
                  <a:cxn ang="0">
                    <a:pos x="568" y="439"/>
                  </a:cxn>
                  <a:cxn ang="0">
                    <a:pos x="586" y="369"/>
                  </a:cxn>
                  <a:cxn ang="0">
                    <a:pos x="586" y="319"/>
                  </a:cxn>
                  <a:cxn ang="0">
                    <a:pos x="568" y="249"/>
                  </a:cxn>
                  <a:cxn ang="0">
                    <a:pos x="532" y="189"/>
                  </a:cxn>
                  <a:cxn ang="0">
                    <a:pos x="499" y="155"/>
                  </a:cxn>
                  <a:cxn ang="0">
                    <a:pos x="438" y="119"/>
                  </a:cxn>
                  <a:cxn ang="0">
                    <a:pos x="368" y="101"/>
                  </a:cxn>
                  <a:cxn ang="0">
                    <a:pos x="101" y="101"/>
                  </a:cxn>
                  <a:cxn ang="0">
                    <a:pos x="151" y="60"/>
                  </a:cxn>
                  <a:cxn ang="0">
                    <a:pos x="226" y="21"/>
                  </a:cxn>
                  <a:cxn ang="0">
                    <a:pos x="274" y="7"/>
                  </a:cxn>
                  <a:cxn ang="0">
                    <a:pos x="326" y="1"/>
                  </a:cxn>
                  <a:cxn ang="0">
                    <a:pos x="362" y="1"/>
                  </a:cxn>
                  <a:cxn ang="0">
                    <a:pos x="413" y="7"/>
                  </a:cxn>
                  <a:cxn ang="0">
                    <a:pos x="461" y="21"/>
                  </a:cxn>
                  <a:cxn ang="0">
                    <a:pos x="536" y="60"/>
                  </a:cxn>
                  <a:cxn ang="0">
                    <a:pos x="586" y="101"/>
                  </a:cxn>
                  <a:cxn ang="0">
                    <a:pos x="646" y="180"/>
                  </a:cxn>
                  <a:cxn ang="0">
                    <a:pos x="672" y="241"/>
                  </a:cxn>
                  <a:cxn ang="0">
                    <a:pos x="683" y="291"/>
                  </a:cxn>
                  <a:cxn ang="0">
                    <a:pos x="687" y="344"/>
                  </a:cxn>
                  <a:cxn ang="0">
                    <a:pos x="686" y="380"/>
                  </a:cxn>
                  <a:cxn ang="0">
                    <a:pos x="676" y="430"/>
                  </a:cxn>
                  <a:cxn ang="0">
                    <a:pos x="659" y="478"/>
                  </a:cxn>
                  <a:cxn ang="0">
                    <a:pos x="608" y="563"/>
                  </a:cxn>
                  <a:cxn ang="0">
                    <a:pos x="562" y="610"/>
                  </a:cxn>
                  <a:cxn ang="0">
                    <a:pos x="477" y="661"/>
                  </a:cxn>
                  <a:cxn ang="0">
                    <a:pos x="429" y="676"/>
                  </a:cxn>
                  <a:cxn ang="0">
                    <a:pos x="378" y="686"/>
                  </a:cxn>
                  <a:cxn ang="0">
                    <a:pos x="344" y="687"/>
                  </a:cxn>
                  <a:cxn ang="0">
                    <a:pos x="291" y="683"/>
                  </a:cxn>
                  <a:cxn ang="0">
                    <a:pos x="241" y="672"/>
                  </a:cxn>
                  <a:cxn ang="0">
                    <a:pos x="180" y="646"/>
                  </a:cxn>
                  <a:cxn ang="0">
                    <a:pos x="101" y="588"/>
                  </a:cxn>
                  <a:cxn ang="0">
                    <a:pos x="58" y="536"/>
                  </a:cxn>
                  <a:cxn ang="0">
                    <a:pos x="21" y="461"/>
                  </a:cxn>
                  <a:cxn ang="0">
                    <a:pos x="7" y="413"/>
                  </a:cxn>
                  <a:cxn ang="0">
                    <a:pos x="0" y="362"/>
                  </a:cxn>
                  <a:cxn ang="0">
                    <a:pos x="0" y="326"/>
                  </a:cxn>
                  <a:cxn ang="0">
                    <a:pos x="7" y="274"/>
                  </a:cxn>
                  <a:cxn ang="0">
                    <a:pos x="21" y="226"/>
                  </a:cxn>
                  <a:cxn ang="0">
                    <a:pos x="58" y="152"/>
                  </a:cxn>
                  <a:cxn ang="0">
                    <a:pos x="101" y="101"/>
                  </a:cxn>
                </a:cxnLst>
                <a:rect l="0" t="0" r="r" b="b"/>
                <a:pathLst>
                  <a:path w="687" h="687">
                    <a:moveTo>
                      <a:pt x="344" y="100"/>
                    </a:moveTo>
                    <a:lnTo>
                      <a:pt x="344" y="100"/>
                    </a:lnTo>
                    <a:lnTo>
                      <a:pt x="319" y="101"/>
                    </a:lnTo>
                    <a:lnTo>
                      <a:pt x="294" y="105"/>
                    </a:lnTo>
                    <a:lnTo>
                      <a:pt x="271" y="111"/>
                    </a:lnTo>
                    <a:lnTo>
                      <a:pt x="248" y="119"/>
                    </a:lnTo>
                    <a:lnTo>
                      <a:pt x="227" y="129"/>
                    </a:lnTo>
                    <a:lnTo>
                      <a:pt x="206" y="141"/>
                    </a:lnTo>
                    <a:lnTo>
                      <a:pt x="188" y="155"/>
                    </a:lnTo>
                    <a:lnTo>
                      <a:pt x="170" y="172"/>
                    </a:lnTo>
                    <a:lnTo>
                      <a:pt x="170" y="172"/>
                    </a:lnTo>
                    <a:lnTo>
                      <a:pt x="155" y="189"/>
                    </a:lnTo>
                    <a:lnTo>
                      <a:pt x="141" y="208"/>
                    </a:lnTo>
                    <a:lnTo>
                      <a:pt x="129" y="227"/>
                    </a:lnTo>
                    <a:lnTo>
                      <a:pt x="119" y="249"/>
                    </a:lnTo>
                    <a:lnTo>
                      <a:pt x="111" y="272"/>
                    </a:lnTo>
                    <a:lnTo>
                      <a:pt x="104" y="295"/>
                    </a:lnTo>
                    <a:lnTo>
                      <a:pt x="101" y="319"/>
                    </a:lnTo>
                    <a:lnTo>
                      <a:pt x="100" y="344"/>
                    </a:lnTo>
                    <a:lnTo>
                      <a:pt x="100" y="344"/>
                    </a:lnTo>
                    <a:lnTo>
                      <a:pt x="101" y="369"/>
                    </a:lnTo>
                    <a:lnTo>
                      <a:pt x="104" y="394"/>
                    </a:lnTo>
                    <a:lnTo>
                      <a:pt x="111" y="417"/>
                    </a:lnTo>
                    <a:lnTo>
                      <a:pt x="119" y="439"/>
                    </a:lnTo>
                    <a:lnTo>
                      <a:pt x="129" y="460"/>
                    </a:lnTo>
                    <a:lnTo>
                      <a:pt x="141" y="481"/>
                    </a:lnTo>
                    <a:lnTo>
                      <a:pt x="155" y="499"/>
                    </a:lnTo>
                    <a:lnTo>
                      <a:pt x="170" y="517"/>
                    </a:lnTo>
                    <a:lnTo>
                      <a:pt x="170" y="517"/>
                    </a:lnTo>
                    <a:lnTo>
                      <a:pt x="188" y="532"/>
                    </a:lnTo>
                    <a:lnTo>
                      <a:pt x="206" y="546"/>
                    </a:lnTo>
                    <a:lnTo>
                      <a:pt x="227" y="558"/>
                    </a:lnTo>
                    <a:lnTo>
                      <a:pt x="248" y="568"/>
                    </a:lnTo>
                    <a:lnTo>
                      <a:pt x="271" y="576"/>
                    </a:lnTo>
                    <a:lnTo>
                      <a:pt x="294" y="583"/>
                    </a:lnTo>
                    <a:lnTo>
                      <a:pt x="319" y="586"/>
                    </a:lnTo>
                    <a:lnTo>
                      <a:pt x="344" y="588"/>
                    </a:lnTo>
                    <a:lnTo>
                      <a:pt x="344" y="588"/>
                    </a:lnTo>
                    <a:lnTo>
                      <a:pt x="368" y="586"/>
                    </a:lnTo>
                    <a:lnTo>
                      <a:pt x="392" y="583"/>
                    </a:lnTo>
                    <a:lnTo>
                      <a:pt x="416" y="576"/>
                    </a:lnTo>
                    <a:lnTo>
                      <a:pt x="438" y="568"/>
                    </a:lnTo>
                    <a:lnTo>
                      <a:pt x="460" y="558"/>
                    </a:lnTo>
                    <a:lnTo>
                      <a:pt x="479" y="546"/>
                    </a:lnTo>
                    <a:lnTo>
                      <a:pt x="499" y="532"/>
                    </a:lnTo>
                    <a:lnTo>
                      <a:pt x="515" y="517"/>
                    </a:lnTo>
                    <a:lnTo>
                      <a:pt x="515" y="517"/>
                    </a:lnTo>
                    <a:lnTo>
                      <a:pt x="532" y="499"/>
                    </a:lnTo>
                    <a:lnTo>
                      <a:pt x="546" y="481"/>
                    </a:lnTo>
                    <a:lnTo>
                      <a:pt x="558" y="460"/>
                    </a:lnTo>
                    <a:lnTo>
                      <a:pt x="568" y="439"/>
                    </a:lnTo>
                    <a:lnTo>
                      <a:pt x="576" y="417"/>
                    </a:lnTo>
                    <a:lnTo>
                      <a:pt x="582" y="394"/>
                    </a:lnTo>
                    <a:lnTo>
                      <a:pt x="586" y="369"/>
                    </a:lnTo>
                    <a:lnTo>
                      <a:pt x="587" y="344"/>
                    </a:lnTo>
                    <a:lnTo>
                      <a:pt x="587" y="344"/>
                    </a:lnTo>
                    <a:lnTo>
                      <a:pt x="586" y="319"/>
                    </a:lnTo>
                    <a:lnTo>
                      <a:pt x="582" y="295"/>
                    </a:lnTo>
                    <a:lnTo>
                      <a:pt x="576" y="272"/>
                    </a:lnTo>
                    <a:lnTo>
                      <a:pt x="568" y="249"/>
                    </a:lnTo>
                    <a:lnTo>
                      <a:pt x="558" y="227"/>
                    </a:lnTo>
                    <a:lnTo>
                      <a:pt x="546" y="208"/>
                    </a:lnTo>
                    <a:lnTo>
                      <a:pt x="532" y="189"/>
                    </a:lnTo>
                    <a:lnTo>
                      <a:pt x="515" y="172"/>
                    </a:lnTo>
                    <a:lnTo>
                      <a:pt x="515" y="172"/>
                    </a:lnTo>
                    <a:lnTo>
                      <a:pt x="499" y="155"/>
                    </a:lnTo>
                    <a:lnTo>
                      <a:pt x="479" y="141"/>
                    </a:lnTo>
                    <a:lnTo>
                      <a:pt x="460" y="129"/>
                    </a:lnTo>
                    <a:lnTo>
                      <a:pt x="438" y="119"/>
                    </a:lnTo>
                    <a:lnTo>
                      <a:pt x="416" y="111"/>
                    </a:lnTo>
                    <a:lnTo>
                      <a:pt x="392" y="105"/>
                    </a:lnTo>
                    <a:lnTo>
                      <a:pt x="368" y="101"/>
                    </a:lnTo>
                    <a:lnTo>
                      <a:pt x="344" y="100"/>
                    </a:lnTo>
                    <a:lnTo>
                      <a:pt x="344" y="100"/>
                    </a:lnTo>
                    <a:close/>
                    <a:moveTo>
                      <a:pt x="101" y="101"/>
                    </a:moveTo>
                    <a:lnTo>
                      <a:pt x="101" y="101"/>
                    </a:lnTo>
                    <a:lnTo>
                      <a:pt x="125" y="79"/>
                    </a:lnTo>
                    <a:lnTo>
                      <a:pt x="151" y="60"/>
                    </a:lnTo>
                    <a:lnTo>
                      <a:pt x="180" y="42"/>
                    </a:lnTo>
                    <a:lnTo>
                      <a:pt x="209" y="28"/>
                    </a:lnTo>
                    <a:lnTo>
                      <a:pt x="226" y="21"/>
                    </a:lnTo>
                    <a:lnTo>
                      <a:pt x="241" y="15"/>
                    </a:lnTo>
                    <a:lnTo>
                      <a:pt x="258" y="11"/>
                    </a:lnTo>
                    <a:lnTo>
                      <a:pt x="274" y="7"/>
                    </a:lnTo>
                    <a:lnTo>
                      <a:pt x="291" y="4"/>
                    </a:lnTo>
                    <a:lnTo>
                      <a:pt x="309" y="1"/>
                    </a:lnTo>
                    <a:lnTo>
                      <a:pt x="326" y="1"/>
                    </a:lnTo>
                    <a:lnTo>
                      <a:pt x="344" y="0"/>
                    </a:lnTo>
                    <a:lnTo>
                      <a:pt x="344" y="0"/>
                    </a:lnTo>
                    <a:lnTo>
                      <a:pt x="362" y="1"/>
                    </a:lnTo>
                    <a:lnTo>
                      <a:pt x="378" y="1"/>
                    </a:lnTo>
                    <a:lnTo>
                      <a:pt x="396" y="4"/>
                    </a:lnTo>
                    <a:lnTo>
                      <a:pt x="413" y="7"/>
                    </a:lnTo>
                    <a:lnTo>
                      <a:pt x="429" y="11"/>
                    </a:lnTo>
                    <a:lnTo>
                      <a:pt x="446" y="15"/>
                    </a:lnTo>
                    <a:lnTo>
                      <a:pt x="461" y="21"/>
                    </a:lnTo>
                    <a:lnTo>
                      <a:pt x="477" y="28"/>
                    </a:lnTo>
                    <a:lnTo>
                      <a:pt x="507" y="42"/>
                    </a:lnTo>
                    <a:lnTo>
                      <a:pt x="536" y="60"/>
                    </a:lnTo>
                    <a:lnTo>
                      <a:pt x="562" y="79"/>
                    </a:lnTo>
                    <a:lnTo>
                      <a:pt x="586" y="101"/>
                    </a:lnTo>
                    <a:lnTo>
                      <a:pt x="586" y="101"/>
                    </a:lnTo>
                    <a:lnTo>
                      <a:pt x="608" y="125"/>
                    </a:lnTo>
                    <a:lnTo>
                      <a:pt x="628" y="152"/>
                    </a:lnTo>
                    <a:lnTo>
                      <a:pt x="646" y="180"/>
                    </a:lnTo>
                    <a:lnTo>
                      <a:pt x="659" y="211"/>
                    </a:lnTo>
                    <a:lnTo>
                      <a:pt x="666" y="226"/>
                    </a:lnTo>
                    <a:lnTo>
                      <a:pt x="672" y="241"/>
                    </a:lnTo>
                    <a:lnTo>
                      <a:pt x="676" y="258"/>
                    </a:lnTo>
                    <a:lnTo>
                      <a:pt x="680" y="274"/>
                    </a:lnTo>
                    <a:lnTo>
                      <a:pt x="683" y="291"/>
                    </a:lnTo>
                    <a:lnTo>
                      <a:pt x="686" y="309"/>
                    </a:lnTo>
                    <a:lnTo>
                      <a:pt x="687" y="326"/>
                    </a:lnTo>
                    <a:lnTo>
                      <a:pt x="687" y="344"/>
                    </a:lnTo>
                    <a:lnTo>
                      <a:pt x="687" y="344"/>
                    </a:lnTo>
                    <a:lnTo>
                      <a:pt x="687" y="362"/>
                    </a:lnTo>
                    <a:lnTo>
                      <a:pt x="686" y="380"/>
                    </a:lnTo>
                    <a:lnTo>
                      <a:pt x="683" y="396"/>
                    </a:lnTo>
                    <a:lnTo>
                      <a:pt x="680" y="413"/>
                    </a:lnTo>
                    <a:lnTo>
                      <a:pt x="676" y="430"/>
                    </a:lnTo>
                    <a:lnTo>
                      <a:pt x="672" y="446"/>
                    </a:lnTo>
                    <a:lnTo>
                      <a:pt x="666" y="461"/>
                    </a:lnTo>
                    <a:lnTo>
                      <a:pt x="659" y="478"/>
                    </a:lnTo>
                    <a:lnTo>
                      <a:pt x="646" y="507"/>
                    </a:lnTo>
                    <a:lnTo>
                      <a:pt x="628" y="536"/>
                    </a:lnTo>
                    <a:lnTo>
                      <a:pt x="608" y="563"/>
                    </a:lnTo>
                    <a:lnTo>
                      <a:pt x="586" y="588"/>
                    </a:lnTo>
                    <a:lnTo>
                      <a:pt x="586" y="588"/>
                    </a:lnTo>
                    <a:lnTo>
                      <a:pt x="562" y="610"/>
                    </a:lnTo>
                    <a:lnTo>
                      <a:pt x="536" y="629"/>
                    </a:lnTo>
                    <a:lnTo>
                      <a:pt x="507" y="646"/>
                    </a:lnTo>
                    <a:lnTo>
                      <a:pt x="477" y="661"/>
                    </a:lnTo>
                    <a:lnTo>
                      <a:pt x="461" y="666"/>
                    </a:lnTo>
                    <a:lnTo>
                      <a:pt x="446" y="672"/>
                    </a:lnTo>
                    <a:lnTo>
                      <a:pt x="429" y="676"/>
                    </a:lnTo>
                    <a:lnTo>
                      <a:pt x="413" y="680"/>
                    </a:lnTo>
                    <a:lnTo>
                      <a:pt x="396" y="683"/>
                    </a:lnTo>
                    <a:lnTo>
                      <a:pt x="378" y="686"/>
                    </a:lnTo>
                    <a:lnTo>
                      <a:pt x="362" y="687"/>
                    </a:lnTo>
                    <a:lnTo>
                      <a:pt x="344" y="687"/>
                    </a:lnTo>
                    <a:lnTo>
                      <a:pt x="344" y="687"/>
                    </a:lnTo>
                    <a:lnTo>
                      <a:pt x="326" y="687"/>
                    </a:lnTo>
                    <a:lnTo>
                      <a:pt x="309" y="686"/>
                    </a:lnTo>
                    <a:lnTo>
                      <a:pt x="291" y="683"/>
                    </a:lnTo>
                    <a:lnTo>
                      <a:pt x="274" y="680"/>
                    </a:lnTo>
                    <a:lnTo>
                      <a:pt x="258" y="676"/>
                    </a:lnTo>
                    <a:lnTo>
                      <a:pt x="241" y="672"/>
                    </a:lnTo>
                    <a:lnTo>
                      <a:pt x="226" y="666"/>
                    </a:lnTo>
                    <a:lnTo>
                      <a:pt x="209" y="661"/>
                    </a:lnTo>
                    <a:lnTo>
                      <a:pt x="180" y="646"/>
                    </a:lnTo>
                    <a:lnTo>
                      <a:pt x="151" y="629"/>
                    </a:lnTo>
                    <a:lnTo>
                      <a:pt x="125" y="610"/>
                    </a:lnTo>
                    <a:lnTo>
                      <a:pt x="101" y="588"/>
                    </a:lnTo>
                    <a:lnTo>
                      <a:pt x="101" y="588"/>
                    </a:lnTo>
                    <a:lnTo>
                      <a:pt x="77" y="563"/>
                    </a:lnTo>
                    <a:lnTo>
                      <a:pt x="58" y="536"/>
                    </a:lnTo>
                    <a:lnTo>
                      <a:pt x="41" y="507"/>
                    </a:lnTo>
                    <a:lnTo>
                      <a:pt x="26" y="478"/>
                    </a:lnTo>
                    <a:lnTo>
                      <a:pt x="21" y="461"/>
                    </a:lnTo>
                    <a:lnTo>
                      <a:pt x="15" y="446"/>
                    </a:lnTo>
                    <a:lnTo>
                      <a:pt x="11" y="430"/>
                    </a:lnTo>
                    <a:lnTo>
                      <a:pt x="7" y="413"/>
                    </a:lnTo>
                    <a:lnTo>
                      <a:pt x="4" y="396"/>
                    </a:lnTo>
                    <a:lnTo>
                      <a:pt x="1" y="380"/>
                    </a:lnTo>
                    <a:lnTo>
                      <a:pt x="0" y="362"/>
                    </a:lnTo>
                    <a:lnTo>
                      <a:pt x="0" y="344"/>
                    </a:lnTo>
                    <a:lnTo>
                      <a:pt x="0" y="344"/>
                    </a:lnTo>
                    <a:lnTo>
                      <a:pt x="0" y="326"/>
                    </a:lnTo>
                    <a:lnTo>
                      <a:pt x="1" y="309"/>
                    </a:lnTo>
                    <a:lnTo>
                      <a:pt x="4" y="291"/>
                    </a:lnTo>
                    <a:lnTo>
                      <a:pt x="7" y="274"/>
                    </a:lnTo>
                    <a:lnTo>
                      <a:pt x="11" y="258"/>
                    </a:lnTo>
                    <a:lnTo>
                      <a:pt x="15" y="241"/>
                    </a:lnTo>
                    <a:lnTo>
                      <a:pt x="21" y="226"/>
                    </a:lnTo>
                    <a:lnTo>
                      <a:pt x="26" y="211"/>
                    </a:lnTo>
                    <a:lnTo>
                      <a:pt x="41" y="180"/>
                    </a:lnTo>
                    <a:lnTo>
                      <a:pt x="58" y="152"/>
                    </a:lnTo>
                    <a:lnTo>
                      <a:pt x="77" y="125"/>
                    </a:lnTo>
                    <a:lnTo>
                      <a:pt x="101" y="101"/>
                    </a:lnTo>
                    <a:lnTo>
                      <a:pt x="101" y="10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sp>
            <p:nvSpPr>
              <p:cNvPr id="216" name="Freeform 153">
                <a:extLst>
                  <a:ext uri="{FF2B5EF4-FFF2-40B4-BE49-F238E27FC236}">
                    <a16:creationId xmlns:a16="http://schemas.microsoft.com/office/drawing/2014/main" id="{33B27061-C089-3D77-D519-A0728D2294C5}"/>
                  </a:ext>
                </a:extLst>
              </p:cNvPr>
              <p:cNvSpPr>
                <a:spLocks/>
              </p:cNvSpPr>
              <p:nvPr/>
            </p:nvSpPr>
            <p:spPr bwMode="auto">
              <a:xfrm>
                <a:off x="-3948113" y="4691063"/>
                <a:ext cx="153987" cy="153988"/>
              </a:xfrm>
              <a:custGeom>
                <a:avLst/>
                <a:gdLst/>
                <a:ahLst/>
                <a:cxnLst>
                  <a:cxn ang="0">
                    <a:pos x="93" y="140"/>
                  </a:cxn>
                  <a:cxn ang="0">
                    <a:pos x="93" y="140"/>
                  </a:cxn>
                  <a:cxn ang="0">
                    <a:pos x="93" y="151"/>
                  </a:cxn>
                  <a:cxn ang="0">
                    <a:pos x="95" y="161"/>
                  </a:cxn>
                  <a:cxn ang="0">
                    <a:pos x="101" y="170"/>
                  </a:cxn>
                  <a:cxn ang="0">
                    <a:pos x="107" y="179"/>
                  </a:cxn>
                  <a:cxn ang="0">
                    <a:pos x="107" y="179"/>
                  </a:cxn>
                  <a:cxn ang="0">
                    <a:pos x="115" y="184"/>
                  </a:cxn>
                  <a:cxn ang="0">
                    <a:pos x="123" y="190"/>
                  </a:cxn>
                  <a:cxn ang="0">
                    <a:pos x="133" y="193"/>
                  </a:cxn>
                  <a:cxn ang="0">
                    <a:pos x="143" y="193"/>
                  </a:cxn>
                  <a:cxn ang="0">
                    <a:pos x="152" y="193"/>
                  </a:cxn>
                  <a:cxn ang="0">
                    <a:pos x="161" y="190"/>
                  </a:cxn>
                  <a:cxn ang="0">
                    <a:pos x="170" y="184"/>
                  </a:cxn>
                  <a:cxn ang="0">
                    <a:pos x="177" y="179"/>
                  </a:cxn>
                  <a:cxn ang="0">
                    <a:pos x="177" y="179"/>
                  </a:cxn>
                  <a:cxn ang="0">
                    <a:pos x="184" y="170"/>
                  </a:cxn>
                  <a:cxn ang="0">
                    <a:pos x="188" y="162"/>
                  </a:cxn>
                  <a:cxn ang="0">
                    <a:pos x="191" y="152"/>
                  </a:cxn>
                  <a:cxn ang="0">
                    <a:pos x="192" y="143"/>
                  </a:cxn>
                  <a:cxn ang="0">
                    <a:pos x="191" y="133"/>
                  </a:cxn>
                  <a:cxn ang="0">
                    <a:pos x="188" y="125"/>
                  </a:cxn>
                  <a:cxn ang="0">
                    <a:pos x="184" y="115"/>
                  </a:cxn>
                  <a:cxn ang="0">
                    <a:pos x="177" y="108"/>
                  </a:cxn>
                  <a:cxn ang="0">
                    <a:pos x="177" y="108"/>
                  </a:cxn>
                  <a:cxn ang="0">
                    <a:pos x="169" y="101"/>
                  </a:cxn>
                  <a:cxn ang="0">
                    <a:pos x="159" y="96"/>
                  </a:cxn>
                  <a:cxn ang="0">
                    <a:pos x="149" y="94"/>
                  </a:cxn>
                  <a:cxn ang="0">
                    <a:pos x="140" y="93"/>
                  </a:cxn>
                  <a:cxn ang="0">
                    <a:pos x="57" y="10"/>
                  </a:cxn>
                  <a:cxn ang="0">
                    <a:pos x="57" y="10"/>
                  </a:cxn>
                  <a:cxn ang="0">
                    <a:pos x="51" y="6"/>
                  </a:cxn>
                  <a:cxn ang="0">
                    <a:pos x="46" y="3"/>
                  </a:cxn>
                  <a:cxn ang="0">
                    <a:pos x="39" y="0"/>
                  </a:cxn>
                  <a:cxn ang="0">
                    <a:pos x="33" y="0"/>
                  </a:cxn>
                  <a:cxn ang="0">
                    <a:pos x="26" y="0"/>
                  </a:cxn>
                  <a:cxn ang="0">
                    <a:pos x="21" y="3"/>
                  </a:cxn>
                  <a:cxn ang="0">
                    <a:pos x="14" y="6"/>
                  </a:cxn>
                  <a:cxn ang="0">
                    <a:pos x="10" y="10"/>
                  </a:cxn>
                  <a:cxn ang="0">
                    <a:pos x="10" y="10"/>
                  </a:cxn>
                  <a:cxn ang="0">
                    <a:pos x="5" y="15"/>
                  </a:cxn>
                  <a:cxn ang="0">
                    <a:pos x="1" y="21"/>
                  </a:cxn>
                  <a:cxn ang="0">
                    <a:pos x="0" y="26"/>
                  </a:cxn>
                  <a:cxn ang="0">
                    <a:pos x="0" y="33"/>
                  </a:cxn>
                  <a:cxn ang="0">
                    <a:pos x="0" y="40"/>
                  </a:cxn>
                  <a:cxn ang="0">
                    <a:pos x="1" y="46"/>
                  </a:cxn>
                  <a:cxn ang="0">
                    <a:pos x="5" y="51"/>
                  </a:cxn>
                  <a:cxn ang="0">
                    <a:pos x="10" y="57"/>
                  </a:cxn>
                  <a:cxn ang="0">
                    <a:pos x="93" y="140"/>
                  </a:cxn>
                  <a:cxn ang="0">
                    <a:pos x="93" y="140"/>
                  </a:cxn>
                </a:cxnLst>
                <a:rect l="0" t="0" r="r" b="b"/>
                <a:pathLst>
                  <a:path w="192" h="193">
                    <a:moveTo>
                      <a:pt x="93" y="140"/>
                    </a:moveTo>
                    <a:lnTo>
                      <a:pt x="93" y="140"/>
                    </a:lnTo>
                    <a:lnTo>
                      <a:pt x="93" y="151"/>
                    </a:lnTo>
                    <a:lnTo>
                      <a:pt x="95" y="161"/>
                    </a:lnTo>
                    <a:lnTo>
                      <a:pt x="101" y="170"/>
                    </a:lnTo>
                    <a:lnTo>
                      <a:pt x="107" y="179"/>
                    </a:lnTo>
                    <a:lnTo>
                      <a:pt x="107" y="179"/>
                    </a:lnTo>
                    <a:lnTo>
                      <a:pt x="115" y="184"/>
                    </a:lnTo>
                    <a:lnTo>
                      <a:pt x="123" y="190"/>
                    </a:lnTo>
                    <a:lnTo>
                      <a:pt x="133" y="193"/>
                    </a:lnTo>
                    <a:lnTo>
                      <a:pt x="143" y="193"/>
                    </a:lnTo>
                    <a:lnTo>
                      <a:pt x="152" y="193"/>
                    </a:lnTo>
                    <a:lnTo>
                      <a:pt x="161" y="190"/>
                    </a:lnTo>
                    <a:lnTo>
                      <a:pt x="170" y="184"/>
                    </a:lnTo>
                    <a:lnTo>
                      <a:pt x="177" y="179"/>
                    </a:lnTo>
                    <a:lnTo>
                      <a:pt x="177" y="179"/>
                    </a:lnTo>
                    <a:lnTo>
                      <a:pt x="184" y="170"/>
                    </a:lnTo>
                    <a:lnTo>
                      <a:pt x="188" y="162"/>
                    </a:lnTo>
                    <a:lnTo>
                      <a:pt x="191" y="152"/>
                    </a:lnTo>
                    <a:lnTo>
                      <a:pt x="192" y="143"/>
                    </a:lnTo>
                    <a:lnTo>
                      <a:pt x="191" y="133"/>
                    </a:lnTo>
                    <a:lnTo>
                      <a:pt x="188" y="125"/>
                    </a:lnTo>
                    <a:lnTo>
                      <a:pt x="184" y="115"/>
                    </a:lnTo>
                    <a:lnTo>
                      <a:pt x="177" y="108"/>
                    </a:lnTo>
                    <a:lnTo>
                      <a:pt x="177" y="108"/>
                    </a:lnTo>
                    <a:lnTo>
                      <a:pt x="169" y="101"/>
                    </a:lnTo>
                    <a:lnTo>
                      <a:pt x="159" y="96"/>
                    </a:lnTo>
                    <a:lnTo>
                      <a:pt x="149" y="94"/>
                    </a:lnTo>
                    <a:lnTo>
                      <a:pt x="140" y="93"/>
                    </a:lnTo>
                    <a:lnTo>
                      <a:pt x="57" y="10"/>
                    </a:lnTo>
                    <a:lnTo>
                      <a:pt x="57" y="10"/>
                    </a:lnTo>
                    <a:lnTo>
                      <a:pt x="51" y="6"/>
                    </a:lnTo>
                    <a:lnTo>
                      <a:pt x="46" y="3"/>
                    </a:lnTo>
                    <a:lnTo>
                      <a:pt x="39" y="0"/>
                    </a:lnTo>
                    <a:lnTo>
                      <a:pt x="33" y="0"/>
                    </a:lnTo>
                    <a:lnTo>
                      <a:pt x="26" y="0"/>
                    </a:lnTo>
                    <a:lnTo>
                      <a:pt x="21" y="3"/>
                    </a:lnTo>
                    <a:lnTo>
                      <a:pt x="14" y="6"/>
                    </a:lnTo>
                    <a:lnTo>
                      <a:pt x="10" y="10"/>
                    </a:lnTo>
                    <a:lnTo>
                      <a:pt x="10" y="10"/>
                    </a:lnTo>
                    <a:lnTo>
                      <a:pt x="5" y="15"/>
                    </a:lnTo>
                    <a:lnTo>
                      <a:pt x="1" y="21"/>
                    </a:lnTo>
                    <a:lnTo>
                      <a:pt x="0" y="26"/>
                    </a:lnTo>
                    <a:lnTo>
                      <a:pt x="0" y="33"/>
                    </a:lnTo>
                    <a:lnTo>
                      <a:pt x="0" y="40"/>
                    </a:lnTo>
                    <a:lnTo>
                      <a:pt x="1" y="46"/>
                    </a:lnTo>
                    <a:lnTo>
                      <a:pt x="5" y="51"/>
                    </a:lnTo>
                    <a:lnTo>
                      <a:pt x="10" y="57"/>
                    </a:lnTo>
                    <a:lnTo>
                      <a:pt x="93" y="140"/>
                    </a:lnTo>
                    <a:lnTo>
                      <a:pt x="93" y="14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grpSp>
      </p:grpSp>
      <p:grpSp>
        <p:nvGrpSpPr>
          <p:cNvPr id="31" name="Group 30">
            <a:extLst>
              <a:ext uri="{FF2B5EF4-FFF2-40B4-BE49-F238E27FC236}">
                <a16:creationId xmlns:a16="http://schemas.microsoft.com/office/drawing/2014/main" id="{82937D3C-3A7B-1D12-BF93-E7B10BFCDB15}"/>
              </a:ext>
            </a:extLst>
          </p:cNvPr>
          <p:cNvGrpSpPr/>
          <p:nvPr/>
        </p:nvGrpSpPr>
        <p:grpSpPr>
          <a:xfrm>
            <a:off x="5899976" y="1641922"/>
            <a:ext cx="1103472" cy="1106424"/>
            <a:chOff x="5959052" y="1753393"/>
            <a:chExt cx="858982" cy="745363"/>
          </a:xfrm>
        </p:grpSpPr>
        <p:sp>
          <p:nvSpPr>
            <p:cNvPr id="52" name="Oval Callout 80">
              <a:extLst>
                <a:ext uri="{FF2B5EF4-FFF2-40B4-BE49-F238E27FC236}">
                  <a16:creationId xmlns:a16="http://schemas.microsoft.com/office/drawing/2014/main" id="{C5819AEF-F929-2FB1-D609-896118480DCF}"/>
                </a:ext>
              </a:extLst>
            </p:cNvPr>
            <p:cNvSpPr/>
            <p:nvPr/>
          </p:nvSpPr>
          <p:spPr>
            <a:xfrm flipV="1">
              <a:off x="5959052" y="1753393"/>
              <a:ext cx="858982" cy="745363"/>
            </a:xfrm>
            <a:prstGeom prst="wedgeEllipseCallout">
              <a:avLst>
                <a:gd name="adj1" fmla="val 1627"/>
                <a:gd name="adj2" fmla="val 23158"/>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cs typeface="Arial" panose="020B0604020202020204" pitchFamily="34" charset="0"/>
              </a:endParaRPr>
            </a:p>
          </p:txBody>
        </p:sp>
        <p:sp>
          <p:nvSpPr>
            <p:cNvPr id="53" name="Oval 81">
              <a:extLst>
                <a:ext uri="{FF2B5EF4-FFF2-40B4-BE49-F238E27FC236}">
                  <a16:creationId xmlns:a16="http://schemas.microsoft.com/office/drawing/2014/main" id="{A56D67DF-1C86-8F69-78CA-2CDBA6A50DC0}"/>
                </a:ext>
              </a:extLst>
            </p:cNvPr>
            <p:cNvSpPr/>
            <p:nvPr/>
          </p:nvSpPr>
          <p:spPr>
            <a:xfrm flipV="1">
              <a:off x="6015336" y="1802502"/>
              <a:ext cx="743089" cy="641864"/>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cs typeface="Arial" panose="020B0604020202020204" pitchFamily="34" charset="0"/>
              </a:endParaRPr>
            </a:p>
          </p:txBody>
        </p:sp>
        <p:grpSp>
          <p:nvGrpSpPr>
            <p:cNvPr id="217" name="Group 216">
              <a:extLst>
                <a:ext uri="{FF2B5EF4-FFF2-40B4-BE49-F238E27FC236}">
                  <a16:creationId xmlns:a16="http://schemas.microsoft.com/office/drawing/2014/main" id="{A1C29329-44DE-EF83-D4A1-B8B609C0D803}"/>
                </a:ext>
              </a:extLst>
            </p:cNvPr>
            <p:cNvGrpSpPr/>
            <p:nvPr/>
          </p:nvGrpSpPr>
          <p:grpSpPr>
            <a:xfrm>
              <a:off x="6177499" y="1897991"/>
              <a:ext cx="407154" cy="420636"/>
              <a:chOff x="2530475" y="2533650"/>
              <a:chExt cx="1244600" cy="1244601"/>
            </a:xfrm>
            <a:solidFill>
              <a:srgbClr val="00A3A1"/>
            </a:solidFill>
          </p:grpSpPr>
          <p:sp>
            <p:nvSpPr>
              <p:cNvPr id="218" name="Freeform 54">
                <a:extLst>
                  <a:ext uri="{FF2B5EF4-FFF2-40B4-BE49-F238E27FC236}">
                    <a16:creationId xmlns:a16="http://schemas.microsoft.com/office/drawing/2014/main" id="{E217DD0D-7FFF-B3F9-590E-3204E2A4983E}"/>
                  </a:ext>
                </a:extLst>
              </p:cNvPr>
              <p:cNvSpPr>
                <a:spLocks/>
              </p:cNvSpPr>
              <p:nvPr/>
            </p:nvSpPr>
            <p:spPr bwMode="auto">
              <a:xfrm>
                <a:off x="2874963" y="2533650"/>
                <a:ext cx="555625" cy="555625"/>
              </a:xfrm>
              <a:custGeom>
                <a:avLst/>
                <a:gdLst/>
                <a:ahLst/>
                <a:cxnLst>
                  <a:cxn ang="0">
                    <a:pos x="369" y="701"/>
                  </a:cxn>
                  <a:cxn ang="0">
                    <a:pos x="421" y="694"/>
                  </a:cxn>
                  <a:cxn ang="0">
                    <a:pos x="470" y="680"/>
                  </a:cxn>
                  <a:cxn ang="0">
                    <a:pos x="517" y="658"/>
                  </a:cxn>
                  <a:cxn ang="0">
                    <a:pos x="560" y="631"/>
                  </a:cxn>
                  <a:cxn ang="0">
                    <a:pos x="598" y="598"/>
                  </a:cxn>
                  <a:cxn ang="0">
                    <a:pos x="631" y="561"/>
                  </a:cxn>
                  <a:cxn ang="0">
                    <a:pos x="658" y="517"/>
                  </a:cxn>
                  <a:cxn ang="0">
                    <a:pos x="680" y="472"/>
                  </a:cxn>
                  <a:cxn ang="0">
                    <a:pos x="694" y="422"/>
                  </a:cxn>
                  <a:cxn ang="0">
                    <a:pos x="701" y="369"/>
                  </a:cxn>
                  <a:cxn ang="0">
                    <a:pos x="701" y="333"/>
                  </a:cxn>
                  <a:cxn ang="0">
                    <a:pos x="694" y="280"/>
                  </a:cxn>
                  <a:cxn ang="0">
                    <a:pos x="680" y="230"/>
                  </a:cxn>
                  <a:cxn ang="0">
                    <a:pos x="658" y="184"/>
                  </a:cxn>
                  <a:cxn ang="0">
                    <a:pos x="631" y="140"/>
                  </a:cxn>
                  <a:cxn ang="0">
                    <a:pos x="598" y="103"/>
                  </a:cxn>
                  <a:cxn ang="0">
                    <a:pos x="560" y="70"/>
                  </a:cxn>
                  <a:cxn ang="0">
                    <a:pos x="517" y="43"/>
                  </a:cxn>
                  <a:cxn ang="0">
                    <a:pos x="470" y="21"/>
                  </a:cxn>
                  <a:cxn ang="0">
                    <a:pos x="421" y="8"/>
                  </a:cxn>
                  <a:cxn ang="0">
                    <a:pos x="369" y="0"/>
                  </a:cxn>
                  <a:cxn ang="0">
                    <a:pos x="332" y="0"/>
                  </a:cxn>
                  <a:cxn ang="0">
                    <a:pos x="280" y="8"/>
                  </a:cxn>
                  <a:cxn ang="0">
                    <a:pos x="230" y="21"/>
                  </a:cxn>
                  <a:cxn ang="0">
                    <a:pos x="183" y="43"/>
                  </a:cxn>
                  <a:cxn ang="0">
                    <a:pos x="140" y="70"/>
                  </a:cxn>
                  <a:cxn ang="0">
                    <a:pos x="103" y="103"/>
                  </a:cxn>
                  <a:cxn ang="0">
                    <a:pos x="70" y="140"/>
                  </a:cxn>
                  <a:cxn ang="0">
                    <a:pos x="42" y="184"/>
                  </a:cxn>
                  <a:cxn ang="0">
                    <a:pos x="21" y="230"/>
                  </a:cxn>
                  <a:cxn ang="0">
                    <a:pos x="7" y="280"/>
                  </a:cxn>
                  <a:cxn ang="0">
                    <a:pos x="0" y="333"/>
                  </a:cxn>
                  <a:cxn ang="0">
                    <a:pos x="0" y="369"/>
                  </a:cxn>
                  <a:cxn ang="0">
                    <a:pos x="7" y="422"/>
                  </a:cxn>
                  <a:cxn ang="0">
                    <a:pos x="21" y="472"/>
                  </a:cxn>
                  <a:cxn ang="0">
                    <a:pos x="42" y="517"/>
                  </a:cxn>
                  <a:cxn ang="0">
                    <a:pos x="70" y="561"/>
                  </a:cxn>
                  <a:cxn ang="0">
                    <a:pos x="103" y="598"/>
                  </a:cxn>
                  <a:cxn ang="0">
                    <a:pos x="140" y="631"/>
                  </a:cxn>
                  <a:cxn ang="0">
                    <a:pos x="183" y="658"/>
                  </a:cxn>
                  <a:cxn ang="0">
                    <a:pos x="230" y="680"/>
                  </a:cxn>
                  <a:cxn ang="0">
                    <a:pos x="280" y="694"/>
                  </a:cxn>
                  <a:cxn ang="0">
                    <a:pos x="332" y="701"/>
                  </a:cxn>
                </a:cxnLst>
                <a:rect l="0" t="0" r="r" b="b"/>
                <a:pathLst>
                  <a:path w="701" h="701">
                    <a:moveTo>
                      <a:pt x="350" y="701"/>
                    </a:moveTo>
                    <a:lnTo>
                      <a:pt x="350" y="701"/>
                    </a:lnTo>
                    <a:lnTo>
                      <a:pt x="369" y="701"/>
                    </a:lnTo>
                    <a:lnTo>
                      <a:pt x="386" y="699"/>
                    </a:lnTo>
                    <a:lnTo>
                      <a:pt x="404" y="697"/>
                    </a:lnTo>
                    <a:lnTo>
                      <a:pt x="421" y="694"/>
                    </a:lnTo>
                    <a:lnTo>
                      <a:pt x="438" y="691"/>
                    </a:lnTo>
                    <a:lnTo>
                      <a:pt x="455" y="685"/>
                    </a:lnTo>
                    <a:lnTo>
                      <a:pt x="470" y="680"/>
                    </a:lnTo>
                    <a:lnTo>
                      <a:pt x="487" y="674"/>
                    </a:lnTo>
                    <a:lnTo>
                      <a:pt x="503" y="667"/>
                    </a:lnTo>
                    <a:lnTo>
                      <a:pt x="517" y="658"/>
                    </a:lnTo>
                    <a:lnTo>
                      <a:pt x="532" y="650"/>
                    </a:lnTo>
                    <a:lnTo>
                      <a:pt x="546" y="642"/>
                    </a:lnTo>
                    <a:lnTo>
                      <a:pt x="560" y="631"/>
                    </a:lnTo>
                    <a:lnTo>
                      <a:pt x="573" y="621"/>
                    </a:lnTo>
                    <a:lnTo>
                      <a:pt x="586" y="610"/>
                    </a:lnTo>
                    <a:lnTo>
                      <a:pt x="598" y="598"/>
                    </a:lnTo>
                    <a:lnTo>
                      <a:pt x="610" y="587"/>
                    </a:lnTo>
                    <a:lnTo>
                      <a:pt x="621" y="573"/>
                    </a:lnTo>
                    <a:lnTo>
                      <a:pt x="631" y="561"/>
                    </a:lnTo>
                    <a:lnTo>
                      <a:pt x="641" y="546"/>
                    </a:lnTo>
                    <a:lnTo>
                      <a:pt x="650" y="533"/>
                    </a:lnTo>
                    <a:lnTo>
                      <a:pt x="658" y="517"/>
                    </a:lnTo>
                    <a:lnTo>
                      <a:pt x="667" y="503"/>
                    </a:lnTo>
                    <a:lnTo>
                      <a:pt x="673" y="487"/>
                    </a:lnTo>
                    <a:lnTo>
                      <a:pt x="680" y="472"/>
                    </a:lnTo>
                    <a:lnTo>
                      <a:pt x="685" y="455"/>
                    </a:lnTo>
                    <a:lnTo>
                      <a:pt x="690" y="438"/>
                    </a:lnTo>
                    <a:lnTo>
                      <a:pt x="694" y="422"/>
                    </a:lnTo>
                    <a:lnTo>
                      <a:pt x="697" y="404"/>
                    </a:lnTo>
                    <a:lnTo>
                      <a:pt x="699" y="386"/>
                    </a:lnTo>
                    <a:lnTo>
                      <a:pt x="701" y="369"/>
                    </a:lnTo>
                    <a:lnTo>
                      <a:pt x="701" y="350"/>
                    </a:lnTo>
                    <a:lnTo>
                      <a:pt x="701" y="350"/>
                    </a:lnTo>
                    <a:lnTo>
                      <a:pt x="701" y="333"/>
                    </a:lnTo>
                    <a:lnTo>
                      <a:pt x="699" y="315"/>
                    </a:lnTo>
                    <a:lnTo>
                      <a:pt x="697" y="297"/>
                    </a:lnTo>
                    <a:lnTo>
                      <a:pt x="694" y="280"/>
                    </a:lnTo>
                    <a:lnTo>
                      <a:pt x="690" y="263"/>
                    </a:lnTo>
                    <a:lnTo>
                      <a:pt x="685" y="246"/>
                    </a:lnTo>
                    <a:lnTo>
                      <a:pt x="680" y="230"/>
                    </a:lnTo>
                    <a:lnTo>
                      <a:pt x="673" y="214"/>
                    </a:lnTo>
                    <a:lnTo>
                      <a:pt x="667" y="199"/>
                    </a:lnTo>
                    <a:lnTo>
                      <a:pt x="658" y="184"/>
                    </a:lnTo>
                    <a:lnTo>
                      <a:pt x="650" y="169"/>
                    </a:lnTo>
                    <a:lnTo>
                      <a:pt x="641" y="155"/>
                    </a:lnTo>
                    <a:lnTo>
                      <a:pt x="631" y="140"/>
                    </a:lnTo>
                    <a:lnTo>
                      <a:pt x="621" y="128"/>
                    </a:lnTo>
                    <a:lnTo>
                      <a:pt x="610" y="115"/>
                    </a:lnTo>
                    <a:lnTo>
                      <a:pt x="598" y="103"/>
                    </a:lnTo>
                    <a:lnTo>
                      <a:pt x="586" y="92"/>
                    </a:lnTo>
                    <a:lnTo>
                      <a:pt x="573" y="80"/>
                    </a:lnTo>
                    <a:lnTo>
                      <a:pt x="560" y="70"/>
                    </a:lnTo>
                    <a:lnTo>
                      <a:pt x="546" y="60"/>
                    </a:lnTo>
                    <a:lnTo>
                      <a:pt x="532" y="51"/>
                    </a:lnTo>
                    <a:lnTo>
                      <a:pt x="517" y="43"/>
                    </a:lnTo>
                    <a:lnTo>
                      <a:pt x="503" y="35"/>
                    </a:lnTo>
                    <a:lnTo>
                      <a:pt x="487" y="27"/>
                    </a:lnTo>
                    <a:lnTo>
                      <a:pt x="470" y="21"/>
                    </a:lnTo>
                    <a:lnTo>
                      <a:pt x="455" y="16"/>
                    </a:lnTo>
                    <a:lnTo>
                      <a:pt x="438" y="11"/>
                    </a:lnTo>
                    <a:lnTo>
                      <a:pt x="421" y="8"/>
                    </a:lnTo>
                    <a:lnTo>
                      <a:pt x="404" y="5"/>
                    </a:lnTo>
                    <a:lnTo>
                      <a:pt x="386" y="2"/>
                    </a:lnTo>
                    <a:lnTo>
                      <a:pt x="369" y="0"/>
                    </a:lnTo>
                    <a:lnTo>
                      <a:pt x="350" y="0"/>
                    </a:lnTo>
                    <a:lnTo>
                      <a:pt x="350" y="0"/>
                    </a:lnTo>
                    <a:lnTo>
                      <a:pt x="332" y="0"/>
                    </a:lnTo>
                    <a:lnTo>
                      <a:pt x="315" y="2"/>
                    </a:lnTo>
                    <a:lnTo>
                      <a:pt x="297" y="5"/>
                    </a:lnTo>
                    <a:lnTo>
                      <a:pt x="280" y="8"/>
                    </a:lnTo>
                    <a:lnTo>
                      <a:pt x="263" y="11"/>
                    </a:lnTo>
                    <a:lnTo>
                      <a:pt x="246" y="16"/>
                    </a:lnTo>
                    <a:lnTo>
                      <a:pt x="230" y="21"/>
                    </a:lnTo>
                    <a:lnTo>
                      <a:pt x="214" y="27"/>
                    </a:lnTo>
                    <a:lnTo>
                      <a:pt x="199" y="35"/>
                    </a:lnTo>
                    <a:lnTo>
                      <a:pt x="183" y="43"/>
                    </a:lnTo>
                    <a:lnTo>
                      <a:pt x="168" y="51"/>
                    </a:lnTo>
                    <a:lnTo>
                      <a:pt x="155" y="60"/>
                    </a:lnTo>
                    <a:lnTo>
                      <a:pt x="140" y="70"/>
                    </a:lnTo>
                    <a:lnTo>
                      <a:pt x="128" y="80"/>
                    </a:lnTo>
                    <a:lnTo>
                      <a:pt x="114" y="92"/>
                    </a:lnTo>
                    <a:lnTo>
                      <a:pt x="103" y="103"/>
                    </a:lnTo>
                    <a:lnTo>
                      <a:pt x="91" y="115"/>
                    </a:lnTo>
                    <a:lnTo>
                      <a:pt x="80" y="128"/>
                    </a:lnTo>
                    <a:lnTo>
                      <a:pt x="70" y="140"/>
                    </a:lnTo>
                    <a:lnTo>
                      <a:pt x="59" y="155"/>
                    </a:lnTo>
                    <a:lnTo>
                      <a:pt x="51" y="169"/>
                    </a:lnTo>
                    <a:lnTo>
                      <a:pt x="42" y="184"/>
                    </a:lnTo>
                    <a:lnTo>
                      <a:pt x="35" y="199"/>
                    </a:lnTo>
                    <a:lnTo>
                      <a:pt x="27" y="214"/>
                    </a:lnTo>
                    <a:lnTo>
                      <a:pt x="21" y="230"/>
                    </a:lnTo>
                    <a:lnTo>
                      <a:pt x="16" y="246"/>
                    </a:lnTo>
                    <a:lnTo>
                      <a:pt x="11" y="263"/>
                    </a:lnTo>
                    <a:lnTo>
                      <a:pt x="7" y="280"/>
                    </a:lnTo>
                    <a:lnTo>
                      <a:pt x="4" y="297"/>
                    </a:lnTo>
                    <a:lnTo>
                      <a:pt x="1" y="315"/>
                    </a:lnTo>
                    <a:lnTo>
                      <a:pt x="0" y="333"/>
                    </a:lnTo>
                    <a:lnTo>
                      <a:pt x="0" y="350"/>
                    </a:lnTo>
                    <a:lnTo>
                      <a:pt x="0" y="350"/>
                    </a:lnTo>
                    <a:lnTo>
                      <a:pt x="0" y="369"/>
                    </a:lnTo>
                    <a:lnTo>
                      <a:pt x="1" y="386"/>
                    </a:lnTo>
                    <a:lnTo>
                      <a:pt x="4" y="404"/>
                    </a:lnTo>
                    <a:lnTo>
                      <a:pt x="7" y="422"/>
                    </a:lnTo>
                    <a:lnTo>
                      <a:pt x="11" y="438"/>
                    </a:lnTo>
                    <a:lnTo>
                      <a:pt x="16" y="455"/>
                    </a:lnTo>
                    <a:lnTo>
                      <a:pt x="21" y="472"/>
                    </a:lnTo>
                    <a:lnTo>
                      <a:pt x="27" y="487"/>
                    </a:lnTo>
                    <a:lnTo>
                      <a:pt x="35" y="503"/>
                    </a:lnTo>
                    <a:lnTo>
                      <a:pt x="42" y="517"/>
                    </a:lnTo>
                    <a:lnTo>
                      <a:pt x="51" y="533"/>
                    </a:lnTo>
                    <a:lnTo>
                      <a:pt x="59" y="546"/>
                    </a:lnTo>
                    <a:lnTo>
                      <a:pt x="70" y="561"/>
                    </a:lnTo>
                    <a:lnTo>
                      <a:pt x="80" y="573"/>
                    </a:lnTo>
                    <a:lnTo>
                      <a:pt x="91" y="587"/>
                    </a:lnTo>
                    <a:lnTo>
                      <a:pt x="103" y="598"/>
                    </a:lnTo>
                    <a:lnTo>
                      <a:pt x="114" y="610"/>
                    </a:lnTo>
                    <a:lnTo>
                      <a:pt x="128" y="621"/>
                    </a:lnTo>
                    <a:lnTo>
                      <a:pt x="140" y="631"/>
                    </a:lnTo>
                    <a:lnTo>
                      <a:pt x="155" y="642"/>
                    </a:lnTo>
                    <a:lnTo>
                      <a:pt x="168" y="650"/>
                    </a:lnTo>
                    <a:lnTo>
                      <a:pt x="183" y="658"/>
                    </a:lnTo>
                    <a:lnTo>
                      <a:pt x="199" y="667"/>
                    </a:lnTo>
                    <a:lnTo>
                      <a:pt x="214" y="674"/>
                    </a:lnTo>
                    <a:lnTo>
                      <a:pt x="230" y="680"/>
                    </a:lnTo>
                    <a:lnTo>
                      <a:pt x="246" y="685"/>
                    </a:lnTo>
                    <a:lnTo>
                      <a:pt x="263" y="691"/>
                    </a:lnTo>
                    <a:lnTo>
                      <a:pt x="280" y="694"/>
                    </a:lnTo>
                    <a:lnTo>
                      <a:pt x="297" y="697"/>
                    </a:lnTo>
                    <a:lnTo>
                      <a:pt x="315" y="699"/>
                    </a:lnTo>
                    <a:lnTo>
                      <a:pt x="332" y="701"/>
                    </a:lnTo>
                    <a:lnTo>
                      <a:pt x="350" y="701"/>
                    </a:lnTo>
                    <a:lnTo>
                      <a:pt x="350" y="70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sp>
            <p:nvSpPr>
              <p:cNvPr id="219" name="Freeform 55">
                <a:extLst>
                  <a:ext uri="{FF2B5EF4-FFF2-40B4-BE49-F238E27FC236}">
                    <a16:creationId xmlns:a16="http://schemas.microsoft.com/office/drawing/2014/main" id="{3E12631E-3914-B616-9EA5-AC31EBB10BBB}"/>
                  </a:ext>
                </a:extLst>
              </p:cNvPr>
              <p:cNvSpPr>
                <a:spLocks/>
              </p:cNvSpPr>
              <p:nvPr/>
            </p:nvSpPr>
            <p:spPr bwMode="auto">
              <a:xfrm>
                <a:off x="2895600" y="3313113"/>
                <a:ext cx="514350" cy="330200"/>
              </a:xfrm>
              <a:custGeom>
                <a:avLst/>
                <a:gdLst/>
                <a:ahLst/>
                <a:cxnLst>
                  <a:cxn ang="0">
                    <a:pos x="0" y="36"/>
                  </a:cxn>
                  <a:cxn ang="0">
                    <a:pos x="0" y="380"/>
                  </a:cxn>
                  <a:cxn ang="0">
                    <a:pos x="0" y="380"/>
                  </a:cxn>
                  <a:cxn ang="0">
                    <a:pos x="1" y="387"/>
                  </a:cxn>
                  <a:cxn ang="0">
                    <a:pos x="3" y="394"/>
                  </a:cxn>
                  <a:cxn ang="0">
                    <a:pos x="6" y="400"/>
                  </a:cxn>
                  <a:cxn ang="0">
                    <a:pos x="11" y="405"/>
                  </a:cxn>
                  <a:cxn ang="0">
                    <a:pos x="16" y="409"/>
                  </a:cxn>
                  <a:cxn ang="0">
                    <a:pos x="22" y="412"/>
                  </a:cxn>
                  <a:cxn ang="0">
                    <a:pos x="28" y="414"/>
                  </a:cxn>
                  <a:cxn ang="0">
                    <a:pos x="36" y="415"/>
                  </a:cxn>
                  <a:cxn ang="0">
                    <a:pos x="614" y="415"/>
                  </a:cxn>
                  <a:cxn ang="0">
                    <a:pos x="614" y="415"/>
                  </a:cxn>
                  <a:cxn ang="0">
                    <a:pos x="621" y="414"/>
                  </a:cxn>
                  <a:cxn ang="0">
                    <a:pos x="627" y="412"/>
                  </a:cxn>
                  <a:cxn ang="0">
                    <a:pos x="633" y="409"/>
                  </a:cxn>
                  <a:cxn ang="0">
                    <a:pos x="639" y="405"/>
                  </a:cxn>
                  <a:cxn ang="0">
                    <a:pos x="643" y="400"/>
                  </a:cxn>
                  <a:cxn ang="0">
                    <a:pos x="646" y="394"/>
                  </a:cxn>
                  <a:cxn ang="0">
                    <a:pos x="648" y="387"/>
                  </a:cxn>
                  <a:cxn ang="0">
                    <a:pos x="649" y="380"/>
                  </a:cxn>
                  <a:cxn ang="0">
                    <a:pos x="649" y="36"/>
                  </a:cxn>
                  <a:cxn ang="0">
                    <a:pos x="649" y="36"/>
                  </a:cxn>
                  <a:cxn ang="0">
                    <a:pos x="648" y="28"/>
                  </a:cxn>
                  <a:cxn ang="0">
                    <a:pos x="646" y="22"/>
                  </a:cxn>
                  <a:cxn ang="0">
                    <a:pos x="643" y="16"/>
                  </a:cxn>
                  <a:cxn ang="0">
                    <a:pos x="639" y="11"/>
                  </a:cxn>
                  <a:cxn ang="0">
                    <a:pos x="633" y="6"/>
                  </a:cxn>
                  <a:cxn ang="0">
                    <a:pos x="627" y="3"/>
                  </a:cxn>
                  <a:cxn ang="0">
                    <a:pos x="621" y="1"/>
                  </a:cxn>
                  <a:cxn ang="0">
                    <a:pos x="614" y="0"/>
                  </a:cxn>
                  <a:cxn ang="0">
                    <a:pos x="36" y="0"/>
                  </a:cxn>
                  <a:cxn ang="0">
                    <a:pos x="36" y="0"/>
                  </a:cxn>
                  <a:cxn ang="0">
                    <a:pos x="28" y="1"/>
                  </a:cxn>
                  <a:cxn ang="0">
                    <a:pos x="22" y="3"/>
                  </a:cxn>
                  <a:cxn ang="0">
                    <a:pos x="16" y="6"/>
                  </a:cxn>
                  <a:cxn ang="0">
                    <a:pos x="11" y="11"/>
                  </a:cxn>
                  <a:cxn ang="0">
                    <a:pos x="6" y="16"/>
                  </a:cxn>
                  <a:cxn ang="0">
                    <a:pos x="3" y="22"/>
                  </a:cxn>
                  <a:cxn ang="0">
                    <a:pos x="1" y="28"/>
                  </a:cxn>
                  <a:cxn ang="0">
                    <a:pos x="0" y="36"/>
                  </a:cxn>
                  <a:cxn ang="0">
                    <a:pos x="0" y="36"/>
                  </a:cxn>
                </a:cxnLst>
                <a:rect l="0" t="0" r="r" b="b"/>
                <a:pathLst>
                  <a:path w="649" h="415">
                    <a:moveTo>
                      <a:pt x="0" y="36"/>
                    </a:moveTo>
                    <a:lnTo>
                      <a:pt x="0" y="380"/>
                    </a:lnTo>
                    <a:lnTo>
                      <a:pt x="0" y="380"/>
                    </a:lnTo>
                    <a:lnTo>
                      <a:pt x="1" y="387"/>
                    </a:lnTo>
                    <a:lnTo>
                      <a:pt x="3" y="394"/>
                    </a:lnTo>
                    <a:lnTo>
                      <a:pt x="6" y="400"/>
                    </a:lnTo>
                    <a:lnTo>
                      <a:pt x="11" y="405"/>
                    </a:lnTo>
                    <a:lnTo>
                      <a:pt x="16" y="409"/>
                    </a:lnTo>
                    <a:lnTo>
                      <a:pt x="22" y="412"/>
                    </a:lnTo>
                    <a:lnTo>
                      <a:pt x="28" y="414"/>
                    </a:lnTo>
                    <a:lnTo>
                      <a:pt x="36" y="415"/>
                    </a:lnTo>
                    <a:lnTo>
                      <a:pt x="614" y="415"/>
                    </a:lnTo>
                    <a:lnTo>
                      <a:pt x="614" y="415"/>
                    </a:lnTo>
                    <a:lnTo>
                      <a:pt x="621" y="414"/>
                    </a:lnTo>
                    <a:lnTo>
                      <a:pt x="627" y="412"/>
                    </a:lnTo>
                    <a:lnTo>
                      <a:pt x="633" y="409"/>
                    </a:lnTo>
                    <a:lnTo>
                      <a:pt x="639" y="405"/>
                    </a:lnTo>
                    <a:lnTo>
                      <a:pt x="643" y="400"/>
                    </a:lnTo>
                    <a:lnTo>
                      <a:pt x="646" y="394"/>
                    </a:lnTo>
                    <a:lnTo>
                      <a:pt x="648" y="387"/>
                    </a:lnTo>
                    <a:lnTo>
                      <a:pt x="649" y="380"/>
                    </a:lnTo>
                    <a:lnTo>
                      <a:pt x="649" y="36"/>
                    </a:lnTo>
                    <a:lnTo>
                      <a:pt x="649" y="36"/>
                    </a:lnTo>
                    <a:lnTo>
                      <a:pt x="648" y="28"/>
                    </a:lnTo>
                    <a:lnTo>
                      <a:pt x="646" y="22"/>
                    </a:lnTo>
                    <a:lnTo>
                      <a:pt x="643" y="16"/>
                    </a:lnTo>
                    <a:lnTo>
                      <a:pt x="639" y="11"/>
                    </a:lnTo>
                    <a:lnTo>
                      <a:pt x="633" y="6"/>
                    </a:lnTo>
                    <a:lnTo>
                      <a:pt x="627" y="3"/>
                    </a:lnTo>
                    <a:lnTo>
                      <a:pt x="621" y="1"/>
                    </a:lnTo>
                    <a:lnTo>
                      <a:pt x="614" y="0"/>
                    </a:lnTo>
                    <a:lnTo>
                      <a:pt x="36" y="0"/>
                    </a:lnTo>
                    <a:lnTo>
                      <a:pt x="36" y="0"/>
                    </a:lnTo>
                    <a:lnTo>
                      <a:pt x="28" y="1"/>
                    </a:lnTo>
                    <a:lnTo>
                      <a:pt x="22" y="3"/>
                    </a:lnTo>
                    <a:lnTo>
                      <a:pt x="16" y="6"/>
                    </a:lnTo>
                    <a:lnTo>
                      <a:pt x="11" y="11"/>
                    </a:lnTo>
                    <a:lnTo>
                      <a:pt x="6" y="16"/>
                    </a:lnTo>
                    <a:lnTo>
                      <a:pt x="3" y="22"/>
                    </a:lnTo>
                    <a:lnTo>
                      <a:pt x="1" y="28"/>
                    </a:lnTo>
                    <a:lnTo>
                      <a:pt x="0" y="36"/>
                    </a:lnTo>
                    <a:lnTo>
                      <a:pt x="0" y="3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sp>
            <p:nvSpPr>
              <p:cNvPr id="220" name="Freeform 56">
                <a:extLst>
                  <a:ext uri="{FF2B5EF4-FFF2-40B4-BE49-F238E27FC236}">
                    <a16:creationId xmlns:a16="http://schemas.microsoft.com/office/drawing/2014/main" id="{FDC9F17A-9599-8CAF-26D3-D19970BA039F}"/>
                  </a:ext>
                </a:extLst>
              </p:cNvPr>
              <p:cNvSpPr>
                <a:spLocks/>
              </p:cNvSpPr>
              <p:nvPr/>
            </p:nvSpPr>
            <p:spPr bwMode="auto">
              <a:xfrm>
                <a:off x="2530475" y="3127375"/>
                <a:ext cx="438150" cy="515938"/>
              </a:xfrm>
              <a:custGeom>
                <a:avLst/>
                <a:gdLst/>
                <a:ahLst/>
                <a:cxnLst>
                  <a:cxn ang="0">
                    <a:pos x="247" y="648"/>
                  </a:cxn>
                  <a:cxn ang="0">
                    <a:pos x="267" y="648"/>
                  </a:cxn>
                  <a:cxn ang="0">
                    <a:pos x="267" y="639"/>
                  </a:cxn>
                  <a:cxn ang="0">
                    <a:pos x="270" y="607"/>
                  </a:cxn>
                  <a:cxn ang="0">
                    <a:pos x="279" y="577"/>
                  </a:cxn>
                  <a:cxn ang="0">
                    <a:pos x="291" y="549"/>
                  </a:cxn>
                  <a:cxn ang="0">
                    <a:pos x="309" y="524"/>
                  </a:cxn>
                  <a:cxn ang="0">
                    <a:pos x="329" y="503"/>
                  </a:cxn>
                  <a:cxn ang="0">
                    <a:pos x="353" y="484"/>
                  </a:cxn>
                  <a:cxn ang="0">
                    <a:pos x="381" y="471"/>
                  </a:cxn>
                  <a:cxn ang="0">
                    <a:pos x="410" y="462"/>
                  </a:cxn>
                  <a:cxn ang="0">
                    <a:pos x="410" y="269"/>
                  </a:cxn>
                  <a:cxn ang="0">
                    <a:pos x="413" y="252"/>
                  </a:cxn>
                  <a:cxn ang="0">
                    <a:pos x="418" y="235"/>
                  </a:cxn>
                  <a:cxn ang="0">
                    <a:pos x="425" y="221"/>
                  </a:cxn>
                  <a:cxn ang="0">
                    <a:pos x="435" y="208"/>
                  </a:cxn>
                  <a:cxn ang="0">
                    <a:pos x="448" y="198"/>
                  </a:cxn>
                  <a:cxn ang="0">
                    <a:pos x="462" y="191"/>
                  </a:cxn>
                  <a:cxn ang="0">
                    <a:pos x="478" y="186"/>
                  </a:cxn>
                  <a:cxn ang="0">
                    <a:pos x="496" y="183"/>
                  </a:cxn>
                  <a:cxn ang="0">
                    <a:pos x="553" y="0"/>
                  </a:cxn>
                  <a:cxn ang="0">
                    <a:pos x="477" y="0"/>
                  </a:cxn>
                  <a:cxn ang="0">
                    <a:pos x="472" y="2"/>
                  </a:cxn>
                  <a:cxn ang="0">
                    <a:pos x="457" y="10"/>
                  </a:cxn>
                  <a:cxn ang="0">
                    <a:pos x="425" y="35"/>
                  </a:cxn>
                  <a:cxn ang="0">
                    <a:pos x="367" y="87"/>
                  </a:cxn>
                  <a:cxn ang="0">
                    <a:pos x="263" y="189"/>
                  </a:cxn>
                  <a:cxn ang="0">
                    <a:pos x="128" y="330"/>
                  </a:cxn>
                  <a:cxn ang="0">
                    <a:pos x="45" y="424"/>
                  </a:cxn>
                  <a:cxn ang="0">
                    <a:pos x="33" y="441"/>
                  </a:cxn>
                  <a:cxn ang="0">
                    <a:pos x="11" y="477"/>
                  </a:cxn>
                  <a:cxn ang="0">
                    <a:pos x="5" y="497"/>
                  </a:cxn>
                  <a:cxn ang="0">
                    <a:pos x="0" y="517"/>
                  </a:cxn>
                  <a:cxn ang="0">
                    <a:pos x="0" y="536"/>
                  </a:cxn>
                  <a:cxn ang="0">
                    <a:pos x="6" y="556"/>
                  </a:cxn>
                  <a:cxn ang="0">
                    <a:pos x="16" y="576"/>
                  </a:cxn>
                  <a:cxn ang="0">
                    <a:pos x="25" y="587"/>
                  </a:cxn>
                  <a:cxn ang="0">
                    <a:pos x="48" y="606"/>
                  </a:cxn>
                  <a:cxn ang="0">
                    <a:pos x="76" y="620"/>
                  </a:cxn>
                  <a:cxn ang="0">
                    <a:pos x="106" y="632"/>
                  </a:cxn>
                  <a:cxn ang="0">
                    <a:pos x="137" y="639"/>
                  </a:cxn>
                  <a:cxn ang="0">
                    <a:pos x="187" y="645"/>
                  </a:cxn>
                  <a:cxn ang="0">
                    <a:pos x="247" y="648"/>
                  </a:cxn>
                </a:cxnLst>
                <a:rect l="0" t="0" r="r" b="b"/>
                <a:pathLst>
                  <a:path w="553" h="648">
                    <a:moveTo>
                      <a:pt x="247" y="648"/>
                    </a:moveTo>
                    <a:lnTo>
                      <a:pt x="247" y="648"/>
                    </a:lnTo>
                    <a:lnTo>
                      <a:pt x="267" y="648"/>
                    </a:lnTo>
                    <a:lnTo>
                      <a:pt x="267" y="648"/>
                    </a:lnTo>
                    <a:lnTo>
                      <a:pt x="267" y="639"/>
                    </a:lnTo>
                    <a:lnTo>
                      <a:pt x="267" y="639"/>
                    </a:lnTo>
                    <a:lnTo>
                      <a:pt x="268" y="622"/>
                    </a:lnTo>
                    <a:lnTo>
                      <a:pt x="270" y="607"/>
                    </a:lnTo>
                    <a:lnTo>
                      <a:pt x="273" y="591"/>
                    </a:lnTo>
                    <a:lnTo>
                      <a:pt x="279" y="577"/>
                    </a:lnTo>
                    <a:lnTo>
                      <a:pt x="284" y="563"/>
                    </a:lnTo>
                    <a:lnTo>
                      <a:pt x="291" y="549"/>
                    </a:lnTo>
                    <a:lnTo>
                      <a:pt x="299" y="536"/>
                    </a:lnTo>
                    <a:lnTo>
                      <a:pt x="309" y="524"/>
                    </a:lnTo>
                    <a:lnTo>
                      <a:pt x="318" y="514"/>
                    </a:lnTo>
                    <a:lnTo>
                      <a:pt x="329" y="503"/>
                    </a:lnTo>
                    <a:lnTo>
                      <a:pt x="341" y="493"/>
                    </a:lnTo>
                    <a:lnTo>
                      <a:pt x="353" y="484"/>
                    </a:lnTo>
                    <a:lnTo>
                      <a:pt x="367" y="477"/>
                    </a:lnTo>
                    <a:lnTo>
                      <a:pt x="381" y="471"/>
                    </a:lnTo>
                    <a:lnTo>
                      <a:pt x="396" y="466"/>
                    </a:lnTo>
                    <a:lnTo>
                      <a:pt x="410" y="462"/>
                    </a:lnTo>
                    <a:lnTo>
                      <a:pt x="410" y="269"/>
                    </a:lnTo>
                    <a:lnTo>
                      <a:pt x="410" y="269"/>
                    </a:lnTo>
                    <a:lnTo>
                      <a:pt x="411" y="260"/>
                    </a:lnTo>
                    <a:lnTo>
                      <a:pt x="413" y="252"/>
                    </a:lnTo>
                    <a:lnTo>
                      <a:pt x="415" y="244"/>
                    </a:lnTo>
                    <a:lnTo>
                      <a:pt x="418" y="235"/>
                    </a:lnTo>
                    <a:lnTo>
                      <a:pt x="421" y="228"/>
                    </a:lnTo>
                    <a:lnTo>
                      <a:pt x="425" y="221"/>
                    </a:lnTo>
                    <a:lnTo>
                      <a:pt x="430" y="215"/>
                    </a:lnTo>
                    <a:lnTo>
                      <a:pt x="435" y="208"/>
                    </a:lnTo>
                    <a:lnTo>
                      <a:pt x="442" y="203"/>
                    </a:lnTo>
                    <a:lnTo>
                      <a:pt x="448" y="198"/>
                    </a:lnTo>
                    <a:lnTo>
                      <a:pt x="455" y="194"/>
                    </a:lnTo>
                    <a:lnTo>
                      <a:pt x="462" y="191"/>
                    </a:lnTo>
                    <a:lnTo>
                      <a:pt x="471" y="188"/>
                    </a:lnTo>
                    <a:lnTo>
                      <a:pt x="478" y="186"/>
                    </a:lnTo>
                    <a:lnTo>
                      <a:pt x="486" y="184"/>
                    </a:lnTo>
                    <a:lnTo>
                      <a:pt x="496" y="183"/>
                    </a:lnTo>
                    <a:lnTo>
                      <a:pt x="553" y="183"/>
                    </a:lnTo>
                    <a:lnTo>
                      <a:pt x="553" y="0"/>
                    </a:lnTo>
                    <a:lnTo>
                      <a:pt x="553" y="0"/>
                    </a:lnTo>
                    <a:lnTo>
                      <a:pt x="477" y="0"/>
                    </a:lnTo>
                    <a:lnTo>
                      <a:pt x="477" y="0"/>
                    </a:lnTo>
                    <a:lnTo>
                      <a:pt x="472" y="2"/>
                    </a:lnTo>
                    <a:lnTo>
                      <a:pt x="465" y="5"/>
                    </a:lnTo>
                    <a:lnTo>
                      <a:pt x="457" y="10"/>
                    </a:lnTo>
                    <a:lnTo>
                      <a:pt x="448" y="16"/>
                    </a:lnTo>
                    <a:lnTo>
                      <a:pt x="425" y="35"/>
                    </a:lnTo>
                    <a:lnTo>
                      <a:pt x="398" y="58"/>
                    </a:lnTo>
                    <a:lnTo>
                      <a:pt x="367" y="87"/>
                    </a:lnTo>
                    <a:lnTo>
                      <a:pt x="334" y="118"/>
                    </a:lnTo>
                    <a:lnTo>
                      <a:pt x="263" y="189"/>
                    </a:lnTo>
                    <a:lnTo>
                      <a:pt x="192" y="261"/>
                    </a:lnTo>
                    <a:lnTo>
                      <a:pt x="128" y="330"/>
                    </a:lnTo>
                    <a:lnTo>
                      <a:pt x="76" y="387"/>
                    </a:lnTo>
                    <a:lnTo>
                      <a:pt x="45" y="424"/>
                    </a:lnTo>
                    <a:lnTo>
                      <a:pt x="45" y="424"/>
                    </a:lnTo>
                    <a:lnTo>
                      <a:pt x="33" y="441"/>
                    </a:lnTo>
                    <a:lnTo>
                      <a:pt x="21" y="458"/>
                    </a:lnTo>
                    <a:lnTo>
                      <a:pt x="11" y="477"/>
                    </a:lnTo>
                    <a:lnTo>
                      <a:pt x="8" y="488"/>
                    </a:lnTo>
                    <a:lnTo>
                      <a:pt x="5" y="497"/>
                    </a:lnTo>
                    <a:lnTo>
                      <a:pt x="1" y="507"/>
                    </a:lnTo>
                    <a:lnTo>
                      <a:pt x="0" y="517"/>
                    </a:lnTo>
                    <a:lnTo>
                      <a:pt x="0" y="527"/>
                    </a:lnTo>
                    <a:lnTo>
                      <a:pt x="0" y="536"/>
                    </a:lnTo>
                    <a:lnTo>
                      <a:pt x="3" y="547"/>
                    </a:lnTo>
                    <a:lnTo>
                      <a:pt x="6" y="556"/>
                    </a:lnTo>
                    <a:lnTo>
                      <a:pt x="10" y="565"/>
                    </a:lnTo>
                    <a:lnTo>
                      <a:pt x="16" y="576"/>
                    </a:lnTo>
                    <a:lnTo>
                      <a:pt x="16" y="576"/>
                    </a:lnTo>
                    <a:lnTo>
                      <a:pt x="25" y="587"/>
                    </a:lnTo>
                    <a:lnTo>
                      <a:pt x="37" y="598"/>
                    </a:lnTo>
                    <a:lnTo>
                      <a:pt x="48" y="606"/>
                    </a:lnTo>
                    <a:lnTo>
                      <a:pt x="62" y="614"/>
                    </a:lnTo>
                    <a:lnTo>
                      <a:pt x="76" y="620"/>
                    </a:lnTo>
                    <a:lnTo>
                      <a:pt x="91" y="627"/>
                    </a:lnTo>
                    <a:lnTo>
                      <a:pt x="106" y="632"/>
                    </a:lnTo>
                    <a:lnTo>
                      <a:pt x="122" y="636"/>
                    </a:lnTo>
                    <a:lnTo>
                      <a:pt x="137" y="639"/>
                    </a:lnTo>
                    <a:lnTo>
                      <a:pt x="154" y="641"/>
                    </a:lnTo>
                    <a:lnTo>
                      <a:pt x="187" y="645"/>
                    </a:lnTo>
                    <a:lnTo>
                      <a:pt x="218" y="647"/>
                    </a:lnTo>
                    <a:lnTo>
                      <a:pt x="247" y="648"/>
                    </a:lnTo>
                    <a:lnTo>
                      <a:pt x="247" y="64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sp>
            <p:nvSpPr>
              <p:cNvPr id="221" name="Freeform 57">
                <a:extLst>
                  <a:ext uri="{FF2B5EF4-FFF2-40B4-BE49-F238E27FC236}">
                    <a16:creationId xmlns:a16="http://schemas.microsoft.com/office/drawing/2014/main" id="{CBD0254A-9855-651D-1C39-CDCAC6F55715}"/>
                  </a:ext>
                </a:extLst>
              </p:cNvPr>
              <p:cNvSpPr>
                <a:spLocks/>
              </p:cNvSpPr>
              <p:nvPr/>
            </p:nvSpPr>
            <p:spPr bwMode="auto">
              <a:xfrm>
                <a:off x="3071813" y="3127375"/>
                <a:ext cx="161925" cy="146050"/>
              </a:xfrm>
              <a:custGeom>
                <a:avLst/>
                <a:gdLst/>
                <a:ahLst/>
                <a:cxnLst>
                  <a:cxn ang="0">
                    <a:pos x="102" y="0"/>
                  </a:cxn>
                  <a:cxn ang="0">
                    <a:pos x="0" y="81"/>
                  </a:cxn>
                  <a:cxn ang="0">
                    <a:pos x="78" y="143"/>
                  </a:cxn>
                  <a:cxn ang="0">
                    <a:pos x="68" y="183"/>
                  </a:cxn>
                  <a:cxn ang="0">
                    <a:pos x="137" y="183"/>
                  </a:cxn>
                  <a:cxn ang="0">
                    <a:pos x="126" y="143"/>
                  </a:cxn>
                  <a:cxn ang="0">
                    <a:pos x="205" y="81"/>
                  </a:cxn>
                  <a:cxn ang="0">
                    <a:pos x="102" y="0"/>
                  </a:cxn>
                </a:cxnLst>
                <a:rect l="0" t="0" r="r" b="b"/>
                <a:pathLst>
                  <a:path w="205" h="183">
                    <a:moveTo>
                      <a:pt x="102" y="0"/>
                    </a:moveTo>
                    <a:lnTo>
                      <a:pt x="0" y="81"/>
                    </a:lnTo>
                    <a:lnTo>
                      <a:pt x="78" y="143"/>
                    </a:lnTo>
                    <a:lnTo>
                      <a:pt x="68" y="183"/>
                    </a:lnTo>
                    <a:lnTo>
                      <a:pt x="137" y="183"/>
                    </a:lnTo>
                    <a:lnTo>
                      <a:pt x="126" y="143"/>
                    </a:lnTo>
                    <a:lnTo>
                      <a:pt x="205" y="81"/>
                    </a:lnTo>
                    <a:lnTo>
                      <a:pt x="10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sp>
            <p:nvSpPr>
              <p:cNvPr id="222" name="Freeform 58">
                <a:extLst>
                  <a:ext uri="{FF2B5EF4-FFF2-40B4-BE49-F238E27FC236}">
                    <a16:creationId xmlns:a16="http://schemas.microsoft.com/office/drawing/2014/main" id="{4F2F8C62-2053-E434-F087-23B11C96B9BB}"/>
                  </a:ext>
                </a:extLst>
              </p:cNvPr>
              <p:cNvSpPr>
                <a:spLocks/>
              </p:cNvSpPr>
              <p:nvPr/>
            </p:nvSpPr>
            <p:spPr bwMode="auto">
              <a:xfrm>
                <a:off x="3335338" y="3127375"/>
                <a:ext cx="439737" cy="515938"/>
              </a:xfrm>
              <a:custGeom>
                <a:avLst/>
                <a:gdLst/>
                <a:ahLst/>
                <a:cxnLst>
                  <a:cxn ang="0">
                    <a:pos x="0" y="183"/>
                  </a:cxn>
                  <a:cxn ang="0">
                    <a:pos x="58" y="183"/>
                  </a:cxn>
                  <a:cxn ang="0">
                    <a:pos x="74" y="186"/>
                  </a:cxn>
                  <a:cxn ang="0">
                    <a:pos x="91" y="191"/>
                  </a:cxn>
                  <a:cxn ang="0">
                    <a:pos x="104" y="198"/>
                  </a:cxn>
                  <a:cxn ang="0">
                    <a:pos x="117" y="208"/>
                  </a:cxn>
                  <a:cxn ang="0">
                    <a:pos x="127" y="221"/>
                  </a:cxn>
                  <a:cxn ang="0">
                    <a:pos x="136" y="235"/>
                  </a:cxn>
                  <a:cxn ang="0">
                    <a:pos x="141" y="252"/>
                  </a:cxn>
                  <a:cxn ang="0">
                    <a:pos x="142" y="269"/>
                  </a:cxn>
                  <a:cxn ang="0">
                    <a:pos x="142" y="462"/>
                  </a:cxn>
                  <a:cxn ang="0">
                    <a:pos x="172" y="471"/>
                  </a:cxn>
                  <a:cxn ang="0">
                    <a:pos x="199" y="484"/>
                  </a:cxn>
                  <a:cxn ang="0">
                    <a:pos x="224" y="503"/>
                  </a:cxn>
                  <a:cxn ang="0">
                    <a:pos x="245" y="524"/>
                  </a:cxn>
                  <a:cxn ang="0">
                    <a:pos x="261" y="549"/>
                  </a:cxn>
                  <a:cxn ang="0">
                    <a:pos x="275" y="577"/>
                  </a:cxn>
                  <a:cxn ang="0">
                    <a:pos x="283" y="607"/>
                  </a:cxn>
                  <a:cxn ang="0">
                    <a:pos x="285" y="639"/>
                  </a:cxn>
                  <a:cxn ang="0">
                    <a:pos x="285" y="648"/>
                  </a:cxn>
                  <a:cxn ang="0">
                    <a:pos x="305" y="648"/>
                  </a:cxn>
                  <a:cxn ang="0">
                    <a:pos x="334" y="647"/>
                  </a:cxn>
                  <a:cxn ang="0">
                    <a:pos x="398" y="641"/>
                  </a:cxn>
                  <a:cxn ang="0">
                    <a:pos x="431" y="636"/>
                  </a:cxn>
                  <a:cxn ang="0">
                    <a:pos x="462" y="627"/>
                  </a:cxn>
                  <a:cxn ang="0">
                    <a:pos x="492" y="614"/>
                  </a:cxn>
                  <a:cxn ang="0">
                    <a:pos x="516" y="598"/>
                  </a:cxn>
                  <a:cxn ang="0">
                    <a:pos x="537" y="576"/>
                  </a:cxn>
                  <a:cxn ang="0">
                    <a:pos x="542" y="565"/>
                  </a:cxn>
                  <a:cxn ang="0">
                    <a:pos x="550" y="547"/>
                  </a:cxn>
                  <a:cxn ang="0">
                    <a:pos x="553" y="527"/>
                  </a:cxn>
                  <a:cxn ang="0">
                    <a:pos x="551" y="507"/>
                  </a:cxn>
                  <a:cxn ang="0">
                    <a:pos x="546" y="488"/>
                  </a:cxn>
                  <a:cxn ang="0">
                    <a:pos x="532" y="458"/>
                  </a:cxn>
                  <a:cxn ang="0">
                    <a:pos x="508" y="424"/>
                  </a:cxn>
                  <a:cxn ang="0">
                    <a:pos x="476" y="387"/>
                  </a:cxn>
                  <a:cxn ang="0">
                    <a:pos x="360" y="261"/>
                  </a:cxn>
                  <a:cxn ang="0">
                    <a:pos x="219" y="118"/>
                  </a:cxn>
                  <a:cxn ang="0">
                    <a:pos x="155" y="58"/>
                  </a:cxn>
                  <a:cxn ang="0">
                    <a:pos x="105" y="16"/>
                  </a:cxn>
                  <a:cxn ang="0">
                    <a:pos x="88" y="5"/>
                  </a:cxn>
                  <a:cxn ang="0">
                    <a:pos x="76" y="0"/>
                  </a:cxn>
                  <a:cxn ang="0">
                    <a:pos x="0" y="0"/>
                  </a:cxn>
                </a:cxnLst>
                <a:rect l="0" t="0" r="r" b="b"/>
                <a:pathLst>
                  <a:path w="553" h="648">
                    <a:moveTo>
                      <a:pt x="0" y="0"/>
                    </a:moveTo>
                    <a:lnTo>
                      <a:pt x="0" y="183"/>
                    </a:lnTo>
                    <a:lnTo>
                      <a:pt x="58" y="183"/>
                    </a:lnTo>
                    <a:lnTo>
                      <a:pt x="58" y="183"/>
                    </a:lnTo>
                    <a:lnTo>
                      <a:pt x="66" y="184"/>
                    </a:lnTo>
                    <a:lnTo>
                      <a:pt x="74" y="186"/>
                    </a:lnTo>
                    <a:lnTo>
                      <a:pt x="83" y="188"/>
                    </a:lnTo>
                    <a:lnTo>
                      <a:pt x="91" y="191"/>
                    </a:lnTo>
                    <a:lnTo>
                      <a:pt x="98" y="194"/>
                    </a:lnTo>
                    <a:lnTo>
                      <a:pt x="104" y="198"/>
                    </a:lnTo>
                    <a:lnTo>
                      <a:pt x="112" y="203"/>
                    </a:lnTo>
                    <a:lnTo>
                      <a:pt x="117" y="208"/>
                    </a:lnTo>
                    <a:lnTo>
                      <a:pt x="123" y="215"/>
                    </a:lnTo>
                    <a:lnTo>
                      <a:pt x="127" y="221"/>
                    </a:lnTo>
                    <a:lnTo>
                      <a:pt x="132" y="228"/>
                    </a:lnTo>
                    <a:lnTo>
                      <a:pt x="136" y="235"/>
                    </a:lnTo>
                    <a:lnTo>
                      <a:pt x="139" y="244"/>
                    </a:lnTo>
                    <a:lnTo>
                      <a:pt x="141" y="252"/>
                    </a:lnTo>
                    <a:lnTo>
                      <a:pt x="142" y="260"/>
                    </a:lnTo>
                    <a:lnTo>
                      <a:pt x="142" y="269"/>
                    </a:lnTo>
                    <a:lnTo>
                      <a:pt x="142" y="462"/>
                    </a:lnTo>
                    <a:lnTo>
                      <a:pt x="142" y="462"/>
                    </a:lnTo>
                    <a:lnTo>
                      <a:pt x="157" y="466"/>
                    </a:lnTo>
                    <a:lnTo>
                      <a:pt x="172" y="471"/>
                    </a:lnTo>
                    <a:lnTo>
                      <a:pt x="185" y="477"/>
                    </a:lnTo>
                    <a:lnTo>
                      <a:pt x="199" y="484"/>
                    </a:lnTo>
                    <a:lnTo>
                      <a:pt x="211" y="493"/>
                    </a:lnTo>
                    <a:lnTo>
                      <a:pt x="224" y="503"/>
                    </a:lnTo>
                    <a:lnTo>
                      <a:pt x="234" y="514"/>
                    </a:lnTo>
                    <a:lnTo>
                      <a:pt x="245" y="524"/>
                    </a:lnTo>
                    <a:lnTo>
                      <a:pt x="254" y="536"/>
                    </a:lnTo>
                    <a:lnTo>
                      <a:pt x="261" y="549"/>
                    </a:lnTo>
                    <a:lnTo>
                      <a:pt x="268" y="563"/>
                    </a:lnTo>
                    <a:lnTo>
                      <a:pt x="275" y="577"/>
                    </a:lnTo>
                    <a:lnTo>
                      <a:pt x="279" y="591"/>
                    </a:lnTo>
                    <a:lnTo>
                      <a:pt x="283" y="607"/>
                    </a:lnTo>
                    <a:lnTo>
                      <a:pt x="285" y="622"/>
                    </a:lnTo>
                    <a:lnTo>
                      <a:pt x="285" y="639"/>
                    </a:lnTo>
                    <a:lnTo>
                      <a:pt x="285" y="639"/>
                    </a:lnTo>
                    <a:lnTo>
                      <a:pt x="285" y="648"/>
                    </a:lnTo>
                    <a:lnTo>
                      <a:pt x="285" y="648"/>
                    </a:lnTo>
                    <a:lnTo>
                      <a:pt x="305" y="648"/>
                    </a:lnTo>
                    <a:lnTo>
                      <a:pt x="305" y="648"/>
                    </a:lnTo>
                    <a:lnTo>
                      <a:pt x="334" y="647"/>
                    </a:lnTo>
                    <a:lnTo>
                      <a:pt x="366" y="645"/>
                    </a:lnTo>
                    <a:lnTo>
                      <a:pt x="398" y="641"/>
                    </a:lnTo>
                    <a:lnTo>
                      <a:pt x="415" y="639"/>
                    </a:lnTo>
                    <a:lnTo>
                      <a:pt x="431" y="636"/>
                    </a:lnTo>
                    <a:lnTo>
                      <a:pt x="447" y="632"/>
                    </a:lnTo>
                    <a:lnTo>
                      <a:pt x="462" y="627"/>
                    </a:lnTo>
                    <a:lnTo>
                      <a:pt x="477" y="620"/>
                    </a:lnTo>
                    <a:lnTo>
                      <a:pt x="492" y="614"/>
                    </a:lnTo>
                    <a:lnTo>
                      <a:pt x="504" y="606"/>
                    </a:lnTo>
                    <a:lnTo>
                      <a:pt x="516" y="598"/>
                    </a:lnTo>
                    <a:lnTo>
                      <a:pt x="527" y="587"/>
                    </a:lnTo>
                    <a:lnTo>
                      <a:pt x="537" y="576"/>
                    </a:lnTo>
                    <a:lnTo>
                      <a:pt x="537" y="576"/>
                    </a:lnTo>
                    <a:lnTo>
                      <a:pt x="542" y="565"/>
                    </a:lnTo>
                    <a:lnTo>
                      <a:pt x="547" y="556"/>
                    </a:lnTo>
                    <a:lnTo>
                      <a:pt x="550" y="547"/>
                    </a:lnTo>
                    <a:lnTo>
                      <a:pt x="552" y="536"/>
                    </a:lnTo>
                    <a:lnTo>
                      <a:pt x="553" y="527"/>
                    </a:lnTo>
                    <a:lnTo>
                      <a:pt x="552" y="517"/>
                    </a:lnTo>
                    <a:lnTo>
                      <a:pt x="551" y="507"/>
                    </a:lnTo>
                    <a:lnTo>
                      <a:pt x="549" y="497"/>
                    </a:lnTo>
                    <a:lnTo>
                      <a:pt x="546" y="488"/>
                    </a:lnTo>
                    <a:lnTo>
                      <a:pt x="541" y="477"/>
                    </a:lnTo>
                    <a:lnTo>
                      <a:pt x="532" y="458"/>
                    </a:lnTo>
                    <a:lnTo>
                      <a:pt x="521" y="441"/>
                    </a:lnTo>
                    <a:lnTo>
                      <a:pt x="508" y="424"/>
                    </a:lnTo>
                    <a:lnTo>
                      <a:pt x="508" y="424"/>
                    </a:lnTo>
                    <a:lnTo>
                      <a:pt x="476" y="387"/>
                    </a:lnTo>
                    <a:lnTo>
                      <a:pt x="425" y="330"/>
                    </a:lnTo>
                    <a:lnTo>
                      <a:pt x="360" y="261"/>
                    </a:lnTo>
                    <a:lnTo>
                      <a:pt x="289" y="189"/>
                    </a:lnTo>
                    <a:lnTo>
                      <a:pt x="219" y="118"/>
                    </a:lnTo>
                    <a:lnTo>
                      <a:pt x="185" y="87"/>
                    </a:lnTo>
                    <a:lnTo>
                      <a:pt x="155" y="58"/>
                    </a:lnTo>
                    <a:lnTo>
                      <a:pt x="128" y="35"/>
                    </a:lnTo>
                    <a:lnTo>
                      <a:pt x="105" y="16"/>
                    </a:lnTo>
                    <a:lnTo>
                      <a:pt x="96" y="10"/>
                    </a:lnTo>
                    <a:lnTo>
                      <a:pt x="88" y="5"/>
                    </a:lnTo>
                    <a:lnTo>
                      <a:pt x="82" y="2"/>
                    </a:lnTo>
                    <a:lnTo>
                      <a:pt x="76" y="0"/>
                    </a:lnTo>
                    <a:lnTo>
                      <a:pt x="76" y="0"/>
                    </a:lnTo>
                    <a:lnTo>
                      <a:pt x="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sp>
            <p:nvSpPr>
              <p:cNvPr id="223" name="Freeform 59">
                <a:extLst>
                  <a:ext uri="{FF2B5EF4-FFF2-40B4-BE49-F238E27FC236}">
                    <a16:creationId xmlns:a16="http://schemas.microsoft.com/office/drawing/2014/main" id="{417B398F-F824-10CB-C1FD-E297A07B5035}"/>
                  </a:ext>
                </a:extLst>
              </p:cNvPr>
              <p:cNvSpPr>
                <a:spLocks/>
              </p:cNvSpPr>
              <p:nvPr/>
            </p:nvSpPr>
            <p:spPr bwMode="auto">
              <a:xfrm>
                <a:off x="2530475" y="3656013"/>
                <a:ext cx="1243012" cy="122238"/>
              </a:xfrm>
              <a:custGeom>
                <a:avLst/>
                <a:gdLst/>
                <a:ahLst/>
                <a:cxnLst>
                  <a:cxn ang="0">
                    <a:pos x="1322" y="32"/>
                  </a:cxn>
                  <a:cxn ang="0">
                    <a:pos x="1321" y="33"/>
                  </a:cxn>
                  <a:cxn ang="0">
                    <a:pos x="1108" y="33"/>
                  </a:cxn>
                  <a:cxn ang="0">
                    <a:pos x="1108" y="33"/>
                  </a:cxn>
                  <a:cxn ang="0">
                    <a:pos x="1108" y="33"/>
                  </a:cxn>
                  <a:cxn ang="0">
                    <a:pos x="1108" y="33"/>
                  </a:cxn>
                  <a:cxn ang="0">
                    <a:pos x="1107" y="41"/>
                  </a:cxn>
                  <a:cxn ang="0">
                    <a:pos x="1105" y="48"/>
                  </a:cxn>
                  <a:cxn ang="0">
                    <a:pos x="1102" y="54"/>
                  </a:cxn>
                  <a:cxn ang="0">
                    <a:pos x="1097" y="59"/>
                  </a:cxn>
                  <a:cxn ang="0">
                    <a:pos x="1091" y="63"/>
                  </a:cxn>
                  <a:cxn ang="0">
                    <a:pos x="1085" y="68"/>
                  </a:cxn>
                  <a:cxn ang="0">
                    <a:pos x="1079" y="70"/>
                  </a:cxn>
                  <a:cxn ang="0">
                    <a:pos x="1071" y="70"/>
                  </a:cxn>
                  <a:cxn ang="0">
                    <a:pos x="496" y="70"/>
                  </a:cxn>
                  <a:cxn ang="0">
                    <a:pos x="496" y="70"/>
                  </a:cxn>
                  <a:cxn ang="0">
                    <a:pos x="488" y="70"/>
                  </a:cxn>
                  <a:cxn ang="0">
                    <a:pos x="481" y="68"/>
                  </a:cxn>
                  <a:cxn ang="0">
                    <a:pos x="476" y="63"/>
                  </a:cxn>
                  <a:cxn ang="0">
                    <a:pos x="470" y="59"/>
                  </a:cxn>
                  <a:cxn ang="0">
                    <a:pos x="465" y="54"/>
                  </a:cxn>
                  <a:cxn ang="0">
                    <a:pos x="462" y="48"/>
                  </a:cxn>
                  <a:cxn ang="0">
                    <a:pos x="460" y="41"/>
                  </a:cxn>
                  <a:cxn ang="0">
                    <a:pos x="459" y="33"/>
                  </a:cxn>
                  <a:cxn ang="0">
                    <a:pos x="459" y="33"/>
                  </a:cxn>
                  <a:cxn ang="0">
                    <a:pos x="459" y="33"/>
                  </a:cxn>
                  <a:cxn ang="0">
                    <a:pos x="245" y="32"/>
                  </a:cxn>
                  <a:cxn ang="0">
                    <a:pos x="245" y="32"/>
                  </a:cxn>
                  <a:cxn ang="0">
                    <a:pos x="203" y="31"/>
                  </a:cxn>
                  <a:cxn ang="0">
                    <a:pos x="179" y="29"/>
                  </a:cxn>
                  <a:cxn ang="0">
                    <a:pos x="154" y="27"/>
                  </a:cxn>
                  <a:cxn ang="0">
                    <a:pos x="128" y="23"/>
                  </a:cxn>
                  <a:cxn ang="0">
                    <a:pos x="102" y="17"/>
                  </a:cxn>
                  <a:cxn ang="0">
                    <a:pos x="76" y="9"/>
                  </a:cxn>
                  <a:cxn ang="0">
                    <a:pos x="64" y="5"/>
                  </a:cxn>
                  <a:cxn ang="0">
                    <a:pos x="51" y="0"/>
                  </a:cxn>
                  <a:cxn ang="0">
                    <a:pos x="51" y="0"/>
                  </a:cxn>
                  <a:cxn ang="0">
                    <a:pos x="0" y="155"/>
                  </a:cxn>
                  <a:cxn ang="0">
                    <a:pos x="0" y="155"/>
                  </a:cxn>
                  <a:cxn ang="0">
                    <a:pos x="1567" y="155"/>
                  </a:cxn>
                  <a:cxn ang="0">
                    <a:pos x="1567" y="155"/>
                  </a:cxn>
                  <a:cxn ang="0">
                    <a:pos x="1516" y="0"/>
                  </a:cxn>
                  <a:cxn ang="0">
                    <a:pos x="1516" y="0"/>
                  </a:cxn>
                  <a:cxn ang="0">
                    <a:pos x="1503" y="5"/>
                  </a:cxn>
                  <a:cxn ang="0">
                    <a:pos x="1490" y="9"/>
                  </a:cxn>
                  <a:cxn ang="0">
                    <a:pos x="1465" y="17"/>
                  </a:cxn>
                  <a:cxn ang="0">
                    <a:pos x="1438" y="23"/>
                  </a:cxn>
                  <a:cxn ang="0">
                    <a:pos x="1413" y="27"/>
                  </a:cxn>
                  <a:cxn ang="0">
                    <a:pos x="1387" y="29"/>
                  </a:cxn>
                  <a:cxn ang="0">
                    <a:pos x="1363" y="31"/>
                  </a:cxn>
                  <a:cxn ang="0">
                    <a:pos x="1322" y="32"/>
                  </a:cxn>
                  <a:cxn ang="0">
                    <a:pos x="1322" y="32"/>
                  </a:cxn>
                </a:cxnLst>
                <a:rect l="0" t="0" r="r" b="b"/>
                <a:pathLst>
                  <a:path w="1567" h="155">
                    <a:moveTo>
                      <a:pt x="1322" y="32"/>
                    </a:moveTo>
                    <a:lnTo>
                      <a:pt x="1321" y="33"/>
                    </a:lnTo>
                    <a:lnTo>
                      <a:pt x="1108" y="33"/>
                    </a:lnTo>
                    <a:lnTo>
                      <a:pt x="1108" y="33"/>
                    </a:lnTo>
                    <a:lnTo>
                      <a:pt x="1108" y="33"/>
                    </a:lnTo>
                    <a:lnTo>
                      <a:pt x="1108" y="33"/>
                    </a:lnTo>
                    <a:lnTo>
                      <a:pt x="1107" y="41"/>
                    </a:lnTo>
                    <a:lnTo>
                      <a:pt x="1105" y="48"/>
                    </a:lnTo>
                    <a:lnTo>
                      <a:pt x="1102" y="54"/>
                    </a:lnTo>
                    <a:lnTo>
                      <a:pt x="1097" y="59"/>
                    </a:lnTo>
                    <a:lnTo>
                      <a:pt x="1091" y="63"/>
                    </a:lnTo>
                    <a:lnTo>
                      <a:pt x="1085" y="68"/>
                    </a:lnTo>
                    <a:lnTo>
                      <a:pt x="1079" y="70"/>
                    </a:lnTo>
                    <a:lnTo>
                      <a:pt x="1071" y="70"/>
                    </a:lnTo>
                    <a:lnTo>
                      <a:pt x="496" y="70"/>
                    </a:lnTo>
                    <a:lnTo>
                      <a:pt x="496" y="70"/>
                    </a:lnTo>
                    <a:lnTo>
                      <a:pt x="488" y="70"/>
                    </a:lnTo>
                    <a:lnTo>
                      <a:pt x="481" y="68"/>
                    </a:lnTo>
                    <a:lnTo>
                      <a:pt x="476" y="63"/>
                    </a:lnTo>
                    <a:lnTo>
                      <a:pt x="470" y="59"/>
                    </a:lnTo>
                    <a:lnTo>
                      <a:pt x="465" y="54"/>
                    </a:lnTo>
                    <a:lnTo>
                      <a:pt x="462" y="48"/>
                    </a:lnTo>
                    <a:lnTo>
                      <a:pt x="460" y="41"/>
                    </a:lnTo>
                    <a:lnTo>
                      <a:pt x="459" y="33"/>
                    </a:lnTo>
                    <a:lnTo>
                      <a:pt x="459" y="33"/>
                    </a:lnTo>
                    <a:lnTo>
                      <a:pt x="459" y="33"/>
                    </a:lnTo>
                    <a:lnTo>
                      <a:pt x="245" y="32"/>
                    </a:lnTo>
                    <a:lnTo>
                      <a:pt x="245" y="32"/>
                    </a:lnTo>
                    <a:lnTo>
                      <a:pt x="203" y="31"/>
                    </a:lnTo>
                    <a:lnTo>
                      <a:pt x="179" y="29"/>
                    </a:lnTo>
                    <a:lnTo>
                      <a:pt x="154" y="27"/>
                    </a:lnTo>
                    <a:lnTo>
                      <a:pt x="128" y="23"/>
                    </a:lnTo>
                    <a:lnTo>
                      <a:pt x="102" y="17"/>
                    </a:lnTo>
                    <a:lnTo>
                      <a:pt x="76" y="9"/>
                    </a:lnTo>
                    <a:lnTo>
                      <a:pt x="64" y="5"/>
                    </a:lnTo>
                    <a:lnTo>
                      <a:pt x="51" y="0"/>
                    </a:lnTo>
                    <a:lnTo>
                      <a:pt x="51" y="0"/>
                    </a:lnTo>
                    <a:lnTo>
                      <a:pt x="0" y="155"/>
                    </a:lnTo>
                    <a:lnTo>
                      <a:pt x="0" y="155"/>
                    </a:lnTo>
                    <a:lnTo>
                      <a:pt x="1567" y="155"/>
                    </a:lnTo>
                    <a:lnTo>
                      <a:pt x="1567" y="155"/>
                    </a:lnTo>
                    <a:lnTo>
                      <a:pt x="1516" y="0"/>
                    </a:lnTo>
                    <a:lnTo>
                      <a:pt x="1516" y="0"/>
                    </a:lnTo>
                    <a:lnTo>
                      <a:pt x="1503" y="5"/>
                    </a:lnTo>
                    <a:lnTo>
                      <a:pt x="1490" y="9"/>
                    </a:lnTo>
                    <a:lnTo>
                      <a:pt x="1465" y="17"/>
                    </a:lnTo>
                    <a:lnTo>
                      <a:pt x="1438" y="23"/>
                    </a:lnTo>
                    <a:lnTo>
                      <a:pt x="1413" y="27"/>
                    </a:lnTo>
                    <a:lnTo>
                      <a:pt x="1387" y="29"/>
                    </a:lnTo>
                    <a:lnTo>
                      <a:pt x="1363" y="31"/>
                    </a:lnTo>
                    <a:lnTo>
                      <a:pt x="1322" y="32"/>
                    </a:lnTo>
                    <a:lnTo>
                      <a:pt x="1322" y="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grpSp>
      </p:grpSp>
      <p:grpSp>
        <p:nvGrpSpPr>
          <p:cNvPr id="38" name="Group 37">
            <a:extLst>
              <a:ext uri="{FF2B5EF4-FFF2-40B4-BE49-F238E27FC236}">
                <a16:creationId xmlns:a16="http://schemas.microsoft.com/office/drawing/2014/main" id="{14C7E6E7-54F5-DA99-C22B-21A77BFD79A1}"/>
              </a:ext>
            </a:extLst>
          </p:cNvPr>
          <p:cNvGrpSpPr/>
          <p:nvPr/>
        </p:nvGrpSpPr>
        <p:grpSpPr>
          <a:xfrm>
            <a:off x="5893728" y="2835501"/>
            <a:ext cx="1106424" cy="1106424"/>
            <a:chOff x="5967611" y="3029833"/>
            <a:chExt cx="857016" cy="754737"/>
          </a:xfrm>
        </p:grpSpPr>
        <p:sp>
          <p:nvSpPr>
            <p:cNvPr id="58" name="Oval Callout 171">
              <a:extLst>
                <a:ext uri="{FF2B5EF4-FFF2-40B4-BE49-F238E27FC236}">
                  <a16:creationId xmlns:a16="http://schemas.microsoft.com/office/drawing/2014/main" id="{96856BFA-A4F1-096D-E5DC-3AC34CE7B389}"/>
                </a:ext>
              </a:extLst>
            </p:cNvPr>
            <p:cNvSpPr/>
            <p:nvPr/>
          </p:nvSpPr>
          <p:spPr>
            <a:xfrm>
              <a:off x="5967611" y="3029833"/>
              <a:ext cx="857016" cy="754737"/>
            </a:xfrm>
            <a:prstGeom prst="wedgeEllipseCallout">
              <a:avLst>
                <a:gd name="adj1" fmla="val 6075"/>
                <a:gd name="adj2" fmla="val 25044"/>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cs typeface="Arial" panose="020B0604020202020204" pitchFamily="34" charset="0"/>
              </a:endParaRPr>
            </a:p>
          </p:txBody>
        </p:sp>
        <p:sp>
          <p:nvSpPr>
            <p:cNvPr id="59" name="Oval 172">
              <a:extLst>
                <a:ext uri="{FF2B5EF4-FFF2-40B4-BE49-F238E27FC236}">
                  <a16:creationId xmlns:a16="http://schemas.microsoft.com/office/drawing/2014/main" id="{C9B0893E-A649-97E9-12A0-7145E138BF7F}"/>
                </a:ext>
              </a:extLst>
            </p:cNvPr>
            <p:cNvSpPr/>
            <p:nvPr/>
          </p:nvSpPr>
          <p:spPr>
            <a:xfrm>
              <a:off x="6025425" y="3085522"/>
              <a:ext cx="741388" cy="64993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cs typeface="Arial" panose="020B0604020202020204" pitchFamily="34" charset="0"/>
              </a:endParaRPr>
            </a:p>
          </p:txBody>
        </p:sp>
        <p:grpSp>
          <p:nvGrpSpPr>
            <p:cNvPr id="229" name="Group 228">
              <a:extLst>
                <a:ext uri="{FF2B5EF4-FFF2-40B4-BE49-F238E27FC236}">
                  <a16:creationId xmlns:a16="http://schemas.microsoft.com/office/drawing/2014/main" id="{F2CE77E4-43F9-430F-C71E-1E5562BFA285}"/>
                </a:ext>
              </a:extLst>
            </p:cNvPr>
            <p:cNvGrpSpPr/>
            <p:nvPr/>
          </p:nvGrpSpPr>
          <p:grpSpPr>
            <a:xfrm>
              <a:off x="6208981" y="3175818"/>
              <a:ext cx="429624" cy="474624"/>
              <a:chOff x="4167188" y="3495675"/>
              <a:chExt cx="803275" cy="850900"/>
            </a:xfrm>
            <a:solidFill>
              <a:srgbClr val="EAAA00"/>
            </a:solidFill>
          </p:grpSpPr>
          <p:sp>
            <p:nvSpPr>
              <p:cNvPr id="230" name="Freeform 45">
                <a:extLst>
                  <a:ext uri="{FF2B5EF4-FFF2-40B4-BE49-F238E27FC236}">
                    <a16:creationId xmlns:a16="http://schemas.microsoft.com/office/drawing/2014/main" id="{509AEBCD-175C-715F-ECE2-6FB4CA6767C0}"/>
                  </a:ext>
                </a:extLst>
              </p:cNvPr>
              <p:cNvSpPr>
                <a:spLocks/>
              </p:cNvSpPr>
              <p:nvPr/>
            </p:nvSpPr>
            <p:spPr bwMode="auto">
              <a:xfrm>
                <a:off x="4167188" y="3768725"/>
                <a:ext cx="803275" cy="577850"/>
              </a:xfrm>
              <a:custGeom>
                <a:avLst/>
                <a:gdLst/>
                <a:ahLst/>
                <a:cxnLst>
                  <a:cxn ang="0">
                    <a:pos x="490" y="2"/>
                  </a:cxn>
                  <a:cxn ang="0">
                    <a:pos x="470" y="2"/>
                  </a:cxn>
                  <a:cxn ang="0">
                    <a:pos x="456" y="16"/>
                  </a:cxn>
                  <a:cxn ang="0">
                    <a:pos x="318" y="176"/>
                  </a:cxn>
                  <a:cxn ang="0">
                    <a:pos x="310" y="172"/>
                  </a:cxn>
                  <a:cxn ang="0">
                    <a:pos x="290" y="172"/>
                  </a:cxn>
                  <a:cxn ang="0">
                    <a:pos x="202" y="258"/>
                  </a:cxn>
                  <a:cxn ang="0">
                    <a:pos x="144" y="180"/>
                  </a:cxn>
                  <a:cxn ang="0">
                    <a:pos x="140" y="176"/>
                  </a:cxn>
                  <a:cxn ang="0">
                    <a:pos x="138" y="174"/>
                  </a:cxn>
                  <a:cxn ang="0">
                    <a:pos x="136" y="174"/>
                  </a:cxn>
                  <a:cxn ang="0">
                    <a:pos x="132" y="172"/>
                  </a:cxn>
                  <a:cxn ang="0">
                    <a:pos x="128" y="170"/>
                  </a:cxn>
                  <a:cxn ang="0">
                    <a:pos x="124" y="170"/>
                  </a:cxn>
                  <a:cxn ang="0">
                    <a:pos x="118" y="170"/>
                  </a:cxn>
                  <a:cxn ang="0">
                    <a:pos x="114" y="172"/>
                  </a:cxn>
                  <a:cxn ang="0">
                    <a:pos x="108" y="174"/>
                  </a:cxn>
                  <a:cxn ang="0">
                    <a:pos x="108" y="174"/>
                  </a:cxn>
                  <a:cxn ang="0">
                    <a:pos x="106" y="178"/>
                  </a:cxn>
                  <a:cxn ang="0">
                    <a:pos x="4" y="326"/>
                  </a:cxn>
                  <a:cxn ang="0">
                    <a:pos x="0" y="334"/>
                  </a:cxn>
                  <a:cxn ang="0">
                    <a:pos x="4" y="354"/>
                  </a:cxn>
                  <a:cxn ang="0">
                    <a:pos x="12" y="360"/>
                  </a:cxn>
                  <a:cxn ang="0">
                    <a:pos x="26" y="364"/>
                  </a:cxn>
                  <a:cxn ang="0">
                    <a:pos x="32" y="364"/>
                  </a:cxn>
                  <a:cxn ang="0">
                    <a:pos x="42" y="358"/>
                  </a:cxn>
                  <a:cxn ang="0">
                    <a:pos x="124" y="238"/>
                  </a:cxn>
                  <a:cxn ang="0">
                    <a:pos x="178" y="310"/>
                  </a:cxn>
                  <a:cxn ang="0">
                    <a:pos x="180" y="312"/>
                  </a:cxn>
                  <a:cxn ang="0">
                    <a:pos x="182" y="314"/>
                  </a:cxn>
                  <a:cxn ang="0">
                    <a:pos x="186" y="316"/>
                  </a:cxn>
                  <a:cxn ang="0">
                    <a:pos x="188" y="318"/>
                  </a:cxn>
                  <a:cxn ang="0">
                    <a:pos x="198" y="320"/>
                  </a:cxn>
                  <a:cxn ang="0">
                    <a:pos x="198" y="320"/>
                  </a:cxn>
                  <a:cxn ang="0">
                    <a:pos x="208" y="320"/>
                  </a:cxn>
                  <a:cxn ang="0">
                    <a:pos x="210" y="318"/>
                  </a:cxn>
                  <a:cxn ang="0">
                    <a:pos x="214" y="316"/>
                  </a:cxn>
                  <a:cxn ang="0">
                    <a:pos x="216" y="314"/>
                  </a:cxn>
                  <a:cxn ang="0">
                    <a:pos x="300" y="230"/>
                  </a:cxn>
                  <a:cxn ang="0">
                    <a:pos x="358" y="288"/>
                  </a:cxn>
                  <a:cxn ang="0">
                    <a:pos x="358" y="288"/>
                  </a:cxn>
                  <a:cxn ang="0">
                    <a:pos x="364" y="292"/>
                  </a:cxn>
                  <a:cxn ang="0">
                    <a:pos x="366" y="294"/>
                  </a:cxn>
                  <a:cxn ang="0">
                    <a:pos x="366" y="294"/>
                  </a:cxn>
                  <a:cxn ang="0">
                    <a:pos x="376" y="296"/>
                  </a:cxn>
                  <a:cxn ang="0">
                    <a:pos x="376" y="296"/>
                  </a:cxn>
                  <a:cxn ang="0">
                    <a:pos x="376" y="296"/>
                  </a:cxn>
                  <a:cxn ang="0">
                    <a:pos x="384" y="294"/>
                  </a:cxn>
                  <a:cxn ang="0">
                    <a:pos x="386" y="292"/>
                  </a:cxn>
                  <a:cxn ang="0">
                    <a:pos x="392" y="290"/>
                  </a:cxn>
                  <a:cxn ang="0">
                    <a:pos x="394" y="288"/>
                  </a:cxn>
                  <a:cxn ang="0">
                    <a:pos x="394" y="288"/>
                  </a:cxn>
                  <a:cxn ang="0">
                    <a:pos x="398" y="280"/>
                  </a:cxn>
                  <a:cxn ang="0">
                    <a:pos x="398" y="280"/>
                  </a:cxn>
                  <a:cxn ang="0">
                    <a:pos x="504" y="34"/>
                  </a:cxn>
                  <a:cxn ang="0">
                    <a:pos x="506" y="24"/>
                  </a:cxn>
                  <a:cxn ang="0">
                    <a:pos x="498" y="8"/>
                  </a:cxn>
                  <a:cxn ang="0">
                    <a:pos x="490" y="2"/>
                  </a:cxn>
                </a:cxnLst>
                <a:rect l="0" t="0" r="r" b="b"/>
                <a:pathLst>
                  <a:path w="506" h="364">
                    <a:moveTo>
                      <a:pt x="490" y="2"/>
                    </a:moveTo>
                    <a:lnTo>
                      <a:pt x="490" y="2"/>
                    </a:lnTo>
                    <a:lnTo>
                      <a:pt x="480" y="0"/>
                    </a:lnTo>
                    <a:lnTo>
                      <a:pt x="470" y="2"/>
                    </a:lnTo>
                    <a:lnTo>
                      <a:pt x="462" y="8"/>
                    </a:lnTo>
                    <a:lnTo>
                      <a:pt x="456" y="16"/>
                    </a:lnTo>
                    <a:lnTo>
                      <a:pt x="366" y="226"/>
                    </a:lnTo>
                    <a:lnTo>
                      <a:pt x="318" y="176"/>
                    </a:lnTo>
                    <a:lnTo>
                      <a:pt x="318" y="176"/>
                    </a:lnTo>
                    <a:lnTo>
                      <a:pt x="310" y="172"/>
                    </a:lnTo>
                    <a:lnTo>
                      <a:pt x="300" y="170"/>
                    </a:lnTo>
                    <a:lnTo>
                      <a:pt x="290" y="172"/>
                    </a:lnTo>
                    <a:lnTo>
                      <a:pt x="282" y="176"/>
                    </a:lnTo>
                    <a:lnTo>
                      <a:pt x="202" y="258"/>
                    </a:lnTo>
                    <a:lnTo>
                      <a:pt x="144" y="180"/>
                    </a:lnTo>
                    <a:lnTo>
                      <a:pt x="144" y="180"/>
                    </a:lnTo>
                    <a:lnTo>
                      <a:pt x="140" y="176"/>
                    </a:lnTo>
                    <a:lnTo>
                      <a:pt x="140" y="176"/>
                    </a:lnTo>
                    <a:lnTo>
                      <a:pt x="138" y="174"/>
                    </a:lnTo>
                    <a:lnTo>
                      <a:pt x="138" y="174"/>
                    </a:lnTo>
                    <a:lnTo>
                      <a:pt x="136" y="174"/>
                    </a:lnTo>
                    <a:lnTo>
                      <a:pt x="136" y="174"/>
                    </a:lnTo>
                    <a:lnTo>
                      <a:pt x="132" y="172"/>
                    </a:lnTo>
                    <a:lnTo>
                      <a:pt x="132" y="172"/>
                    </a:lnTo>
                    <a:lnTo>
                      <a:pt x="128" y="170"/>
                    </a:lnTo>
                    <a:lnTo>
                      <a:pt x="128" y="170"/>
                    </a:lnTo>
                    <a:lnTo>
                      <a:pt x="124" y="170"/>
                    </a:lnTo>
                    <a:lnTo>
                      <a:pt x="124" y="170"/>
                    </a:lnTo>
                    <a:lnTo>
                      <a:pt x="118" y="170"/>
                    </a:lnTo>
                    <a:lnTo>
                      <a:pt x="118" y="170"/>
                    </a:lnTo>
                    <a:lnTo>
                      <a:pt x="114" y="172"/>
                    </a:lnTo>
                    <a:lnTo>
                      <a:pt x="114" y="172"/>
                    </a:lnTo>
                    <a:lnTo>
                      <a:pt x="108" y="174"/>
                    </a:lnTo>
                    <a:lnTo>
                      <a:pt x="108" y="174"/>
                    </a:lnTo>
                    <a:lnTo>
                      <a:pt x="108" y="174"/>
                    </a:lnTo>
                    <a:lnTo>
                      <a:pt x="108" y="174"/>
                    </a:lnTo>
                    <a:lnTo>
                      <a:pt x="106" y="178"/>
                    </a:lnTo>
                    <a:lnTo>
                      <a:pt x="106" y="178"/>
                    </a:lnTo>
                    <a:lnTo>
                      <a:pt x="102" y="180"/>
                    </a:lnTo>
                    <a:lnTo>
                      <a:pt x="4" y="326"/>
                    </a:lnTo>
                    <a:lnTo>
                      <a:pt x="4" y="326"/>
                    </a:lnTo>
                    <a:lnTo>
                      <a:pt x="0" y="334"/>
                    </a:lnTo>
                    <a:lnTo>
                      <a:pt x="0" y="344"/>
                    </a:lnTo>
                    <a:lnTo>
                      <a:pt x="4" y="354"/>
                    </a:lnTo>
                    <a:lnTo>
                      <a:pt x="12" y="360"/>
                    </a:lnTo>
                    <a:lnTo>
                      <a:pt x="12" y="360"/>
                    </a:lnTo>
                    <a:lnTo>
                      <a:pt x="18" y="364"/>
                    </a:lnTo>
                    <a:lnTo>
                      <a:pt x="26" y="364"/>
                    </a:lnTo>
                    <a:lnTo>
                      <a:pt x="26" y="364"/>
                    </a:lnTo>
                    <a:lnTo>
                      <a:pt x="32" y="364"/>
                    </a:lnTo>
                    <a:lnTo>
                      <a:pt x="38" y="362"/>
                    </a:lnTo>
                    <a:lnTo>
                      <a:pt x="42" y="358"/>
                    </a:lnTo>
                    <a:lnTo>
                      <a:pt x="46" y="354"/>
                    </a:lnTo>
                    <a:lnTo>
                      <a:pt x="124" y="238"/>
                    </a:lnTo>
                    <a:lnTo>
                      <a:pt x="178" y="310"/>
                    </a:lnTo>
                    <a:lnTo>
                      <a:pt x="178" y="310"/>
                    </a:lnTo>
                    <a:lnTo>
                      <a:pt x="180" y="312"/>
                    </a:lnTo>
                    <a:lnTo>
                      <a:pt x="180" y="312"/>
                    </a:lnTo>
                    <a:lnTo>
                      <a:pt x="182" y="314"/>
                    </a:lnTo>
                    <a:lnTo>
                      <a:pt x="182" y="314"/>
                    </a:lnTo>
                    <a:lnTo>
                      <a:pt x="186" y="316"/>
                    </a:lnTo>
                    <a:lnTo>
                      <a:pt x="186" y="316"/>
                    </a:lnTo>
                    <a:lnTo>
                      <a:pt x="188" y="318"/>
                    </a:lnTo>
                    <a:lnTo>
                      <a:pt x="188" y="318"/>
                    </a:lnTo>
                    <a:lnTo>
                      <a:pt x="198" y="320"/>
                    </a:lnTo>
                    <a:lnTo>
                      <a:pt x="198" y="320"/>
                    </a:lnTo>
                    <a:lnTo>
                      <a:pt x="198" y="320"/>
                    </a:lnTo>
                    <a:lnTo>
                      <a:pt x="198" y="320"/>
                    </a:lnTo>
                    <a:lnTo>
                      <a:pt x="208" y="320"/>
                    </a:lnTo>
                    <a:lnTo>
                      <a:pt x="208" y="320"/>
                    </a:lnTo>
                    <a:lnTo>
                      <a:pt x="210" y="318"/>
                    </a:lnTo>
                    <a:lnTo>
                      <a:pt x="210" y="318"/>
                    </a:lnTo>
                    <a:lnTo>
                      <a:pt x="214" y="316"/>
                    </a:lnTo>
                    <a:lnTo>
                      <a:pt x="214" y="316"/>
                    </a:lnTo>
                    <a:lnTo>
                      <a:pt x="216" y="314"/>
                    </a:lnTo>
                    <a:lnTo>
                      <a:pt x="216" y="314"/>
                    </a:lnTo>
                    <a:lnTo>
                      <a:pt x="216" y="314"/>
                    </a:lnTo>
                    <a:lnTo>
                      <a:pt x="300" y="230"/>
                    </a:lnTo>
                    <a:lnTo>
                      <a:pt x="358" y="288"/>
                    </a:lnTo>
                    <a:lnTo>
                      <a:pt x="358" y="288"/>
                    </a:lnTo>
                    <a:lnTo>
                      <a:pt x="358" y="288"/>
                    </a:lnTo>
                    <a:lnTo>
                      <a:pt x="358" y="288"/>
                    </a:lnTo>
                    <a:lnTo>
                      <a:pt x="364" y="292"/>
                    </a:lnTo>
                    <a:lnTo>
                      <a:pt x="364" y="292"/>
                    </a:lnTo>
                    <a:lnTo>
                      <a:pt x="366" y="294"/>
                    </a:lnTo>
                    <a:lnTo>
                      <a:pt x="366" y="294"/>
                    </a:lnTo>
                    <a:lnTo>
                      <a:pt x="366" y="294"/>
                    </a:lnTo>
                    <a:lnTo>
                      <a:pt x="366" y="294"/>
                    </a:lnTo>
                    <a:lnTo>
                      <a:pt x="376" y="296"/>
                    </a:lnTo>
                    <a:lnTo>
                      <a:pt x="376" y="296"/>
                    </a:lnTo>
                    <a:lnTo>
                      <a:pt x="376" y="296"/>
                    </a:lnTo>
                    <a:lnTo>
                      <a:pt x="376" y="296"/>
                    </a:lnTo>
                    <a:lnTo>
                      <a:pt x="376" y="296"/>
                    </a:lnTo>
                    <a:lnTo>
                      <a:pt x="376" y="296"/>
                    </a:lnTo>
                    <a:lnTo>
                      <a:pt x="384" y="294"/>
                    </a:lnTo>
                    <a:lnTo>
                      <a:pt x="384" y="294"/>
                    </a:lnTo>
                    <a:lnTo>
                      <a:pt x="386" y="292"/>
                    </a:lnTo>
                    <a:lnTo>
                      <a:pt x="386" y="292"/>
                    </a:lnTo>
                    <a:lnTo>
                      <a:pt x="392" y="290"/>
                    </a:lnTo>
                    <a:lnTo>
                      <a:pt x="392" y="290"/>
                    </a:lnTo>
                    <a:lnTo>
                      <a:pt x="394" y="288"/>
                    </a:lnTo>
                    <a:lnTo>
                      <a:pt x="394" y="288"/>
                    </a:lnTo>
                    <a:lnTo>
                      <a:pt x="394" y="288"/>
                    </a:lnTo>
                    <a:lnTo>
                      <a:pt x="394" y="288"/>
                    </a:lnTo>
                    <a:lnTo>
                      <a:pt x="398" y="280"/>
                    </a:lnTo>
                    <a:lnTo>
                      <a:pt x="398" y="280"/>
                    </a:lnTo>
                    <a:lnTo>
                      <a:pt x="398" y="280"/>
                    </a:lnTo>
                    <a:lnTo>
                      <a:pt x="398" y="280"/>
                    </a:lnTo>
                    <a:lnTo>
                      <a:pt x="398" y="280"/>
                    </a:lnTo>
                    <a:lnTo>
                      <a:pt x="504" y="34"/>
                    </a:lnTo>
                    <a:lnTo>
                      <a:pt x="504" y="34"/>
                    </a:lnTo>
                    <a:lnTo>
                      <a:pt x="506" y="24"/>
                    </a:lnTo>
                    <a:lnTo>
                      <a:pt x="504" y="16"/>
                    </a:lnTo>
                    <a:lnTo>
                      <a:pt x="498" y="8"/>
                    </a:lnTo>
                    <a:lnTo>
                      <a:pt x="490" y="2"/>
                    </a:lnTo>
                    <a:lnTo>
                      <a:pt x="49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sp>
            <p:nvSpPr>
              <p:cNvPr id="231" name="Freeform 46">
                <a:extLst>
                  <a:ext uri="{FF2B5EF4-FFF2-40B4-BE49-F238E27FC236}">
                    <a16:creationId xmlns:a16="http://schemas.microsoft.com/office/drawing/2014/main" id="{3A1C4BD6-0DFD-D8A0-06A7-8D6119046142}"/>
                  </a:ext>
                </a:extLst>
              </p:cNvPr>
              <p:cNvSpPr>
                <a:spLocks/>
              </p:cNvSpPr>
              <p:nvPr/>
            </p:nvSpPr>
            <p:spPr bwMode="auto">
              <a:xfrm>
                <a:off x="4437063" y="3495675"/>
                <a:ext cx="120650" cy="117475"/>
              </a:xfrm>
              <a:custGeom>
                <a:avLst/>
                <a:gdLst/>
                <a:ahLst/>
                <a:cxnLst>
                  <a:cxn ang="0">
                    <a:pos x="58" y="68"/>
                  </a:cxn>
                  <a:cxn ang="0">
                    <a:pos x="58" y="68"/>
                  </a:cxn>
                  <a:cxn ang="0">
                    <a:pos x="64" y="64"/>
                  </a:cxn>
                  <a:cxn ang="0">
                    <a:pos x="68" y="58"/>
                  </a:cxn>
                  <a:cxn ang="0">
                    <a:pos x="72" y="52"/>
                  </a:cxn>
                  <a:cxn ang="0">
                    <a:pos x="74" y="46"/>
                  </a:cxn>
                  <a:cxn ang="0">
                    <a:pos x="76" y="38"/>
                  </a:cxn>
                  <a:cxn ang="0">
                    <a:pos x="76" y="32"/>
                  </a:cxn>
                  <a:cxn ang="0">
                    <a:pos x="74" y="24"/>
                  </a:cxn>
                  <a:cxn ang="0">
                    <a:pos x="70" y="18"/>
                  </a:cxn>
                  <a:cxn ang="0">
                    <a:pos x="70" y="18"/>
                  </a:cxn>
                  <a:cxn ang="0">
                    <a:pos x="66" y="12"/>
                  </a:cxn>
                  <a:cxn ang="0">
                    <a:pos x="60" y="6"/>
                  </a:cxn>
                  <a:cxn ang="0">
                    <a:pos x="54" y="2"/>
                  </a:cxn>
                  <a:cxn ang="0">
                    <a:pos x="46" y="0"/>
                  </a:cxn>
                  <a:cxn ang="0">
                    <a:pos x="40" y="0"/>
                  </a:cxn>
                  <a:cxn ang="0">
                    <a:pos x="32" y="0"/>
                  </a:cxn>
                  <a:cxn ang="0">
                    <a:pos x="26" y="2"/>
                  </a:cxn>
                  <a:cxn ang="0">
                    <a:pos x="18" y="4"/>
                  </a:cxn>
                  <a:cxn ang="0">
                    <a:pos x="18" y="4"/>
                  </a:cxn>
                  <a:cxn ang="0">
                    <a:pos x="12" y="10"/>
                  </a:cxn>
                  <a:cxn ang="0">
                    <a:pos x="8" y="14"/>
                  </a:cxn>
                  <a:cxn ang="0">
                    <a:pos x="4" y="22"/>
                  </a:cxn>
                  <a:cxn ang="0">
                    <a:pos x="2" y="28"/>
                  </a:cxn>
                  <a:cxn ang="0">
                    <a:pos x="0" y="34"/>
                  </a:cxn>
                  <a:cxn ang="0">
                    <a:pos x="0" y="42"/>
                  </a:cxn>
                  <a:cxn ang="0">
                    <a:pos x="2" y="50"/>
                  </a:cxn>
                  <a:cxn ang="0">
                    <a:pos x="6" y="56"/>
                  </a:cxn>
                  <a:cxn ang="0">
                    <a:pos x="6" y="56"/>
                  </a:cxn>
                  <a:cxn ang="0">
                    <a:pos x="10" y="62"/>
                  </a:cxn>
                  <a:cxn ang="0">
                    <a:pos x="16" y="68"/>
                  </a:cxn>
                  <a:cxn ang="0">
                    <a:pos x="22" y="70"/>
                  </a:cxn>
                  <a:cxn ang="0">
                    <a:pos x="30" y="74"/>
                  </a:cxn>
                  <a:cxn ang="0">
                    <a:pos x="36" y="74"/>
                  </a:cxn>
                  <a:cxn ang="0">
                    <a:pos x="44" y="74"/>
                  </a:cxn>
                  <a:cxn ang="0">
                    <a:pos x="50" y="72"/>
                  </a:cxn>
                  <a:cxn ang="0">
                    <a:pos x="58" y="68"/>
                  </a:cxn>
                  <a:cxn ang="0">
                    <a:pos x="58" y="68"/>
                  </a:cxn>
                </a:cxnLst>
                <a:rect l="0" t="0" r="r" b="b"/>
                <a:pathLst>
                  <a:path w="76" h="74">
                    <a:moveTo>
                      <a:pt x="58" y="68"/>
                    </a:moveTo>
                    <a:lnTo>
                      <a:pt x="58" y="68"/>
                    </a:lnTo>
                    <a:lnTo>
                      <a:pt x="64" y="64"/>
                    </a:lnTo>
                    <a:lnTo>
                      <a:pt x="68" y="58"/>
                    </a:lnTo>
                    <a:lnTo>
                      <a:pt x="72" y="52"/>
                    </a:lnTo>
                    <a:lnTo>
                      <a:pt x="74" y="46"/>
                    </a:lnTo>
                    <a:lnTo>
                      <a:pt x="76" y="38"/>
                    </a:lnTo>
                    <a:lnTo>
                      <a:pt x="76" y="32"/>
                    </a:lnTo>
                    <a:lnTo>
                      <a:pt x="74" y="24"/>
                    </a:lnTo>
                    <a:lnTo>
                      <a:pt x="70" y="18"/>
                    </a:lnTo>
                    <a:lnTo>
                      <a:pt x="70" y="18"/>
                    </a:lnTo>
                    <a:lnTo>
                      <a:pt x="66" y="12"/>
                    </a:lnTo>
                    <a:lnTo>
                      <a:pt x="60" y="6"/>
                    </a:lnTo>
                    <a:lnTo>
                      <a:pt x="54" y="2"/>
                    </a:lnTo>
                    <a:lnTo>
                      <a:pt x="46" y="0"/>
                    </a:lnTo>
                    <a:lnTo>
                      <a:pt x="40" y="0"/>
                    </a:lnTo>
                    <a:lnTo>
                      <a:pt x="32" y="0"/>
                    </a:lnTo>
                    <a:lnTo>
                      <a:pt x="26" y="2"/>
                    </a:lnTo>
                    <a:lnTo>
                      <a:pt x="18" y="4"/>
                    </a:lnTo>
                    <a:lnTo>
                      <a:pt x="18" y="4"/>
                    </a:lnTo>
                    <a:lnTo>
                      <a:pt x="12" y="10"/>
                    </a:lnTo>
                    <a:lnTo>
                      <a:pt x="8" y="14"/>
                    </a:lnTo>
                    <a:lnTo>
                      <a:pt x="4" y="22"/>
                    </a:lnTo>
                    <a:lnTo>
                      <a:pt x="2" y="28"/>
                    </a:lnTo>
                    <a:lnTo>
                      <a:pt x="0" y="34"/>
                    </a:lnTo>
                    <a:lnTo>
                      <a:pt x="0" y="42"/>
                    </a:lnTo>
                    <a:lnTo>
                      <a:pt x="2" y="50"/>
                    </a:lnTo>
                    <a:lnTo>
                      <a:pt x="6" y="56"/>
                    </a:lnTo>
                    <a:lnTo>
                      <a:pt x="6" y="56"/>
                    </a:lnTo>
                    <a:lnTo>
                      <a:pt x="10" y="62"/>
                    </a:lnTo>
                    <a:lnTo>
                      <a:pt x="16" y="68"/>
                    </a:lnTo>
                    <a:lnTo>
                      <a:pt x="22" y="70"/>
                    </a:lnTo>
                    <a:lnTo>
                      <a:pt x="30" y="74"/>
                    </a:lnTo>
                    <a:lnTo>
                      <a:pt x="36" y="74"/>
                    </a:lnTo>
                    <a:lnTo>
                      <a:pt x="44" y="74"/>
                    </a:lnTo>
                    <a:lnTo>
                      <a:pt x="50" y="72"/>
                    </a:lnTo>
                    <a:lnTo>
                      <a:pt x="58" y="68"/>
                    </a:lnTo>
                    <a:lnTo>
                      <a:pt x="58"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sp>
            <p:nvSpPr>
              <p:cNvPr id="232" name="Freeform 47">
                <a:extLst>
                  <a:ext uri="{FF2B5EF4-FFF2-40B4-BE49-F238E27FC236}">
                    <a16:creationId xmlns:a16="http://schemas.microsoft.com/office/drawing/2014/main" id="{80471A9C-5119-7825-93F8-42E2437393B1}"/>
                  </a:ext>
                </a:extLst>
              </p:cNvPr>
              <p:cNvSpPr>
                <a:spLocks/>
              </p:cNvSpPr>
              <p:nvPr/>
            </p:nvSpPr>
            <p:spPr bwMode="auto">
              <a:xfrm>
                <a:off x="4303713" y="3597275"/>
                <a:ext cx="412750" cy="358775"/>
              </a:xfrm>
              <a:custGeom>
                <a:avLst/>
                <a:gdLst/>
                <a:ahLst/>
                <a:cxnLst>
                  <a:cxn ang="0">
                    <a:pos x="238" y="0"/>
                  </a:cxn>
                  <a:cxn ang="0">
                    <a:pos x="224" y="4"/>
                  </a:cxn>
                  <a:cxn ang="0">
                    <a:pos x="200" y="22"/>
                  </a:cxn>
                  <a:cxn ang="0">
                    <a:pos x="162" y="36"/>
                  </a:cxn>
                  <a:cxn ang="0">
                    <a:pos x="146" y="34"/>
                  </a:cxn>
                  <a:cxn ang="0">
                    <a:pos x="144" y="34"/>
                  </a:cxn>
                  <a:cxn ang="0">
                    <a:pos x="130" y="30"/>
                  </a:cxn>
                  <a:cxn ang="0">
                    <a:pos x="124" y="28"/>
                  </a:cxn>
                  <a:cxn ang="0">
                    <a:pos x="116" y="28"/>
                  </a:cxn>
                  <a:cxn ang="0">
                    <a:pos x="104" y="30"/>
                  </a:cxn>
                  <a:cxn ang="0">
                    <a:pos x="88" y="36"/>
                  </a:cxn>
                  <a:cxn ang="0">
                    <a:pos x="26" y="76"/>
                  </a:cxn>
                  <a:cxn ang="0">
                    <a:pos x="22" y="86"/>
                  </a:cxn>
                  <a:cxn ang="0">
                    <a:pos x="24" y="94"/>
                  </a:cxn>
                  <a:cxn ang="0">
                    <a:pos x="36" y="98"/>
                  </a:cxn>
                  <a:cxn ang="0">
                    <a:pos x="74" y="72"/>
                  </a:cxn>
                  <a:cxn ang="0">
                    <a:pos x="106" y="54"/>
                  </a:cxn>
                  <a:cxn ang="0">
                    <a:pos x="94" y="166"/>
                  </a:cxn>
                  <a:cxn ang="0">
                    <a:pos x="82" y="196"/>
                  </a:cxn>
                  <a:cxn ang="0">
                    <a:pos x="16" y="194"/>
                  </a:cxn>
                  <a:cxn ang="0">
                    <a:pos x="6" y="198"/>
                  </a:cxn>
                  <a:cxn ang="0">
                    <a:pos x="0" y="208"/>
                  </a:cxn>
                  <a:cxn ang="0">
                    <a:pos x="8" y="222"/>
                  </a:cxn>
                  <a:cxn ang="0">
                    <a:pos x="48" y="226"/>
                  </a:cxn>
                  <a:cxn ang="0">
                    <a:pos x="102" y="220"/>
                  </a:cxn>
                  <a:cxn ang="0">
                    <a:pos x="116" y="204"/>
                  </a:cxn>
                  <a:cxn ang="0">
                    <a:pos x="134" y="158"/>
                  </a:cxn>
                  <a:cxn ang="0">
                    <a:pos x="182" y="156"/>
                  </a:cxn>
                  <a:cxn ang="0">
                    <a:pos x="196" y="160"/>
                  </a:cxn>
                  <a:cxn ang="0">
                    <a:pos x="230" y="216"/>
                  </a:cxn>
                  <a:cxn ang="0">
                    <a:pos x="238" y="224"/>
                  </a:cxn>
                  <a:cxn ang="0">
                    <a:pos x="250" y="224"/>
                  </a:cxn>
                  <a:cxn ang="0">
                    <a:pos x="254" y="220"/>
                  </a:cxn>
                  <a:cxn ang="0">
                    <a:pos x="258" y="206"/>
                  </a:cxn>
                  <a:cxn ang="0">
                    <a:pos x="248" y="182"/>
                  </a:cxn>
                  <a:cxn ang="0">
                    <a:pos x="212" y="134"/>
                  </a:cxn>
                  <a:cxn ang="0">
                    <a:pos x="196" y="128"/>
                  </a:cxn>
                  <a:cxn ang="0">
                    <a:pos x="148" y="120"/>
                  </a:cxn>
                  <a:cxn ang="0">
                    <a:pos x="154" y="60"/>
                  </a:cxn>
                  <a:cxn ang="0">
                    <a:pos x="188" y="54"/>
                  </a:cxn>
                  <a:cxn ang="0">
                    <a:pos x="216" y="42"/>
                  </a:cxn>
                  <a:cxn ang="0">
                    <a:pos x="242" y="20"/>
                  </a:cxn>
                  <a:cxn ang="0">
                    <a:pos x="244" y="8"/>
                  </a:cxn>
                </a:cxnLst>
                <a:rect l="0" t="0" r="r" b="b"/>
                <a:pathLst>
                  <a:path w="260" h="226">
                    <a:moveTo>
                      <a:pt x="242" y="4"/>
                    </a:moveTo>
                    <a:lnTo>
                      <a:pt x="242" y="4"/>
                    </a:lnTo>
                    <a:lnTo>
                      <a:pt x="238" y="0"/>
                    </a:lnTo>
                    <a:lnTo>
                      <a:pt x="232" y="0"/>
                    </a:lnTo>
                    <a:lnTo>
                      <a:pt x="228" y="0"/>
                    </a:lnTo>
                    <a:lnTo>
                      <a:pt x="224" y="4"/>
                    </a:lnTo>
                    <a:lnTo>
                      <a:pt x="224" y="4"/>
                    </a:lnTo>
                    <a:lnTo>
                      <a:pt x="218" y="10"/>
                    </a:lnTo>
                    <a:lnTo>
                      <a:pt x="200" y="22"/>
                    </a:lnTo>
                    <a:lnTo>
                      <a:pt x="188" y="28"/>
                    </a:lnTo>
                    <a:lnTo>
                      <a:pt x="174" y="32"/>
                    </a:lnTo>
                    <a:lnTo>
                      <a:pt x="162" y="36"/>
                    </a:lnTo>
                    <a:lnTo>
                      <a:pt x="148" y="34"/>
                    </a:lnTo>
                    <a:lnTo>
                      <a:pt x="148" y="34"/>
                    </a:lnTo>
                    <a:lnTo>
                      <a:pt x="146" y="34"/>
                    </a:lnTo>
                    <a:lnTo>
                      <a:pt x="146" y="34"/>
                    </a:lnTo>
                    <a:lnTo>
                      <a:pt x="144" y="34"/>
                    </a:lnTo>
                    <a:lnTo>
                      <a:pt x="144" y="34"/>
                    </a:lnTo>
                    <a:lnTo>
                      <a:pt x="142" y="32"/>
                    </a:lnTo>
                    <a:lnTo>
                      <a:pt x="142" y="32"/>
                    </a:lnTo>
                    <a:lnTo>
                      <a:pt x="130" y="30"/>
                    </a:lnTo>
                    <a:lnTo>
                      <a:pt x="130" y="30"/>
                    </a:lnTo>
                    <a:lnTo>
                      <a:pt x="124" y="28"/>
                    </a:lnTo>
                    <a:lnTo>
                      <a:pt x="124" y="28"/>
                    </a:lnTo>
                    <a:lnTo>
                      <a:pt x="120" y="28"/>
                    </a:lnTo>
                    <a:lnTo>
                      <a:pt x="120" y="28"/>
                    </a:lnTo>
                    <a:lnTo>
                      <a:pt x="116" y="28"/>
                    </a:lnTo>
                    <a:lnTo>
                      <a:pt x="116" y="28"/>
                    </a:lnTo>
                    <a:lnTo>
                      <a:pt x="104" y="30"/>
                    </a:lnTo>
                    <a:lnTo>
                      <a:pt x="104" y="30"/>
                    </a:lnTo>
                    <a:lnTo>
                      <a:pt x="100" y="32"/>
                    </a:lnTo>
                    <a:lnTo>
                      <a:pt x="100" y="32"/>
                    </a:lnTo>
                    <a:lnTo>
                      <a:pt x="88" y="36"/>
                    </a:lnTo>
                    <a:lnTo>
                      <a:pt x="76" y="40"/>
                    </a:lnTo>
                    <a:lnTo>
                      <a:pt x="54" y="54"/>
                    </a:lnTo>
                    <a:lnTo>
                      <a:pt x="26" y="76"/>
                    </a:lnTo>
                    <a:lnTo>
                      <a:pt x="26" y="76"/>
                    </a:lnTo>
                    <a:lnTo>
                      <a:pt x="22" y="80"/>
                    </a:lnTo>
                    <a:lnTo>
                      <a:pt x="22" y="86"/>
                    </a:lnTo>
                    <a:lnTo>
                      <a:pt x="22" y="90"/>
                    </a:lnTo>
                    <a:lnTo>
                      <a:pt x="24" y="94"/>
                    </a:lnTo>
                    <a:lnTo>
                      <a:pt x="24" y="94"/>
                    </a:lnTo>
                    <a:lnTo>
                      <a:pt x="28" y="98"/>
                    </a:lnTo>
                    <a:lnTo>
                      <a:pt x="32" y="98"/>
                    </a:lnTo>
                    <a:lnTo>
                      <a:pt x="36" y="98"/>
                    </a:lnTo>
                    <a:lnTo>
                      <a:pt x="42" y="96"/>
                    </a:lnTo>
                    <a:lnTo>
                      <a:pt x="42" y="96"/>
                    </a:lnTo>
                    <a:lnTo>
                      <a:pt x="74" y="72"/>
                    </a:lnTo>
                    <a:lnTo>
                      <a:pt x="92" y="60"/>
                    </a:lnTo>
                    <a:lnTo>
                      <a:pt x="106" y="54"/>
                    </a:lnTo>
                    <a:lnTo>
                      <a:pt x="106" y="54"/>
                    </a:lnTo>
                    <a:lnTo>
                      <a:pt x="106" y="86"/>
                    </a:lnTo>
                    <a:lnTo>
                      <a:pt x="102" y="118"/>
                    </a:lnTo>
                    <a:lnTo>
                      <a:pt x="94" y="166"/>
                    </a:lnTo>
                    <a:lnTo>
                      <a:pt x="94" y="166"/>
                    </a:lnTo>
                    <a:lnTo>
                      <a:pt x="88" y="182"/>
                    </a:lnTo>
                    <a:lnTo>
                      <a:pt x="82" y="196"/>
                    </a:lnTo>
                    <a:lnTo>
                      <a:pt x="82" y="196"/>
                    </a:lnTo>
                    <a:lnTo>
                      <a:pt x="56" y="196"/>
                    </a:lnTo>
                    <a:lnTo>
                      <a:pt x="16" y="194"/>
                    </a:lnTo>
                    <a:lnTo>
                      <a:pt x="16" y="194"/>
                    </a:lnTo>
                    <a:lnTo>
                      <a:pt x="10" y="196"/>
                    </a:lnTo>
                    <a:lnTo>
                      <a:pt x="6" y="198"/>
                    </a:lnTo>
                    <a:lnTo>
                      <a:pt x="2" y="202"/>
                    </a:lnTo>
                    <a:lnTo>
                      <a:pt x="0" y="208"/>
                    </a:lnTo>
                    <a:lnTo>
                      <a:pt x="0" y="208"/>
                    </a:lnTo>
                    <a:lnTo>
                      <a:pt x="2" y="214"/>
                    </a:lnTo>
                    <a:lnTo>
                      <a:pt x="4" y="218"/>
                    </a:lnTo>
                    <a:lnTo>
                      <a:pt x="8" y="222"/>
                    </a:lnTo>
                    <a:lnTo>
                      <a:pt x="14" y="224"/>
                    </a:lnTo>
                    <a:lnTo>
                      <a:pt x="14" y="224"/>
                    </a:lnTo>
                    <a:lnTo>
                      <a:pt x="48" y="226"/>
                    </a:lnTo>
                    <a:lnTo>
                      <a:pt x="74" y="224"/>
                    </a:lnTo>
                    <a:lnTo>
                      <a:pt x="92" y="222"/>
                    </a:lnTo>
                    <a:lnTo>
                      <a:pt x="102" y="220"/>
                    </a:lnTo>
                    <a:lnTo>
                      <a:pt x="102" y="220"/>
                    </a:lnTo>
                    <a:lnTo>
                      <a:pt x="110" y="212"/>
                    </a:lnTo>
                    <a:lnTo>
                      <a:pt x="116" y="204"/>
                    </a:lnTo>
                    <a:lnTo>
                      <a:pt x="126" y="186"/>
                    </a:lnTo>
                    <a:lnTo>
                      <a:pt x="132" y="170"/>
                    </a:lnTo>
                    <a:lnTo>
                      <a:pt x="134" y="158"/>
                    </a:lnTo>
                    <a:lnTo>
                      <a:pt x="134" y="158"/>
                    </a:lnTo>
                    <a:lnTo>
                      <a:pt x="162" y="156"/>
                    </a:lnTo>
                    <a:lnTo>
                      <a:pt x="182" y="156"/>
                    </a:lnTo>
                    <a:lnTo>
                      <a:pt x="190" y="158"/>
                    </a:lnTo>
                    <a:lnTo>
                      <a:pt x="196" y="160"/>
                    </a:lnTo>
                    <a:lnTo>
                      <a:pt x="196" y="160"/>
                    </a:lnTo>
                    <a:lnTo>
                      <a:pt x="214" y="186"/>
                    </a:lnTo>
                    <a:lnTo>
                      <a:pt x="224" y="202"/>
                    </a:lnTo>
                    <a:lnTo>
                      <a:pt x="230" y="216"/>
                    </a:lnTo>
                    <a:lnTo>
                      <a:pt x="230" y="216"/>
                    </a:lnTo>
                    <a:lnTo>
                      <a:pt x="234" y="220"/>
                    </a:lnTo>
                    <a:lnTo>
                      <a:pt x="238" y="224"/>
                    </a:lnTo>
                    <a:lnTo>
                      <a:pt x="244" y="224"/>
                    </a:lnTo>
                    <a:lnTo>
                      <a:pt x="250" y="224"/>
                    </a:lnTo>
                    <a:lnTo>
                      <a:pt x="250" y="224"/>
                    </a:lnTo>
                    <a:lnTo>
                      <a:pt x="250" y="224"/>
                    </a:lnTo>
                    <a:lnTo>
                      <a:pt x="250" y="224"/>
                    </a:lnTo>
                    <a:lnTo>
                      <a:pt x="254" y="220"/>
                    </a:lnTo>
                    <a:lnTo>
                      <a:pt x="258" y="216"/>
                    </a:lnTo>
                    <a:lnTo>
                      <a:pt x="260" y="210"/>
                    </a:lnTo>
                    <a:lnTo>
                      <a:pt x="258" y="206"/>
                    </a:lnTo>
                    <a:lnTo>
                      <a:pt x="258" y="206"/>
                    </a:lnTo>
                    <a:lnTo>
                      <a:pt x="254" y="194"/>
                    </a:lnTo>
                    <a:lnTo>
                      <a:pt x="248" y="182"/>
                    </a:lnTo>
                    <a:lnTo>
                      <a:pt x="232" y="160"/>
                    </a:lnTo>
                    <a:lnTo>
                      <a:pt x="214" y="136"/>
                    </a:lnTo>
                    <a:lnTo>
                      <a:pt x="212" y="134"/>
                    </a:lnTo>
                    <a:lnTo>
                      <a:pt x="210" y="134"/>
                    </a:lnTo>
                    <a:lnTo>
                      <a:pt x="210" y="134"/>
                    </a:lnTo>
                    <a:lnTo>
                      <a:pt x="196" y="128"/>
                    </a:lnTo>
                    <a:lnTo>
                      <a:pt x="180" y="124"/>
                    </a:lnTo>
                    <a:lnTo>
                      <a:pt x="148" y="120"/>
                    </a:lnTo>
                    <a:lnTo>
                      <a:pt x="148" y="120"/>
                    </a:lnTo>
                    <a:lnTo>
                      <a:pt x="154" y="96"/>
                    </a:lnTo>
                    <a:lnTo>
                      <a:pt x="156" y="78"/>
                    </a:lnTo>
                    <a:lnTo>
                      <a:pt x="154" y="60"/>
                    </a:lnTo>
                    <a:lnTo>
                      <a:pt x="154" y="60"/>
                    </a:lnTo>
                    <a:lnTo>
                      <a:pt x="172" y="58"/>
                    </a:lnTo>
                    <a:lnTo>
                      <a:pt x="188" y="54"/>
                    </a:lnTo>
                    <a:lnTo>
                      <a:pt x="204" y="48"/>
                    </a:lnTo>
                    <a:lnTo>
                      <a:pt x="216" y="42"/>
                    </a:lnTo>
                    <a:lnTo>
                      <a:pt x="216" y="42"/>
                    </a:lnTo>
                    <a:lnTo>
                      <a:pt x="234" y="28"/>
                    </a:lnTo>
                    <a:lnTo>
                      <a:pt x="242" y="20"/>
                    </a:lnTo>
                    <a:lnTo>
                      <a:pt x="242" y="20"/>
                    </a:lnTo>
                    <a:lnTo>
                      <a:pt x="244" y="16"/>
                    </a:lnTo>
                    <a:lnTo>
                      <a:pt x="246" y="12"/>
                    </a:lnTo>
                    <a:lnTo>
                      <a:pt x="244" y="8"/>
                    </a:lnTo>
                    <a:lnTo>
                      <a:pt x="242" y="4"/>
                    </a:lnTo>
                    <a:lnTo>
                      <a:pt x="242" y="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grpSp>
      </p:grpSp>
      <p:grpSp>
        <p:nvGrpSpPr>
          <p:cNvPr id="39" name="Group 38">
            <a:extLst>
              <a:ext uri="{FF2B5EF4-FFF2-40B4-BE49-F238E27FC236}">
                <a16:creationId xmlns:a16="http://schemas.microsoft.com/office/drawing/2014/main" id="{D7266564-A3E5-DBF1-CABF-8B28018A94CA}"/>
              </a:ext>
            </a:extLst>
          </p:cNvPr>
          <p:cNvGrpSpPr/>
          <p:nvPr/>
        </p:nvGrpSpPr>
        <p:grpSpPr>
          <a:xfrm>
            <a:off x="5893024" y="5281474"/>
            <a:ext cx="1117376" cy="1106424"/>
            <a:chOff x="5928905" y="5224808"/>
            <a:chExt cx="876256" cy="753185"/>
          </a:xfrm>
        </p:grpSpPr>
        <p:sp>
          <p:nvSpPr>
            <p:cNvPr id="48" name="Oval Callout 174">
              <a:extLst>
                <a:ext uri="{FF2B5EF4-FFF2-40B4-BE49-F238E27FC236}">
                  <a16:creationId xmlns:a16="http://schemas.microsoft.com/office/drawing/2014/main" id="{F256B341-29EE-5E9C-A893-EF925AC3F14F}"/>
                </a:ext>
              </a:extLst>
            </p:cNvPr>
            <p:cNvSpPr/>
            <p:nvPr/>
          </p:nvSpPr>
          <p:spPr>
            <a:xfrm>
              <a:off x="5928905" y="5224808"/>
              <a:ext cx="876256" cy="753185"/>
            </a:xfrm>
            <a:prstGeom prst="wedgeEllipseCallout">
              <a:avLst>
                <a:gd name="adj1" fmla="val 1610"/>
                <a:gd name="adj2" fmla="val 40078"/>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cs typeface="Arial" panose="020B0604020202020204" pitchFamily="34" charset="0"/>
              </a:endParaRPr>
            </a:p>
          </p:txBody>
        </p:sp>
        <p:sp>
          <p:nvSpPr>
            <p:cNvPr id="49" name="Oval 175">
              <a:extLst>
                <a:ext uri="{FF2B5EF4-FFF2-40B4-BE49-F238E27FC236}">
                  <a16:creationId xmlns:a16="http://schemas.microsoft.com/office/drawing/2014/main" id="{3EB97B19-1FC9-BD79-2BC6-3903D3B7C774}"/>
                </a:ext>
              </a:extLst>
            </p:cNvPr>
            <p:cNvSpPr/>
            <p:nvPr/>
          </p:nvSpPr>
          <p:spPr>
            <a:xfrm>
              <a:off x="5988017" y="5280280"/>
              <a:ext cx="758032" cy="648600"/>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cs typeface="Arial" panose="020B0604020202020204" pitchFamily="34" charset="0"/>
              </a:endParaRPr>
            </a:p>
          </p:txBody>
        </p:sp>
        <p:grpSp>
          <p:nvGrpSpPr>
            <p:cNvPr id="250" name="Group 250">
              <a:extLst>
                <a:ext uri="{FF2B5EF4-FFF2-40B4-BE49-F238E27FC236}">
                  <a16:creationId xmlns:a16="http://schemas.microsoft.com/office/drawing/2014/main" id="{9254D5F6-DADA-835F-CAE7-25B78183EC8A}"/>
                </a:ext>
              </a:extLst>
            </p:cNvPr>
            <p:cNvGrpSpPr/>
            <p:nvPr/>
          </p:nvGrpSpPr>
          <p:grpSpPr>
            <a:xfrm>
              <a:off x="6135121" y="5381362"/>
              <a:ext cx="464478" cy="441131"/>
              <a:chOff x="-9242425" y="1674813"/>
              <a:chExt cx="1130300" cy="1127125"/>
            </a:xfrm>
            <a:solidFill>
              <a:srgbClr val="005EB8"/>
            </a:solidFill>
          </p:grpSpPr>
          <p:sp>
            <p:nvSpPr>
              <p:cNvPr id="251" name="Freeform 154">
                <a:extLst>
                  <a:ext uri="{FF2B5EF4-FFF2-40B4-BE49-F238E27FC236}">
                    <a16:creationId xmlns:a16="http://schemas.microsoft.com/office/drawing/2014/main" id="{07E030F5-9DE0-C289-10CF-EC91864274DD}"/>
                  </a:ext>
                </a:extLst>
              </p:cNvPr>
              <p:cNvSpPr>
                <a:spLocks noEditPoints="1"/>
              </p:cNvSpPr>
              <p:nvPr/>
            </p:nvSpPr>
            <p:spPr bwMode="auto">
              <a:xfrm>
                <a:off x="-9090025" y="1674813"/>
                <a:ext cx="823912" cy="1127125"/>
              </a:xfrm>
              <a:custGeom>
                <a:avLst/>
                <a:gdLst/>
                <a:ahLst/>
                <a:cxnLst>
                  <a:cxn ang="0">
                    <a:pos x="397" y="1025"/>
                  </a:cxn>
                  <a:cxn ang="0">
                    <a:pos x="440" y="1043"/>
                  </a:cxn>
                  <a:cxn ang="0">
                    <a:pos x="626" y="1036"/>
                  </a:cxn>
                  <a:cxn ang="0">
                    <a:pos x="652" y="1001"/>
                  </a:cxn>
                  <a:cxn ang="0">
                    <a:pos x="673" y="936"/>
                  </a:cxn>
                  <a:cxn ang="0">
                    <a:pos x="722" y="888"/>
                  </a:cxn>
                  <a:cxn ang="0">
                    <a:pos x="831" y="800"/>
                  </a:cxn>
                  <a:cxn ang="0">
                    <a:pos x="906" y="684"/>
                  </a:cxn>
                  <a:cxn ang="0">
                    <a:pos x="939" y="548"/>
                  </a:cxn>
                  <a:cxn ang="0">
                    <a:pos x="935" y="455"/>
                  </a:cxn>
                  <a:cxn ang="0">
                    <a:pos x="907" y="356"/>
                  </a:cxn>
                  <a:cxn ang="0">
                    <a:pos x="856" y="267"/>
                  </a:cxn>
                  <a:cxn ang="0">
                    <a:pos x="787" y="195"/>
                  </a:cxn>
                  <a:cxn ang="0">
                    <a:pos x="702" y="140"/>
                  </a:cxn>
                  <a:cxn ang="0">
                    <a:pos x="604" y="108"/>
                  </a:cxn>
                  <a:cxn ang="0">
                    <a:pos x="519" y="99"/>
                  </a:cxn>
                  <a:cxn ang="0">
                    <a:pos x="414" y="112"/>
                  </a:cxn>
                  <a:cxn ang="0">
                    <a:pos x="318" y="149"/>
                  </a:cxn>
                  <a:cxn ang="0">
                    <a:pos x="237" y="207"/>
                  </a:cxn>
                  <a:cxn ang="0">
                    <a:pos x="170" y="284"/>
                  </a:cxn>
                  <a:cxn ang="0">
                    <a:pos x="124" y="375"/>
                  </a:cxn>
                  <a:cxn ang="0">
                    <a:pos x="101" y="476"/>
                  </a:cxn>
                  <a:cxn ang="0">
                    <a:pos x="102" y="576"/>
                  </a:cxn>
                  <a:cxn ang="0">
                    <a:pos x="144" y="709"/>
                  </a:cxn>
                  <a:cxn ang="0">
                    <a:pos x="227" y="821"/>
                  </a:cxn>
                  <a:cxn ang="0">
                    <a:pos x="317" y="888"/>
                  </a:cxn>
                  <a:cxn ang="0">
                    <a:pos x="374" y="951"/>
                  </a:cxn>
                  <a:cxn ang="0">
                    <a:pos x="618" y="1363"/>
                  </a:cxn>
                  <a:cxn ang="0">
                    <a:pos x="591" y="1403"/>
                  </a:cxn>
                  <a:cxn ang="0">
                    <a:pos x="492" y="1418"/>
                  </a:cxn>
                  <a:cxn ang="0">
                    <a:pos x="446" y="1403"/>
                  </a:cxn>
                  <a:cxn ang="0">
                    <a:pos x="393" y="1363"/>
                  </a:cxn>
                  <a:cxn ang="0">
                    <a:pos x="352" y="1355"/>
                  </a:cxn>
                  <a:cxn ang="0">
                    <a:pos x="311" y="1326"/>
                  </a:cxn>
                  <a:cxn ang="0">
                    <a:pos x="289" y="1280"/>
                  </a:cxn>
                  <a:cxn ang="0">
                    <a:pos x="287" y="996"/>
                  </a:cxn>
                  <a:cxn ang="0">
                    <a:pos x="239" y="957"/>
                  </a:cxn>
                  <a:cxn ang="0">
                    <a:pos x="111" y="841"/>
                  </a:cxn>
                  <a:cxn ang="0">
                    <a:pos x="29" y="691"/>
                  </a:cxn>
                  <a:cxn ang="0">
                    <a:pos x="0" y="519"/>
                  </a:cxn>
                  <a:cxn ang="0">
                    <a:pos x="9" y="414"/>
                  </a:cxn>
                  <a:cxn ang="0">
                    <a:pos x="51" y="293"/>
                  </a:cxn>
                  <a:cxn ang="0">
                    <a:pos x="117" y="188"/>
                  </a:cxn>
                  <a:cxn ang="0">
                    <a:pos x="208" y="102"/>
                  </a:cxn>
                  <a:cxn ang="0">
                    <a:pos x="317" y="40"/>
                  </a:cxn>
                  <a:cxn ang="0">
                    <a:pos x="440" y="5"/>
                  </a:cxn>
                  <a:cxn ang="0">
                    <a:pos x="546" y="0"/>
                  </a:cxn>
                  <a:cxn ang="0">
                    <a:pos x="675" y="22"/>
                  </a:cxn>
                  <a:cxn ang="0">
                    <a:pos x="790" y="74"/>
                  </a:cxn>
                  <a:cxn ang="0">
                    <a:pos x="886" y="151"/>
                  </a:cxn>
                  <a:cxn ang="0">
                    <a:pos x="964" y="249"/>
                  </a:cxn>
                  <a:cxn ang="0">
                    <a:pos x="1015" y="364"/>
                  </a:cxn>
                  <a:cxn ang="0">
                    <a:pos x="1039" y="493"/>
                  </a:cxn>
                  <a:cxn ang="0">
                    <a:pos x="1029" y="625"/>
                  </a:cxn>
                  <a:cxn ang="0">
                    <a:pos x="967" y="784"/>
                  </a:cxn>
                  <a:cxn ang="0">
                    <a:pos x="856" y="915"/>
                  </a:cxn>
                  <a:cxn ang="0">
                    <a:pos x="762" y="981"/>
                  </a:cxn>
                  <a:cxn ang="0">
                    <a:pos x="752" y="1258"/>
                  </a:cxn>
                  <a:cxn ang="0">
                    <a:pos x="740" y="1309"/>
                  </a:cxn>
                  <a:cxn ang="0">
                    <a:pos x="705" y="1345"/>
                  </a:cxn>
                  <a:cxn ang="0">
                    <a:pos x="656" y="1363"/>
                  </a:cxn>
                </a:cxnLst>
                <a:rect l="0" t="0" r="r" b="b"/>
                <a:pathLst>
                  <a:path w="1039" h="1418">
                    <a:moveTo>
                      <a:pt x="386" y="1003"/>
                    </a:moveTo>
                    <a:lnTo>
                      <a:pt x="386" y="1003"/>
                    </a:lnTo>
                    <a:lnTo>
                      <a:pt x="389" y="1011"/>
                    </a:lnTo>
                    <a:lnTo>
                      <a:pt x="392" y="1018"/>
                    </a:lnTo>
                    <a:lnTo>
                      <a:pt x="397" y="1025"/>
                    </a:lnTo>
                    <a:lnTo>
                      <a:pt x="404" y="1032"/>
                    </a:lnTo>
                    <a:lnTo>
                      <a:pt x="413" y="1036"/>
                    </a:lnTo>
                    <a:lnTo>
                      <a:pt x="421" y="1039"/>
                    </a:lnTo>
                    <a:lnTo>
                      <a:pt x="431" y="1042"/>
                    </a:lnTo>
                    <a:lnTo>
                      <a:pt x="440" y="1043"/>
                    </a:lnTo>
                    <a:lnTo>
                      <a:pt x="598" y="1043"/>
                    </a:lnTo>
                    <a:lnTo>
                      <a:pt x="598" y="1043"/>
                    </a:lnTo>
                    <a:lnTo>
                      <a:pt x="608" y="1042"/>
                    </a:lnTo>
                    <a:lnTo>
                      <a:pt x="618" y="1039"/>
                    </a:lnTo>
                    <a:lnTo>
                      <a:pt x="626" y="1036"/>
                    </a:lnTo>
                    <a:lnTo>
                      <a:pt x="634" y="1032"/>
                    </a:lnTo>
                    <a:lnTo>
                      <a:pt x="641" y="1025"/>
                    </a:lnTo>
                    <a:lnTo>
                      <a:pt x="647" y="1018"/>
                    </a:lnTo>
                    <a:lnTo>
                      <a:pt x="650" y="1011"/>
                    </a:lnTo>
                    <a:lnTo>
                      <a:pt x="652" y="1001"/>
                    </a:lnTo>
                    <a:lnTo>
                      <a:pt x="652" y="1001"/>
                    </a:lnTo>
                    <a:lnTo>
                      <a:pt x="655" y="985"/>
                    </a:lnTo>
                    <a:lnTo>
                      <a:pt x="659" y="967"/>
                    </a:lnTo>
                    <a:lnTo>
                      <a:pt x="665" y="951"/>
                    </a:lnTo>
                    <a:lnTo>
                      <a:pt x="673" y="936"/>
                    </a:lnTo>
                    <a:lnTo>
                      <a:pt x="681" y="921"/>
                    </a:lnTo>
                    <a:lnTo>
                      <a:pt x="693" y="909"/>
                    </a:lnTo>
                    <a:lnTo>
                      <a:pt x="706" y="897"/>
                    </a:lnTo>
                    <a:lnTo>
                      <a:pt x="722" y="888"/>
                    </a:lnTo>
                    <a:lnTo>
                      <a:pt x="722" y="888"/>
                    </a:lnTo>
                    <a:lnTo>
                      <a:pt x="747" y="874"/>
                    </a:lnTo>
                    <a:lnTo>
                      <a:pt x="769" y="857"/>
                    </a:lnTo>
                    <a:lnTo>
                      <a:pt x="791" y="839"/>
                    </a:lnTo>
                    <a:lnTo>
                      <a:pt x="812" y="821"/>
                    </a:lnTo>
                    <a:lnTo>
                      <a:pt x="831" y="800"/>
                    </a:lnTo>
                    <a:lnTo>
                      <a:pt x="849" y="780"/>
                    </a:lnTo>
                    <a:lnTo>
                      <a:pt x="866" y="758"/>
                    </a:lnTo>
                    <a:lnTo>
                      <a:pt x="881" y="734"/>
                    </a:lnTo>
                    <a:lnTo>
                      <a:pt x="895" y="709"/>
                    </a:lnTo>
                    <a:lnTo>
                      <a:pt x="906" y="684"/>
                    </a:lnTo>
                    <a:lnTo>
                      <a:pt x="916" y="658"/>
                    </a:lnTo>
                    <a:lnTo>
                      <a:pt x="924" y="631"/>
                    </a:lnTo>
                    <a:lnTo>
                      <a:pt x="931" y="604"/>
                    </a:lnTo>
                    <a:lnTo>
                      <a:pt x="936" y="576"/>
                    </a:lnTo>
                    <a:lnTo>
                      <a:pt x="939" y="548"/>
                    </a:lnTo>
                    <a:lnTo>
                      <a:pt x="939" y="519"/>
                    </a:lnTo>
                    <a:lnTo>
                      <a:pt x="939" y="519"/>
                    </a:lnTo>
                    <a:lnTo>
                      <a:pt x="939" y="497"/>
                    </a:lnTo>
                    <a:lnTo>
                      <a:pt x="938" y="476"/>
                    </a:lnTo>
                    <a:lnTo>
                      <a:pt x="935" y="455"/>
                    </a:lnTo>
                    <a:lnTo>
                      <a:pt x="931" y="435"/>
                    </a:lnTo>
                    <a:lnTo>
                      <a:pt x="927" y="414"/>
                    </a:lnTo>
                    <a:lnTo>
                      <a:pt x="921" y="395"/>
                    </a:lnTo>
                    <a:lnTo>
                      <a:pt x="914" y="375"/>
                    </a:lnTo>
                    <a:lnTo>
                      <a:pt x="907" y="356"/>
                    </a:lnTo>
                    <a:lnTo>
                      <a:pt x="898" y="336"/>
                    </a:lnTo>
                    <a:lnTo>
                      <a:pt x="889" y="318"/>
                    </a:lnTo>
                    <a:lnTo>
                      <a:pt x="878" y="302"/>
                    </a:lnTo>
                    <a:lnTo>
                      <a:pt x="868" y="284"/>
                    </a:lnTo>
                    <a:lnTo>
                      <a:pt x="856" y="267"/>
                    </a:lnTo>
                    <a:lnTo>
                      <a:pt x="844" y="252"/>
                    </a:lnTo>
                    <a:lnTo>
                      <a:pt x="831" y="237"/>
                    </a:lnTo>
                    <a:lnTo>
                      <a:pt x="816" y="221"/>
                    </a:lnTo>
                    <a:lnTo>
                      <a:pt x="802" y="207"/>
                    </a:lnTo>
                    <a:lnTo>
                      <a:pt x="787" y="195"/>
                    </a:lnTo>
                    <a:lnTo>
                      <a:pt x="770" y="183"/>
                    </a:lnTo>
                    <a:lnTo>
                      <a:pt x="755" y="170"/>
                    </a:lnTo>
                    <a:lnTo>
                      <a:pt x="737" y="159"/>
                    </a:lnTo>
                    <a:lnTo>
                      <a:pt x="720" y="149"/>
                    </a:lnTo>
                    <a:lnTo>
                      <a:pt x="702" y="140"/>
                    </a:lnTo>
                    <a:lnTo>
                      <a:pt x="683" y="131"/>
                    </a:lnTo>
                    <a:lnTo>
                      <a:pt x="663" y="124"/>
                    </a:lnTo>
                    <a:lnTo>
                      <a:pt x="644" y="117"/>
                    </a:lnTo>
                    <a:lnTo>
                      <a:pt x="625" y="112"/>
                    </a:lnTo>
                    <a:lnTo>
                      <a:pt x="604" y="108"/>
                    </a:lnTo>
                    <a:lnTo>
                      <a:pt x="583" y="104"/>
                    </a:lnTo>
                    <a:lnTo>
                      <a:pt x="562" y="101"/>
                    </a:lnTo>
                    <a:lnTo>
                      <a:pt x="541" y="99"/>
                    </a:lnTo>
                    <a:lnTo>
                      <a:pt x="519" y="99"/>
                    </a:lnTo>
                    <a:lnTo>
                      <a:pt x="519" y="99"/>
                    </a:lnTo>
                    <a:lnTo>
                      <a:pt x="497" y="99"/>
                    </a:lnTo>
                    <a:lnTo>
                      <a:pt x="476" y="101"/>
                    </a:lnTo>
                    <a:lnTo>
                      <a:pt x="456" y="104"/>
                    </a:lnTo>
                    <a:lnTo>
                      <a:pt x="435" y="108"/>
                    </a:lnTo>
                    <a:lnTo>
                      <a:pt x="414" y="112"/>
                    </a:lnTo>
                    <a:lnTo>
                      <a:pt x="395" y="117"/>
                    </a:lnTo>
                    <a:lnTo>
                      <a:pt x="375" y="124"/>
                    </a:lnTo>
                    <a:lnTo>
                      <a:pt x="356" y="131"/>
                    </a:lnTo>
                    <a:lnTo>
                      <a:pt x="336" y="140"/>
                    </a:lnTo>
                    <a:lnTo>
                      <a:pt x="318" y="149"/>
                    </a:lnTo>
                    <a:lnTo>
                      <a:pt x="302" y="159"/>
                    </a:lnTo>
                    <a:lnTo>
                      <a:pt x="284" y="170"/>
                    </a:lnTo>
                    <a:lnTo>
                      <a:pt x="267" y="183"/>
                    </a:lnTo>
                    <a:lnTo>
                      <a:pt x="252" y="195"/>
                    </a:lnTo>
                    <a:lnTo>
                      <a:pt x="237" y="207"/>
                    </a:lnTo>
                    <a:lnTo>
                      <a:pt x="221" y="221"/>
                    </a:lnTo>
                    <a:lnTo>
                      <a:pt x="208" y="237"/>
                    </a:lnTo>
                    <a:lnTo>
                      <a:pt x="195" y="252"/>
                    </a:lnTo>
                    <a:lnTo>
                      <a:pt x="183" y="267"/>
                    </a:lnTo>
                    <a:lnTo>
                      <a:pt x="170" y="284"/>
                    </a:lnTo>
                    <a:lnTo>
                      <a:pt x="160" y="302"/>
                    </a:lnTo>
                    <a:lnTo>
                      <a:pt x="149" y="318"/>
                    </a:lnTo>
                    <a:lnTo>
                      <a:pt x="141" y="336"/>
                    </a:lnTo>
                    <a:lnTo>
                      <a:pt x="131" y="356"/>
                    </a:lnTo>
                    <a:lnTo>
                      <a:pt x="124" y="375"/>
                    </a:lnTo>
                    <a:lnTo>
                      <a:pt x="117" y="395"/>
                    </a:lnTo>
                    <a:lnTo>
                      <a:pt x="112" y="414"/>
                    </a:lnTo>
                    <a:lnTo>
                      <a:pt x="108" y="435"/>
                    </a:lnTo>
                    <a:lnTo>
                      <a:pt x="104" y="455"/>
                    </a:lnTo>
                    <a:lnTo>
                      <a:pt x="101" y="476"/>
                    </a:lnTo>
                    <a:lnTo>
                      <a:pt x="99" y="497"/>
                    </a:lnTo>
                    <a:lnTo>
                      <a:pt x="99" y="519"/>
                    </a:lnTo>
                    <a:lnTo>
                      <a:pt x="99" y="519"/>
                    </a:lnTo>
                    <a:lnTo>
                      <a:pt x="99" y="548"/>
                    </a:lnTo>
                    <a:lnTo>
                      <a:pt x="102" y="576"/>
                    </a:lnTo>
                    <a:lnTo>
                      <a:pt x="108" y="604"/>
                    </a:lnTo>
                    <a:lnTo>
                      <a:pt x="115" y="631"/>
                    </a:lnTo>
                    <a:lnTo>
                      <a:pt x="123" y="658"/>
                    </a:lnTo>
                    <a:lnTo>
                      <a:pt x="133" y="684"/>
                    </a:lnTo>
                    <a:lnTo>
                      <a:pt x="144" y="709"/>
                    </a:lnTo>
                    <a:lnTo>
                      <a:pt x="158" y="734"/>
                    </a:lnTo>
                    <a:lnTo>
                      <a:pt x="173" y="758"/>
                    </a:lnTo>
                    <a:lnTo>
                      <a:pt x="190" y="780"/>
                    </a:lnTo>
                    <a:lnTo>
                      <a:pt x="208" y="800"/>
                    </a:lnTo>
                    <a:lnTo>
                      <a:pt x="227" y="821"/>
                    </a:lnTo>
                    <a:lnTo>
                      <a:pt x="248" y="839"/>
                    </a:lnTo>
                    <a:lnTo>
                      <a:pt x="270" y="857"/>
                    </a:lnTo>
                    <a:lnTo>
                      <a:pt x="293" y="874"/>
                    </a:lnTo>
                    <a:lnTo>
                      <a:pt x="317" y="888"/>
                    </a:lnTo>
                    <a:lnTo>
                      <a:pt x="317" y="888"/>
                    </a:lnTo>
                    <a:lnTo>
                      <a:pt x="332" y="897"/>
                    </a:lnTo>
                    <a:lnTo>
                      <a:pt x="346" y="909"/>
                    </a:lnTo>
                    <a:lnTo>
                      <a:pt x="357" y="922"/>
                    </a:lnTo>
                    <a:lnTo>
                      <a:pt x="366" y="936"/>
                    </a:lnTo>
                    <a:lnTo>
                      <a:pt x="374" y="951"/>
                    </a:lnTo>
                    <a:lnTo>
                      <a:pt x="379" y="967"/>
                    </a:lnTo>
                    <a:lnTo>
                      <a:pt x="384" y="985"/>
                    </a:lnTo>
                    <a:lnTo>
                      <a:pt x="386" y="1003"/>
                    </a:lnTo>
                    <a:lnTo>
                      <a:pt x="386" y="1003"/>
                    </a:lnTo>
                    <a:close/>
                    <a:moveTo>
                      <a:pt x="618" y="1363"/>
                    </a:moveTo>
                    <a:lnTo>
                      <a:pt x="618" y="1363"/>
                    </a:lnTo>
                    <a:lnTo>
                      <a:pt x="614" y="1375"/>
                    </a:lnTo>
                    <a:lnTo>
                      <a:pt x="608" y="1385"/>
                    </a:lnTo>
                    <a:lnTo>
                      <a:pt x="601" y="1395"/>
                    </a:lnTo>
                    <a:lnTo>
                      <a:pt x="591" y="1403"/>
                    </a:lnTo>
                    <a:lnTo>
                      <a:pt x="582" y="1410"/>
                    </a:lnTo>
                    <a:lnTo>
                      <a:pt x="571" y="1414"/>
                    </a:lnTo>
                    <a:lnTo>
                      <a:pt x="559" y="1418"/>
                    </a:lnTo>
                    <a:lnTo>
                      <a:pt x="547" y="1418"/>
                    </a:lnTo>
                    <a:lnTo>
                      <a:pt x="492" y="1418"/>
                    </a:lnTo>
                    <a:lnTo>
                      <a:pt x="492" y="1418"/>
                    </a:lnTo>
                    <a:lnTo>
                      <a:pt x="479" y="1418"/>
                    </a:lnTo>
                    <a:lnTo>
                      <a:pt x="467" y="1414"/>
                    </a:lnTo>
                    <a:lnTo>
                      <a:pt x="457" y="1410"/>
                    </a:lnTo>
                    <a:lnTo>
                      <a:pt x="446" y="1403"/>
                    </a:lnTo>
                    <a:lnTo>
                      <a:pt x="438" y="1395"/>
                    </a:lnTo>
                    <a:lnTo>
                      <a:pt x="431" y="1385"/>
                    </a:lnTo>
                    <a:lnTo>
                      <a:pt x="425" y="1375"/>
                    </a:lnTo>
                    <a:lnTo>
                      <a:pt x="421" y="1363"/>
                    </a:lnTo>
                    <a:lnTo>
                      <a:pt x="393" y="1363"/>
                    </a:lnTo>
                    <a:lnTo>
                      <a:pt x="393" y="1363"/>
                    </a:lnTo>
                    <a:lnTo>
                      <a:pt x="382" y="1363"/>
                    </a:lnTo>
                    <a:lnTo>
                      <a:pt x="371" y="1362"/>
                    </a:lnTo>
                    <a:lnTo>
                      <a:pt x="361" y="1359"/>
                    </a:lnTo>
                    <a:lnTo>
                      <a:pt x="352" y="1355"/>
                    </a:lnTo>
                    <a:lnTo>
                      <a:pt x="342" y="1350"/>
                    </a:lnTo>
                    <a:lnTo>
                      <a:pt x="334" y="1345"/>
                    </a:lnTo>
                    <a:lnTo>
                      <a:pt x="325" y="1339"/>
                    </a:lnTo>
                    <a:lnTo>
                      <a:pt x="318" y="1332"/>
                    </a:lnTo>
                    <a:lnTo>
                      <a:pt x="311" y="1326"/>
                    </a:lnTo>
                    <a:lnTo>
                      <a:pt x="305" y="1317"/>
                    </a:lnTo>
                    <a:lnTo>
                      <a:pt x="299" y="1309"/>
                    </a:lnTo>
                    <a:lnTo>
                      <a:pt x="295" y="1299"/>
                    </a:lnTo>
                    <a:lnTo>
                      <a:pt x="292" y="1290"/>
                    </a:lnTo>
                    <a:lnTo>
                      <a:pt x="289" y="1280"/>
                    </a:lnTo>
                    <a:lnTo>
                      <a:pt x="287" y="1269"/>
                    </a:lnTo>
                    <a:lnTo>
                      <a:pt x="287" y="1258"/>
                    </a:lnTo>
                    <a:lnTo>
                      <a:pt x="288" y="1006"/>
                    </a:lnTo>
                    <a:lnTo>
                      <a:pt x="288" y="1006"/>
                    </a:lnTo>
                    <a:lnTo>
                      <a:pt x="287" y="996"/>
                    </a:lnTo>
                    <a:lnTo>
                      <a:pt x="282" y="987"/>
                    </a:lnTo>
                    <a:lnTo>
                      <a:pt x="277" y="981"/>
                    </a:lnTo>
                    <a:lnTo>
                      <a:pt x="270" y="975"/>
                    </a:lnTo>
                    <a:lnTo>
                      <a:pt x="270" y="975"/>
                    </a:lnTo>
                    <a:lnTo>
                      <a:pt x="239" y="957"/>
                    </a:lnTo>
                    <a:lnTo>
                      <a:pt x="210" y="938"/>
                    </a:lnTo>
                    <a:lnTo>
                      <a:pt x="183" y="915"/>
                    </a:lnTo>
                    <a:lnTo>
                      <a:pt x="158" y="892"/>
                    </a:lnTo>
                    <a:lnTo>
                      <a:pt x="133" y="867"/>
                    </a:lnTo>
                    <a:lnTo>
                      <a:pt x="111" y="841"/>
                    </a:lnTo>
                    <a:lnTo>
                      <a:pt x="91" y="813"/>
                    </a:lnTo>
                    <a:lnTo>
                      <a:pt x="72" y="784"/>
                    </a:lnTo>
                    <a:lnTo>
                      <a:pt x="55" y="755"/>
                    </a:lnTo>
                    <a:lnTo>
                      <a:pt x="41" y="723"/>
                    </a:lnTo>
                    <a:lnTo>
                      <a:pt x="29" y="691"/>
                    </a:lnTo>
                    <a:lnTo>
                      <a:pt x="18" y="658"/>
                    </a:lnTo>
                    <a:lnTo>
                      <a:pt x="9" y="625"/>
                    </a:lnTo>
                    <a:lnTo>
                      <a:pt x="4" y="590"/>
                    </a:lnTo>
                    <a:lnTo>
                      <a:pt x="1" y="554"/>
                    </a:lnTo>
                    <a:lnTo>
                      <a:pt x="0" y="519"/>
                    </a:lnTo>
                    <a:lnTo>
                      <a:pt x="0" y="519"/>
                    </a:lnTo>
                    <a:lnTo>
                      <a:pt x="0" y="493"/>
                    </a:lnTo>
                    <a:lnTo>
                      <a:pt x="2" y="465"/>
                    </a:lnTo>
                    <a:lnTo>
                      <a:pt x="5" y="440"/>
                    </a:lnTo>
                    <a:lnTo>
                      <a:pt x="9" y="414"/>
                    </a:lnTo>
                    <a:lnTo>
                      <a:pt x="15" y="389"/>
                    </a:lnTo>
                    <a:lnTo>
                      <a:pt x="23" y="364"/>
                    </a:lnTo>
                    <a:lnTo>
                      <a:pt x="30" y="340"/>
                    </a:lnTo>
                    <a:lnTo>
                      <a:pt x="40" y="317"/>
                    </a:lnTo>
                    <a:lnTo>
                      <a:pt x="51" y="293"/>
                    </a:lnTo>
                    <a:lnTo>
                      <a:pt x="62" y="271"/>
                    </a:lnTo>
                    <a:lnTo>
                      <a:pt x="75" y="249"/>
                    </a:lnTo>
                    <a:lnTo>
                      <a:pt x="88" y="228"/>
                    </a:lnTo>
                    <a:lnTo>
                      <a:pt x="102" y="207"/>
                    </a:lnTo>
                    <a:lnTo>
                      <a:pt x="117" y="188"/>
                    </a:lnTo>
                    <a:lnTo>
                      <a:pt x="134" y="170"/>
                    </a:lnTo>
                    <a:lnTo>
                      <a:pt x="152" y="151"/>
                    </a:lnTo>
                    <a:lnTo>
                      <a:pt x="170" y="134"/>
                    </a:lnTo>
                    <a:lnTo>
                      <a:pt x="188" y="117"/>
                    </a:lnTo>
                    <a:lnTo>
                      <a:pt x="208" y="102"/>
                    </a:lnTo>
                    <a:lnTo>
                      <a:pt x="228" y="88"/>
                    </a:lnTo>
                    <a:lnTo>
                      <a:pt x="249" y="74"/>
                    </a:lnTo>
                    <a:lnTo>
                      <a:pt x="271" y="62"/>
                    </a:lnTo>
                    <a:lnTo>
                      <a:pt x="293" y="51"/>
                    </a:lnTo>
                    <a:lnTo>
                      <a:pt x="317" y="40"/>
                    </a:lnTo>
                    <a:lnTo>
                      <a:pt x="341" y="30"/>
                    </a:lnTo>
                    <a:lnTo>
                      <a:pt x="364" y="22"/>
                    </a:lnTo>
                    <a:lnTo>
                      <a:pt x="389" y="15"/>
                    </a:lnTo>
                    <a:lnTo>
                      <a:pt x="414" y="9"/>
                    </a:lnTo>
                    <a:lnTo>
                      <a:pt x="440" y="5"/>
                    </a:lnTo>
                    <a:lnTo>
                      <a:pt x="467" y="1"/>
                    </a:lnTo>
                    <a:lnTo>
                      <a:pt x="493" y="0"/>
                    </a:lnTo>
                    <a:lnTo>
                      <a:pt x="519" y="0"/>
                    </a:lnTo>
                    <a:lnTo>
                      <a:pt x="519" y="0"/>
                    </a:lnTo>
                    <a:lnTo>
                      <a:pt x="546" y="0"/>
                    </a:lnTo>
                    <a:lnTo>
                      <a:pt x="572" y="1"/>
                    </a:lnTo>
                    <a:lnTo>
                      <a:pt x="598" y="5"/>
                    </a:lnTo>
                    <a:lnTo>
                      <a:pt x="625" y="9"/>
                    </a:lnTo>
                    <a:lnTo>
                      <a:pt x="650" y="15"/>
                    </a:lnTo>
                    <a:lnTo>
                      <a:pt x="675" y="22"/>
                    </a:lnTo>
                    <a:lnTo>
                      <a:pt x="698" y="30"/>
                    </a:lnTo>
                    <a:lnTo>
                      <a:pt x="722" y="40"/>
                    </a:lnTo>
                    <a:lnTo>
                      <a:pt x="745" y="51"/>
                    </a:lnTo>
                    <a:lnTo>
                      <a:pt x="767" y="62"/>
                    </a:lnTo>
                    <a:lnTo>
                      <a:pt x="790" y="74"/>
                    </a:lnTo>
                    <a:lnTo>
                      <a:pt x="810" y="88"/>
                    </a:lnTo>
                    <a:lnTo>
                      <a:pt x="831" y="102"/>
                    </a:lnTo>
                    <a:lnTo>
                      <a:pt x="850" y="117"/>
                    </a:lnTo>
                    <a:lnTo>
                      <a:pt x="868" y="134"/>
                    </a:lnTo>
                    <a:lnTo>
                      <a:pt x="886" y="151"/>
                    </a:lnTo>
                    <a:lnTo>
                      <a:pt x="905" y="170"/>
                    </a:lnTo>
                    <a:lnTo>
                      <a:pt x="921" y="188"/>
                    </a:lnTo>
                    <a:lnTo>
                      <a:pt x="936" y="207"/>
                    </a:lnTo>
                    <a:lnTo>
                      <a:pt x="950" y="228"/>
                    </a:lnTo>
                    <a:lnTo>
                      <a:pt x="964" y="249"/>
                    </a:lnTo>
                    <a:lnTo>
                      <a:pt x="977" y="271"/>
                    </a:lnTo>
                    <a:lnTo>
                      <a:pt x="988" y="293"/>
                    </a:lnTo>
                    <a:lnTo>
                      <a:pt x="999" y="317"/>
                    </a:lnTo>
                    <a:lnTo>
                      <a:pt x="1008" y="340"/>
                    </a:lnTo>
                    <a:lnTo>
                      <a:pt x="1015" y="364"/>
                    </a:lnTo>
                    <a:lnTo>
                      <a:pt x="1024" y="389"/>
                    </a:lnTo>
                    <a:lnTo>
                      <a:pt x="1029" y="414"/>
                    </a:lnTo>
                    <a:lnTo>
                      <a:pt x="1033" y="440"/>
                    </a:lnTo>
                    <a:lnTo>
                      <a:pt x="1036" y="465"/>
                    </a:lnTo>
                    <a:lnTo>
                      <a:pt x="1039" y="493"/>
                    </a:lnTo>
                    <a:lnTo>
                      <a:pt x="1039" y="519"/>
                    </a:lnTo>
                    <a:lnTo>
                      <a:pt x="1039" y="519"/>
                    </a:lnTo>
                    <a:lnTo>
                      <a:pt x="1038" y="554"/>
                    </a:lnTo>
                    <a:lnTo>
                      <a:pt x="1035" y="590"/>
                    </a:lnTo>
                    <a:lnTo>
                      <a:pt x="1029" y="625"/>
                    </a:lnTo>
                    <a:lnTo>
                      <a:pt x="1021" y="658"/>
                    </a:lnTo>
                    <a:lnTo>
                      <a:pt x="1010" y="691"/>
                    </a:lnTo>
                    <a:lnTo>
                      <a:pt x="997" y="723"/>
                    </a:lnTo>
                    <a:lnTo>
                      <a:pt x="983" y="755"/>
                    </a:lnTo>
                    <a:lnTo>
                      <a:pt x="967" y="784"/>
                    </a:lnTo>
                    <a:lnTo>
                      <a:pt x="947" y="813"/>
                    </a:lnTo>
                    <a:lnTo>
                      <a:pt x="928" y="841"/>
                    </a:lnTo>
                    <a:lnTo>
                      <a:pt x="906" y="867"/>
                    </a:lnTo>
                    <a:lnTo>
                      <a:pt x="881" y="892"/>
                    </a:lnTo>
                    <a:lnTo>
                      <a:pt x="856" y="915"/>
                    </a:lnTo>
                    <a:lnTo>
                      <a:pt x="828" y="938"/>
                    </a:lnTo>
                    <a:lnTo>
                      <a:pt x="799" y="957"/>
                    </a:lnTo>
                    <a:lnTo>
                      <a:pt x="769" y="975"/>
                    </a:lnTo>
                    <a:lnTo>
                      <a:pt x="769" y="975"/>
                    </a:lnTo>
                    <a:lnTo>
                      <a:pt x="762" y="981"/>
                    </a:lnTo>
                    <a:lnTo>
                      <a:pt x="756" y="987"/>
                    </a:lnTo>
                    <a:lnTo>
                      <a:pt x="752" y="996"/>
                    </a:lnTo>
                    <a:lnTo>
                      <a:pt x="752" y="1006"/>
                    </a:lnTo>
                    <a:lnTo>
                      <a:pt x="752" y="1258"/>
                    </a:lnTo>
                    <a:lnTo>
                      <a:pt x="752" y="1258"/>
                    </a:lnTo>
                    <a:lnTo>
                      <a:pt x="752" y="1269"/>
                    </a:lnTo>
                    <a:lnTo>
                      <a:pt x="749" y="1280"/>
                    </a:lnTo>
                    <a:lnTo>
                      <a:pt x="748" y="1290"/>
                    </a:lnTo>
                    <a:lnTo>
                      <a:pt x="744" y="1299"/>
                    </a:lnTo>
                    <a:lnTo>
                      <a:pt x="740" y="1309"/>
                    </a:lnTo>
                    <a:lnTo>
                      <a:pt x="734" y="1317"/>
                    </a:lnTo>
                    <a:lnTo>
                      <a:pt x="727" y="1326"/>
                    </a:lnTo>
                    <a:lnTo>
                      <a:pt x="720" y="1332"/>
                    </a:lnTo>
                    <a:lnTo>
                      <a:pt x="713" y="1339"/>
                    </a:lnTo>
                    <a:lnTo>
                      <a:pt x="705" y="1345"/>
                    </a:lnTo>
                    <a:lnTo>
                      <a:pt x="697" y="1350"/>
                    </a:lnTo>
                    <a:lnTo>
                      <a:pt x="687" y="1355"/>
                    </a:lnTo>
                    <a:lnTo>
                      <a:pt x="677" y="1359"/>
                    </a:lnTo>
                    <a:lnTo>
                      <a:pt x="668" y="1362"/>
                    </a:lnTo>
                    <a:lnTo>
                      <a:pt x="656" y="1363"/>
                    </a:lnTo>
                    <a:lnTo>
                      <a:pt x="645" y="1363"/>
                    </a:lnTo>
                    <a:lnTo>
                      <a:pt x="618" y="1363"/>
                    </a:lnTo>
                    <a:lnTo>
                      <a:pt x="618" y="136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sp>
            <p:nvSpPr>
              <p:cNvPr id="252" name="Freeform 155">
                <a:extLst>
                  <a:ext uri="{FF2B5EF4-FFF2-40B4-BE49-F238E27FC236}">
                    <a16:creationId xmlns:a16="http://schemas.microsoft.com/office/drawing/2014/main" id="{17EEF25A-F9D2-7E9D-2764-C154E36212D0}"/>
                  </a:ext>
                </a:extLst>
              </p:cNvPr>
              <p:cNvSpPr>
                <a:spLocks noEditPoints="1"/>
              </p:cNvSpPr>
              <p:nvPr/>
            </p:nvSpPr>
            <p:spPr bwMode="auto">
              <a:xfrm>
                <a:off x="-9242425" y="1787525"/>
                <a:ext cx="1130300" cy="592138"/>
              </a:xfrm>
              <a:custGeom>
                <a:avLst/>
                <a:gdLst/>
                <a:ahLst/>
                <a:cxnLst>
                  <a:cxn ang="0">
                    <a:pos x="1210" y="695"/>
                  </a:cxn>
                  <a:cxn ang="0">
                    <a:pos x="1203" y="672"/>
                  </a:cxn>
                  <a:cxn ang="0">
                    <a:pos x="1211" y="654"/>
                  </a:cxn>
                  <a:cxn ang="0">
                    <a:pos x="1235" y="643"/>
                  </a:cxn>
                  <a:cxn ang="0">
                    <a:pos x="1316" y="684"/>
                  </a:cxn>
                  <a:cxn ang="0">
                    <a:pos x="1330" y="698"/>
                  </a:cxn>
                  <a:cxn ang="0">
                    <a:pos x="1332" y="723"/>
                  </a:cxn>
                  <a:cxn ang="0">
                    <a:pos x="1321" y="738"/>
                  </a:cxn>
                  <a:cxn ang="0">
                    <a:pos x="1296" y="745"/>
                  </a:cxn>
                  <a:cxn ang="0">
                    <a:pos x="1219" y="704"/>
                  </a:cxn>
                  <a:cxn ang="0">
                    <a:pos x="1240" y="104"/>
                  </a:cxn>
                  <a:cxn ang="0">
                    <a:pos x="1217" y="97"/>
                  </a:cxn>
                  <a:cxn ang="0">
                    <a:pos x="1204" y="80"/>
                  </a:cxn>
                  <a:cxn ang="0">
                    <a:pos x="1207" y="55"/>
                  </a:cxn>
                  <a:cxn ang="0">
                    <a:pos x="1283" y="4"/>
                  </a:cxn>
                  <a:cxn ang="0">
                    <a:pos x="1303" y="0"/>
                  </a:cxn>
                  <a:cxn ang="0">
                    <a:pos x="1325" y="11"/>
                  </a:cxn>
                  <a:cxn ang="0">
                    <a:pos x="1333" y="29"/>
                  </a:cxn>
                  <a:cxn ang="0">
                    <a:pos x="1328" y="54"/>
                  </a:cxn>
                  <a:cxn ang="0">
                    <a:pos x="1253" y="100"/>
                  </a:cxn>
                  <a:cxn ang="0">
                    <a:pos x="1304" y="403"/>
                  </a:cxn>
                  <a:cxn ang="0">
                    <a:pos x="1287" y="387"/>
                  </a:cxn>
                  <a:cxn ang="0">
                    <a:pos x="1285" y="366"/>
                  </a:cxn>
                  <a:cxn ang="0">
                    <a:pos x="1298" y="345"/>
                  </a:cxn>
                  <a:cxn ang="0">
                    <a:pos x="1391" y="339"/>
                  </a:cxn>
                  <a:cxn ang="0">
                    <a:pos x="1409" y="345"/>
                  </a:cxn>
                  <a:cxn ang="0">
                    <a:pos x="1425" y="366"/>
                  </a:cxn>
                  <a:cxn ang="0">
                    <a:pos x="1422" y="387"/>
                  </a:cxn>
                  <a:cxn ang="0">
                    <a:pos x="1404" y="403"/>
                  </a:cxn>
                  <a:cxn ang="0">
                    <a:pos x="1318" y="406"/>
                  </a:cxn>
                  <a:cxn ang="0">
                    <a:pos x="215" y="50"/>
                  </a:cxn>
                  <a:cxn ang="0">
                    <a:pos x="222" y="75"/>
                  </a:cxn>
                  <a:cxn ang="0">
                    <a:pos x="213" y="93"/>
                  </a:cxn>
                  <a:cxn ang="0">
                    <a:pos x="190" y="104"/>
                  </a:cxn>
                  <a:cxn ang="0">
                    <a:pos x="108" y="62"/>
                  </a:cxn>
                  <a:cxn ang="0">
                    <a:pos x="94" y="48"/>
                  </a:cxn>
                  <a:cxn ang="0">
                    <a:pos x="93" y="24"/>
                  </a:cxn>
                  <a:cxn ang="0">
                    <a:pos x="104" y="7"/>
                  </a:cxn>
                  <a:cxn ang="0">
                    <a:pos x="129" y="0"/>
                  </a:cxn>
                  <a:cxn ang="0">
                    <a:pos x="205" y="42"/>
                  </a:cxn>
                  <a:cxn ang="0">
                    <a:pos x="184" y="643"/>
                  </a:cxn>
                  <a:cxn ang="0">
                    <a:pos x="208" y="648"/>
                  </a:cxn>
                  <a:cxn ang="0">
                    <a:pos x="220" y="665"/>
                  </a:cxn>
                  <a:cxn ang="0">
                    <a:pos x="218" y="690"/>
                  </a:cxn>
                  <a:cxn ang="0">
                    <a:pos x="141" y="741"/>
                  </a:cxn>
                  <a:cxn ang="0">
                    <a:pos x="122" y="745"/>
                  </a:cxn>
                  <a:cxn ang="0">
                    <a:pos x="100" y="734"/>
                  </a:cxn>
                  <a:cxn ang="0">
                    <a:pos x="92" y="716"/>
                  </a:cxn>
                  <a:cxn ang="0">
                    <a:pos x="97" y="693"/>
                  </a:cxn>
                  <a:cxn ang="0">
                    <a:pos x="172" y="647"/>
                  </a:cxn>
                  <a:cxn ang="0">
                    <a:pos x="121" y="342"/>
                  </a:cxn>
                  <a:cxn ang="0">
                    <a:pos x="137" y="360"/>
                  </a:cxn>
                  <a:cxn ang="0">
                    <a:pos x="140" y="380"/>
                  </a:cxn>
                  <a:cxn ang="0">
                    <a:pos x="126" y="400"/>
                  </a:cxn>
                  <a:cxn ang="0">
                    <a:pos x="33" y="406"/>
                  </a:cxn>
                  <a:cxn ang="0">
                    <a:pos x="15" y="400"/>
                  </a:cxn>
                  <a:cxn ang="0">
                    <a:pos x="0" y="380"/>
                  </a:cxn>
                  <a:cxn ang="0">
                    <a:pos x="3" y="360"/>
                  </a:cxn>
                  <a:cxn ang="0">
                    <a:pos x="21" y="342"/>
                  </a:cxn>
                  <a:cxn ang="0">
                    <a:pos x="107" y="339"/>
                  </a:cxn>
                </a:cxnLst>
                <a:rect l="0" t="0" r="r" b="b"/>
                <a:pathLst>
                  <a:path w="1425" h="745">
                    <a:moveTo>
                      <a:pt x="1219" y="704"/>
                    </a:moveTo>
                    <a:lnTo>
                      <a:pt x="1219" y="704"/>
                    </a:lnTo>
                    <a:lnTo>
                      <a:pt x="1214" y="700"/>
                    </a:lnTo>
                    <a:lnTo>
                      <a:pt x="1210" y="695"/>
                    </a:lnTo>
                    <a:lnTo>
                      <a:pt x="1207" y="690"/>
                    </a:lnTo>
                    <a:lnTo>
                      <a:pt x="1204" y="684"/>
                    </a:lnTo>
                    <a:lnTo>
                      <a:pt x="1203" y="677"/>
                    </a:lnTo>
                    <a:lnTo>
                      <a:pt x="1203" y="672"/>
                    </a:lnTo>
                    <a:lnTo>
                      <a:pt x="1204" y="665"/>
                    </a:lnTo>
                    <a:lnTo>
                      <a:pt x="1207" y="659"/>
                    </a:lnTo>
                    <a:lnTo>
                      <a:pt x="1207" y="659"/>
                    </a:lnTo>
                    <a:lnTo>
                      <a:pt x="1211" y="654"/>
                    </a:lnTo>
                    <a:lnTo>
                      <a:pt x="1217" y="648"/>
                    </a:lnTo>
                    <a:lnTo>
                      <a:pt x="1222" y="646"/>
                    </a:lnTo>
                    <a:lnTo>
                      <a:pt x="1228" y="643"/>
                    </a:lnTo>
                    <a:lnTo>
                      <a:pt x="1235" y="643"/>
                    </a:lnTo>
                    <a:lnTo>
                      <a:pt x="1240" y="643"/>
                    </a:lnTo>
                    <a:lnTo>
                      <a:pt x="1247" y="644"/>
                    </a:lnTo>
                    <a:lnTo>
                      <a:pt x="1253" y="647"/>
                    </a:lnTo>
                    <a:lnTo>
                      <a:pt x="1316" y="684"/>
                    </a:lnTo>
                    <a:lnTo>
                      <a:pt x="1316" y="684"/>
                    </a:lnTo>
                    <a:lnTo>
                      <a:pt x="1322" y="687"/>
                    </a:lnTo>
                    <a:lnTo>
                      <a:pt x="1328" y="693"/>
                    </a:lnTo>
                    <a:lnTo>
                      <a:pt x="1330" y="698"/>
                    </a:lnTo>
                    <a:lnTo>
                      <a:pt x="1333" y="704"/>
                    </a:lnTo>
                    <a:lnTo>
                      <a:pt x="1333" y="711"/>
                    </a:lnTo>
                    <a:lnTo>
                      <a:pt x="1333" y="716"/>
                    </a:lnTo>
                    <a:lnTo>
                      <a:pt x="1332" y="723"/>
                    </a:lnTo>
                    <a:lnTo>
                      <a:pt x="1329" y="729"/>
                    </a:lnTo>
                    <a:lnTo>
                      <a:pt x="1329" y="729"/>
                    </a:lnTo>
                    <a:lnTo>
                      <a:pt x="1325" y="734"/>
                    </a:lnTo>
                    <a:lnTo>
                      <a:pt x="1321" y="738"/>
                    </a:lnTo>
                    <a:lnTo>
                      <a:pt x="1315" y="743"/>
                    </a:lnTo>
                    <a:lnTo>
                      <a:pt x="1310" y="744"/>
                    </a:lnTo>
                    <a:lnTo>
                      <a:pt x="1303" y="745"/>
                    </a:lnTo>
                    <a:lnTo>
                      <a:pt x="1296" y="745"/>
                    </a:lnTo>
                    <a:lnTo>
                      <a:pt x="1290" y="744"/>
                    </a:lnTo>
                    <a:lnTo>
                      <a:pt x="1283" y="741"/>
                    </a:lnTo>
                    <a:lnTo>
                      <a:pt x="1219" y="704"/>
                    </a:lnTo>
                    <a:lnTo>
                      <a:pt x="1219" y="704"/>
                    </a:lnTo>
                    <a:close/>
                    <a:moveTo>
                      <a:pt x="1253" y="100"/>
                    </a:moveTo>
                    <a:lnTo>
                      <a:pt x="1253" y="100"/>
                    </a:lnTo>
                    <a:lnTo>
                      <a:pt x="1247" y="103"/>
                    </a:lnTo>
                    <a:lnTo>
                      <a:pt x="1240" y="104"/>
                    </a:lnTo>
                    <a:lnTo>
                      <a:pt x="1235" y="104"/>
                    </a:lnTo>
                    <a:lnTo>
                      <a:pt x="1228" y="103"/>
                    </a:lnTo>
                    <a:lnTo>
                      <a:pt x="1222" y="100"/>
                    </a:lnTo>
                    <a:lnTo>
                      <a:pt x="1217" y="97"/>
                    </a:lnTo>
                    <a:lnTo>
                      <a:pt x="1211" y="93"/>
                    </a:lnTo>
                    <a:lnTo>
                      <a:pt x="1207" y="87"/>
                    </a:lnTo>
                    <a:lnTo>
                      <a:pt x="1207" y="87"/>
                    </a:lnTo>
                    <a:lnTo>
                      <a:pt x="1204" y="80"/>
                    </a:lnTo>
                    <a:lnTo>
                      <a:pt x="1203" y="75"/>
                    </a:lnTo>
                    <a:lnTo>
                      <a:pt x="1203" y="68"/>
                    </a:lnTo>
                    <a:lnTo>
                      <a:pt x="1204" y="62"/>
                    </a:lnTo>
                    <a:lnTo>
                      <a:pt x="1207" y="55"/>
                    </a:lnTo>
                    <a:lnTo>
                      <a:pt x="1210" y="50"/>
                    </a:lnTo>
                    <a:lnTo>
                      <a:pt x="1214" y="46"/>
                    </a:lnTo>
                    <a:lnTo>
                      <a:pt x="1219" y="42"/>
                    </a:lnTo>
                    <a:lnTo>
                      <a:pt x="1283" y="4"/>
                    </a:lnTo>
                    <a:lnTo>
                      <a:pt x="1283" y="4"/>
                    </a:lnTo>
                    <a:lnTo>
                      <a:pt x="1290" y="1"/>
                    </a:lnTo>
                    <a:lnTo>
                      <a:pt x="1296" y="0"/>
                    </a:lnTo>
                    <a:lnTo>
                      <a:pt x="1303" y="0"/>
                    </a:lnTo>
                    <a:lnTo>
                      <a:pt x="1310" y="1"/>
                    </a:lnTo>
                    <a:lnTo>
                      <a:pt x="1315" y="4"/>
                    </a:lnTo>
                    <a:lnTo>
                      <a:pt x="1321" y="7"/>
                    </a:lnTo>
                    <a:lnTo>
                      <a:pt x="1325" y="11"/>
                    </a:lnTo>
                    <a:lnTo>
                      <a:pt x="1329" y="17"/>
                    </a:lnTo>
                    <a:lnTo>
                      <a:pt x="1329" y="17"/>
                    </a:lnTo>
                    <a:lnTo>
                      <a:pt x="1332" y="24"/>
                    </a:lnTo>
                    <a:lnTo>
                      <a:pt x="1333" y="29"/>
                    </a:lnTo>
                    <a:lnTo>
                      <a:pt x="1333" y="36"/>
                    </a:lnTo>
                    <a:lnTo>
                      <a:pt x="1333" y="42"/>
                    </a:lnTo>
                    <a:lnTo>
                      <a:pt x="1330" y="48"/>
                    </a:lnTo>
                    <a:lnTo>
                      <a:pt x="1328" y="54"/>
                    </a:lnTo>
                    <a:lnTo>
                      <a:pt x="1322" y="58"/>
                    </a:lnTo>
                    <a:lnTo>
                      <a:pt x="1316" y="62"/>
                    </a:lnTo>
                    <a:lnTo>
                      <a:pt x="1253" y="100"/>
                    </a:lnTo>
                    <a:lnTo>
                      <a:pt x="1253" y="100"/>
                    </a:lnTo>
                    <a:close/>
                    <a:moveTo>
                      <a:pt x="1318" y="406"/>
                    </a:moveTo>
                    <a:lnTo>
                      <a:pt x="1318" y="406"/>
                    </a:lnTo>
                    <a:lnTo>
                      <a:pt x="1311" y="406"/>
                    </a:lnTo>
                    <a:lnTo>
                      <a:pt x="1304" y="403"/>
                    </a:lnTo>
                    <a:lnTo>
                      <a:pt x="1298" y="400"/>
                    </a:lnTo>
                    <a:lnTo>
                      <a:pt x="1294" y="396"/>
                    </a:lnTo>
                    <a:lnTo>
                      <a:pt x="1290" y="392"/>
                    </a:lnTo>
                    <a:lnTo>
                      <a:pt x="1287" y="387"/>
                    </a:lnTo>
                    <a:lnTo>
                      <a:pt x="1285" y="380"/>
                    </a:lnTo>
                    <a:lnTo>
                      <a:pt x="1285" y="373"/>
                    </a:lnTo>
                    <a:lnTo>
                      <a:pt x="1285" y="373"/>
                    </a:lnTo>
                    <a:lnTo>
                      <a:pt x="1285" y="366"/>
                    </a:lnTo>
                    <a:lnTo>
                      <a:pt x="1287" y="360"/>
                    </a:lnTo>
                    <a:lnTo>
                      <a:pt x="1290" y="355"/>
                    </a:lnTo>
                    <a:lnTo>
                      <a:pt x="1294" y="349"/>
                    </a:lnTo>
                    <a:lnTo>
                      <a:pt x="1298" y="345"/>
                    </a:lnTo>
                    <a:lnTo>
                      <a:pt x="1304" y="342"/>
                    </a:lnTo>
                    <a:lnTo>
                      <a:pt x="1311" y="341"/>
                    </a:lnTo>
                    <a:lnTo>
                      <a:pt x="1318" y="339"/>
                    </a:lnTo>
                    <a:lnTo>
                      <a:pt x="1391" y="339"/>
                    </a:lnTo>
                    <a:lnTo>
                      <a:pt x="1391" y="339"/>
                    </a:lnTo>
                    <a:lnTo>
                      <a:pt x="1398" y="341"/>
                    </a:lnTo>
                    <a:lnTo>
                      <a:pt x="1404" y="342"/>
                    </a:lnTo>
                    <a:lnTo>
                      <a:pt x="1409" y="345"/>
                    </a:lnTo>
                    <a:lnTo>
                      <a:pt x="1415" y="349"/>
                    </a:lnTo>
                    <a:lnTo>
                      <a:pt x="1419" y="355"/>
                    </a:lnTo>
                    <a:lnTo>
                      <a:pt x="1422" y="360"/>
                    </a:lnTo>
                    <a:lnTo>
                      <a:pt x="1425" y="366"/>
                    </a:lnTo>
                    <a:lnTo>
                      <a:pt x="1425" y="373"/>
                    </a:lnTo>
                    <a:lnTo>
                      <a:pt x="1425" y="373"/>
                    </a:lnTo>
                    <a:lnTo>
                      <a:pt x="1425" y="380"/>
                    </a:lnTo>
                    <a:lnTo>
                      <a:pt x="1422" y="387"/>
                    </a:lnTo>
                    <a:lnTo>
                      <a:pt x="1419" y="392"/>
                    </a:lnTo>
                    <a:lnTo>
                      <a:pt x="1415" y="396"/>
                    </a:lnTo>
                    <a:lnTo>
                      <a:pt x="1409" y="400"/>
                    </a:lnTo>
                    <a:lnTo>
                      <a:pt x="1404" y="403"/>
                    </a:lnTo>
                    <a:lnTo>
                      <a:pt x="1398" y="406"/>
                    </a:lnTo>
                    <a:lnTo>
                      <a:pt x="1391" y="406"/>
                    </a:lnTo>
                    <a:lnTo>
                      <a:pt x="1318" y="406"/>
                    </a:lnTo>
                    <a:lnTo>
                      <a:pt x="1318" y="406"/>
                    </a:lnTo>
                    <a:close/>
                    <a:moveTo>
                      <a:pt x="205" y="42"/>
                    </a:moveTo>
                    <a:lnTo>
                      <a:pt x="205" y="42"/>
                    </a:lnTo>
                    <a:lnTo>
                      <a:pt x="211" y="46"/>
                    </a:lnTo>
                    <a:lnTo>
                      <a:pt x="215" y="50"/>
                    </a:lnTo>
                    <a:lnTo>
                      <a:pt x="218" y="55"/>
                    </a:lnTo>
                    <a:lnTo>
                      <a:pt x="220" y="62"/>
                    </a:lnTo>
                    <a:lnTo>
                      <a:pt x="222" y="68"/>
                    </a:lnTo>
                    <a:lnTo>
                      <a:pt x="222" y="75"/>
                    </a:lnTo>
                    <a:lnTo>
                      <a:pt x="220" y="80"/>
                    </a:lnTo>
                    <a:lnTo>
                      <a:pt x="218" y="87"/>
                    </a:lnTo>
                    <a:lnTo>
                      <a:pt x="218" y="87"/>
                    </a:lnTo>
                    <a:lnTo>
                      <a:pt x="213" y="93"/>
                    </a:lnTo>
                    <a:lnTo>
                      <a:pt x="208" y="97"/>
                    </a:lnTo>
                    <a:lnTo>
                      <a:pt x="202" y="100"/>
                    </a:lnTo>
                    <a:lnTo>
                      <a:pt x="197" y="103"/>
                    </a:lnTo>
                    <a:lnTo>
                      <a:pt x="190" y="104"/>
                    </a:lnTo>
                    <a:lnTo>
                      <a:pt x="184" y="104"/>
                    </a:lnTo>
                    <a:lnTo>
                      <a:pt x="177" y="103"/>
                    </a:lnTo>
                    <a:lnTo>
                      <a:pt x="172" y="100"/>
                    </a:lnTo>
                    <a:lnTo>
                      <a:pt x="108" y="62"/>
                    </a:lnTo>
                    <a:lnTo>
                      <a:pt x="108" y="62"/>
                    </a:lnTo>
                    <a:lnTo>
                      <a:pt x="103" y="58"/>
                    </a:lnTo>
                    <a:lnTo>
                      <a:pt x="97" y="54"/>
                    </a:lnTo>
                    <a:lnTo>
                      <a:pt x="94" y="48"/>
                    </a:lnTo>
                    <a:lnTo>
                      <a:pt x="92" y="42"/>
                    </a:lnTo>
                    <a:lnTo>
                      <a:pt x="92" y="36"/>
                    </a:lnTo>
                    <a:lnTo>
                      <a:pt x="92" y="29"/>
                    </a:lnTo>
                    <a:lnTo>
                      <a:pt x="93" y="24"/>
                    </a:lnTo>
                    <a:lnTo>
                      <a:pt x="96" y="17"/>
                    </a:lnTo>
                    <a:lnTo>
                      <a:pt x="96" y="17"/>
                    </a:lnTo>
                    <a:lnTo>
                      <a:pt x="100" y="11"/>
                    </a:lnTo>
                    <a:lnTo>
                      <a:pt x="104" y="7"/>
                    </a:lnTo>
                    <a:lnTo>
                      <a:pt x="110" y="4"/>
                    </a:lnTo>
                    <a:lnTo>
                      <a:pt x="115" y="1"/>
                    </a:lnTo>
                    <a:lnTo>
                      <a:pt x="122" y="0"/>
                    </a:lnTo>
                    <a:lnTo>
                      <a:pt x="129" y="0"/>
                    </a:lnTo>
                    <a:lnTo>
                      <a:pt x="135" y="1"/>
                    </a:lnTo>
                    <a:lnTo>
                      <a:pt x="141" y="4"/>
                    </a:lnTo>
                    <a:lnTo>
                      <a:pt x="205" y="42"/>
                    </a:lnTo>
                    <a:lnTo>
                      <a:pt x="205" y="42"/>
                    </a:lnTo>
                    <a:close/>
                    <a:moveTo>
                      <a:pt x="172" y="647"/>
                    </a:moveTo>
                    <a:lnTo>
                      <a:pt x="172" y="647"/>
                    </a:lnTo>
                    <a:lnTo>
                      <a:pt x="177" y="644"/>
                    </a:lnTo>
                    <a:lnTo>
                      <a:pt x="184" y="643"/>
                    </a:lnTo>
                    <a:lnTo>
                      <a:pt x="190" y="643"/>
                    </a:lnTo>
                    <a:lnTo>
                      <a:pt x="197" y="643"/>
                    </a:lnTo>
                    <a:lnTo>
                      <a:pt x="202" y="646"/>
                    </a:lnTo>
                    <a:lnTo>
                      <a:pt x="208" y="648"/>
                    </a:lnTo>
                    <a:lnTo>
                      <a:pt x="213" y="654"/>
                    </a:lnTo>
                    <a:lnTo>
                      <a:pt x="218" y="659"/>
                    </a:lnTo>
                    <a:lnTo>
                      <a:pt x="218" y="659"/>
                    </a:lnTo>
                    <a:lnTo>
                      <a:pt x="220" y="665"/>
                    </a:lnTo>
                    <a:lnTo>
                      <a:pt x="222" y="672"/>
                    </a:lnTo>
                    <a:lnTo>
                      <a:pt x="222" y="677"/>
                    </a:lnTo>
                    <a:lnTo>
                      <a:pt x="220" y="684"/>
                    </a:lnTo>
                    <a:lnTo>
                      <a:pt x="218" y="690"/>
                    </a:lnTo>
                    <a:lnTo>
                      <a:pt x="215" y="695"/>
                    </a:lnTo>
                    <a:lnTo>
                      <a:pt x="211" y="700"/>
                    </a:lnTo>
                    <a:lnTo>
                      <a:pt x="205" y="704"/>
                    </a:lnTo>
                    <a:lnTo>
                      <a:pt x="141" y="741"/>
                    </a:lnTo>
                    <a:lnTo>
                      <a:pt x="141" y="741"/>
                    </a:lnTo>
                    <a:lnTo>
                      <a:pt x="135" y="744"/>
                    </a:lnTo>
                    <a:lnTo>
                      <a:pt x="129" y="745"/>
                    </a:lnTo>
                    <a:lnTo>
                      <a:pt x="122" y="745"/>
                    </a:lnTo>
                    <a:lnTo>
                      <a:pt x="115" y="744"/>
                    </a:lnTo>
                    <a:lnTo>
                      <a:pt x="110" y="743"/>
                    </a:lnTo>
                    <a:lnTo>
                      <a:pt x="104" y="738"/>
                    </a:lnTo>
                    <a:lnTo>
                      <a:pt x="100" y="734"/>
                    </a:lnTo>
                    <a:lnTo>
                      <a:pt x="96" y="729"/>
                    </a:lnTo>
                    <a:lnTo>
                      <a:pt x="96" y="729"/>
                    </a:lnTo>
                    <a:lnTo>
                      <a:pt x="93" y="723"/>
                    </a:lnTo>
                    <a:lnTo>
                      <a:pt x="92" y="716"/>
                    </a:lnTo>
                    <a:lnTo>
                      <a:pt x="92" y="711"/>
                    </a:lnTo>
                    <a:lnTo>
                      <a:pt x="92" y="704"/>
                    </a:lnTo>
                    <a:lnTo>
                      <a:pt x="94" y="698"/>
                    </a:lnTo>
                    <a:lnTo>
                      <a:pt x="97" y="693"/>
                    </a:lnTo>
                    <a:lnTo>
                      <a:pt x="103" y="687"/>
                    </a:lnTo>
                    <a:lnTo>
                      <a:pt x="108" y="684"/>
                    </a:lnTo>
                    <a:lnTo>
                      <a:pt x="172" y="647"/>
                    </a:lnTo>
                    <a:lnTo>
                      <a:pt x="172" y="647"/>
                    </a:lnTo>
                    <a:close/>
                    <a:moveTo>
                      <a:pt x="107" y="339"/>
                    </a:moveTo>
                    <a:lnTo>
                      <a:pt x="107" y="339"/>
                    </a:lnTo>
                    <a:lnTo>
                      <a:pt x="114" y="341"/>
                    </a:lnTo>
                    <a:lnTo>
                      <a:pt x="121" y="342"/>
                    </a:lnTo>
                    <a:lnTo>
                      <a:pt x="126" y="345"/>
                    </a:lnTo>
                    <a:lnTo>
                      <a:pt x="130" y="349"/>
                    </a:lnTo>
                    <a:lnTo>
                      <a:pt x="135" y="355"/>
                    </a:lnTo>
                    <a:lnTo>
                      <a:pt x="137" y="360"/>
                    </a:lnTo>
                    <a:lnTo>
                      <a:pt x="140" y="366"/>
                    </a:lnTo>
                    <a:lnTo>
                      <a:pt x="140" y="373"/>
                    </a:lnTo>
                    <a:lnTo>
                      <a:pt x="140" y="373"/>
                    </a:lnTo>
                    <a:lnTo>
                      <a:pt x="140" y="380"/>
                    </a:lnTo>
                    <a:lnTo>
                      <a:pt x="137" y="387"/>
                    </a:lnTo>
                    <a:lnTo>
                      <a:pt x="135" y="392"/>
                    </a:lnTo>
                    <a:lnTo>
                      <a:pt x="130" y="396"/>
                    </a:lnTo>
                    <a:lnTo>
                      <a:pt x="126" y="400"/>
                    </a:lnTo>
                    <a:lnTo>
                      <a:pt x="121" y="403"/>
                    </a:lnTo>
                    <a:lnTo>
                      <a:pt x="114" y="406"/>
                    </a:lnTo>
                    <a:lnTo>
                      <a:pt x="107" y="406"/>
                    </a:lnTo>
                    <a:lnTo>
                      <a:pt x="33" y="406"/>
                    </a:lnTo>
                    <a:lnTo>
                      <a:pt x="33" y="406"/>
                    </a:lnTo>
                    <a:lnTo>
                      <a:pt x="26" y="406"/>
                    </a:lnTo>
                    <a:lnTo>
                      <a:pt x="21" y="403"/>
                    </a:lnTo>
                    <a:lnTo>
                      <a:pt x="15" y="400"/>
                    </a:lnTo>
                    <a:lnTo>
                      <a:pt x="10" y="396"/>
                    </a:lnTo>
                    <a:lnTo>
                      <a:pt x="6" y="392"/>
                    </a:lnTo>
                    <a:lnTo>
                      <a:pt x="3" y="387"/>
                    </a:lnTo>
                    <a:lnTo>
                      <a:pt x="0" y="380"/>
                    </a:lnTo>
                    <a:lnTo>
                      <a:pt x="0" y="373"/>
                    </a:lnTo>
                    <a:lnTo>
                      <a:pt x="0" y="373"/>
                    </a:lnTo>
                    <a:lnTo>
                      <a:pt x="0" y="366"/>
                    </a:lnTo>
                    <a:lnTo>
                      <a:pt x="3" y="360"/>
                    </a:lnTo>
                    <a:lnTo>
                      <a:pt x="6" y="355"/>
                    </a:lnTo>
                    <a:lnTo>
                      <a:pt x="10" y="349"/>
                    </a:lnTo>
                    <a:lnTo>
                      <a:pt x="15" y="345"/>
                    </a:lnTo>
                    <a:lnTo>
                      <a:pt x="21" y="342"/>
                    </a:lnTo>
                    <a:lnTo>
                      <a:pt x="26" y="341"/>
                    </a:lnTo>
                    <a:lnTo>
                      <a:pt x="33" y="339"/>
                    </a:lnTo>
                    <a:lnTo>
                      <a:pt x="107" y="339"/>
                    </a:lnTo>
                    <a:lnTo>
                      <a:pt x="107" y="3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sp>
            <p:nvSpPr>
              <p:cNvPr id="253" name="Freeform 156">
                <a:extLst>
                  <a:ext uri="{FF2B5EF4-FFF2-40B4-BE49-F238E27FC236}">
                    <a16:creationId xmlns:a16="http://schemas.microsoft.com/office/drawing/2014/main" id="{C504EFAE-0F79-8616-5BB3-60219956C9C8}"/>
                  </a:ext>
                </a:extLst>
              </p:cNvPr>
              <p:cNvSpPr>
                <a:spLocks/>
              </p:cNvSpPr>
              <p:nvPr/>
            </p:nvSpPr>
            <p:spPr bwMode="auto">
              <a:xfrm>
                <a:off x="-8877300" y="1912938"/>
                <a:ext cx="398462" cy="403225"/>
              </a:xfrm>
              <a:custGeom>
                <a:avLst/>
                <a:gdLst/>
                <a:ahLst/>
                <a:cxnLst>
                  <a:cxn ang="0">
                    <a:pos x="0" y="61"/>
                  </a:cxn>
                  <a:cxn ang="0">
                    <a:pos x="2" y="41"/>
                  </a:cxn>
                  <a:cxn ang="0">
                    <a:pos x="16" y="29"/>
                  </a:cxn>
                  <a:cxn ang="0">
                    <a:pos x="30" y="25"/>
                  </a:cxn>
                  <a:cxn ang="0">
                    <a:pos x="48" y="29"/>
                  </a:cxn>
                  <a:cxn ang="0">
                    <a:pos x="62" y="43"/>
                  </a:cxn>
                  <a:cxn ang="0">
                    <a:pos x="83" y="114"/>
                  </a:cxn>
                  <a:cxn ang="0">
                    <a:pos x="153" y="93"/>
                  </a:cxn>
                  <a:cxn ang="0">
                    <a:pos x="185" y="87"/>
                  </a:cxn>
                  <a:cxn ang="0">
                    <a:pos x="217" y="33"/>
                  </a:cxn>
                  <a:cxn ang="0">
                    <a:pos x="223" y="15"/>
                  </a:cxn>
                  <a:cxn ang="0">
                    <a:pos x="238" y="3"/>
                  </a:cxn>
                  <a:cxn ang="0">
                    <a:pos x="250" y="0"/>
                  </a:cxn>
                  <a:cxn ang="0">
                    <a:pos x="268" y="5"/>
                  </a:cxn>
                  <a:cxn ang="0">
                    <a:pos x="281" y="21"/>
                  </a:cxn>
                  <a:cxn ang="0">
                    <a:pos x="284" y="83"/>
                  </a:cxn>
                  <a:cxn ang="0">
                    <a:pos x="347" y="93"/>
                  </a:cxn>
                  <a:cxn ang="0">
                    <a:pos x="347" y="93"/>
                  </a:cxn>
                  <a:cxn ang="0">
                    <a:pos x="437" y="48"/>
                  </a:cxn>
                  <a:cxn ang="0">
                    <a:pos x="443" y="37"/>
                  </a:cxn>
                  <a:cxn ang="0">
                    <a:pos x="458" y="26"/>
                  </a:cxn>
                  <a:cxn ang="0">
                    <a:pos x="478" y="26"/>
                  </a:cxn>
                  <a:cxn ang="0">
                    <a:pos x="490" y="32"/>
                  </a:cxn>
                  <a:cxn ang="0">
                    <a:pos x="500" y="48"/>
                  </a:cxn>
                  <a:cxn ang="0">
                    <a:pos x="500" y="68"/>
                  </a:cxn>
                  <a:cxn ang="0">
                    <a:pos x="376" y="490"/>
                  </a:cxn>
                  <a:cxn ang="0">
                    <a:pos x="363" y="504"/>
                  </a:cxn>
                  <a:cxn ang="0">
                    <a:pos x="345" y="508"/>
                  </a:cxn>
                  <a:cxn ang="0">
                    <a:pos x="331" y="504"/>
                  </a:cxn>
                  <a:cxn ang="0">
                    <a:pos x="318" y="492"/>
                  </a:cxn>
                  <a:cxn ang="0">
                    <a:pos x="314" y="472"/>
                  </a:cxn>
                  <a:cxn ang="0">
                    <a:pos x="399" y="177"/>
                  </a:cxn>
                  <a:cxn ang="0">
                    <a:pos x="333" y="158"/>
                  </a:cxn>
                  <a:cxn ang="0">
                    <a:pos x="284" y="151"/>
                  </a:cxn>
                  <a:cxn ang="0">
                    <a:pos x="282" y="238"/>
                  </a:cxn>
                  <a:cxn ang="0">
                    <a:pos x="274" y="255"/>
                  </a:cxn>
                  <a:cxn ang="0">
                    <a:pos x="257" y="263"/>
                  </a:cxn>
                  <a:cxn ang="0">
                    <a:pos x="243" y="263"/>
                  </a:cxn>
                  <a:cxn ang="0">
                    <a:pos x="227" y="255"/>
                  </a:cxn>
                  <a:cxn ang="0">
                    <a:pos x="217" y="238"/>
                  </a:cxn>
                  <a:cxn ang="0">
                    <a:pos x="217" y="151"/>
                  </a:cxn>
                  <a:cxn ang="0">
                    <a:pos x="169" y="158"/>
                  </a:cxn>
                  <a:cxn ang="0">
                    <a:pos x="134" y="166"/>
                  </a:cxn>
                  <a:cxn ang="0">
                    <a:pos x="185" y="467"/>
                  </a:cxn>
                  <a:cxn ang="0">
                    <a:pos x="185" y="486"/>
                  </a:cxn>
                  <a:cxn ang="0">
                    <a:pos x="174" y="501"/>
                  </a:cxn>
                  <a:cxn ang="0">
                    <a:pos x="163" y="507"/>
                  </a:cxn>
                  <a:cxn ang="0">
                    <a:pos x="144" y="507"/>
                  </a:cxn>
                  <a:cxn ang="0">
                    <a:pos x="128" y="496"/>
                  </a:cxn>
                  <a:cxn ang="0">
                    <a:pos x="0" y="68"/>
                  </a:cxn>
                </a:cxnLst>
                <a:rect l="0" t="0" r="r" b="b"/>
                <a:pathLst>
                  <a:path w="501" h="508">
                    <a:moveTo>
                      <a:pt x="0" y="68"/>
                    </a:moveTo>
                    <a:lnTo>
                      <a:pt x="0" y="68"/>
                    </a:lnTo>
                    <a:lnTo>
                      <a:pt x="0" y="61"/>
                    </a:lnTo>
                    <a:lnTo>
                      <a:pt x="0" y="54"/>
                    </a:lnTo>
                    <a:lnTo>
                      <a:pt x="1" y="48"/>
                    </a:lnTo>
                    <a:lnTo>
                      <a:pt x="2" y="41"/>
                    </a:lnTo>
                    <a:lnTo>
                      <a:pt x="6" y="37"/>
                    </a:lnTo>
                    <a:lnTo>
                      <a:pt x="11" y="32"/>
                    </a:lnTo>
                    <a:lnTo>
                      <a:pt x="16" y="29"/>
                    </a:lnTo>
                    <a:lnTo>
                      <a:pt x="23" y="26"/>
                    </a:lnTo>
                    <a:lnTo>
                      <a:pt x="23" y="26"/>
                    </a:lnTo>
                    <a:lnTo>
                      <a:pt x="30" y="25"/>
                    </a:lnTo>
                    <a:lnTo>
                      <a:pt x="36" y="25"/>
                    </a:lnTo>
                    <a:lnTo>
                      <a:pt x="42" y="26"/>
                    </a:lnTo>
                    <a:lnTo>
                      <a:pt x="48" y="29"/>
                    </a:lnTo>
                    <a:lnTo>
                      <a:pt x="54" y="33"/>
                    </a:lnTo>
                    <a:lnTo>
                      <a:pt x="58" y="37"/>
                    </a:lnTo>
                    <a:lnTo>
                      <a:pt x="62" y="43"/>
                    </a:lnTo>
                    <a:lnTo>
                      <a:pt x="63" y="48"/>
                    </a:lnTo>
                    <a:lnTo>
                      <a:pt x="83" y="114"/>
                    </a:lnTo>
                    <a:lnTo>
                      <a:pt x="83" y="114"/>
                    </a:lnTo>
                    <a:lnTo>
                      <a:pt x="117" y="102"/>
                    </a:lnTo>
                    <a:lnTo>
                      <a:pt x="153" y="93"/>
                    </a:lnTo>
                    <a:lnTo>
                      <a:pt x="153" y="93"/>
                    </a:lnTo>
                    <a:lnTo>
                      <a:pt x="155" y="93"/>
                    </a:lnTo>
                    <a:lnTo>
                      <a:pt x="155" y="93"/>
                    </a:lnTo>
                    <a:lnTo>
                      <a:pt x="185" y="87"/>
                    </a:lnTo>
                    <a:lnTo>
                      <a:pt x="217" y="83"/>
                    </a:lnTo>
                    <a:lnTo>
                      <a:pt x="217" y="33"/>
                    </a:lnTo>
                    <a:lnTo>
                      <a:pt x="217" y="33"/>
                    </a:lnTo>
                    <a:lnTo>
                      <a:pt x="217" y="26"/>
                    </a:lnTo>
                    <a:lnTo>
                      <a:pt x="220" y="21"/>
                    </a:lnTo>
                    <a:lnTo>
                      <a:pt x="223" y="15"/>
                    </a:lnTo>
                    <a:lnTo>
                      <a:pt x="227" y="10"/>
                    </a:lnTo>
                    <a:lnTo>
                      <a:pt x="232" y="5"/>
                    </a:lnTo>
                    <a:lnTo>
                      <a:pt x="238" y="3"/>
                    </a:lnTo>
                    <a:lnTo>
                      <a:pt x="243" y="1"/>
                    </a:lnTo>
                    <a:lnTo>
                      <a:pt x="250" y="0"/>
                    </a:lnTo>
                    <a:lnTo>
                      <a:pt x="250" y="0"/>
                    </a:lnTo>
                    <a:lnTo>
                      <a:pt x="257" y="1"/>
                    </a:lnTo>
                    <a:lnTo>
                      <a:pt x="263" y="3"/>
                    </a:lnTo>
                    <a:lnTo>
                      <a:pt x="268" y="5"/>
                    </a:lnTo>
                    <a:lnTo>
                      <a:pt x="274" y="10"/>
                    </a:lnTo>
                    <a:lnTo>
                      <a:pt x="278" y="15"/>
                    </a:lnTo>
                    <a:lnTo>
                      <a:pt x="281" y="21"/>
                    </a:lnTo>
                    <a:lnTo>
                      <a:pt x="282" y="26"/>
                    </a:lnTo>
                    <a:lnTo>
                      <a:pt x="284" y="33"/>
                    </a:lnTo>
                    <a:lnTo>
                      <a:pt x="284" y="83"/>
                    </a:lnTo>
                    <a:lnTo>
                      <a:pt x="284" y="83"/>
                    </a:lnTo>
                    <a:lnTo>
                      <a:pt x="315" y="87"/>
                    </a:lnTo>
                    <a:lnTo>
                      <a:pt x="347" y="93"/>
                    </a:lnTo>
                    <a:lnTo>
                      <a:pt x="347" y="93"/>
                    </a:lnTo>
                    <a:lnTo>
                      <a:pt x="347" y="93"/>
                    </a:lnTo>
                    <a:lnTo>
                      <a:pt x="347" y="93"/>
                    </a:lnTo>
                    <a:lnTo>
                      <a:pt x="383" y="102"/>
                    </a:lnTo>
                    <a:lnTo>
                      <a:pt x="418" y="114"/>
                    </a:lnTo>
                    <a:lnTo>
                      <a:pt x="437" y="48"/>
                    </a:lnTo>
                    <a:lnTo>
                      <a:pt x="437" y="48"/>
                    </a:lnTo>
                    <a:lnTo>
                      <a:pt x="439" y="43"/>
                    </a:lnTo>
                    <a:lnTo>
                      <a:pt x="443" y="37"/>
                    </a:lnTo>
                    <a:lnTo>
                      <a:pt x="447" y="33"/>
                    </a:lnTo>
                    <a:lnTo>
                      <a:pt x="453" y="29"/>
                    </a:lnTo>
                    <a:lnTo>
                      <a:pt x="458" y="26"/>
                    </a:lnTo>
                    <a:lnTo>
                      <a:pt x="465" y="25"/>
                    </a:lnTo>
                    <a:lnTo>
                      <a:pt x="471" y="25"/>
                    </a:lnTo>
                    <a:lnTo>
                      <a:pt x="478" y="26"/>
                    </a:lnTo>
                    <a:lnTo>
                      <a:pt x="478" y="26"/>
                    </a:lnTo>
                    <a:lnTo>
                      <a:pt x="484" y="29"/>
                    </a:lnTo>
                    <a:lnTo>
                      <a:pt x="490" y="32"/>
                    </a:lnTo>
                    <a:lnTo>
                      <a:pt x="494" y="37"/>
                    </a:lnTo>
                    <a:lnTo>
                      <a:pt x="497" y="41"/>
                    </a:lnTo>
                    <a:lnTo>
                      <a:pt x="500" y="48"/>
                    </a:lnTo>
                    <a:lnTo>
                      <a:pt x="501" y="54"/>
                    </a:lnTo>
                    <a:lnTo>
                      <a:pt x="501" y="61"/>
                    </a:lnTo>
                    <a:lnTo>
                      <a:pt x="500" y="68"/>
                    </a:lnTo>
                    <a:lnTo>
                      <a:pt x="379" y="485"/>
                    </a:lnTo>
                    <a:lnTo>
                      <a:pt x="379" y="485"/>
                    </a:lnTo>
                    <a:lnTo>
                      <a:pt x="376" y="490"/>
                    </a:lnTo>
                    <a:lnTo>
                      <a:pt x="372" y="496"/>
                    </a:lnTo>
                    <a:lnTo>
                      <a:pt x="368" y="501"/>
                    </a:lnTo>
                    <a:lnTo>
                      <a:pt x="363" y="504"/>
                    </a:lnTo>
                    <a:lnTo>
                      <a:pt x="357" y="507"/>
                    </a:lnTo>
                    <a:lnTo>
                      <a:pt x="350" y="508"/>
                    </a:lnTo>
                    <a:lnTo>
                      <a:pt x="345" y="508"/>
                    </a:lnTo>
                    <a:lnTo>
                      <a:pt x="338" y="507"/>
                    </a:lnTo>
                    <a:lnTo>
                      <a:pt x="338" y="507"/>
                    </a:lnTo>
                    <a:lnTo>
                      <a:pt x="331" y="504"/>
                    </a:lnTo>
                    <a:lnTo>
                      <a:pt x="325" y="501"/>
                    </a:lnTo>
                    <a:lnTo>
                      <a:pt x="321" y="497"/>
                    </a:lnTo>
                    <a:lnTo>
                      <a:pt x="318" y="492"/>
                    </a:lnTo>
                    <a:lnTo>
                      <a:pt x="315" y="486"/>
                    </a:lnTo>
                    <a:lnTo>
                      <a:pt x="314" y="479"/>
                    </a:lnTo>
                    <a:lnTo>
                      <a:pt x="314" y="472"/>
                    </a:lnTo>
                    <a:lnTo>
                      <a:pt x="315" y="467"/>
                    </a:lnTo>
                    <a:lnTo>
                      <a:pt x="399" y="177"/>
                    </a:lnTo>
                    <a:lnTo>
                      <a:pt x="399" y="177"/>
                    </a:lnTo>
                    <a:lnTo>
                      <a:pt x="367" y="166"/>
                    </a:lnTo>
                    <a:lnTo>
                      <a:pt x="333" y="158"/>
                    </a:lnTo>
                    <a:lnTo>
                      <a:pt x="333" y="158"/>
                    </a:lnTo>
                    <a:lnTo>
                      <a:pt x="333" y="158"/>
                    </a:lnTo>
                    <a:lnTo>
                      <a:pt x="309" y="154"/>
                    </a:lnTo>
                    <a:lnTo>
                      <a:pt x="284" y="151"/>
                    </a:lnTo>
                    <a:lnTo>
                      <a:pt x="284" y="231"/>
                    </a:lnTo>
                    <a:lnTo>
                      <a:pt x="284" y="231"/>
                    </a:lnTo>
                    <a:lnTo>
                      <a:pt x="282" y="238"/>
                    </a:lnTo>
                    <a:lnTo>
                      <a:pt x="281" y="244"/>
                    </a:lnTo>
                    <a:lnTo>
                      <a:pt x="278" y="249"/>
                    </a:lnTo>
                    <a:lnTo>
                      <a:pt x="274" y="255"/>
                    </a:lnTo>
                    <a:lnTo>
                      <a:pt x="268" y="259"/>
                    </a:lnTo>
                    <a:lnTo>
                      <a:pt x="263" y="262"/>
                    </a:lnTo>
                    <a:lnTo>
                      <a:pt x="257" y="263"/>
                    </a:lnTo>
                    <a:lnTo>
                      <a:pt x="250" y="265"/>
                    </a:lnTo>
                    <a:lnTo>
                      <a:pt x="250" y="265"/>
                    </a:lnTo>
                    <a:lnTo>
                      <a:pt x="243" y="263"/>
                    </a:lnTo>
                    <a:lnTo>
                      <a:pt x="238" y="262"/>
                    </a:lnTo>
                    <a:lnTo>
                      <a:pt x="232" y="259"/>
                    </a:lnTo>
                    <a:lnTo>
                      <a:pt x="227" y="255"/>
                    </a:lnTo>
                    <a:lnTo>
                      <a:pt x="223" y="249"/>
                    </a:lnTo>
                    <a:lnTo>
                      <a:pt x="220" y="244"/>
                    </a:lnTo>
                    <a:lnTo>
                      <a:pt x="217" y="238"/>
                    </a:lnTo>
                    <a:lnTo>
                      <a:pt x="217" y="231"/>
                    </a:lnTo>
                    <a:lnTo>
                      <a:pt x="217" y="151"/>
                    </a:lnTo>
                    <a:lnTo>
                      <a:pt x="217" y="151"/>
                    </a:lnTo>
                    <a:lnTo>
                      <a:pt x="192" y="154"/>
                    </a:lnTo>
                    <a:lnTo>
                      <a:pt x="169" y="158"/>
                    </a:lnTo>
                    <a:lnTo>
                      <a:pt x="169" y="158"/>
                    </a:lnTo>
                    <a:lnTo>
                      <a:pt x="167" y="158"/>
                    </a:lnTo>
                    <a:lnTo>
                      <a:pt x="167" y="158"/>
                    </a:lnTo>
                    <a:lnTo>
                      <a:pt x="134" y="166"/>
                    </a:lnTo>
                    <a:lnTo>
                      <a:pt x="102" y="177"/>
                    </a:lnTo>
                    <a:lnTo>
                      <a:pt x="185" y="467"/>
                    </a:lnTo>
                    <a:lnTo>
                      <a:pt x="185" y="467"/>
                    </a:lnTo>
                    <a:lnTo>
                      <a:pt x="187" y="472"/>
                    </a:lnTo>
                    <a:lnTo>
                      <a:pt x="187" y="479"/>
                    </a:lnTo>
                    <a:lnTo>
                      <a:pt x="185" y="486"/>
                    </a:lnTo>
                    <a:lnTo>
                      <a:pt x="182" y="492"/>
                    </a:lnTo>
                    <a:lnTo>
                      <a:pt x="180" y="497"/>
                    </a:lnTo>
                    <a:lnTo>
                      <a:pt x="174" y="501"/>
                    </a:lnTo>
                    <a:lnTo>
                      <a:pt x="170" y="504"/>
                    </a:lnTo>
                    <a:lnTo>
                      <a:pt x="163" y="507"/>
                    </a:lnTo>
                    <a:lnTo>
                      <a:pt x="163" y="507"/>
                    </a:lnTo>
                    <a:lnTo>
                      <a:pt x="156" y="508"/>
                    </a:lnTo>
                    <a:lnTo>
                      <a:pt x="151" y="508"/>
                    </a:lnTo>
                    <a:lnTo>
                      <a:pt x="144" y="507"/>
                    </a:lnTo>
                    <a:lnTo>
                      <a:pt x="138" y="504"/>
                    </a:lnTo>
                    <a:lnTo>
                      <a:pt x="133" y="501"/>
                    </a:lnTo>
                    <a:lnTo>
                      <a:pt x="128" y="496"/>
                    </a:lnTo>
                    <a:lnTo>
                      <a:pt x="124" y="490"/>
                    </a:lnTo>
                    <a:lnTo>
                      <a:pt x="121" y="485"/>
                    </a:lnTo>
                    <a:lnTo>
                      <a:pt x="0" y="68"/>
                    </a:lnTo>
                    <a:lnTo>
                      <a:pt x="0" y="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2000"/>
              </a:p>
            </p:txBody>
          </p:sp>
        </p:grpSp>
      </p:grpSp>
    </p:spTree>
    <p:custDataLst>
      <p:tags r:id="rId1"/>
    </p:custDataLst>
    <p:extLst>
      <p:ext uri="{BB962C8B-B14F-4D97-AF65-F5344CB8AC3E}">
        <p14:creationId xmlns:p14="http://schemas.microsoft.com/office/powerpoint/2010/main" val="349155519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851BEF-C135-FFD3-5CDF-D8F531022E4B}"/>
              </a:ext>
            </a:extLst>
          </p:cNvPr>
          <p:cNvSpPr>
            <a:spLocks noGrp="1"/>
          </p:cNvSpPr>
          <p:nvPr>
            <p:ph type="body" sz="quarter" idx="10"/>
          </p:nvPr>
        </p:nvSpPr>
        <p:spPr>
          <a:xfrm>
            <a:off x="307365" y="1532551"/>
            <a:ext cx="6484324" cy="4546800"/>
          </a:xfrm>
        </p:spPr>
        <p:txBody>
          <a:bodyPr>
            <a:normAutofit fontScale="47500" lnSpcReduction="20000"/>
          </a:bodyPr>
          <a:lstStyle/>
          <a:p>
            <a:pPr marL="0" indent="0">
              <a:buNone/>
            </a:pPr>
            <a:r>
              <a:rPr lang="en-US" sz="4400" b="1">
                <a:latin typeface="Calibri" panose="020F0502020204030204" pitchFamily="34" charset="0"/>
                <a:cs typeface="Calibri" panose="020F0502020204030204" pitchFamily="34" charset="0"/>
              </a:rPr>
              <a:t>Activity 1:</a:t>
            </a:r>
          </a:p>
          <a:p>
            <a:pPr marL="0" indent="0">
              <a:buNone/>
            </a:pPr>
            <a:r>
              <a:rPr lang="en-US" sz="4400" b="1">
                <a:latin typeface="Calibri" panose="020F0502020204030204" pitchFamily="34" charset="0"/>
                <a:cs typeface="Calibri" panose="020F0502020204030204" pitchFamily="34" charset="0"/>
              </a:rPr>
              <a:t>Background: </a:t>
            </a:r>
            <a:r>
              <a:rPr lang="en-US" sz="4400">
                <a:latin typeface="Calibri" panose="020F0502020204030204" pitchFamily="34" charset="0"/>
                <a:cs typeface="Calibri" panose="020F0502020204030204" pitchFamily="34" charset="0"/>
              </a:rPr>
              <a:t>Rocky has decided to conduct a  comprehensive review of all existing documentation for the Emergency Management Division for Sunshine County. Rocky's objective is to assess the current state of documentation, identify any gaps or inconsistencies, and recommend improvements to enhance the division's effectiveness.</a:t>
            </a:r>
          </a:p>
          <a:p>
            <a:pPr marL="0" indent="0">
              <a:buNone/>
            </a:pPr>
            <a:r>
              <a:rPr lang="en-US" sz="4400" b="1">
                <a:latin typeface="Calibri" panose="020F0502020204030204" pitchFamily="34" charset="0"/>
                <a:cs typeface="Calibri" panose="020F0502020204030204" pitchFamily="34" charset="0"/>
              </a:rPr>
              <a:t>In your group:</a:t>
            </a:r>
          </a:p>
          <a:p>
            <a:pPr marL="341313" indent="-341313">
              <a:buAutoNum type="arabicPeriod"/>
            </a:pPr>
            <a:r>
              <a:rPr lang="en-US" sz="4400">
                <a:latin typeface="Calibri" panose="020F0502020204030204" pitchFamily="34" charset="0"/>
                <a:cs typeface="Calibri" panose="020F0502020204030204" pitchFamily="34" charset="0"/>
              </a:rPr>
              <a:t>Document areas of opportunity for Rocky during blue skies. Items to consider: capturing images, written reports, and other important information on county properties.</a:t>
            </a:r>
          </a:p>
          <a:p>
            <a:pPr marL="341313" indent="-341313">
              <a:buAutoNum type="arabicPeriod"/>
            </a:pPr>
            <a:r>
              <a:rPr lang="en-US" sz="4400">
                <a:latin typeface="Calibri" panose="020F0502020204030204" pitchFamily="34" charset="0"/>
                <a:cs typeface="Calibri" panose="020F0502020204030204" pitchFamily="34" charset="0"/>
              </a:rPr>
              <a:t>Identify F-ROC information, forms, and documentation that will help Rocky with these actions.</a:t>
            </a:r>
          </a:p>
          <a:p>
            <a:pPr marL="341313" indent="-341313">
              <a:buAutoNum type="arabicPeriod"/>
            </a:pPr>
            <a:r>
              <a:rPr lang="en-US" sz="4400">
                <a:latin typeface="Calibri" panose="020F0502020204030204" pitchFamily="34" charset="0"/>
                <a:cs typeface="Calibri" panose="020F0502020204030204" pitchFamily="34" charset="0"/>
              </a:rPr>
              <a:t>Identify appropriate next steps for Rocky.</a:t>
            </a:r>
          </a:p>
          <a:p>
            <a:pPr marL="514350" indent="-514350">
              <a:buAutoNum type="arabicPeriod"/>
            </a:pPr>
            <a:endParaRPr lang="en-US">
              <a:latin typeface="Calibri" panose="020F0502020204030204" pitchFamily="34" charset="0"/>
              <a:cs typeface="Calibri" panose="020F0502020204030204" pitchFamily="34" charset="0"/>
            </a:endParaRPr>
          </a:p>
          <a:p>
            <a:pPr marL="0" indent="0">
              <a:buNone/>
            </a:pPr>
            <a:endParaRPr lang="en-US">
              <a:latin typeface="Calibri" panose="020F0502020204030204" pitchFamily="34" charset="0"/>
              <a:cs typeface="Calibri" panose="020F0502020204030204" pitchFamily="34" charset="0"/>
            </a:endParaRPr>
          </a:p>
          <a:p>
            <a:pPr marL="0" indent="0">
              <a:buNone/>
            </a:pPr>
            <a:endParaRPr lang="en-US">
              <a:latin typeface="Calibri" panose="020F0502020204030204" pitchFamily="34" charset="0"/>
              <a:cs typeface="Calibri" panose="020F0502020204030204" pitchFamily="34" charset="0"/>
            </a:endParaRPr>
          </a:p>
        </p:txBody>
      </p:sp>
      <p:sp>
        <p:nvSpPr>
          <p:cNvPr id="3" name="Title 2">
            <a:extLst>
              <a:ext uri="{FF2B5EF4-FFF2-40B4-BE49-F238E27FC236}">
                <a16:creationId xmlns:a16="http://schemas.microsoft.com/office/drawing/2014/main" id="{20ABE15B-18FC-891F-C55A-51D309143A8E}"/>
              </a:ext>
            </a:extLst>
          </p:cNvPr>
          <p:cNvSpPr>
            <a:spLocks noGrp="1"/>
          </p:cNvSpPr>
          <p:nvPr>
            <p:ph type="title"/>
          </p:nvPr>
        </p:nvSpPr>
        <p:spPr/>
        <p:txBody>
          <a:bodyPr/>
          <a:lstStyle/>
          <a:p>
            <a:r>
              <a:rPr lang="en-US">
                <a:latin typeface="+mn-lt"/>
              </a:rPr>
              <a:t>Sunshine County – Blue Sky Activities</a:t>
            </a:r>
          </a:p>
        </p:txBody>
      </p:sp>
      <p:grpSp>
        <p:nvGrpSpPr>
          <p:cNvPr id="10" name="Group 9">
            <a:extLst>
              <a:ext uri="{FF2B5EF4-FFF2-40B4-BE49-F238E27FC236}">
                <a16:creationId xmlns:a16="http://schemas.microsoft.com/office/drawing/2014/main" id="{480BAC31-05FE-CABE-296E-AA140D4B6350}"/>
              </a:ext>
            </a:extLst>
          </p:cNvPr>
          <p:cNvGrpSpPr/>
          <p:nvPr/>
        </p:nvGrpSpPr>
        <p:grpSpPr>
          <a:xfrm>
            <a:off x="7758147" y="2352311"/>
            <a:ext cx="3837339" cy="2558226"/>
            <a:chOff x="7213696" y="2282509"/>
            <a:chExt cx="3837339" cy="2558226"/>
          </a:xfrm>
        </p:grpSpPr>
        <p:pic>
          <p:nvPicPr>
            <p:cNvPr id="7" name="Picture 6">
              <a:extLst>
                <a:ext uri="{FF2B5EF4-FFF2-40B4-BE49-F238E27FC236}">
                  <a16:creationId xmlns:a16="http://schemas.microsoft.com/office/drawing/2014/main" id="{A0614E13-C3D5-42EA-8B34-6E47B4E679D5}"/>
                </a:ext>
              </a:extLst>
            </p:cNvPr>
            <p:cNvPicPr>
              <a:picLocks noChangeAspect="1"/>
            </p:cNvPicPr>
            <p:nvPr/>
          </p:nvPicPr>
          <p:blipFill>
            <a:blip r:embed="rId3">
              <a:alphaModFix amt="58000"/>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213696" y="2282509"/>
              <a:ext cx="3837339" cy="2558226"/>
            </a:xfrm>
            <a:prstGeom prst="rect">
              <a:avLst/>
            </a:prstGeom>
            <a:ln>
              <a:solidFill>
                <a:schemeClr val="tx1"/>
              </a:solidFill>
            </a:ln>
            <a:effectLst>
              <a:outerShdw blurRad="50800" dist="38100" dir="2700000" algn="tl" rotWithShape="0">
                <a:prstClr val="black">
                  <a:alpha val="40000"/>
                </a:prstClr>
              </a:outerShdw>
            </a:effectLst>
          </p:spPr>
        </p:pic>
        <p:sp>
          <p:nvSpPr>
            <p:cNvPr id="9" name="Rectangle 8">
              <a:extLst>
                <a:ext uri="{FF2B5EF4-FFF2-40B4-BE49-F238E27FC236}">
                  <a16:creationId xmlns:a16="http://schemas.microsoft.com/office/drawing/2014/main" id="{EDFF5C85-B5A9-AE22-5E82-16C4AA1C4FDF}"/>
                </a:ext>
              </a:extLst>
            </p:cNvPr>
            <p:cNvSpPr/>
            <p:nvPr/>
          </p:nvSpPr>
          <p:spPr>
            <a:xfrm>
              <a:off x="7420813" y="3146123"/>
              <a:ext cx="3423104" cy="830997"/>
            </a:xfrm>
            <a:prstGeom prst="rect">
              <a:avLst/>
            </a:prstGeom>
            <a:noFill/>
          </p:spPr>
          <p:txBody>
            <a:bodyPr wrap="square" lIns="91440" tIns="45720" rIns="91440" bIns="45720">
              <a:spAutoFit/>
            </a:bodyPr>
            <a:lstStyle/>
            <a:p>
              <a:pPr algn="ctr"/>
              <a:r>
                <a:rPr lang="en-US" sz="2400" b="1" cap="none" spc="50">
                  <a:ln w="9525" cmpd="sng">
                    <a:solidFill>
                      <a:schemeClr val="accent1"/>
                    </a:solidFill>
                    <a:prstDash val="solid"/>
                  </a:ln>
                  <a:solidFill>
                    <a:srgbClr val="70AD47">
                      <a:tint val="1000"/>
                    </a:srgbClr>
                  </a:solidFill>
                  <a:effectLst>
                    <a:glow rad="38100">
                      <a:schemeClr val="accent1">
                        <a:alpha val="40000"/>
                      </a:schemeClr>
                    </a:glow>
                  </a:effectLst>
                  <a:latin typeface="Roboto Black" panose="02000000000000000000" pitchFamily="2" charset="0"/>
                  <a:ea typeface="Roboto Black" panose="02000000000000000000" pitchFamily="2" charset="0"/>
                  <a:cs typeface="Roboto Black" panose="02000000000000000000" pitchFamily="2" charset="0"/>
                </a:rPr>
                <a:t>Greetings from Sunshine County!</a:t>
              </a:r>
            </a:p>
          </p:txBody>
        </p:sp>
      </p:grpSp>
    </p:spTree>
    <p:custDataLst>
      <p:tags r:id="rId1"/>
    </p:custDataLst>
    <p:extLst>
      <p:ext uri="{BB962C8B-B14F-4D97-AF65-F5344CB8AC3E}">
        <p14:creationId xmlns:p14="http://schemas.microsoft.com/office/powerpoint/2010/main" val="216672873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851BEF-C135-FFD3-5CDF-D8F531022E4B}"/>
              </a:ext>
            </a:extLst>
          </p:cNvPr>
          <p:cNvSpPr>
            <a:spLocks noGrp="1"/>
          </p:cNvSpPr>
          <p:nvPr>
            <p:ph type="body" sz="quarter" idx="10"/>
          </p:nvPr>
        </p:nvSpPr>
        <p:spPr>
          <a:xfrm>
            <a:off x="307365" y="1532551"/>
            <a:ext cx="6484324" cy="4546800"/>
          </a:xfrm>
        </p:spPr>
        <p:txBody>
          <a:bodyPr>
            <a:normAutofit fontScale="92500"/>
          </a:bodyPr>
          <a:lstStyle/>
          <a:p>
            <a:pPr marL="0" indent="0">
              <a:buNone/>
            </a:pPr>
            <a:r>
              <a:rPr lang="en-US" sz="2600" b="1">
                <a:latin typeface="Calibri" panose="020F0502020204030204" pitchFamily="34" charset="0"/>
                <a:cs typeface="Calibri" panose="020F0502020204030204" pitchFamily="34" charset="0"/>
              </a:rPr>
              <a:t>Activity 2:</a:t>
            </a:r>
          </a:p>
          <a:p>
            <a:pPr marL="0" indent="0">
              <a:buNone/>
            </a:pPr>
            <a:r>
              <a:rPr lang="en-US" sz="2600" b="1">
                <a:latin typeface="Calibri" panose="020F0502020204030204" pitchFamily="34" charset="0"/>
                <a:cs typeface="Calibri" panose="020F0502020204030204" pitchFamily="34" charset="0"/>
              </a:rPr>
              <a:t>Background: </a:t>
            </a:r>
            <a:r>
              <a:rPr lang="en-US" sz="2600">
                <a:latin typeface="Calibri" panose="020F0502020204030204" pitchFamily="34" charset="0"/>
                <a:cs typeface="Calibri" panose="020F0502020204030204" pitchFamily="34" charset="0"/>
              </a:rPr>
              <a:t>Tropical Storm Sofia has been upgraded to a Hurricane and will eventually become a Presidentially Declared Hurricane, and Rocky and his team are preparing to recover. </a:t>
            </a:r>
          </a:p>
          <a:p>
            <a:pPr marL="0" indent="0">
              <a:buNone/>
            </a:pPr>
            <a:r>
              <a:rPr lang="en-US" sz="2600" b="1">
                <a:latin typeface="Calibri" panose="020F0502020204030204" pitchFamily="34" charset="0"/>
                <a:cs typeface="Calibri" panose="020F0502020204030204" pitchFamily="34" charset="0"/>
              </a:rPr>
              <a:t>In your group:</a:t>
            </a:r>
          </a:p>
          <a:p>
            <a:pPr marL="341313" indent="-341313">
              <a:buAutoNum type="arabicPeriod"/>
            </a:pPr>
            <a:r>
              <a:rPr lang="en-US" sz="2600">
                <a:latin typeface="Calibri" panose="020F0502020204030204" pitchFamily="34" charset="0"/>
                <a:cs typeface="Calibri" panose="020F0502020204030204" pitchFamily="34" charset="0"/>
              </a:rPr>
              <a:t>Review and identify items from Activity 1. Are there any documents, forms, or information that could be updated?</a:t>
            </a:r>
          </a:p>
          <a:p>
            <a:pPr marL="341313" indent="-341313">
              <a:buAutoNum type="arabicPeriod"/>
            </a:pPr>
            <a:r>
              <a:rPr lang="en-US" sz="2600">
                <a:latin typeface="Calibri" panose="020F0502020204030204" pitchFamily="34" charset="0"/>
                <a:cs typeface="Calibri" panose="020F0502020204030204" pitchFamily="34" charset="0"/>
              </a:rPr>
              <a:t>What are any additional steps Rocky could be doing at this moment to prepare to recover?</a:t>
            </a:r>
          </a:p>
          <a:p>
            <a:pPr marL="0" indent="0">
              <a:buNone/>
            </a:pPr>
            <a:endParaRPr lang="en-US">
              <a:latin typeface="Calibri" panose="020F0502020204030204" pitchFamily="34" charset="0"/>
              <a:cs typeface="Calibri" panose="020F0502020204030204" pitchFamily="34" charset="0"/>
            </a:endParaRPr>
          </a:p>
          <a:p>
            <a:pPr marL="0" indent="0">
              <a:buNone/>
            </a:pPr>
            <a:endParaRPr lang="en-US">
              <a:latin typeface="Calibri" panose="020F0502020204030204" pitchFamily="34" charset="0"/>
              <a:cs typeface="Calibri" panose="020F0502020204030204" pitchFamily="34" charset="0"/>
            </a:endParaRPr>
          </a:p>
        </p:txBody>
      </p:sp>
      <p:sp>
        <p:nvSpPr>
          <p:cNvPr id="3" name="Title 2">
            <a:extLst>
              <a:ext uri="{FF2B5EF4-FFF2-40B4-BE49-F238E27FC236}">
                <a16:creationId xmlns:a16="http://schemas.microsoft.com/office/drawing/2014/main" id="{20ABE15B-18FC-891F-C55A-51D309143A8E}"/>
              </a:ext>
            </a:extLst>
          </p:cNvPr>
          <p:cNvSpPr>
            <a:spLocks noGrp="1"/>
          </p:cNvSpPr>
          <p:nvPr>
            <p:ph type="title"/>
          </p:nvPr>
        </p:nvSpPr>
        <p:spPr/>
        <p:txBody>
          <a:bodyPr/>
          <a:lstStyle/>
          <a:p>
            <a:r>
              <a:rPr lang="en-US">
                <a:latin typeface="+mn-lt"/>
              </a:rPr>
              <a:t>Sunshine County – Storm Activities</a:t>
            </a:r>
          </a:p>
        </p:txBody>
      </p:sp>
      <p:pic>
        <p:nvPicPr>
          <p:cNvPr id="5" name="Picture 4">
            <a:extLst>
              <a:ext uri="{FF2B5EF4-FFF2-40B4-BE49-F238E27FC236}">
                <a16:creationId xmlns:a16="http://schemas.microsoft.com/office/drawing/2014/main" id="{36882EFA-E8E2-656B-34EB-27533C395614}"/>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8384556" y="2184788"/>
            <a:ext cx="3317899" cy="2488424"/>
          </a:xfrm>
          <a:prstGeom prst="rect">
            <a:avLst/>
          </a:prstGeom>
          <a:effectLst>
            <a:outerShdw blurRad="50800" dist="38100" dir="2700000" algn="tl" rotWithShape="0">
              <a:prstClr val="black">
                <a:alpha val="40000"/>
              </a:prstClr>
            </a:outerShdw>
          </a:effectLst>
        </p:spPr>
      </p:pic>
    </p:spTree>
    <p:custDataLst>
      <p:tags r:id="rId1"/>
    </p:custDataLst>
    <p:extLst>
      <p:ext uri="{BB962C8B-B14F-4D97-AF65-F5344CB8AC3E}">
        <p14:creationId xmlns:p14="http://schemas.microsoft.com/office/powerpoint/2010/main" val="267162031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851BEF-C135-FFD3-5CDF-D8F531022E4B}"/>
              </a:ext>
            </a:extLst>
          </p:cNvPr>
          <p:cNvSpPr>
            <a:spLocks noGrp="1"/>
          </p:cNvSpPr>
          <p:nvPr>
            <p:ph type="body" sz="quarter" idx="10"/>
          </p:nvPr>
        </p:nvSpPr>
        <p:spPr>
          <a:xfrm>
            <a:off x="292850" y="1619637"/>
            <a:ext cx="6484324" cy="4546800"/>
          </a:xfrm>
        </p:spPr>
        <p:txBody>
          <a:bodyPr>
            <a:normAutofit fontScale="92500" lnSpcReduction="20000"/>
          </a:bodyPr>
          <a:lstStyle/>
          <a:p>
            <a:pPr marL="0" indent="0">
              <a:buNone/>
            </a:pPr>
            <a:r>
              <a:rPr lang="en-US" sz="2400" b="1">
                <a:latin typeface="Calibri" panose="020F0502020204030204" pitchFamily="34" charset="0"/>
                <a:cs typeface="Calibri" panose="020F0502020204030204" pitchFamily="34" charset="0"/>
              </a:rPr>
              <a:t>Activity 3:</a:t>
            </a:r>
          </a:p>
          <a:p>
            <a:pPr marL="0" indent="0">
              <a:buNone/>
            </a:pPr>
            <a:r>
              <a:rPr lang="en-US" sz="2400" b="1">
                <a:latin typeface="Calibri" panose="020F0502020204030204" pitchFamily="34" charset="0"/>
                <a:cs typeface="Calibri" panose="020F0502020204030204" pitchFamily="34" charset="0"/>
              </a:rPr>
              <a:t>Background: </a:t>
            </a:r>
            <a:r>
              <a:rPr lang="en-US" sz="2400">
                <a:latin typeface="Calibri" panose="020F0502020204030204" pitchFamily="34" charset="0"/>
                <a:cs typeface="Calibri" panose="020F0502020204030204" pitchFamily="34" charset="0"/>
              </a:rPr>
              <a:t>Sunshine County has just experienced Hurricane Sofia, causing widespread destruction and severely impacting services in the area. Several areas of the city are without power, flooding is rampant, and many homes and businesses have experienced significant damage. In response to this crisis, the Sunshine County Emergency Management Team, led by Rocky, is on the job.</a:t>
            </a:r>
          </a:p>
          <a:p>
            <a:pPr marL="0" indent="0">
              <a:buNone/>
            </a:pPr>
            <a:r>
              <a:rPr lang="en-US" sz="2400" b="1">
                <a:latin typeface="Calibri" panose="020F0502020204030204" pitchFamily="34" charset="0"/>
                <a:cs typeface="Calibri" panose="020F0502020204030204" pitchFamily="34" charset="0"/>
              </a:rPr>
              <a:t>In your group:</a:t>
            </a:r>
          </a:p>
          <a:p>
            <a:pPr marL="341313" indent="-341313">
              <a:buAutoNum type="arabicPeriod"/>
            </a:pPr>
            <a:r>
              <a:rPr lang="en-US" sz="2400">
                <a:latin typeface="Calibri" panose="020F0502020204030204" pitchFamily="34" charset="0"/>
                <a:cs typeface="Calibri" panose="020F0502020204030204" pitchFamily="34" charset="0"/>
              </a:rPr>
              <a:t>List action items and next steps for Rocky and his team.</a:t>
            </a:r>
          </a:p>
          <a:p>
            <a:pPr marL="341313" indent="-341313">
              <a:buAutoNum type="arabicPeriod"/>
            </a:pPr>
            <a:r>
              <a:rPr lang="en-US" sz="2400">
                <a:latin typeface="Calibri" panose="020F0502020204030204" pitchFamily="34" charset="0"/>
                <a:cs typeface="Calibri" panose="020F0502020204030204" pitchFamily="34" charset="0"/>
              </a:rPr>
              <a:t>Which available resources on the F-ROC website could be used during this time and how would you use them?</a:t>
            </a:r>
          </a:p>
        </p:txBody>
      </p:sp>
      <p:sp>
        <p:nvSpPr>
          <p:cNvPr id="3" name="Title 2">
            <a:extLst>
              <a:ext uri="{FF2B5EF4-FFF2-40B4-BE49-F238E27FC236}">
                <a16:creationId xmlns:a16="http://schemas.microsoft.com/office/drawing/2014/main" id="{20ABE15B-18FC-891F-C55A-51D309143A8E}"/>
              </a:ext>
            </a:extLst>
          </p:cNvPr>
          <p:cNvSpPr>
            <a:spLocks noGrp="1"/>
          </p:cNvSpPr>
          <p:nvPr>
            <p:ph type="title"/>
          </p:nvPr>
        </p:nvSpPr>
        <p:spPr/>
        <p:txBody>
          <a:bodyPr>
            <a:normAutofit/>
          </a:bodyPr>
          <a:lstStyle/>
          <a:p>
            <a:r>
              <a:rPr lang="en-US">
                <a:latin typeface="+mn-lt"/>
              </a:rPr>
              <a:t>Sunshine County – Post - Storm Activities</a:t>
            </a:r>
          </a:p>
        </p:txBody>
      </p:sp>
      <p:pic>
        <p:nvPicPr>
          <p:cNvPr id="6" name="Picture 5">
            <a:extLst>
              <a:ext uri="{FF2B5EF4-FFF2-40B4-BE49-F238E27FC236}">
                <a16:creationId xmlns:a16="http://schemas.microsoft.com/office/drawing/2014/main" id="{60AF22BA-2C04-D66D-81B9-B95F055964FC}"/>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7761431" y="2317424"/>
            <a:ext cx="3840247" cy="2880185"/>
          </a:xfrm>
          <a:prstGeom prst="rect">
            <a:avLst/>
          </a:prstGeom>
          <a:ln w="3175">
            <a:solidFill>
              <a:schemeClr val="tx1"/>
            </a:solidFill>
          </a:ln>
          <a:effectLst>
            <a:outerShdw blurRad="50800" dist="38100" dir="2700000" algn="tl" rotWithShape="0">
              <a:prstClr val="black">
                <a:alpha val="40000"/>
              </a:prstClr>
            </a:outerShdw>
          </a:effectLst>
        </p:spPr>
      </p:pic>
    </p:spTree>
    <p:custDataLst>
      <p:tags r:id="rId1"/>
    </p:custDataLst>
    <p:extLst>
      <p:ext uri="{BB962C8B-B14F-4D97-AF65-F5344CB8AC3E}">
        <p14:creationId xmlns:p14="http://schemas.microsoft.com/office/powerpoint/2010/main" val="91497527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0851BEF-C135-FFD3-5CDF-D8F531022E4B}"/>
              </a:ext>
            </a:extLst>
          </p:cNvPr>
          <p:cNvSpPr>
            <a:spLocks noGrp="1"/>
          </p:cNvSpPr>
          <p:nvPr>
            <p:ph type="body" sz="quarter" idx="10"/>
          </p:nvPr>
        </p:nvSpPr>
        <p:spPr>
          <a:xfrm>
            <a:off x="292850" y="1619637"/>
            <a:ext cx="8505710" cy="4546800"/>
          </a:xfrm>
        </p:spPr>
        <p:txBody>
          <a:bodyPr>
            <a:normAutofit/>
          </a:bodyPr>
          <a:lstStyle/>
          <a:p>
            <a:pPr marL="0" indent="0">
              <a:buNone/>
            </a:pPr>
            <a:r>
              <a:rPr lang="en-US" sz="2400" b="1">
                <a:latin typeface="Calibri" panose="020F0502020204030204" pitchFamily="34" charset="0"/>
                <a:cs typeface="Calibri" panose="020F0502020204030204" pitchFamily="34" charset="0"/>
              </a:rPr>
              <a:t>In your groups, discuss:</a:t>
            </a:r>
          </a:p>
          <a:p>
            <a:pPr marL="514350" indent="-514350">
              <a:buFont typeface="+mj-lt"/>
              <a:buAutoNum type="arabicPeriod"/>
            </a:pPr>
            <a:r>
              <a:rPr lang="en-US" sz="2400">
                <a:latin typeface="Calibri" panose="020F0502020204030204" pitchFamily="34" charset="0"/>
                <a:cs typeface="Calibri" panose="020F0502020204030204" pitchFamily="34" charset="0"/>
              </a:rPr>
              <a:t>How could the processes, documentation, and resources provided by F-ROC improve the recovery process?</a:t>
            </a:r>
          </a:p>
          <a:p>
            <a:pPr marL="514350" indent="-514350">
              <a:buFont typeface="+mj-lt"/>
              <a:buAutoNum type="arabicPeriod"/>
            </a:pPr>
            <a:r>
              <a:rPr lang="en-US" sz="2400">
                <a:latin typeface="Calibri" panose="020F0502020204030204" pitchFamily="34" charset="0"/>
                <a:cs typeface="Calibri" panose="020F0502020204030204" pitchFamily="34" charset="0"/>
              </a:rPr>
              <a:t>We use the term, “prepare to recover” to describe F-ROC. How is your organization preparing to recover?</a:t>
            </a:r>
          </a:p>
          <a:p>
            <a:pPr marL="514350" indent="-514350">
              <a:buFont typeface="+mj-lt"/>
              <a:buAutoNum type="arabicPeriod"/>
            </a:pPr>
            <a:r>
              <a:rPr lang="en-US" sz="2400">
                <a:latin typeface="Calibri" panose="020F0502020204030204" pitchFamily="34" charset="0"/>
                <a:cs typeface="Calibri" panose="020F0502020204030204" pitchFamily="34" charset="0"/>
              </a:rPr>
              <a:t>How will F-ROC help your organization in the event of an event?</a:t>
            </a:r>
          </a:p>
          <a:p>
            <a:pPr marL="0" indent="0">
              <a:buNone/>
            </a:pPr>
            <a:endParaRPr lang="en-US">
              <a:latin typeface="Calibri" panose="020F0502020204030204" pitchFamily="34" charset="0"/>
              <a:cs typeface="Calibri" panose="020F0502020204030204" pitchFamily="34" charset="0"/>
            </a:endParaRPr>
          </a:p>
          <a:p>
            <a:pPr marL="0" indent="0">
              <a:buNone/>
            </a:pPr>
            <a:endParaRPr lang="en-US">
              <a:latin typeface="Calibri" panose="020F0502020204030204" pitchFamily="34" charset="0"/>
              <a:cs typeface="Calibri" panose="020F0502020204030204" pitchFamily="34" charset="0"/>
            </a:endParaRPr>
          </a:p>
        </p:txBody>
      </p:sp>
      <p:sp>
        <p:nvSpPr>
          <p:cNvPr id="3" name="Title 2">
            <a:extLst>
              <a:ext uri="{FF2B5EF4-FFF2-40B4-BE49-F238E27FC236}">
                <a16:creationId xmlns:a16="http://schemas.microsoft.com/office/drawing/2014/main" id="{20ABE15B-18FC-891F-C55A-51D309143A8E}"/>
              </a:ext>
            </a:extLst>
          </p:cNvPr>
          <p:cNvSpPr>
            <a:spLocks noGrp="1"/>
          </p:cNvSpPr>
          <p:nvPr>
            <p:ph type="title"/>
          </p:nvPr>
        </p:nvSpPr>
        <p:spPr/>
        <p:txBody>
          <a:bodyPr>
            <a:normAutofit/>
          </a:bodyPr>
          <a:lstStyle/>
          <a:p>
            <a:r>
              <a:rPr lang="en-US">
                <a:latin typeface="+mn-lt"/>
              </a:rPr>
              <a:t>Sunshine County – Debrief</a:t>
            </a:r>
          </a:p>
        </p:txBody>
      </p:sp>
      <p:pic>
        <p:nvPicPr>
          <p:cNvPr id="5" name="Picture 4">
            <a:extLst>
              <a:ext uri="{FF2B5EF4-FFF2-40B4-BE49-F238E27FC236}">
                <a16:creationId xmlns:a16="http://schemas.microsoft.com/office/drawing/2014/main" id="{9CF29DE6-B654-DEAD-5E40-69397A239DF9}"/>
              </a:ext>
            </a:extLst>
          </p:cNvPr>
          <p:cNvPicPr>
            <a:picLocks noChangeAspect="1"/>
          </p:cNvPicPr>
          <p:nvPr/>
        </p:nvPicPr>
        <p:blipFill>
          <a:blip r:embed="rId3"/>
          <a:stretch>
            <a:fillRect/>
          </a:stretch>
        </p:blipFill>
        <p:spPr>
          <a:xfrm>
            <a:off x="9415193" y="1473562"/>
            <a:ext cx="1663786" cy="4838949"/>
          </a:xfrm>
          <a:prstGeom prst="rect">
            <a:avLst/>
          </a:prstGeom>
        </p:spPr>
      </p:pic>
    </p:spTree>
    <p:custDataLst>
      <p:tags r:id="rId1"/>
    </p:custDataLst>
    <p:extLst>
      <p:ext uri="{BB962C8B-B14F-4D97-AF65-F5344CB8AC3E}">
        <p14:creationId xmlns:p14="http://schemas.microsoft.com/office/powerpoint/2010/main" val="153961534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3030A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126D11-1926-40CB-A970-0DB36DA2942C}"/>
              </a:ext>
            </a:extLst>
          </p:cNvPr>
          <p:cNvSpPr>
            <a:spLocks noGrp="1"/>
          </p:cNvSpPr>
          <p:nvPr>
            <p:ph type="title"/>
          </p:nvPr>
        </p:nvSpPr>
        <p:spPr>
          <a:xfrm>
            <a:off x="838200" y="3363203"/>
            <a:ext cx="10515600" cy="1018714"/>
          </a:xfrm>
        </p:spPr>
        <p:txBody>
          <a:bodyPr>
            <a:noAutofit/>
          </a:bodyPr>
          <a:lstStyle/>
          <a:p>
            <a:pPr algn="ctr"/>
            <a:r>
              <a:rPr lang="en-US" sz="6000">
                <a:latin typeface="+mn-lt"/>
              </a:rPr>
              <a:t>Module 5</a:t>
            </a:r>
            <a:br>
              <a:rPr lang="en-US" sz="6000">
                <a:latin typeface="+mn-lt"/>
              </a:rPr>
            </a:br>
            <a:r>
              <a:rPr lang="en-US" sz="6000">
                <a:latin typeface="+mn-lt"/>
              </a:rPr>
              <a:t>Wrap Up</a:t>
            </a:r>
          </a:p>
        </p:txBody>
      </p:sp>
    </p:spTree>
    <p:custDataLst>
      <p:tags r:id="rId1"/>
    </p:custDataLst>
    <p:extLst>
      <p:ext uri="{BB962C8B-B14F-4D97-AF65-F5344CB8AC3E}">
        <p14:creationId xmlns:p14="http://schemas.microsoft.com/office/powerpoint/2010/main" val="228125316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BFA9380-C74B-B2A2-0917-A7E712CD288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5659" y="1800322"/>
            <a:ext cx="12100682" cy="4811836"/>
          </a:xfrm>
          <a:prstGeom prst="rect">
            <a:avLst/>
          </a:prstGeom>
        </p:spPr>
      </p:pic>
      <p:sp>
        <p:nvSpPr>
          <p:cNvPr id="8" name="Title 1">
            <a:extLst>
              <a:ext uri="{FF2B5EF4-FFF2-40B4-BE49-F238E27FC236}">
                <a16:creationId xmlns:a16="http://schemas.microsoft.com/office/drawing/2014/main" id="{A4F0634B-C72E-54A4-730A-F6375A097D5E}"/>
              </a:ext>
            </a:extLst>
          </p:cNvPr>
          <p:cNvSpPr>
            <a:spLocks noGrp="1"/>
          </p:cNvSpPr>
          <p:nvPr>
            <p:ph type="title"/>
          </p:nvPr>
        </p:nvSpPr>
        <p:spPr>
          <a:xfrm>
            <a:off x="1255435" y="0"/>
            <a:ext cx="10515600" cy="1018714"/>
          </a:xfrm>
        </p:spPr>
        <p:txBody>
          <a:bodyPr/>
          <a:lstStyle/>
          <a:p>
            <a:r>
              <a:rPr lang="en-US"/>
              <a:t>F-ROC Statewide Roll Out</a:t>
            </a:r>
          </a:p>
        </p:txBody>
      </p:sp>
    </p:spTree>
    <p:custDataLst>
      <p:tags r:id="rId1"/>
    </p:custDataLst>
    <p:extLst>
      <p:ext uri="{BB962C8B-B14F-4D97-AF65-F5344CB8AC3E}">
        <p14:creationId xmlns:p14="http://schemas.microsoft.com/office/powerpoint/2010/main" val="229672865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866B0A-1903-4773-984F-54753D1F66A9}"/>
              </a:ext>
            </a:extLst>
          </p:cNvPr>
          <p:cNvSpPr>
            <a:spLocks noGrp="1"/>
          </p:cNvSpPr>
          <p:nvPr>
            <p:ph type="title"/>
          </p:nvPr>
        </p:nvSpPr>
        <p:spPr/>
        <p:txBody>
          <a:bodyPr>
            <a:noAutofit/>
          </a:bodyPr>
          <a:lstStyle/>
          <a:p>
            <a:r>
              <a:rPr lang="en-US">
                <a:latin typeface="+mn-lt"/>
              </a:rPr>
              <a:t>Wrap – up</a:t>
            </a:r>
          </a:p>
        </p:txBody>
      </p:sp>
      <p:sp>
        <p:nvSpPr>
          <p:cNvPr id="6" name="TextBox 5">
            <a:extLst>
              <a:ext uri="{FF2B5EF4-FFF2-40B4-BE49-F238E27FC236}">
                <a16:creationId xmlns:a16="http://schemas.microsoft.com/office/drawing/2014/main" id="{02BE8D94-7C42-6410-4291-0A4E25FA673A}"/>
              </a:ext>
            </a:extLst>
          </p:cNvPr>
          <p:cNvSpPr txBox="1"/>
          <p:nvPr/>
        </p:nvSpPr>
        <p:spPr>
          <a:xfrm>
            <a:off x="413658" y="1582057"/>
            <a:ext cx="9572171" cy="2985433"/>
          </a:xfrm>
          <a:prstGeom prst="rect">
            <a:avLst/>
          </a:prstGeom>
          <a:noFill/>
        </p:spPr>
        <p:txBody>
          <a:bodyPr wrap="square" rtlCol="0">
            <a:spAutoFit/>
          </a:bodyPr>
          <a:lstStyle/>
          <a:p>
            <a:r>
              <a:rPr lang="en-US" sz="3200"/>
              <a:t>Questions for discussion:</a:t>
            </a:r>
          </a:p>
          <a:p>
            <a:pPr marL="457200" indent="-282575">
              <a:buFont typeface="+mj-lt"/>
              <a:buAutoNum type="arabicPeriod"/>
            </a:pPr>
            <a:r>
              <a:rPr lang="en-US" sz="2400"/>
              <a:t>What were the most valuable concepts or skills you learned during this course?</a:t>
            </a:r>
          </a:p>
          <a:p>
            <a:pPr marL="457200" indent="-282575">
              <a:buFont typeface="+mj-lt"/>
              <a:buAutoNum type="arabicPeriod"/>
            </a:pPr>
            <a:r>
              <a:rPr lang="en-US" sz="2400"/>
              <a:t>How has this course impacted your understanding or perspective in the subject matter? </a:t>
            </a:r>
          </a:p>
          <a:p>
            <a:pPr marL="457200" indent="-282575">
              <a:buFont typeface="+mj-lt"/>
              <a:buAutoNum type="arabicPeriod"/>
            </a:pPr>
            <a:r>
              <a:rPr lang="en-US" sz="2400"/>
              <a:t>Do you feel we achieved the objectives of this course?</a:t>
            </a:r>
          </a:p>
          <a:p>
            <a:pPr marL="457200" indent="-282575">
              <a:buFont typeface="+mj-lt"/>
              <a:buAutoNum type="arabicPeriod"/>
            </a:pPr>
            <a:endParaRPr lang="en-US"/>
          </a:p>
          <a:p>
            <a:pPr marL="457200" indent="-282575">
              <a:buFont typeface="+mj-lt"/>
              <a:buAutoNum type="arabicPeriod"/>
            </a:pPr>
            <a:endParaRPr lang="en-US"/>
          </a:p>
        </p:txBody>
      </p:sp>
      <p:pic>
        <p:nvPicPr>
          <p:cNvPr id="8" name="Picture 7">
            <a:extLst>
              <a:ext uri="{FF2B5EF4-FFF2-40B4-BE49-F238E27FC236}">
                <a16:creationId xmlns:a16="http://schemas.microsoft.com/office/drawing/2014/main" id="{8EE52134-010D-6472-0088-FB2BC60C6C40}"/>
              </a:ext>
            </a:extLst>
          </p:cNvPr>
          <p:cNvPicPr>
            <a:picLocks noChangeAspect="1"/>
          </p:cNvPicPr>
          <p:nvPr/>
        </p:nvPicPr>
        <p:blipFill>
          <a:blip r:embed="rId3"/>
          <a:stretch>
            <a:fillRect/>
          </a:stretch>
        </p:blipFill>
        <p:spPr>
          <a:xfrm>
            <a:off x="10476103" y="1796473"/>
            <a:ext cx="1428823" cy="4832598"/>
          </a:xfrm>
          <a:prstGeom prst="rect">
            <a:avLst/>
          </a:prstGeom>
        </p:spPr>
      </p:pic>
    </p:spTree>
    <p:custDataLst>
      <p:tags r:id="rId1"/>
    </p:custDataLst>
    <p:extLst>
      <p:ext uri="{BB962C8B-B14F-4D97-AF65-F5344CB8AC3E}">
        <p14:creationId xmlns:p14="http://schemas.microsoft.com/office/powerpoint/2010/main" val="301977915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tar: 32 Points 7">
            <a:extLst>
              <a:ext uri="{FF2B5EF4-FFF2-40B4-BE49-F238E27FC236}">
                <a16:creationId xmlns:a16="http://schemas.microsoft.com/office/drawing/2014/main" id="{6CB3D308-0410-ADA6-0C73-9DD2C1DA37F9}"/>
              </a:ext>
            </a:extLst>
          </p:cNvPr>
          <p:cNvSpPr/>
          <p:nvPr/>
        </p:nvSpPr>
        <p:spPr>
          <a:xfrm>
            <a:off x="8465116" y="4028817"/>
            <a:ext cx="5005306" cy="4517561"/>
          </a:xfrm>
          <a:prstGeom prst="star32">
            <a:avLst>
              <a:gd name="adj" fmla="val 39582"/>
            </a:avLst>
          </a:prstGeom>
          <a:effectLst>
            <a:outerShdw blurRad="50800" dist="38100" dir="5400000" algn="t"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BE5517-717E-F6E0-6672-BF659E4345E6}"/>
              </a:ext>
            </a:extLst>
          </p:cNvPr>
          <p:cNvSpPr>
            <a:spLocks noGrp="1"/>
          </p:cNvSpPr>
          <p:nvPr>
            <p:ph type="title"/>
          </p:nvPr>
        </p:nvSpPr>
        <p:spPr/>
        <p:txBody>
          <a:bodyPr/>
          <a:lstStyle/>
          <a:p>
            <a:r>
              <a:rPr lang="en-US"/>
              <a:t>What are </a:t>
            </a:r>
            <a:r>
              <a:rPr lang="en-US" dirty="0"/>
              <a:t>You Waiting For?</a:t>
            </a:r>
          </a:p>
        </p:txBody>
      </p:sp>
      <p:sp>
        <p:nvSpPr>
          <p:cNvPr id="22" name="TextBox 21">
            <a:extLst>
              <a:ext uri="{FF2B5EF4-FFF2-40B4-BE49-F238E27FC236}">
                <a16:creationId xmlns:a16="http://schemas.microsoft.com/office/drawing/2014/main" id="{30AF01E3-8095-3087-FD78-DFBB4E53A5AD}"/>
              </a:ext>
            </a:extLst>
          </p:cNvPr>
          <p:cNvSpPr txBox="1"/>
          <p:nvPr/>
        </p:nvSpPr>
        <p:spPr>
          <a:xfrm>
            <a:off x="4274113" y="1293873"/>
            <a:ext cx="3643746" cy="523220"/>
          </a:xfrm>
          <a:prstGeom prst="rect">
            <a:avLst/>
          </a:prstGeom>
          <a:noFill/>
        </p:spPr>
        <p:txBody>
          <a:bodyPr wrap="square" rtlCol="0">
            <a:spAutoFit/>
          </a:bodyPr>
          <a:lstStyle/>
          <a:p>
            <a:r>
              <a:rPr lang="en-US" sz="2800" b="1" dirty="0"/>
              <a:t>Opt-in to F-ROC today!</a:t>
            </a:r>
          </a:p>
        </p:txBody>
      </p:sp>
      <p:sp>
        <p:nvSpPr>
          <p:cNvPr id="23" name="TextBox 22">
            <a:extLst>
              <a:ext uri="{FF2B5EF4-FFF2-40B4-BE49-F238E27FC236}">
                <a16:creationId xmlns:a16="http://schemas.microsoft.com/office/drawing/2014/main" id="{07FD7255-C6A4-38F5-1D81-97997B82774E}"/>
              </a:ext>
            </a:extLst>
          </p:cNvPr>
          <p:cNvSpPr txBox="1"/>
          <p:nvPr/>
        </p:nvSpPr>
        <p:spPr>
          <a:xfrm>
            <a:off x="396446" y="1734143"/>
            <a:ext cx="3602182" cy="369332"/>
          </a:xfrm>
          <a:prstGeom prst="rect">
            <a:avLst/>
          </a:prstGeom>
          <a:noFill/>
        </p:spPr>
        <p:txBody>
          <a:bodyPr wrap="square" rtlCol="0">
            <a:spAutoFit/>
          </a:bodyPr>
          <a:lstStyle/>
          <a:p>
            <a:r>
              <a:rPr lang="en-US" i="1" dirty="0"/>
              <a:t>It’s as easy as…</a:t>
            </a:r>
          </a:p>
        </p:txBody>
      </p:sp>
      <p:grpSp>
        <p:nvGrpSpPr>
          <p:cNvPr id="28" name="Group 27">
            <a:extLst>
              <a:ext uri="{FF2B5EF4-FFF2-40B4-BE49-F238E27FC236}">
                <a16:creationId xmlns:a16="http://schemas.microsoft.com/office/drawing/2014/main" id="{37C70907-614A-B8A8-8F59-0BBECCC51365}"/>
              </a:ext>
            </a:extLst>
          </p:cNvPr>
          <p:cNvGrpSpPr/>
          <p:nvPr/>
        </p:nvGrpSpPr>
        <p:grpSpPr>
          <a:xfrm>
            <a:off x="988282" y="1826326"/>
            <a:ext cx="3144982" cy="1757231"/>
            <a:chOff x="988282" y="2165667"/>
            <a:chExt cx="3144982" cy="1757231"/>
          </a:xfrm>
        </p:grpSpPr>
        <p:sp>
          <p:nvSpPr>
            <p:cNvPr id="24" name="Rectangle: Rounded Corners 23">
              <a:extLst>
                <a:ext uri="{FF2B5EF4-FFF2-40B4-BE49-F238E27FC236}">
                  <a16:creationId xmlns:a16="http://schemas.microsoft.com/office/drawing/2014/main" id="{5A09FAAA-4EC9-A5FF-BC34-6BD94126A937}"/>
                </a:ext>
              </a:extLst>
            </p:cNvPr>
            <p:cNvSpPr/>
            <p:nvPr/>
          </p:nvSpPr>
          <p:spPr>
            <a:xfrm>
              <a:off x="988282" y="2580936"/>
              <a:ext cx="3144982" cy="134196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000000"/>
                </a:solidFill>
                <a:latin typeface="Calibri" panose="020F0502020204030204" pitchFamily="34" charset="0"/>
                <a:ea typeface="Times New Roman" panose="02020603050405020304" pitchFamily="18" charset="0"/>
              </a:endParaRPr>
            </a:p>
            <a:p>
              <a:pPr algn="ctr"/>
              <a:r>
                <a:rPr lang="en-US" sz="1400" dirty="0">
                  <a:solidFill>
                    <a:srgbClr val="000000"/>
                  </a:solidFill>
                  <a:latin typeface="Calibri" panose="020F0502020204030204" pitchFamily="34" charset="0"/>
                  <a:ea typeface="Times New Roman" panose="02020603050405020304" pitchFamily="18" charset="0"/>
                </a:rPr>
                <a:t>C</a:t>
              </a:r>
              <a:r>
                <a:rPr lang="en-US" sz="1400" dirty="0">
                  <a:solidFill>
                    <a:srgbClr val="000000"/>
                  </a:solidFill>
                  <a:effectLst/>
                  <a:latin typeface="Calibri" panose="020F0502020204030204" pitchFamily="34" charset="0"/>
                  <a:ea typeface="Times New Roman" panose="02020603050405020304" pitchFamily="18" charset="0"/>
                </a:rPr>
                <a:t>omplete the ~1-hour </a:t>
              </a:r>
              <a:r>
                <a:rPr lang="en-US" sz="1400" u="sng" dirty="0">
                  <a:solidFill>
                    <a:srgbClr val="0563C1"/>
                  </a:solidFill>
                  <a:effectLst/>
                  <a:latin typeface="Calibri" panose="020F0502020204030204" pitchFamily="34" charset="0"/>
                  <a:ea typeface="Times New Roman" panose="02020603050405020304" pitchFamily="18" charset="0"/>
                  <a:hlinkClick r:id="rId3"/>
                </a:rPr>
                <a:t>opt-in e-learning course</a:t>
              </a:r>
              <a:r>
                <a:rPr lang="en-US" sz="1400" dirty="0">
                  <a:solidFill>
                    <a:srgbClr val="000000"/>
                  </a:solidFill>
                  <a:effectLst/>
                  <a:latin typeface="Calibri" panose="020F0502020204030204" pitchFamily="34" charset="0"/>
                  <a:ea typeface="Times New Roman" panose="02020603050405020304" pitchFamily="18" charset="0"/>
                </a:rPr>
                <a:t> and exam, and save the auto-generated certificate proving training and exam completion</a:t>
              </a:r>
              <a:endParaRPr lang="en-US" sz="1400" dirty="0"/>
            </a:p>
          </p:txBody>
        </p:sp>
        <p:sp>
          <p:nvSpPr>
            <p:cNvPr id="27" name="TextBox 26">
              <a:extLst>
                <a:ext uri="{FF2B5EF4-FFF2-40B4-BE49-F238E27FC236}">
                  <a16:creationId xmlns:a16="http://schemas.microsoft.com/office/drawing/2014/main" id="{3CF3176F-CC7A-8593-81EB-180D9B436A55}"/>
                </a:ext>
              </a:extLst>
            </p:cNvPr>
            <p:cNvSpPr txBox="1"/>
            <p:nvPr/>
          </p:nvSpPr>
          <p:spPr>
            <a:xfrm>
              <a:off x="2338596" y="2165667"/>
              <a:ext cx="444353" cy="707886"/>
            </a:xfrm>
            <a:prstGeom prst="rect">
              <a:avLst/>
            </a:prstGeom>
            <a:solidFill>
              <a:schemeClr val="bg1"/>
            </a:solidFill>
          </p:spPr>
          <p:txBody>
            <a:bodyPr wrap="none" rtlCol="0">
              <a:spAutoFit/>
            </a:bodyPr>
            <a:lstStyle/>
            <a:p>
              <a:pPr algn="ctr"/>
              <a:r>
                <a:rPr lang="en-US" sz="4000" b="1" dirty="0">
                  <a:solidFill>
                    <a:srgbClr val="00338D"/>
                  </a:solidFill>
                </a:rPr>
                <a:t>1</a:t>
              </a:r>
            </a:p>
          </p:txBody>
        </p:sp>
      </p:grpSp>
      <p:grpSp>
        <p:nvGrpSpPr>
          <p:cNvPr id="29" name="Group 28">
            <a:extLst>
              <a:ext uri="{FF2B5EF4-FFF2-40B4-BE49-F238E27FC236}">
                <a16:creationId xmlns:a16="http://schemas.microsoft.com/office/drawing/2014/main" id="{3FE27C0C-1F7C-1898-1420-272E7153BD73}"/>
              </a:ext>
            </a:extLst>
          </p:cNvPr>
          <p:cNvGrpSpPr/>
          <p:nvPr/>
        </p:nvGrpSpPr>
        <p:grpSpPr>
          <a:xfrm>
            <a:off x="4772877" y="1826326"/>
            <a:ext cx="3144982" cy="1757231"/>
            <a:chOff x="988282" y="2165667"/>
            <a:chExt cx="3144982" cy="1757231"/>
          </a:xfrm>
        </p:grpSpPr>
        <p:sp>
          <p:nvSpPr>
            <p:cNvPr id="30" name="Rectangle: Rounded Corners 29">
              <a:extLst>
                <a:ext uri="{FF2B5EF4-FFF2-40B4-BE49-F238E27FC236}">
                  <a16:creationId xmlns:a16="http://schemas.microsoft.com/office/drawing/2014/main" id="{970C096D-FE56-7CEA-9F0D-806B3A7002EC}"/>
                </a:ext>
              </a:extLst>
            </p:cNvPr>
            <p:cNvSpPr/>
            <p:nvPr/>
          </p:nvSpPr>
          <p:spPr>
            <a:xfrm>
              <a:off x="988282" y="2580936"/>
              <a:ext cx="3144982" cy="134196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000000"/>
                  </a:solidFill>
                  <a:effectLst/>
                  <a:latin typeface="Calibri" panose="020F0502020204030204" pitchFamily="34" charset="0"/>
                  <a:ea typeface="Times New Roman" panose="02020603050405020304" pitchFamily="18" charset="0"/>
                </a:rPr>
                <a:t>Complete and sign the “</a:t>
              </a:r>
              <a:r>
                <a:rPr lang="en-US" sz="1400" u="sng" dirty="0">
                  <a:solidFill>
                    <a:srgbClr val="0563C1"/>
                  </a:solidFill>
                  <a:effectLst/>
                  <a:latin typeface="Calibri" panose="020F0502020204030204" pitchFamily="34" charset="0"/>
                  <a:ea typeface="Times New Roman" panose="02020603050405020304" pitchFamily="18" charset="0"/>
                  <a:hlinkClick r:id="rId4"/>
                </a:rPr>
                <a:t>Participation Request Form</a:t>
              </a:r>
              <a:r>
                <a:rPr lang="en-US" sz="1400" dirty="0">
                  <a:solidFill>
                    <a:srgbClr val="000000"/>
                  </a:solidFill>
                  <a:effectLst/>
                  <a:latin typeface="Calibri" panose="020F0502020204030204" pitchFamily="34" charset="0"/>
                  <a:ea typeface="Times New Roman" panose="02020603050405020304" pitchFamily="18" charset="0"/>
                </a:rPr>
                <a:t>”</a:t>
              </a:r>
              <a:endParaRPr lang="en-US" sz="1400" dirty="0"/>
            </a:p>
          </p:txBody>
        </p:sp>
        <p:sp>
          <p:nvSpPr>
            <p:cNvPr id="31" name="TextBox 30">
              <a:extLst>
                <a:ext uri="{FF2B5EF4-FFF2-40B4-BE49-F238E27FC236}">
                  <a16:creationId xmlns:a16="http://schemas.microsoft.com/office/drawing/2014/main" id="{DC04D601-5FD5-1F75-B1CE-812CBCFBB44E}"/>
                </a:ext>
              </a:extLst>
            </p:cNvPr>
            <p:cNvSpPr txBox="1"/>
            <p:nvPr/>
          </p:nvSpPr>
          <p:spPr>
            <a:xfrm>
              <a:off x="2338596" y="2165667"/>
              <a:ext cx="444353" cy="707886"/>
            </a:xfrm>
            <a:prstGeom prst="rect">
              <a:avLst/>
            </a:prstGeom>
            <a:solidFill>
              <a:schemeClr val="bg1"/>
            </a:solidFill>
          </p:spPr>
          <p:txBody>
            <a:bodyPr wrap="none" rtlCol="0">
              <a:spAutoFit/>
            </a:bodyPr>
            <a:lstStyle/>
            <a:p>
              <a:pPr algn="ctr"/>
              <a:r>
                <a:rPr lang="en-US" sz="4000" b="1" dirty="0">
                  <a:solidFill>
                    <a:srgbClr val="00338D"/>
                  </a:solidFill>
                </a:rPr>
                <a:t>2</a:t>
              </a:r>
            </a:p>
          </p:txBody>
        </p:sp>
      </p:grpSp>
      <p:grpSp>
        <p:nvGrpSpPr>
          <p:cNvPr id="32" name="Group 31">
            <a:extLst>
              <a:ext uri="{FF2B5EF4-FFF2-40B4-BE49-F238E27FC236}">
                <a16:creationId xmlns:a16="http://schemas.microsoft.com/office/drawing/2014/main" id="{FD21014A-333D-5182-6E42-407C21CB117F}"/>
              </a:ext>
            </a:extLst>
          </p:cNvPr>
          <p:cNvGrpSpPr/>
          <p:nvPr/>
        </p:nvGrpSpPr>
        <p:grpSpPr>
          <a:xfrm>
            <a:off x="8557473" y="1826326"/>
            <a:ext cx="3144982" cy="1757231"/>
            <a:chOff x="988282" y="2165667"/>
            <a:chExt cx="3144982" cy="1757231"/>
          </a:xfrm>
        </p:grpSpPr>
        <p:sp>
          <p:nvSpPr>
            <p:cNvPr id="33" name="Rectangle: Rounded Corners 32">
              <a:extLst>
                <a:ext uri="{FF2B5EF4-FFF2-40B4-BE49-F238E27FC236}">
                  <a16:creationId xmlns:a16="http://schemas.microsoft.com/office/drawing/2014/main" id="{A9696B32-C58A-65EC-743F-008E00B2982F}"/>
                </a:ext>
              </a:extLst>
            </p:cNvPr>
            <p:cNvSpPr/>
            <p:nvPr/>
          </p:nvSpPr>
          <p:spPr>
            <a:xfrm>
              <a:off x="988282" y="2580936"/>
              <a:ext cx="3144982" cy="134196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000000"/>
                  </a:solidFill>
                  <a:effectLst/>
                  <a:latin typeface="Calibri" panose="020F0502020204030204" pitchFamily="34" charset="0"/>
                  <a:ea typeface="Times New Roman" panose="02020603050405020304" pitchFamily="18" charset="0"/>
                </a:rPr>
                <a:t>Email the training certificate and signed “Participation Request Form” to the </a:t>
              </a:r>
              <a:r>
                <a:rPr lang="en-US" sz="1400" u="sng" dirty="0">
                  <a:solidFill>
                    <a:srgbClr val="0563C1"/>
                  </a:solidFill>
                  <a:effectLst/>
                  <a:latin typeface="Calibri" panose="020F0502020204030204" pitchFamily="34" charset="0"/>
                  <a:ea typeface="Times New Roman" panose="02020603050405020304" pitchFamily="18" charset="0"/>
                  <a:hlinkClick r:id="rId5"/>
                </a:rPr>
                <a:t>F-ROC team</a:t>
              </a:r>
              <a:endParaRPr lang="en-US" sz="1400" dirty="0"/>
            </a:p>
          </p:txBody>
        </p:sp>
        <p:sp>
          <p:nvSpPr>
            <p:cNvPr id="34" name="TextBox 33">
              <a:extLst>
                <a:ext uri="{FF2B5EF4-FFF2-40B4-BE49-F238E27FC236}">
                  <a16:creationId xmlns:a16="http://schemas.microsoft.com/office/drawing/2014/main" id="{9EB9E4A2-5D85-3DB6-1C68-B5F1C93C03E3}"/>
                </a:ext>
              </a:extLst>
            </p:cNvPr>
            <p:cNvSpPr txBox="1"/>
            <p:nvPr/>
          </p:nvSpPr>
          <p:spPr>
            <a:xfrm>
              <a:off x="2338596" y="2165667"/>
              <a:ext cx="444353" cy="707886"/>
            </a:xfrm>
            <a:prstGeom prst="rect">
              <a:avLst/>
            </a:prstGeom>
            <a:solidFill>
              <a:schemeClr val="bg1"/>
            </a:solidFill>
          </p:spPr>
          <p:txBody>
            <a:bodyPr wrap="none" rtlCol="0">
              <a:spAutoFit/>
            </a:bodyPr>
            <a:lstStyle/>
            <a:p>
              <a:pPr algn="ctr"/>
              <a:r>
                <a:rPr lang="en-US" sz="4000" b="1" dirty="0">
                  <a:solidFill>
                    <a:srgbClr val="00338D"/>
                  </a:solidFill>
                </a:rPr>
                <a:t>3</a:t>
              </a:r>
            </a:p>
          </p:txBody>
        </p:sp>
      </p:grpSp>
      <p:grpSp>
        <p:nvGrpSpPr>
          <p:cNvPr id="115" name="Group 114">
            <a:extLst>
              <a:ext uri="{FF2B5EF4-FFF2-40B4-BE49-F238E27FC236}">
                <a16:creationId xmlns:a16="http://schemas.microsoft.com/office/drawing/2014/main" id="{AD074922-F958-2EC7-55F0-83D74A13073B}"/>
              </a:ext>
            </a:extLst>
          </p:cNvPr>
          <p:cNvGrpSpPr/>
          <p:nvPr/>
        </p:nvGrpSpPr>
        <p:grpSpPr>
          <a:xfrm>
            <a:off x="1686451" y="4432561"/>
            <a:ext cx="6717186" cy="2154174"/>
            <a:chOff x="6396163" y="3957555"/>
            <a:chExt cx="7318008" cy="2154174"/>
          </a:xfrm>
        </p:grpSpPr>
        <p:sp>
          <p:nvSpPr>
            <p:cNvPr id="40" name="Star: 7 Points 39">
              <a:extLst>
                <a:ext uri="{FF2B5EF4-FFF2-40B4-BE49-F238E27FC236}">
                  <a16:creationId xmlns:a16="http://schemas.microsoft.com/office/drawing/2014/main" id="{AEDEBBCE-EB4D-4993-2E86-DDD2E57101A8}"/>
                </a:ext>
              </a:extLst>
            </p:cNvPr>
            <p:cNvSpPr/>
            <p:nvPr/>
          </p:nvSpPr>
          <p:spPr>
            <a:xfrm>
              <a:off x="6396163" y="4091974"/>
              <a:ext cx="173196" cy="152400"/>
            </a:xfrm>
            <a:prstGeom prst="star7">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4" name="TextBox 43">
              <a:extLst>
                <a:ext uri="{FF2B5EF4-FFF2-40B4-BE49-F238E27FC236}">
                  <a16:creationId xmlns:a16="http://schemas.microsoft.com/office/drawing/2014/main" id="{6E5CB2FC-5958-3595-352D-44D8C66AF4F6}"/>
                </a:ext>
              </a:extLst>
            </p:cNvPr>
            <p:cNvSpPr txBox="1"/>
            <p:nvPr/>
          </p:nvSpPr>
          <p:spPr>
            <a:xfrm>
              <a:off x="6710698" y="3957555"/>
              <a:ext cx="6887128" cy="338554"/>
            </a:xfrm>
            <a:prstGeom prst="rect">
              <a:avLst/>
            </a:prstGeom>
            <a:noFill/>
          </p:spPr>
          <p:txBody>
            <a:bodyPr wrap="square">
              <a:spAutoFit/>
            </a:bodyPr>
            <a:lstStyle/>
            <a:p>
              <a:r>
                <a:rPr kumimoji="0" lang="en-US" sz="1600" i="0" u="none" strike="noStrike" kern="1200" cap="none" spc="0" normalizeH="0" baseline="0" noProof="0" dirty="0">
                  <a:ln>
                    <a:noFill/>
                  </a:ln>
                  <a:effectLst/>
                  <a:uLnTx/>
                  <a:uFillTx/>
                  <a:latin typeface="Calibri" panose="020F0502020204030204"/>
                  <a:ea typeface="+mn-ea"/>
                  <a:cs typeface="+mn-cs"/>
                </a:rPr>
                <a:t>Improved project formulation and streamlined processes.</a:t>
              </a:r>
              <a:endParaRPr lang="en-US" sz="1600" dirty="0"/>
            </a:p>
          </p:txBody>
        </p:sp>
        <p:sp>
          <p:nvSpPr>
            <p:cNvPr id="48" name="TextBox 47">
              <a:extLst>
                <a:ext uri="{FF2B5EF4-FFF2-40B4-BE49-F238E27FC236}">
                  <a16:creationId xmlns:a16="http://schemas.microsoft.com/office/drawing/2014/main" id="{B119AF58-A3CE-C748-D752-706625B6B1F5}"/>
                </a:ext>
              </a:extLst>
            </p:cNvPr>
            <p:cNvSpPr txBox="1"/>
            <p:nvPr/>
          </p:nvSpPr>
          <p:spPr>
            <a:xfrm>
              <a:off x="6710699" y="4589267"/>
              <a:ext cx="6500547" cy="338554"/>
            </a:xfrm>
            <a:prstGeom prst="rect">
              <a:avLst/>
            </a:prstGeom>
            <a:noFill/>
          </p:spPr>
          <p:txBody>
            <a:bodyPr wrap="square">
              <a:spAutoFit/>
            </a:bodyPr>
            <a:lstStyle/>
            <a:p>
              <a:r>
                <a:rPr lang="en-US" sz="1600" dirty="0">
                  <a:latin typeface="Calibri" panose="020F0502020204030204"/>
                </a:rPr>
                <a:t>Increased</a:t>
              </a:r>
              <a:r>
                <a:rPr kumimoji="0" lang="en-US" sz="1600" i="0" u="none" strike="noStrike" kern="1200" cap="none" spc="0" normalizeH="0" baseline="0" noProof="0" dirty="0">
                  <a:ln>
                    <a:noFill/>
                  </a:ln>
                  <a:effectLst/>
                  <a:uLnTx/>
                  <a:uFillTx/>
                  <a:latin typeface="Calibri" panose="020F0502020204030204"/>
                  <a:ea typeface="+mn-ea"/>
                  <a:cs typeface="+mn-cs"/>
                </a:rPr>
                <a:t> support and knowledge-sharing </a:t>
              </a:r>
              <a:r>
                <a:rPr lang="en-US" sz="1600" dirty="0">
                  <a:latin typeface="Calibri" panose="020F0502020204030204"/>
                </a:rPr>
                <a:t>among</a:t>
              </a:r>
              <a:r>
                <a:rPr kumimoji="0" lang="en-US" sz="1600" i="0" u="none" strike="noStrike" kern="1200" cap="none" spc="0" normalizeH="0" baseline="0" noProof="0" dirty="0">
                  <a:ln>
                    <a:noFill/>
                  </a:ln>
                  <a:effectLst/>
                  <a:uLnTx/>
                  <a:uFillTx/>
                  <a:latin typeface="Calibri" panose="020F0502020204030204"/>
                  <a:ea typeface="+mn-ea"/>
                  <a:cs typeface="+mn-cs"/>
                </a:rPr>
                <a:t> peers. </a:t>
              </a:r>
              <a:endParaRPr lang="en-US" sz="1600" dirty="0"/>
            </a:p>
          </p:txBody>
        </p:sp>
        <p:sp>
          <p:nvSpPr>
            <p:cNvPr id="50" name="TextBox 49">
              <a:extLst>
                <a:ext uri="{FF2B5EF4-FFF2-40B4-BE49-F238E27FC236}">
                  <a16:creationId xmlns:a16="http://schemas.microsoft.com/office/drawing/2014/main" id="{D2853DE8-B5E6-FB14-5E45-7F9EDC895098}"/>
                </a:ext>
              </a:extLst>
            </p:cNvPr>
            <p:cNvSpPr txBox="1"/>
            <p:nvPr/>
          </p:nvSpPr>
          <p:spPr>
            <a:xfrm>
              <a:off x="6710698" y="5113940"/>
              <a:ext cx="5989143" cy="584775"/>
            </a:xfrm>
            <a:prstGeom prst="rect">
              <a:avLst/>
            </a:prstGeom>
            <a:noFill/>
          </p:spPr>
          <p:txBody>
            <a:bodyPr wrap="square">
              <a:spAutoFit/>
            </a:bodyPr>
            <a:lstStyle/>
            <a:p>
              <a:r>
                <a:rPr lang="en-US" sz="1600" dirty="0"/>
                <a:t>Reduction in errors, inconsistencies, and time spent on paperwork using standardized forms.</a:t>
              </a:r>
            </a:p>
          </p:txBody>
        </p:sp>
        <p:sp>
          <p:nvSpPr>
            <p:cNvPr id="52" name="TextBox 51">
              <a:extLst>
                <a:ext uri="{FF2B5EF4-FFF2-40B4-BE49-F238E27FC236}">
                  <a16:creationId xmlns:a16="http://schemas.microsoft.com/office/drawing/2014/main" id="{05424E7A-109A-8DA5-7A39-818976714353}"/>
                </a:ext>
              </a:extLst>
            </p:cNvPr>
            <p:cNvSpPr txBox="1"/>
            <p:nvPr/>
          </p:nvSpPr>
          <p:spPr>
            <a:xfrm>
              <a:off x="6710699" y="5773175"/>
              <a:ext cx="7003472" cy="338554"/>
            </a:xfrm>
            <a:prstGeom prst="rect">
              <a:avLst/>
            </a:prstGeom>
            <a:noFill/>
            <a:ln>
              <a:noFill/>
            </a:ln>
          </p:spPr>
          <p:txBody>
            <a:bodyPr wrap="square">
              <a:spAutoFit/>
            </a:bodyPr>
            <a:lstStyle/>
            <a:p>
              <a:r>
                <a:rPr lang="en-US" sz="1600" dirty="0"/>
                <a:t>A more proactive approach to recovery.</a:t>
              </a:r>
            </a:p>
          </p:txBody>
        </p:sp>
        <p:sp>
          <p:nvSpPr>
            <p:cNvPr id="53" name="Star: 7 Points 52">
              <a:extLst>
                <a:ext uri="{FF2B5EF4-FFF2-40B4-BE49-F238E27FC236}">
                  <a16:creationId xmlns:a16="http://schemas.microsoft.com/office/drawing/2014/main" id="{37441F8C-6ADD-D4C9-A545-BD41ED574F9B}"/>
                </a:ext>
              </a:extLst>
            </p:cNvPr>
            <p:cNvSpPr/>
            <p:nvPr/>
          </p:nvSpPr>
          <p:spPr>
            <a:xfrm>
              <a:off x="6396164" y="4708288"/>
              <a:ext cx="173196" cy="152400"/>
            </a:xfrm>
            <a:prstGeom prst="star7">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4" name="Star: 7 Points 53">
              <a:extLst>
                <a:ext uri="{FF2B5EF4-FFF2-40B4-BE49-F238E27FC236}">
                  <a16:creationId xmlns:a16="http://schemas.microsoft.com/office/drawing/2014/main" id="{1352C721-1896-DE1D-BEDD-991048B3E81C}"/>
                </a:ext>
              </a:extLst>
            </p:cNvPr>
            <p:cNvSpPr/>
            <p:nvPr/>
          </p:nvSpPr>
          <p:spPr>
            <a:xfrm>
              <a:off x="6396164" y="5213418"/>
              <a:ext cx="173196" cy="152400"/>
            </a:xfrm>
            <a:prstGeom prst="star7">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5" name="Star: 7 Points 54">
              <a:extLst>
                <a:ext uri="{FF2B5EF4-FFF2-40B4-BE49-F238E27FC236}">
                  <a16:creationId xmlns:a16="http://schemas.microsoft.com/office/drawing/2014/main" id="{0351BEB3-DFCC-86ED-6B08-ECD8C7D323A5}"/>
                </a:ext>
              </a:extLst>
            </p:cNvPr>
            <p:cNvSpPr/>
            <p:nvPr/>
          </p:nvSpPr>
          <p:spPr>
            <a:xfrm>
              <a:off x="6396164" y="5870330"/>
              <a:ext cx="173196" cy="152400"/>
            </a:xfrm>
            <a:prstGeom prst="star7">
              <a:avLst/>
            </a:prstGeom>
            <a:solidFill>
              <a:srgbClr val="00338D"/>
            </a:solidFill>
            <a:ln>
              <a:solidFill>
                <a:srgbClr val="0033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sp>
        <p:nvSpPr>
          <p:cNvPr id="37" name="TextBox 36">
            <a:extLst>
              <a:ext uri="{FF2B5EF4-FFF2-40B4-BE49-F238E27FC236}">
                <a16:creationId xmlns:a16="http://schemas.microsoft.com/office/drawing/2014/main" id="{141B6EB4-6E94-48C8-E580-3638626D3A03}"/>
              </a:ext>
            </a:extLst>
          </p:cNvPr>
          <p:cNvSpPr txBox="1"/>
          <p:nvPr/>
        </p:nvSpPr>
        <p:spPr>
          <a:xfrm>
            <a:off x="9282799" y="5161406"/>
            <a:ext cx="2902624" cy="1477328"/>
          </a:xfrm>
          <a:prstGeom prst="rect">
            <a:avLst/>
          </a:prstGeom>
          <a:noFill/>
        </p:spPr>
        <p:txBody>
          <a:bodyPr wrap="square">
            <a:spAutoFit/>
          </a:bodyPr>
          <a:lstStyle/>
          <a:p>
            <a:pPr algn="ctr"/>
            <a:r>
              <a:rPr lang="en-US" sz="1800" b="1" dirty="0">
                <a:effectLst/>
                <a:latin typeface="Calibri" panose="020F0502020204030204" pitchFamily="34" charset="0"/>
                <a:ea typeface="Calibri" panose="020F0502020204030204" pitchFamily="34" charset="0"/>
                <a:cs typeface="Times New Roman" panose="02020603050405020304" pitchFamily="18" charset="0"/>
              </a:rPr>
              <a:t>Receive 20% of funding upfront</a:t>
            </a:r>
            <a:r>
              <a:rPr lang="en-US" sz="1800" dirty="0">
                <a:effectLst/>
                <a:latin typeface="Calibri" panose="020F0502020204030204" pitchFamily="34" charset="0"/>
                <a:ea typeface="Calibri" panose="020F0502020204030204" pitchFamily="34" charset="0"/>
                <a:cs typeface="Times New Roman" panose="02020603050405020304" pitchFamily="18" charset="0"/>
              </a:rPr>
              <a:t> for applicable projects during both the 2023 and 2024 hurricane seasons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just by opting in!</a:t>
            </a:r>
            <a:endParaRPr lang="en-US" dirty="0"/>
          </a:p>
        </p:txBody>
      </p:sp>
      <p:sp>
        <p:nvSpPr>
          <p:cNvPr id="5" name="Rectangle 4">
            <a:extLst>
              <a:ext uri="{FF2B5EF4-FFF2-40B4-BE49-F238E27FC236}">
                <a16:creationId xmlns:a16="http://schemas.microsoft.com/office/drawing/2014/main" id="{9DC780F5-F082-0197-E5D4-B8B432DF559A}"/>
              </a:ext>
            </a:extLst>
          </p:cNvPr>
          <p:cNvSpPr/>
          <p:nvPr/>
        </p:nvSpPr>
        <p:spPr>
          <a:xfrm>
            <a:off x="12192000" y="3968112"/>
            <a:ext cx="1401170" cy="2920621"/>
          </a:xfrm>
          <a:prstGeom prst="rect">
            <a:avLst/>
          </a:prstGeom>
          <a:solidFill>
            <a:srgbClr val="E6E6E6"/>
          </a:solidFill>
          <a:ln>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D79B00B4-A9CF-5598-028D-14E09F6C479D}"/>
              </a:ext>
            </a:extLst>
          </p:cNvPr>
          <p:cNvSpPr/>
          <p:nvPr/>
        </p:nvSpPr>
        <p:spPr>
          <a:xfrm rot="5400000">
            <a:off x="10556566" y="4769915"/>
            <a:ext cx="2009680" cy="6192579"/>
          </a:xfrm>
          <a:prstGeom prst="rect">
            <a:avLst/>
          </a:prstGeom>
          <a:solidFill>
            <a:srgbClr val="E6E6E6"/>
          </a:solidFill>
          <a:ln>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64A4E419-AAD1-CDC3-1D1F-386B7248C2F0}"/>
              </a:ext>
            </a:extLst>
          </p:cNvPr>
          <p:cNvSpPr txBox="1"/>
          <p:nvPr/>
        </p:nvSpPr>
        <p:spPr>
          <a:xfrm>
            <a:off x="396446" y="3883993"/>
            <a:ext cx="3602182" cy="369332"/>
          </a:xfrm>
          <a:prstGeom prst="rect">
            <a:avLst/>
          </a:prstGeom>
          <a:noFill/>
        </p:spPr>
        <p:txBody>
          <a:bodyPr wrap="square" rtlCol="0">
            <a:spAutoFit/>
          </a:bodyPr>
          <a:lstStyle/>
          <a:p>
            <a:r>
              <a:rPr lang="en-US" i="1" dirty="0"/>
              <a:t>You benefit from…</a:t>
            </a:r>
          </a:p>
        </p:txBody>
      </p:sp>
    </p:spTree>
    <p:extLst>
      <p:ext uri="{BB962C8B-B14F-4D97-AF65-F5344CB8AC3E}">
        <p14:creationId xmlns:p14="http://schemas.microsoft.com/office/powerpoint/2010/main" val="301495725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ACD1A-F6CC-4BB0-B776-5BEF366AEE23}"/>
              </a:ext>
            </a:extLst>
          </p:cNvPr>
          <p:cNvSpPr>
            <a:spLocks noGrp="1"/>
          </p:cNvSpPr>
          <p:nvPr>
            <p:ph type="title"/>
          </p:nvPr>
        </p:nvSpPr>
        <p:spPr>
          <a:xfrm>
            <a:off x="1188561" y="29215"/>
            <a:ext cx="10436258" cy="1035062"/>
          </a:xfrm>
        </p:spPr>
        <p:txBody>
          <a:bodyPr/>
          <a:lstStyle/>
          <a:p>
            <a:pPr fontAlgn="base">
              <a:lnSpc>
                <a:spcPct val="107000"/>
              </a:lnSpc>
              <a:spcAft>
                <a:spcPts val="880"/>
              </a:spcAft>
            </a:pPr>
            <a:r>
              <a:rPr lang="en-US" sz="4400">
                <a:solidFill>
                  <a:schemeClr val="bg1"/>
                </a:solidFill>
                <a:ea typeface="Roboto" panose="02000000000000000000" pitchFamily="2" charset="0"/>
                <a:cs typeface="Roboto" panose="02000000000000000000" pitchFamily="2" charset="0"/>
              </a:rPr>
              <a:t>How </a:t>
            </a:r>
            <a:r>
              <a:rPr lang="en-US">
                <a:ea typeface="Roboto" panose="02000000000000000000" pitchFamily="2" charset="0"/>
                <a:cs typeface="Roboto" panose="02000000000000000000" pitchFamily="2" charset="0"/>
              </a:rPr>
              <a:t>Can</a:t>
            </a:r>
            <a:r>
              <a:rPr lang="en-US" sz="4400">
                <a:solidFill>
                  <a:schemeClr val="bg1"/>
                </a:solidFill>
                <a:ea typeface="Roboto" panose="02000000000000000000" pitchFamily="2" charset="0"/>
                <a:cs typeface="Roboto" panose="02000000000000000000" pitchFamily="2" charset="0"/>
              </a:rPr>
              <a:t> I Stay </a:t>
            </a:r>
            <a:r>
              <a:rPr lang="en-US">
                <a:ea typeface="Roboto" panose="02000000000000000000" pitchFamily="2" charset="0"/>
                <a:cs typeface="Roboto" panose="02000000000000000000" pitchFamily="2" charset="0"/>
              </a:rPr>
              <a:t>I</a:t>
            </a:r>
            <a:r>
              <a:rPr lang="en-US" sz="4400">
                <a:solidFill>
                  <a:schemeClr val="bg1"/>
                </a:solidFill>
                <a:ea typeface="Roboto" panose="02000000000000000000" pitchFamily="2" charset="0"/>
                <a:cs typeface="Roboto" panose="02000000000000000000" pitchFamily="2" charset="0"/>
              </a:rPr>
              <a:t>nformed?</a:t>
            </a:r>
          </a:p>
        </p:txBody>
      </p:sp>
      <p:grpSp>
        <p:nvGrpSpPr>
          <p:cNvPr id="12" name="Group 234">
            <a:extLst>
              <a:ext uri="{FF2B5EF4-FFF2-40B4-BE49-F238E27FC236}">
                <a16:creationId xmlns:a16="http://schemas.microsoft.com/office/drawing/2014/main" id="{A74ADF2D-AC6D-4B29-A45B-7A2331392D7A}"/>
              </a:ext>
            </a:extLst>
          </p:cNvPr>
          <p:cNvGrpSpPr/>
          <p:nvPr/>
        </p:nvGrpSpPr>
        <p:grpSpPr>
          <a:xfrm>
            <a:off x="2353741" y="1948855"/>
            <a:ext cx="2407178" cy="892552"/>
            <a:chOff x="-869973" y="1926121"/>
            <a:chExt cx="2580580" cy="892552"/>
          </a:xfrm>
        </p:grpSpPr>
        <p:sp>
          <p:nvSpPr>
            <p:cNvPr id="14" name="TextBox 237">
              <a:extLst>
                <a:ext uri="{FF2B5EF4-FFF2-40B4-BE49-F238E27FC236}">
                  <a16:creationId xmlns:a16="http://schemas.microsoft.com/office/drawing/2014/main" id="{733F601E-4B01-41E2-B658-5B2F47CB3090}"/>
                </a:ext>
              </a:extLst>
            </p:cNvPr>
            <p:cNvSpPr txBox="1"/>
            <p:nvPr/>
          </p:nvSpPr>
          <p:spPr>
            <a:xfrm>
              <a:off x="-869973" y="1926121"/>
              <a:ext cx="2580580" cy="89255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600" b="1" i="0" u="none" strike="noStrike" kern="0" cap="none" spc="0" normalizeH="0" baseline="0" noProof="0">
                  <a:ln>
                    <a:noFill/>
                  </a:ln>
                  <a:solidFill>
                    <a:srgbClr val="000000"/>
                  </a:solidFill>
                  <a:effectLst/>
                  <a:uLnTx/>
                  <a:uFillTx/>
                  <a:latin typeface="Calibri" panose="020F0502020204030204"/>
                  <a:ea typeface="Roboto" panose="02000000000000000000" pitchFamily="2" charset="0"/>
                  <a:cs typeface="Arial" panose="020B0604020202020204" pitchFamily="34" charset="0"/>
                </a:rPr>
                <a:t>Have feedback or ideas?</a:t>
              </a:r>
            </a:p>
          </p:txBody>
        </p:sp>
        <p:cxnSp>
          <p:nvCxnSpPr>
            <p:cNvPr id="16" name="Straight Arrow Connector 236">
              <a:extLst>
                <a:ext uri="{FF2B5EF4-FFF2-40B4-BE49-F238E27FC236}">
                  <a16:creationId xmlns:a16="http://schemas.microsoft.com/office/drawing/2014/main" id="{7BE6F63D-ABBF-4E10-A49F-4A1B244B84FF}"/>
                </a:ext>
              </a:extLst>
            </p:cNvPr>
            <p:cNvCxnSpPr>
              <a:cxnSpLocks/>
            </p:cNvCxnSpPr>
            <p:nvPr/>
          </p:nvCxnSpPr>
          <p:spPr>
            <a:xfrm>
              <a:off x="-750667" y="2810968"/>
              <a:ext cx="2389802" cy="0"/>
            </a:xfrm>
            <a:prstGeom prst="straightConnector1">
              <a:avLst/>
            </a:prstGeom>
            <a:noFill/>
            <a:ln w="6350" cap="flat" cmpd="sng" algn="ctr">
              <a:solidFill>
                <a:srgbClr val="5B9BD5"/>
              </a:solidFill>
              <a:prstDash val="solid"/>
              <a:miter lim="800000"/>
              <a:headEnd type="none"/>
              <a:tailEnd type="oval"/>
            </a:ln>
            <a:effectLst/>
          </p:spPr>
        </p:cxnSp>
      </p:grpSp>
      <p:grpSp>
        <p:nvGrpSpPr>
          <p:cNvPr id="18" name="Group 2">
            <a:extLst>
              <a:ext uri="{FF2B5EF4-FFF2-40B4-BE49-F238E27FC236}">
                <a16:creationId xmlns:a16="http://schemas.microsoft.com/office/drawing/2014/main" id="{19A1D403-FC09-4065-9CC9-C27D066D8EE2}"/>
              </a:ext>
            </a:extLst>
          </p:cNvPr>
          <p:cNvGrpSpPr/>
          <p:nvPr/>
        </p:nvGrpSpPr>
        <p:grpSpPr>
          <a:xfrm>
            <a:off x="4840746" y="1854021"/>
            <a:ext cx="3277327" cy="2141310"/>
            <a:chOff x="1863481" y="695195"/>
            <a:chExt cx="5287166" cy="3454484"/>
          </a:xfrm>
        </p:grpSpPr>
        <p:sp>
          <p:nvSpPr>
            <p:cNvPr id="19" name="Freeform 381">
              <a:extLst>
                <a:ext uri="{FF2B5EF4-FFF2-40B4-BE49-F238E27FC236}">
                  <a16:creationId xmlns:a16="http://schemas.microsoft.com/office/drawing/2014/main" id="{0193D1E7-77BD-4485-A3E6-B08BA7080D21}"/>
                </a:ext>
              </a:extLst>
            </p:cNvPr>
            <p:cNvSpPr/>
            <p:nvPr/>
          </p:nvSpPr>
          <p:spPr>
            <a:xfrm>
              <a:off x="2804646" y="1295961"/>
              <a:ext cx="459415" cy="162739"/>
            </a:xfrm>
            <a:custGeom>
              <a:avLst/>
              <a:gdLst>
                <a:gd name="connsiteX0" fmla="*/ 409966 w 459415"/>
                <a:gd name="connsiteY0" fmla="*/ 0 h 162739"/>
                <a:gd name="connsiteX1" fmla="*/ 459415 w 459415"/>
                <a:gd name="connsiteY1" fmla="*/ 380 h 162739"/>
                <a:gd name="connsiteX2" fmla="*/ 459415 w 459415"/>
                <a:gd name="connsiteY2" fmla="*/ 162739 h 162739"/>
                <a:gd name="connsiteX3" fmla="*/ 0 w 459415"/>
                <a:gd name="connsiteY3" fmla="*/ 162739 h 162739"/>
                <a:gd name="connsiteX4" fmla="*/ 18856 w 459415"/>
                <a:gd name="connsiteY4" fmla="*/ 143089 h 162739"/>
                <a:gd name="connsiteX5" fmla="*/ 409966 w 459415"/>
                <a:gd name="connsiteY5" fmla="*/ 0 h 162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9415" h="162739">
                  <a:moveTo>
                    <a:pt x="409966" y="0"/>
                  </a:moveTo>
                  <a:lnTo>
                    <a:pt x="459415" y="380"/>
                  </a:lnTo>
                  <a:lnTo>
                    <a:pt x="459415" y="162739"/>
                  </a:lnTo>
                  <a:lnTo>
                    <a:pt x="0" y="162739"/>
                  </a:lnTo>
                  <a:lnTo>
                    <a:pt x="18856" y="143089"/>
                  </a:lnTo>
                  <a:cubicBezTo>
                    <a:pt x="109898" y="63544"/>
                    <a:pt x="237143" y="9894"/>
                    <a:pt x="409966" y="0"/>
                  </a:cubicBezTo>
                  <a:close/>
                </a:path>
              </a:pathLst>
            </a:custGeom>
            <a:solidFill>
              <a:srgbClr val="483698"/>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20" name="Freeform 382">
              <a:extLst>
                <a:ext uri="{FF2B5EF4-FFF2-40B4-BE49-F238E27FC236}">
                  <a16:creationId xmlns:a16="http://schemas.microsoft.com/office/drawing/2014/main" id="{1D1FDCC4-6374-4F83-8294-061560EFE4AF}"/>
                </a:ext>
              </a:extLst>
            </p:cNvPr>
            <p:cNvSpPr/>
            <p:nvPr/>
          </p:nvSpPr>
          <p:spPr>
            <a:xfrm>
              <a:off x="2276152" y="1504419"/>
              <a:ext cx="987909" cy="1006936"/>
            </a:xfrm>
            <a:custGeom>
              <a:avLst/>
              <a:gdLst>
                <a:gd name="connsiteX0" fmla="*/ 484942 w 987909"/>
                <a:gd name="connsiteY0" fmla="*/ 0 h 1006936"/>
                <a:gd name="connsiteX1" fmla="*/ 987909 w 987909"/>
                <a:gd name="connsiteY1" fmla="*/ 0 h 1006936"/>
                <a:gd name="connsiteX2" fmla="*/ 987909 w 987909"/>
                <a:gd name="connsiteY2" fmla="*/ 845531 h 1006936"/>
                <a:gd name="connsiteX3" fmla="*/ 855626 w 987909"/>
                <a:gd name="connsiteY3" fmla="*/ 845531 h 1006936"/>
                <a:gd name="connsiteX4" fmla="*/ 870475 w 987909"/>
                <a:gd name="connsiteY4" fmla="*/ 873261 h 1006936"/>
                <a:gd name="connsiteX5" fmla="*/ 658394 w 987909"/>
                <a:gd name="connsiteY5" fmla="*/ 872139 h 1006936"/>
                <a:gd name="connsiteX6" fmla="*/ 669909 w 987909"/>
                <a:gd name="connsiteY6" fmla="*/ 845531 h 1006936"/>
                <a:gd name="connsiteX7" fmla="*/ 0 w 987909"/>
                <a:gd name="connsiteY7" fmla="*/ 845531 h 1006936"/>
                <a:gd name="connsiteX8" fmla="*/ 34931 w 987909"/>
                <a:gd name="connsiteY8" fmla="*/ 830079 h 1006936"/>
                <a:gd name="connsiteX9" fmla="*/ 422600 w 987909"/>
                <a:gd name="connsiteY9" fmla="*/ 806980 h 1006936"/>
                <a:gd name="connsiteX10" fmla="*/ 436766 w 987909"/>
                <a:gd name="connsiteY10" fmla="*/ 71138 h 1006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7909" h="1006936">
                  <a:moveTo>
                    <a:pt x="484942" y="0"/>
                  </a:moveTo>
                  <a:lnTo>
                    <a:pt x="987909" y="0"/>
                  </a:lnTo>
                  <a:lnTo>
                    <a:pt x="987909" y="845531"/>
                  </a:lnTo>
                  <a:lnTo>
                    <a:pt x="855626" y="845531"/>
                  </a:lnTo>
                  <a:lnTo>
                    <a:pt x="870475" y="873261"/>
                  </a:lnTo>
                  <a:cubicBezTo>
                    <a:pt x="970346" y="1049810"/>
                    <a:pt x="545059" y="1053549"/>
                    <a:pt x="658394" y="872139"/>
                  </a:cubicBezTo>
                  <a:lnTo>
                    <a:pt x="669909" y="845531"/>
                  </a:lnTo>
                  <a:lnTo>
                    <a:pt x="0" y="845531"/>
                  </a:lnTo>
                  <a:lnTo>
                    <a:pt x="34931" y="830079"/>
                  </a:lnTo>
                  <a:cubicBezTo>
                    <a:pt x="146123" y="788350"/>
                    <a:pt x="276087" y="776387"/>
                    <a:pt x="422600" y="806980"/>
                  </a:cubicBezTo>
                  <a:cubicBezTo>
                    <a:pt x="338981" y="611427"/>
                    <a:pt x="308103" y="298336"/>
                    <a:pt x="436766" y="71138"/>
                  </a:cubicBezTo>
                  <a:close/>
                </a:path>
              </a:pathLst>
            </a:custGeom>
            <a:solidFill>
              <a:srgbClr val="005EB8"/>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21" name="Freeform 383">
              <a:extLst>
                <a:ext uri="{FF2B5EF4-FFF2-40B4-BE49-F238E27FC236}">
                  <a16:creationId xmlns:a16="http://schemas.microsoft.com/office/drawing/2014/main" id="{37896E23-FEFD-4716-A2AB-449E54B710BB}"/>
                </a:ext>
              </a:extLst>
            </p:cNvPr>
            <p:cNvSpPr/>
            <p:nvPr/>
          </p:nvSpPr>
          <p:spPr>
            <a:xfrm rot="5400000">
              <a:off x="6016801" y="1397446"/>
              <a:ext cx="845531" cy="1059478"/>
            </a:xfrm>
            <a:custGeom>
              <a:avLst/>
              <a:gdLst>
                <a:gd name="connsiteX0" fmla="*/ 0 w 845531"/>
                <a:gd name="connsiteY0" fmla="*/ 893175 h 1059478"/>
                <a:gd name="connsiteX1" fmla="*/ 0 w 845531"/>
                <a:gd name="connsiteY1" fmla="*/ 495826 h 1059478"/>
                <a:gd name="connsiteX2" fmla="*/ 32454 w 845531"/>
                <a:gd name="connsiteY2" fmla="*/ 472797 h 1059478"/>
                <a:gd name="connsiteX3" fmla="*/ 629180 w 845531"/>
                <a:gd name="connsiteY3" fmla="*/ 387528 h 1059478"/>
                <a:gd name="connsiteX4" fmla="*/ 842478 w 845531"/>
                <a:gd name="connsiteY4" fmla="*/ 2393 h 1059478"/>
                <a:gd name="connsiteX5" fmla="*/ 845531 w 845531"/>
                <a:gd name="connsiteY5" fmla="*/ 0 h 1059478"/>
                <a:gd name="connsiteX6" fmla="*/ 845531 w 845531"/>
                <a:gd name="connsiteY6" fmla="*/ 893175 h 1059478"/>
                <a:gd name="connsiteX7" fmla="*/ 746230 w 845531"/>
                <a:gd name="connsiteY7" fmla="*/ 893175 h 1059478"/>
                <a:gd name="connsiteX8" fmla="*/ 746088 w 845531"/>
                <a:gd name="connsiteY8" fmla="*/ 894211 h 1059478"/>
                <a:gd name="connsiteX9" fmla="*/ 763005 w 845531"/>
                <a:gd name="connsiteY9" fmla="*/ 925803 h 1059478"/>
                <a:gd name="connsiteX10" fmla="*/ 550924 w 845531"/>
                <a:gd name="connsiteY10" fmla="*/ 924681 h 1059478"/>
                <a:gd name="connsiteX11" fmla="*/ 563387 w 845531"/>
                <a:gd name="connsiteY11" fmla="*/ 895882 h 1059478"/>
                <a:gd name="connsiteX12" fmla="*/ 563010 w 845531"/>
                <a:gd name="connsiteY12" fmla="*/ 893175 h 1059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5531" h="1059478">
                  <a:moveTo>
                    <a:pt x="0" y="893175"/>
                  </a:moveTo>
                  <a:lnTo>
                    <a:pt x="0" y="495826"/>
                  </a:lnTo>
                  <a:lnTo>
                    <a:pt x="32454" y="472797"/>
                  </a:lnTo>
                  <a:cubicBezTo>
                    <a:pt x="237332" y="346822"/>
                    <a:pt x="463952" y="301830"/>
                    <a:pt x="629180" y="387528"/>
                  </a:cubicBezTo>
                  <a:cubicBezTo>
                    <a:pt x="672936" y="218757"/>
                    <a:pt x="748336" y="92513"/>
                    <a:pt x="842478" y="2393"/>
                  </a:cubicBezTo>
                  <a:lnTo>
                    <a:pt x="845531" y="0"/>
                  </a:lnTo>
                  <a:lnTo>
                    <a:pt x="845531" y="893175"/>
                  </a:lnTo>
                  <a:lnTo>
                    <a:pt x="746230" y="893175"/>
                  </a:lnTo>
                  <a:lnTo>
                    <a:pt x="746088" y="894211"/>
                  </a:lnTo>
                  <a:cubicBezTo>
                    <a:pt x="748311" y="902691"/>
                    <a:pt x="753822" y="913009"/>
                    <a:pt x="763005" y="925803"/>
                  </a:cubicBezTo>
                  <a:cubicBezTo>
                    <a:pt x="862876" y="1102352"/>
                    <a:pt x="437589" y="1106091"/>
                    <a:pt x="550924" y="924681"/>
                  </a:cubicBezTo>
                  <a:cubicBezTo>
                    <a:pt x="558123" y="914073"/>
                    <a:pt x="562052" y="904430"/>
                    <a:pt x="563387" y="895882"/>
                  </a:cubicBezTo>
                  <a:lnTo>
                    <a:pt x="563010" y="893175"/>
                  </a:lnTo>
                  <a:close/>
                </a:path>
              </a:pathLst>
            </a:custGeom>
            <a:solidFill>
              <a:srgbClr val="005EB8"/>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22" name="Freeform 384">
              <a:extLst>
                <a:ext uri="{FF2B5EF4-FFF2-40B4-BE49-F238E27FC236}">
                  <a16:creationId xmlns:a16="http://schemas.microsoft.com/office/drawing/2014/main" id="{0FE9DAE2-4A8E-4C9E-B8E7-12D7FB352077}"/>
                </a:ext>
              </a:extLst>
            </p:cNvPr>
            <p:cNvSpPr/>
            <p:nvPr/>
          </p:nvSpPr>
          <p:spPr>
            <a:xfrm>
              <a:off x="3309779" y="695195"/>
              <a:ext cx="1071378" cy="932240"/>
            </a:xfrm>
            <a:custGeom>
              <a:avLst/>
              <a:gdLst>
                <a:gd name="connsiteX0" fmla="*/ 772035 w 1071378"/>
                <a:gd name="connsiteY0" fmla="*/ 0 h 932240"/>
                <a:gd name="connsiteX1" fmla="*/ 899160 w 1071378"/>
                <a:gd name="connsiteY1" fmla="*/ 2594 h 932240"/>
                <a:gd name="connsiteX2" fmla="*/ 899160 w 1071378"/>
                <a:gd name="connsiteY2" fmla="*/ 358607 h 932240"/>
                <a:gd name="connsiteX3" fmla="*/ 906111 w 1071378"/>
                <a:gd name="connsiteY3" fmla="*/ 359557 h 932240"/>
                <a:gd name="connsiteX4" fmla="*/ 937703 w 1071378"/>
                <a:gd name="connsiteY4" fmla="*/ 342640 h 932240"/>
                <a:gd name="connsiteX5" fmla="*/ 995785 w 1071378"/>
                <a:gd name="connsiteY5" fmla="*/ 327727 h 932240"/>
                <a:gd name="connsiteX6" fmla="*/ 936581 w 1071378"/>
                <a:gd name="connsiteY6" fmla="*/ 554721 h 932240"/>
                <a:gd name="connsiteX7" fmla="*/ 907782 w 1071378"/>
                <a:gd name="connsiteY7" fmla="*/ 542258 h 932240"/>
                <a:gd name="connsiteX8" fmla="*/ 899160 w 1071378"/>
                <a:gd name="connsiteY8" fmla="*/ 543459 h 932240"/>
                <a:gd name="connsiteX9" fmla="*/ 899160 w 1071378"/>
                <a:gd name="connsiteY9" fmla="*/ 763504 h 932240"/>
                <a:gd name="connsiteX10" fmla="*/ 338564 w 1071378"/>
                <a:gd name="connsiteY10" fmla="*/ 763504 h 932240"/>
                <a:gd name="connsiteX11" fmla="*/ 338090 w 1071378"/>
                <a:gd name="connsiteY11" fmla="*/ 766973 h 932240"/>
                <a:gd name="connsiteX12" fmla="*/ 355007 w 1071378"/>
                <a:gd name="connsiteY12" fmla="*/ 798565 h 932240"/>
                <a:gd name="connsiteX13" fmla="*/ 142926 w 1071378"/>
                <a:gd name="connsiteY13" fmla="*/ 797443 h 932240"/>
                <a:gd name="connsiteX14" fmla="*/ 155389 w 1071378"/>
                <a:gd name="connsiteY14" fmla="*/ 768644 h 932240"/>
                <a:gd name="connsiteX15" fmla="*/ 154673 w 1071378"/>
                <a:gd name="connsiteY15" fmla="*/ 763504 h 932240"/>
                <a:gd name="connsiteX16" fmla="*/ 0 w 1071378"/>
                <a:gd name="connsiteY16" fmla="*/ 763504 h 932240"/>
                <a:gd name="connsiteX17" fmla="*/ 0 w 1071378"/>
                <a:gd name="connsiteY17" fmla="*/ 601496 h 932240"/>
                <a:gd name="connsiteX18" fmla="*/ 43141 w 1071378"/>
                <a:gd name="connsiteY18" fmla="*/ 601828 h 932240"/>
                <a:gd name="connsiteX19" fmla="*/ 772035 w 1071378"/>
                <a:gd name="connsiteY19" fmla="*/ 0 h 932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71378" h="932240">
                  <a:moveTo>
                    <a:pt x="772035" y="0"/>
                  </a:moveTo>
                  <a:lnTo>
                    <a:pt x="899160" y="2594"/>
                  </a:lnTo>
                  <a:lnTo>
                    <a:pt x="899160" y="358607"/>
                  </a:lnTo>
                  <a:lnTo>
                    <a:pt x="906111" y="359557"/>
                  </a:lnTo>
                  <a:cubicBezTo>
                    <a:pt x="914591" y="357334"/>
                    <a:pt x="924909" y="351823"/>
                    <a:pt x="937703" y="342640"/>
                  </a:cubicBezTo>
                  <a:cubicBezTo>
                    <a:pt x="959772" y="330156"/>
                    <a:pt x="979140" y="325878"/>
                    <a:pt x="995785" y="327727"/>
                  </a:cubicBezTo>
                  <a:cubicBezTo>
                    <a:pt x="1112294" y="340675"/>
                    <a:pt x="1095315" y="653889"/>
                    <a:pt x="936581" y="554721"/>
                  </a:cubicBezTo>
                  <a:cubicBezTo>
                    <a:pt x="925973" y="547522"/>
                    <a:pt x="916331" y="543593"/>
                    <a:pt x="907782" y="542258"/>
                  </a:cubicBezTo>
                  <a:lnTo>
                    <a:pt x="899160" y="543459"/>
                  </a:lnTo>
                  <a:lnTo>
                    <a:pt x="899160" y="763504"/>
                  </a:lnTo>
                  <a:lnTo>
                    <a:pt x="338564" y="763504"/>
                  </a:lnTo>
                  <a:lnTo>
                    <a:pt x="338090" y="766973"/>
                  </a:lnTo>
                  <a:cubicBezTo>
                    <a:pt x="340313" y="775453"/>
                    <a:pt x="345824" y="785771"/>
                    <a:pt x="355007" y="798565"/>
                  </a:cubicBezTo>
                  <a:cubicBezTo>
                    <a:pt x="454878" y="975114"/>
                    <a:pt x="29591" y="978853"/>
                    <a:pt x="142926" y="797443"/>
                  </a:cubicBezTo>
                  <a:cubicBezTo>
                    <a:pt x="150125" y="786835"/>
                    <a:pt x="154054" y="777192"/>
                    <a:pt x="155389" y="768644"/>
                  </a:cubicBezTo>
                  <a:lnTo>
                    <a:pt x="154673" y="763504"/>
                  </a:lnTo>
                  <a:lnTo>
                    <a:pt x="0" y="763504"/>
                  </a:lnTo>
                  <a:lnTo>
                    <a:pt x="0" y="601496"/>
                  </a:lnTo>
                  <a:lnTo>
                    <a:pt x="43141" y="601828"/>
                  </a:lnTo>
                  <a:cubicBezTo>
                    <a:pt x="177686" y="210529"/>
                    <a:pt x="468109" y="20688"/>
                    <a:pt x="772035" y="0"/>
                  </a:cubicBezTo>
                  <a:close/>
                </a:path>
              </a:pathLst>
            </a:custGeom>
            <a:solidFill>
              <a:srgbClr val="0091DA"/>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23" name="Freeform 385">
              <a:extLst>
                <a:ext uri="{FF2B5EF4-FFF2-40B4-BE49-F238E27FC236}">
                  <a16:creationId xmlns:a16="http://schemas.microsoft.com/office/drawing/2014/main" id="{4E2D30E4-0751-4AE2-A6F9-492101753263}"/>
                </a:ext>
              </a:extLst>
            </p:cNvPr>
            <p:cNvSpPr/>
            <p:nvPr/>
          </p:nvSpPr>
          <p:spPr>
            <a:xfrm>
              <a:off x="3309779" y="2395669"/>
              <a:ext cx="1505718" cy="999606"/>
            </a:xfrm>
            <a:custGeom>
              <a:avLst/>
              <a:gdLst>
                <a:gd name="connsiteX0" fmla="*/ 0 w 1505718"/>
                <a:gd name="connsiteY0" fmla="*/ 0 h 999606"/>
                <a:gd name="connsiteX1" fmla="*/ 1331668 w 1505718"/>
                <a:gd name="connsiteY1" fmla="*/ 0 h 999606"/>
                <a:gd name="connsiteX2" fmla="*/ 1331668 w 1505718"/>
                <a:gd name="connsiteY2" fmla="*/ 98062 h 999606"/>
                <a:gd name="connsiteX3" fmla="*/ 1340451 w 1505718"/>
                <a:gd name="connsiteY3" fmla="*/ 99263 h 999606"/>
                <a:gd name="connsiteX4" fmla="*/ 1372043 w 1505718"/>
                <a:gd name="connsiteY4" fmla="*/ 82346 h 999606"/>
                <a:gd name="connsiteX5" fmla="*/ 1370921 w 1505718"/>
                <a:gd name="connsiteY5" fmla="*/ 294427 h 999606"/>
                <a:gd name="connsiteX6" fmla="*/ 1342122 w 1505718"/>
                <a:gd name="connsiteY6" fmla="*/ 281964 h 999606"/>
                <a:gd name="connsiteX7" fmla="*/ 1331668 w 1505718"/>
                <a:gd name="connsiteY7" fmla="*/ 283421 h 999606"/>
                <a:gd name="connsiteX8" fmla="*/ 1331668 w 1505718"/>
                <a:gd name="connsiteY8" fmla="*/ 827607 h 999606"/>
                <a:gd name="connsiteX9" fmla="*/ 994331 w 1505718"/>
                <a:gd name="connsiteY9" fmla="*/ 827607 h 999606"/>
                <a:gd name="connsiteX10" fmla="*/ 993410 w 1505718"/>
                <a:gd name="connsiteY10" fmla="*/ 834339 h 999606"/>
                <a:gd name="connsiteX11" fmla="*/ 1010327 w 1505718"/>
                <a:gd name="connsiteY11" fmla="*/ 865931 h 999606"/>
                <a:gd name="connsiteX12" fmla="*/ 798246 w 1505718"/>
                <a:gd name="connsiteY12" fmla="*/ 864809 h 999606"/>
                <a:gd name="connsiteX13" fmla="*/ 810709 w 1505718"/>
                <a:gd name="connsiteY13" fmla="*/ 836010 h 999606"/>
                <a:gd name="connsiteX14" fmla="*/ 809538 w 1505718"/>
                <a:gd name="connsiteY14" fmla="*/ 827607 h 999606"/>
                <a:gd name="connsiteX15" fmla="*/ 0 w 1505718"/>
                <a:gd name="connsiteY15" fmla="*/ 827607 h 999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05718" h="999606">
                  <a:moveTo>
                    <a:pt x="0" y="0"/>
                  </a:moveTo>
                  <a:lnTo>
                    <a:pt x="1331668" y="0"/>
                  </a:lnTo>
                  <a:lnTo>
                    <a:pt x="1331668" y="98062"/>
                  </a:lnTo>
                  <a:lnTo>
                    <a:pt x="1340451" y="99263"/>
                  </a:lnTo>
                  <a:cubicBezTo>
                    <a:pt x="1348931" y="97040"/>
                    <a:pt x="1359249" y="91529"/>
                    <a:pt x="1372043" y="82346"/>
                  </a:cubicBezTo>
                  <a:cubicBezTo>
                    <a:pt x="1548592" y="-17525"/>
                    <a:pt x="1552331" y="407762"/>
                    <a:pt x="1370921" y="294427"/>
                  </a:cubicBezTo>
                  <a:cubicBezTo>
                    <a:pt x="1360313" y="287228"/>
                    <a:pt x="1350670" y="283299"/>
                    <a:pt x="1342122" y="281964"/>
                  </a:cubicBezTo>
                  <a:lnTo>
                    <a:pt x="1331668" y="283421"/>
                  </a:lnTo>
                  <a:lnTo>
                    <a:pt x="1331668" y="827607"/>
                  </a:lnTo>
                  <a:lnTo>
                    <a:pt x="994331" y="827607"/>
                  </a:lnTo>
                  <a:lnTo>
                    <a:pt x="993410" y="834339"/>
                  </a:lnTo>
                  <a:cubicBezTo>
                    <a:pt x="995633" y="842819"/>
                    <a:pt x="1001144" y="853137"/>
                    <a:pt x="1010327" y="865931"/>
                  </a:cubicBezTo>
                  <a:cubicBezTo>
                    <a:pt x="1110198" y="1042480"/>
                    <a:pt x="684911" y="1046219"/>
                    <a:pt x="798246" y="864809"/>
                  </a:cubicBezTo>
                  <a:cubicBezTo>
                    <a:pt x="805445" y="854201"/>
                    <a:pt x="809374" y="844558"/>
                    <a:pt x="810709" y="836010"/>
                  </a:cubicBezTo>
                  <a:lnTo>
                    <a:pt x="809538" y="827607"/>
                  </a:lnTo>
                  <a:lnTo>
                    <a:pt x="0" y="827607"/>
                  </a:lnTo>
                  <a:close/>
                </a:path>
              </a:pathLst>
            </a:custGeom>
            <a:solidFill>
              <a:srgbClr val="0091DA"/>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24" name="Freeform 151">
              <a:extLst>
                <a:ext uri="{FF2B5EF4-FFF2-40B4-BE49-F238E27FC236}">
                  <a16:creationId xmlns:a16="http://schemas.microsoft.com/office/drawing/2014/main" id="{7F021ACC-3C6D-4C5E-A358-8D6ED4A3B35B}"/>
                </a:ext>
              </a:extLst>
            </p:cNvPr>
            <p:cNvSpPr/>
            <p:nvPr/>
          </p:nvSpPr>
          <p:spPr>
            <a:xfrm rot="5400000">
              <a:off x="6121622" y="3223503"/>
              <a:ext cx="862550" cy="953536"/>
            </a:xfrm>
            <a:custGeom>
              <a:avLst/>
              <a:gdLst>
                <a:gd name="connsiteX0" fmla="*/ 0 w 862550"/>
                <a:gd name="connsiteY0" fmla="*/ 953536 h 953536"/>
                <a:gd name="connsiteX1" fmla="*/ 0 w 862550"/>
                <a:gd name="connsiteY1" fmla="*/ 0 h 953536"/>
                <a:gd name="connsiteX2" fmla="*/ 82836 w 862550"/>
                <a:gd name="connsiteY2" fmla="*/ 54089 h 953536"/>
                <a:gd name="connsiteX3" fmla="*/ 307641 w 862550"/>
                <a:gd name="connsiteY3" fmla="*/ 405026 h 953536"/>
                <a:gd name="connsiteX4" fmla="*/ 517191 w 862550"/>
                <a:gd name="connsiteY4" fmla="*/ 628865 h 953536"/>
                <a:gd name="connsiteX5" fmla="*/ 861566 w 862550"/>
                <a:gd name="connsiteY5" fmla="*/ 947724 h 953536"/>
                <a:gd name="connsiteX6" fmla="*/ 862550 w 862550"/>
                <a:gd name="connsiteY6" fmla="*/ 953536 h 953536"/>
                <a:gd name="connsiteX7" fmla="*/ 423493 w 862550"/>
                <a:gd name="connsiteY7" fmla="*/ 953536 h 953536"/>
                <a:gd name="connsiteX8" fmla="*/ 434184 w 862550"/>
                <a:gd name="connsiteY8" fmla="*/ 931133 h 953536"/>
                <a:gd name="connsiteX9" fmla="*/ 272047 w 862550"/>
                <a:gd name="connsiteY9" fmla="*/ 787474 h 953536"/>
                <a:gd name="connsiteX10" fmla="*/ 99122 w 862550"/>
                <a:gd name="connsiteY10" fmla="*/ 930646 h 953536"/>
                <a:gd name="connsiteX11" fmla="*/ 108574 w 862550"/>
                <a:gd name="connsiteY11" fmla="*/ 953536 h 953536"/>
                <a:gd name="connsiteX12" fmla="*/ 0 w 862550"/>
                <a:gd name="connsiteY12" fmla="*/ 953536 h 953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62550" h="953536">
                  <a:moveTo>
                    <a:pt x="0" y="953536"/>
                  </a:moveTo>
                  <a:lnTo>
                    <a:pt x="0" y="0"/>
                  </a:lnTo>
                  <a:lnTo>
                    <a:pt x="82836" y="54089"/>
                  </a:lnTo>
                  <a:cubicBezTo>
                    <a:pt x="203461" y="146065"/>
                    <a:pt x="288591" y="268104"/>
                    <a:pt x="307641" y="405026"/>
                  </a:cubicBezTo>
                  <a:cubicBezTo>
                    <a:pt x="519572" y="460589"/>
                    <a:pt x="533066" y="560602"/>
                    <a:pt x="517191" y="628865"/>
                  </a:cubicBezTo>
                  <a:cubicBezTo>
                    <a:pt x="672766" y="602473"/>
                    <a:pt x="812085" y="742708"/>
                    <a:pt x="861566" y="947724"/>
                  </a:cubicBezTo>
                  <a:lnTo>
                    <a:pt x="862550" y="953536"/>
                  </a:lnTo>
                  <a:lnTo>
                    <a:pt x="423493" y="953536"/>
                  </a:lnTo>
                  <a:lnTo>
                    <a:pt x="434184" y="931133"/>
                  </a:lnTo>
                  <a:cubicBezTo>
                    <a:pt x="464809" y="834481"/>
                    <a:pt x="369327" y="787075"/>
                    <a:pt x="272047" y="787474"/>
                  </a:cubicBezTo>
                  <a:cubicBezTo>
                    <a:pt x="174767" y="787873"/>
                    <a:pt x="75690" y="836078"/>
                    <a:pt x="99122" y="930646"/>
                  </a:cubicBezTo>
                  <a:lnTo>
                    <a:pt x="108574" y="953536"/>
                  </a:lnTo>
                  <a:lnTo>
                    <a:pt x="0" y="953536"/>
                  </a:lnTo>
                  <a:close/>
                </a:path>
              </a:pathLst>
            </a:custGeom>
            <a:solidFill>
              <a:srgbClr val="483698"/>
            </a:solidFill>
            <a:ln w="12700" cap="flat" cmpd="sng" algn="ctr">
              <a:noFill/>
              <a:prstDash val="solid"/>
              <a:miter lim="800000"/>
            </a:ln>
            <a:effectLst/>
          </p:spPr>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25" name="Freeform 157">
              <a:extLst>
                <a:ext uri="{FF2B5EF4-FFF2-40B4-BE49-F238E27FC236}">
                  <a16:creationId xmlns:a16="http://schemas.microsoft.com/office/drawing/2014/main" id="{103925DA-A957-43FC-BF84-A318CD9A4FDA}"/>
                </a:ext>
              </a:extLst>
            </p:cNvPr>
            <p:cNvSpPr/>
            <p:nvPr/>
          </p:nvSpPr>
          <p:spPr>
            <a:xfrm rot="5400000">
              <a:off x="6199585" y="2272214"/>
              <a:ext cx="827606" cy="1074518"/>
            </a:xfrm>
            <a:custGeom>
              <a:avLst/>
              <a:gdLst>
                <a:gd name="connsiteX0" fmla="*/ 0 w 827606"/>
                <a:gd name="connsiteY0" fmla="*/ 1074518 h 1074518"/>
                <a:gd name="connsiteX1" fmla="*/ 0 w 827606"/>
                <a:gd name="connsiteY1" fmla="*/ 145505 h 1074518"/>
                <a:gd name="connsiteX2" fmla="*/ 51138 w 827606"/>
                <a:gd name="connsiteY2" fmla="*/ 105420 h 1074518"/>
                <a:gd name="connsiteX3" fmla="*/ 752425 w 827606"/>
                <a:gd name="connsiteY3" fmla="*/ 61553 h 1074518"/>
                <a:gd name="connsiteX4" fmla="*/ 827606 w 827606"/>
                <a:gd name="connsiteY4" fmla="*/ 96943 h 1074518"/>
                <a:gd name="connsiteX5" fmla="*/ 827606 w 827606"/>
                <a:gd name="connsiteY5" fmla="*/ 1074518 h 1074518"/>
                <a:gd name="connsiteX6" fmla="*/ 651498 w 827606"/>
                <a:gd name="connsiteY6" fmla="*/ 1074518 h 1074518"/>
                <a:gd name="connsiteX7" fmla="*/ 662189 w 827606"/>
                <a:gd name="connsiteY7" fmla="*/ 1052115 h 1074518"/>
                <a:gd name="connsiteX8" fmla="*/ 500052 w 827606"/>
                <a:gd name="connsiteY8" fmla="*/ 908456 h 1074518"/>
                <a:gd name="connsiteX9" fmla="*/ 327127 w 827606"/>
                <a:gd name="connsiteY9" fmla="*/ 1051628 h 1074518"/>
                <a:gd name="connsiteX10" fmla="*/ 336579 w 827606"/>
                <a:gd name="connsiteY10" fmla="*/ 1074518 h 1074518"/>
                <a:gd name="connsiteX11" fmla="*/ 0 w 827606"/>
                <a:gd name="connsiteY11" fmla="*/ 1074518 h 1074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7606" h="1074518">
                  <a:moveTo>
                    <a:pt x="0" y="1074518"/>
                  </a:moveTo>
                  <a:lnTo>
                    <a:pt x="0" y="145505"/>
                  </a:lnTo>
                  <a:lnTo>
                    <a:pt x="51138" y="105420"/>
                  </a:lnTo>
                  <a:cubicBezTo>
                    <a:pt x="261544" y="-28079"/>
                    <a:pt x="529713" y="-25623"/>
                    <a:pt x="752425" y="61553"/>
                  </a:cubicBezTo>
                  <a:lnTo>
                    <a:pt x="827606" y="96943"/>
                  </a:lnTo>
                  <a:lnTo>
                    <a:pt x="827606" y="1074518"/>
                  </a:lnTo>
                  <a:lnTo>
                    <a:pt x="651498" y="1074518"/>
                  </a:lnTo>
                  <a:lnTo>
                    <a:pt x="662189" y="1052115"/>
                  </a:lnTo>
                  <a:cubicBezTo>
                    <a:pt x="692814" y="955463"/>
                    <a:pt x="597332" y="908057"/>
                    <a:pt x="500052" y="908456"/>
                  </a:cubicBezTo>
                  <a:cubicBezTo>
                    <a:pt x="402772" y="908855"/>
                    <a:pt x="303695" y="957060"/>
                    <a:pt x="327127" y="1051628"/>
                  </a:cubicBezTo>
                  <a:lnTo>
                    <a:pt x="336579" y="1074518"/>
                  </a:lnTo>
                  <a:lnTo>
                    <a:pt x="0" y="1074518"/>
                  </a:lnTo>
                  <a:close/>
                </a:path>
              </a:pathLst>
            </a:custGeom>
            <a:solidFill>
              <a:srgbClr val="00338D"/>
            </a:solidFill>
            <a:ln w="12700" cap="flat" cmpd="sng" algn="ctr">
              <a:noFill/>
              <a:prstDash val="solid"/>
              <a:miter lim="800000"/>
            </a:ln>
            <a:effectLst/>
          </p:spPr>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26" name="Freeform 186">
              <a:extLst>
                <a:ext uri="{FF2B5EF4-FFF2-40B4-BE49-F238E27FC236}">
                  <a16:creationId xmlns:a16="http://schemas.microsoft.com/office/drawing/2014/main" id="{1EF15ED0-F309-4EAF-B612-182CE0CCED97}"/>
                </a:ext>
              </a:extLst>
            </p:cNvPr>
            <p:cNvSpPr/>
            <p:nvPr/>
          </p:nvSpPr>
          <p:spPr>
            <a:xfrm rot="5400000">
              <a:off x="5890944" y="908609"/>
              <a:ext cx="422858" cy="677326"/>
            </a:xfrm>
            <a:custGeom>
              <a:avLst/>
              <a:gdLst>
                <a:gd name="connsiteX0" fmla="*/ 0 w 422858"/>
                <a:gd name="connsiteY0" fmla="*/ 677326 h 677326"/>
                <a:gd name="connsiteX1" fmla="*/ 1060 w 422858"/>
                <a:gd name="connsiteY1" fmla="*/ 661995 h 677326"/>
                <a:gd name="connsiteX2" fmla="*/ 381380 w 422858"/>
                <a:gd name="connsiteY2" fmla="*/ 29434 h 677326"/>
                <a:gd name="connsiteX3" fmla="*/ 422858 w 422858"/>
                <a:gd name="connsiteY3" fmla="*/ 0 h 677326"/>
                <a:gd name="connsiteX4" fmla="*/ 422858 w 422858"/>
                <a:gd name="connsiteY4" fmla="*/ 677326 h 677326"/>
                <a:gd name="connsiteX5" fmla="*/ 391365 w 422858"/>
                <a:gd name="connsiteY5" fmla="*/ 677326 h 677326"/>
                <a:gd name="connsiteX6" fmla="*/ 400388 w 422858"/>
                <a:gd name="connsiteY6" fmla="*/ 658418 h 677326"/>
                <a:gd name="connsiteX7" fmla="*/ 238251 w 422858"/>
                <a:gd name="connsiteY7" fmla="*/ 514759 h 677326"/>
                <a:gd name="connsiteX8" fmla="*/ 65326 w 422858"/>
                <a:gd name="connsiteY8" fmla="*/ 657931 h 677326"/>
                <a:gd name="connsiteX9" fmla="*/ 73334 w 422858"/>
                <a:gd name="connsiteY9" fmla="*/ 677326 h 677326"/>
                <a:gd name="connsiteX10" fmla="*/ 0 w 422858"/>
                <a:gd name="connsiteY10" fmla="*/ 677326 h 67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2858" h="677326">
                  <a:moveTo>
                    <a:pt x="0" y="677326"/>
                  </a:moveTo>
                  <a:lnTo>
                    <a:pt x="1060" y="661995"/>
                  </a:lnTo>
                  <a:cubicBezTo>
                    <a:pt x="34041" y="413237"/>
                    <a:pt x="188526" y="185814"/>
                    <a:pt x="381380" y="29434"/>
                  </a:cubicBezTo>
                  <a:lnTo>
                    <a:pt x="422858" y="0"/>
                  </a:lnTo>
                  <a:lnTo>
                    <a:pt x="422858" y="677326"/>
                  </a:lnTo>
                  <a:lnTo>
                    <a:pt x="391365" y="677326"/>
                  </a:lnTo>
                  <a:lnTo>
                    <a:pt x="400388" y="658418"/>
                  </a:lnTo>
                  <a:cubicBezTo>
                    <a:pt x="431013" y="561766"/>
                    <a:pt x="335530" y="514360"/>
                    <a:pt x="238251" y="514759"/>
                  </a:cubicBezTo>
                  <a:cubicBezTo>
                    <a:pt x="140971" y="515158"/>
                    <a:pt x="41893" y="563362"/>
                    <a:pt x="65326" y="657931"/>
                  </a:cubicBezTo>
                  <a:lnTo>
                    <a:pt x="73334" y="677326"/>
                  </a:lnTo>
                  <a:lnTo>
                    <a:pt x="0" y="677326"/>
                  </a:lnTo>
                  <a:close/>
                </a:path>
              </a:pathLst>
            </a:custGeom>
            <a:solidFill>
              <a:srgbClr val="0091DA"/>
            </a:solidFill>
            <a:ln w="12700" cap="flat" cmpd="sng" algn="ctr">
              <a:noFill/>
              <a:prstDash val="solid"/>
              <a:miter lim="800000"/>
            </a:ln>
            <a:effectLst/>
          </p:spPr>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27" name="Freeform 183">
              <a:extLst>
                <a:ext uri="{FF2B5EF4-FFF2-40B4-BE49-F238E27FC236}">
                  <a16:creationId xmlns:a16="http://schemas.microsoft.com/office/drawing/2014/main" id="{0F04CD6D-A3DE-4E00-B09B-7C6717D22ACB}"/>
                </a:ext>
              </a:extLst>
            </p:cNvPr>
            <p:cNvSpPr/>
            <p:nvPr/>
          </p:nvSpPr>
          <p:spPr>
            <a:xfrm rot="5400000">
              <a:off x="4694559" y="263342"/>
              <a:ext cx="755458" cy="1635258"/>
            </a:xfrm>
            <a:custGeom>
              <a:avLst/>
              <a:gdLst>
                <a:gd name="connsiteX0" fmla="*/ 0 w 755458"/>
                <a:gd name="connsiteY0" fmla="*/ 1635258 h 1635258"/>
                <a:gd name="connsiteX1" fmla="*/ 23361 w 755458"/>
                <a:gd name="connsiteY1" fmla="*/ 1515574 h 1635258"/>
                <a:gd name="connsiteX2" fmla="*/ 682365 w 755458"/>
                <a:gd name="connsiteY2" fmla="*/ 871455 h 1635258"/>
                <a:gd name="connsiteX3" fmla="*/ 327150 w 755458"/>
                <a:gd name="connsiteY3" fmla="*/ 205066 h 1635258"/>
                <a:gd name="connsiteX4" fmla="*/ 329440 w 755458"/>
                <a:gd name="connsiteY4" fmla="*/ 171929 h 1635258"/>
                <a:gd name="connsiteX5" fmla="*/ 472520 w 755458"/>
                <a:gd name="connsiteY5" fmla="*/ 171929 h 1635258"/>
                <a:gd name="connsiteX6" fmla="*/ 473431 w 755458"/>
                <a:gd name="connsiteY6" fmla="*/ 165267 h 1635258"/>
                <a:gd name="connsiteX7" fmla="*/ 456514 w 755458"/>
                <a:gd name="connsiteY7" fmla="*/ 133675 h 1635258"/>
                <a:gd name="connsiteX8" fmla="*/ 668595 w 755458"/>
                <a:gd name="connsiteY8" fmla="*/ 134797 h 1635258"/>
                <a:gd name="connsiteX9" fmla="*/ 656132 w 755458"/>
                <a:gd name="connsiteY9" fmla="*/ 163596 h 1635258"/>
                <a:gd name="connsiteX10" fmla="*/ 657293 w 755458"/>
                <a:gd name="connsiteY10" fmla="*/ 171929 h 1635258"/>
                <a:gd name="connsiteX11" fmla="*/ 755458 w 755458"/>
                <a:gd name="connsiteY11" fmla="*/ 171929 h 1635258"/>
                <a:gd name="connsiteX12" fmla="*/ 755458 w 755458"/>
                <a:gd name="connsiteY12" fmla="*/ 1635258 h 1635258"/>
                <a:gd name="connsiteX13" fmla="*/ 597422 w 755458"/>
                <a:gd name="connsiteY13" fmla="*/ 1635258 h 1635258"/>
                <a:gd name="connsiteX14" fmla="*/ 609160 w 755458"/>
                <a:gd name="connsiteY14" fmla="*/ 1610661 h 1635258"/>
                <a:gd name="connsiteX15" fmla="*/ 447023 w 755458"/>
                <a:gd name="connsiteY15" fmla="*/ 1467002 h 1635258"/>
                <a:gd name="connsiteX16" fmla="*/ 274098 w 755458"/>
                <a:gd name="connsiteY16" fmla="*/ 1610174 h 1635258"/>
                <a:gd name="connsiteX17" fmla="*/ 284456 w 755458"/>
                <a:gd name="connsiteY17" fmla="*/ 1635258 h 1635258"/>
                <a:gd name="connsiteX18" fmla="*/ 0 w 755458"/>
                <a:gd name="connsiteY18" fmla="*/ 1635258 h 1635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55458" h="1635258">
                  <a:moveTo>
                    <a:pt x="0" y="1635258"/>
                  </a:moveTo>
                  <a:lnTo>
                    <a:pt x="23361" y="1515574"/>
                  </a:lnTo>
                  <a:cubicBezTo>
                    <a:pt x="105052" y="1228316"/>
                    <a:pt x="334375" y="971057"/>
                    <a:pt x="682365" y="871455"/>
                  </a:cubicBezTo>
                  <a:cubicBezTo>
                    <a:pt x="425848" y="659947"/>
                    <a:pt x="326008" y="426717"/>
                    <a:pt x="327150" y="205066"/>
                  </a:cubicBezTo>
                  <a:lnTo>
                    <a:pt x="329440" y="171929"/>
                  </a:lnTo>
                  <a:lnTo>
                    <a:pt x="472520" y="171929"/>
                  </a:lnTo>
                  <a:lnTo>
                    <a:pt x="473431" y="165267"/>
                  </a:lnTo>
                  <a:cubicBezTo>
                    <a:pt x="471208" y="156787"/>
                    <a:pt x="465697" y="146469"/>
                    <a:pt x="456514" y="133675"/>
                  </a:cubicBezTo>
                  <a:cubicBezTo>
                    <a:pt x="356643" y="-42874"/>
                    <a:pt x="781930" y="-46613"/>
                    <a:pt x="668595" y="134797"/>
                  </a:cubicBezTo>
                  <a:cubicBezTo>
                    <a:pt x="661397" y="145405"/>
                    <a:pt x="657467" y="155048"/>
                    <a:pt x="656132" y="163596"/>
                  </a:cubicBezTo>
                  <a:lnTo>
                    <a:pt x="657293" y="171929"/>
                  </a:lnTo>
                  <a:lnTo>
                    <a:pt x="755458" y="171929"/>
                  </a:lnTo>
                  <a:lnTo>
                    <a:pt x="755458" y="1635258"/>
                  </a:lnTo>
                  <a:lnTo>
                    <a:pt x="597422" y="1635258"/>
                  </a:lnTo>
                  <a:lnTo>
                    <a:pt x="609160" y="1610661"/>
                  </a:lnTo>
                  <a:cubicBezTo>
                    <a:pt x="639785" y="1514009"/>
                    <a:pt x="544303" y="1466603"/>
                    <a:pt x="447023" y="1467002"/>
                  </a:cubicBezTo>
                  <a:cubicBezTo>
                    <a:pt x="349743" y="1467401"/>
                    <a:pt x="250666" y="1515606"/>
                    <a:pt x="274098" y="1610174"/>
                  </a:cubicBezTo>
                  <a:lnTo>
                    <a:pt x="284456" y="1635258"/>
                  </a:lnTo>
                  <a:lnTo>
                    <a:pt x="0" y="1635258"/>
                  </a:lnTo>
                  <a:close/>
                </a:path>
              </a:pathLst>
            </a:custGeom>
            <a:solidFill>
              <a:srgbClr val="483698"/>
            </a:solidFill>
            <a:ln w="12700" cap="flat" cmpd="sng" algn="ctr">
              <a:noFill/>
              <a:prstDash val="solid"/>
              <a:miter lim="800000"/>
            </a:ln>
            <a:effectLst/>
          </p:spPr>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28" name="Freeform 145">
              <a:extLst>
                <a:ext uri="{FF2B5EF4-FFF2-40B4-BE49-F238E27FC236}">
                  <a16:creationId xmlns:a16="http://schemas.microsoft.com/office/drawing/2014/main" id="{E5F35CA5-051B-424F-97F8-B5A0CC13F3D7}"/>
                </a:ext>
              </a:extLst>
            </p:cNvPr>
            <p:cNvSpPr/>
            <p:nvPr/>
          </p:nvSpPr>
          <p:spPr>
            <a:xfrm rot="5400000">
              <a:off x="4944951" y="2137889"/>
              <a:ext cx="999606" cy="1515172"/>
            </a:xfrm>
            <a:custGeom>
              <a:avLst/>
              <a:gdLst>
                <a:gd name="connsiteX0" fmla="*/ 0 w 999606"/>
                <a:gd name="connsiteY0" fmla="*/ 1515172 h 1515172"/>
                <a:gd name="connsiteX1" fmla="*/ 0 w 999606"/>
                <a:gd name="connsiteY1" fmla="*/ 171930 h 1515172"/>
                <a:gd name="connsiteX2" fmla="*/ 403152 w 999606"/>
                <a:gd name="connsiteY2" fmla="*/ 171930 h 1515172"/>
                <a:gd name="connsiteX3" fmla="*/ 404063 w 999606"/>
                <a:gd name="connsiteY3" fmla="*/ 165268 h 1515172"/>
                <a:gd name="connsiteX4" fmla="*/ 387146 w 999606"/>
                <a:gd name="connsiteY4" fmla="*/ 133676 h 1515172"/>
                <a:gd name="connsiteX5" fmla="*/ 372233 w 999606"/>
                <a:gd name="connsiteY5" fmla="*/ 75594 h 1515172"/>
                <a:gd name="connsiteX6" fmla="*/ 599227 w 999606"/>
                <a:gd name="connsiteY6" fmla="*/ 134798 h 1515172"/>
                <a:gd name="connsiteX7" fmla="*/ 586764 w 999606"/>
                <a:gd name="connsiteY7" fmla="*/ 163597 h 1515172"/>
                <a:gd name="connsiteX8" fmla="*/ 587925 w 999606"/>
                <a:gd name="connsiteY8" fmla="*/ 171930 h 1515172"/>
                <a:gd name="connsiteX9" fmla="*/ 827606 w 999606"/>
                <a:gd name="connsiteY9" fmla="*/ 171930 h 1515172"/>
                <a:gd name="connsiteX10" fmla="*/ 827606 w 999606"/>
                <a:gd name="connsiteY10" fmla="*/ 976209 h 1515172"/>
                <a:gd name="connsiteX11" fmla="*/ 834339 w 999606"/>
                <a:gd name="connsiteY11" fmla="*/ 977129 h 1515172"/>
                <a:gd name="connsiteX12" fmla="*/ 865931 w 999606"/>
                <a:gd name="connsiteY12" fmla="*/ 960212 h 1515172"/>
                <a:gd name="connsiteX13" fmla="*/ 864809 w 999606"/>
                <a:gd name="connsiteY13" fmla="*/ 1172293 h 1515172"/>
                <a:gd name="connsiteX14" fmla="*/ 836010 w 999606"/>
                <a:gd name="connsiteY14" fmla="*/ 1159830 h 1515172"/>
                <a:gd name="connsiteX15" fmla="*/ 827606 w 999606"/>
                <a:gd name="connsiteY15" fmla="*/ 1161001 h 1515172"/>
                <a:gd name="connsiteX16" fmla="*/ 827606 w 999606"/>
                <a:gd name="connsiteY16" fmla="*/ 1515172 h 1515172"/>
                <a:gd name="connsiteX17" fmla="*/ 347992 w 999606"/>
                <a:gd name="connsiteY17" fmla="*/ 1515172 h 1515172"/>
                <a:gd name="connsiteX18" fmla="*/ 359771 w 999606"/>
                <a:gd name="connsiteY18" fmla="*/ 1490489 h 1515172"/>
                <a:gd name="connsiteX19" fmla="*/ 197634 w 999606"/>
                <a:gd name="connsiteY19" fmla="*/ 1346830 h 1515172"/>
                <a:gd name="connsiteX20" fmla="*/ 24709 w 999606"/>
                <a:gd name="connsiteY20" fmla="*/ 1490002 h 1515172"/>
                <a:gd name="connsiteX21" fmla="*/ 35102 w 999606"/>
                <a:gd name="connsiteY21" fmla="*/ 1515172 h 1515172"/>
                <a:gd name="connsiteX22" fmla="*/ 0 w 999606"/>
                <a:gd name="connsiteY22" fmla="*/ 1515172 h 151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99606" h="1515172">
                  <a:moveTo>
                    <a:pt x="0" y="1515172"/>
                  </a:moveTo>
                  <a:lnTo>
                    <a:pt x="0" y="171930"/>
                  </a:lnTo>
                  <a:lnTo>
                    <a:pt x="403152" y="171930"/>
                  </a:lnTo>
                  <a:lnTo>
                    <a:pt x="404063" y="165268"/>
                  </a:lnTo>
                  <a:cubicBezTo>
                    <a:pt x="401840" y="156788"/>
                    <a:pt x="396329" y="146470"/>
                    <a:pt x="387146" y="133676"/>
                  </a:cubicBezTo>
                  <a:cubicBezTo>
                    <a:pt x="374662" y="111607"/>
                    <a:pt x="370384" y="92239"/>
                    <a:pt x="372233" y="75594"/>
                  </a:cubicBezTo>
                  <a:cubicBezTo>
                    <a:pt x="385181" y="-40916"/>
                    <a:pt x="698395" y="-23937"/>
                    <a:pt x="599227" y="134798"/>
                  </a:cubicBezTo>
                  <a:cubicBezTo>
                    <a:pt x="592028" y="145406"/>
                    <a:pt x="588099" y="155048"/>
                    <a:pt x="586764" y="163597"/>
                  </a:cubicBezTo>
                  <a:lnTo>
                    <a:pt x="587925" y="171930"/>
                  </a:lnTo>
                  <a:lnTo>
                    <a:pt x="827606" y="171930"/>
                  </a:lnTo>
                  <a:lnTo>
                    <a:pt x="827606" y="976209"/>
                  </a:lnTo>
                  <a:lnTo>
                    <a:pt x="834339" y="977129"/>
                  </a:lnTo>
                  <a:cubicBezTo>
                    <a:pt x="842819" y="974906"/>
                    <a:pt x="853137" y="969395"/>
                    <a:pt x="865931" y="960212"/>
                  </a:cubicBezTo>
                  <a:cubicBezTo>
                    <a:pt x="1042480" y="860341"/>
                    <a:pt x="1046219" y="1285628"/>
                    <a:pt x="864809" y="1172293"/>
                  </a:cubicBezTo>
                  <a:cubicBezTo>
                    <a:pt x="854201" y="1165095"/>
                    <a:pt x="844558" y="1161165"/>
                    <a:pt x="836010" y="1159830"/>
                  </a:cubicBezTo>
                  <a:lnTo>
                    <a:pt x="827606" y="1161001"/>
                  </a:lnTo>
                  <a:lnTo>
                    <a:pt x="827606" y="1515172"/>
                  </a:lnTo>
                  <a:lnTo>
                    <a:pt x="347992" y="1515172"/>
                  </a:lnTo>
                  <a:lnTo>
                    <a:pt x="359771" y="1490489"/>
                  </a:lnTo>
                  <a:cubicBezTo>
                    <a:pt x="390396" y="1393837"/>
                    <a:pt x="294914" y="1346431"/>
                    <a:pt x="197634" y="1346830"/>
                  </a:cubicBezTo>
                  <a:cubicBezTo>
                    <a:pt x="100354" y="1347229"/>
                    <a:pt x="1276" y="1395433"/>
                    <a:pt x="24709" y="1490002"/>
                  </a:cubicBezTo>
                  <a:lnTo>
                    <a:pt x="35102" y="1515172"/>
                  </a:lnTo>
                  <a:lnTo>
                    <a:pt x="0" y="1515172"/>
                  </a:lnTo>
                  <a:close/>
                </a:path>
              </a:pathLst>
            </a:custGeom>
            <a:solidFill>
              <a:srgbClr val="005EB8"/>
            </a:solidFill>
            <a:ln w="12700" cap="flat" cmpd="sng" algn="ctr">
              <a:noFill/>
              <a:prstDash val="solid"/>
              <a:miter lim="800000"/>
            </a:ln>
            <a:effectLst/>
          </p:spPr>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29" name="Freeform 135">
              <a:extLst>
                <a:ext uri="{FF2B5EF4-FFF2-40B4-BE49-F238E27FC236}">
                  <a16:creationId xmlns:a16="http://schemas.microsoft.com/office/drawing/2014/main" id="{0D2D3027-3056-4A5D-ADE2-D991B26E66D5}"/>
                </a:ext>
              </a:extLst>
            </p:cNvPr>
            <p:cNvSpPr/>
            <p:nvPr/>
          </p:nvSpPr>
          <p:spPr>
            <a:xfrm rot="10800000">
              <a:off x="3151388" y="3268996"/>
              <a:ext cx="1490061" cy="795998"/>
            </a:xfrm>
            <a:custGeom>
              <a:avLst/>
              <a:gdLst>
                <a:gd name="connsiteX0" fmla="*/ 1331667 w 1490061"/>
                <a:gd name="connsiteY0" fmla="*/ 795998 h 795998"/>
                <a:gd name="connsiteX1" fmla="*/ 585562 w 1490061"/>
                <a:gd name="connsiteY1" fmla="*/ 795998 h 795998"/>
                <a:gd name="connsiteX2" fmla="*/ 596604 w 1490061"/>
                <a:gd name="connsiteY2" fmla="*/ 772858 h 795998"/>
                <a:gd name="connsiteX3" fmla="*/ 434467 w 1490061"/>
                <a:gd name="connsiteY3" fmla="*/ 629199 h 795998"/>
                <a:gd name="connsiteX4" fmla="*/ 261542 w 1490061"/>
                <a:gd name="connsiteY4" fmla="*/ 772371 h 795998"/>
                <a:gd name="connsiteX5" fmla="*/ 271299 w 1490061"/>
                <a:gd name="connsiteY5" fmla="*/ 795998 h 795998"/>
                <a:gd name="connsiteX6" fmla="*/ 0 w 1490061"/>
                <a:gd name="connsiteY6" fmla="*/ 795998 h 795998"/>
                <a:gd name="connsiteX7" fmla="*/ 0 w 1490061"/>
                <a:gd name="connsiteY7" fmla="*/ 463375 h 795998"/>
                <a:gd name="connsiteX8" fmla="*/ 1409 w 1490061"/>
                <a:gd name="connsiteY8" fmla="*/ 460564 h 795998"/>
                <a:gd name="connsiteX9" fmla="*/ 729846 w 1490061"/>
                <a:gd name="connsiteY9" fmla="*/ 254995 h 795998"/>
                <a:gd name="connsiteX10" fmla="*/ 1305875 w 1490061"/>
                <a:gd name="connsiteY10" fmla="*/ 50571 h 795998"/>
                <a:gd name="connsiteX11" fmla="*/ 1331667 w 1490061"/>
                <a:gd name="connsiteY11" fmla="*/ 66474 h 795998"/>
                <a:gd name="connsiteX12" fmla="*/ 1331667 w 1490061"/>
                <a:gd name="connsiteY12" fmla="*/ 187746 h 795998"/>
                <a:gd name="connsiteX13" fmla="*/ 1356386 w 1490061"/>
                <a:gd name="connsiteY13" fmla="*/ 174509 h 795998"/>
                <a:gd name="connsiteX14" fmla="*/ 1355264 w 1490061"/>
                <a:gd name="connsiteY14" fmla="*/ 386590 h 795998"/>
                <a:gd name="connsiteX15" fmla="*/ 1331667 w 1490061"/>
                <a:gd name="connsiteY15" fmla="*/ 376378 h 795998"/>
                <a:gd name="connsiteX16" fmla="*/ 1331667 w 1490061"/>
                <a:gd name="connsiteY16" fmla="*/ 795998 h 795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90061" h="795998">
                  <a:moveTo>
                    <a:pt x="1331667" y="795998"/>
                  </a:moveTo>
                  <a:lnTo>
                    <a:pt x="585562" y="795998"/>
                  </a:lnTo>
                  <a:lnTo>
                    <a:pt x="596604" y="772858"/>
                  </a:lnTo>
                  <a:cubicBezTo>
                    <a:pt x="627229" y="676206"/>
                    <a:pt x="531746" y="628800"/>
                    <a:pt x="434467" y="629199"/>
                  </a:cubicBezTo>
                  <a:cubicBezTo>
                    <a:pt x="337187" y="629599"/>
                    <a:pt x="238110" y="677803"/>
                    <a:pt x="261542" y="772371"/>
                  </a:cubicBezTo>
                  <a:lnTo>
                    <a:pt x="271299" y="795998"/>
                  </a:lnTo>
                  <a:lnTo>
                    <a:pt x="0" y="795998"/>
                  </a:lnTo>
                  <a:lnTo>
                    <a:pt x="0" y="463375"/>
                  </a:lnTo>
                  <a:lnTo>
                    <a:pt x="1409" y="460564"/>
                  </a:lnTo>
                  <a:cubicBezTo>
                    <a:pt x="122471" y="245073"/>
                    <a:pt x="336861" y="16870"/>
                    <a:pt x="729846" y="254995"/>
                  </a:cubicBezTo>
                  <a:cubicBezTo>
                    <a:pt x="763580" y="357686"/>
                    <a:pt x="901960" y="-159120"/>
                    <a:pt x="1305875" y="50571"/>
                  </a:cubicBezTo>
                  <a:lnTo>
                    <a:pt x="1331667" y="66474"/>
                  </a:lnTo>
                  <a:lnTo>
                    <a:pt x="1331667" y="187746"/>
                  </a:lnTo>
                  <a:lnTo>
                    <a:pt x="1356386" y="174509"/>
                  </a:lnTo>
                  <a:cubicBezTo>
                    <a:pt x="1532935" y="74638"/>
                    <a:pt x="1536674" y="499925"/>
                    <a:pt x="1355264" y="386590"/>
                  </a:cubicBezTo>
                  <a:lnTo>
                    <a:pt x="1331667" y="376378"/>
                  </a:lnTo>
                  <a:lnTo>
                    <a:pt x="1331667" y="795998"/>
                  </a:lnTo>
                  <a:close/>
                </a:path>
              </a:pathLst>
            </a:custGeom>
            <a:solidFill>
              <a:srgbClr val="00338D"/>
            </a:solidFill>
            <a:ln w="12700" cap="flat" cmpd="sng" algn="ctr">
              <a:noFill/>
              <a:prstDash val="solid"/>
              <a:miter lim="800000"/>
            </a:ln>
            <a:effectLst/>
          </p:spPr>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30" name="Freeform 138">
              <a:extLst>
                <a:ext uri="{FF2B5EF4-FFF2-40B4-BE49-F238E27FC236}">
                  <a16:creationId xmlns:a16="http://schemas.microsoft.com/office/drawing/2014/main" id="{E2C12753-07A3-4DED-96DC-06094BE0B1C1}"/>
                </a:ext>
              </a:extLst>
            </p:cNvPr>
            <p:cNvSpPr/>
            <p:nvPr/>
          </p:nvSpPr>
          <p:spPr>
            <a:xfrm rot="10800000">
              <a:off x="4687168" y="3268997"/>
              <a:ext cx="1515171" cy="880682"/>
            </a:xfrm>
            <a:custGeom>
              <a:avLst/>
              <a:gdLst>
                <a:gd name="connsiteX0" fmla="*/ 1515171 w 1515171"/>
                <a:gd name="connsiteY0" fmla="*/ 880682 h 880682"/>
                <a:gd name="connsiteX1" fmla="*/ 1221733 w 1515171"/>
                <a:gd name="connsiteY1" fmla="*/ 880682 h 880682"/>
                <a:gd name="connsiteX2" fmla="*/ 1232775 w 1515171"/>
                <a:gd name="connsiteY2" fmla="*/ 857543 h 880682"/>
                <a:gd name="connsiteX3" fmla="*/ 1070638 w 1515171"/>
                <a:gd name="connsiteY3" fmla="*/ 713884 h 880682"/>
                <a:gd name="connsiteX4" fmla="*/ 897713 w 1515171"/>
                <a:gd name="connsiteY4" fmla="*/ 857056 h 880682"/>
                <a:gd name="connsiteX5" fmla="*/ 907469 w 1515171"/>
                <a:gd name="connsiteY5" fmla="*/ 880682 h 880682"/>
                <a:gd name="connsiteX6" fmla="*/ 171929 w 1515171"/>
                <a:gd name="connsiteY6" fmla="*/ 880682 h 880682"/>
                <a:gd name="connsiteX7" fmla="*/ 171929 w 1515171"/>
                <a:gd name="connsiteY7" fmla="*/ 703156 h 880682"/>
                <a:gd name="connsiteX8" fmla="*/ 165267 w 1515171"/>
                <a:gd name="connsiteY8" fmla="*/ 702245 h 880682"/>
                <a:gd name="connsiteX9" fmla="*/ 133675 w 1515171"/>
                <a:gd name="connsiteY9" fmla="*/ 719162 h 880682"/>
                <a:gd name="connsiteX10" fmla="*/ 134797 w 1515171"/>
                <a:gd name="connsiteY10" fmla="*/ 507081 h 880682"/>
                <a:gd name="connsiteX11" fmla="*/ 163596 w 1515171"/>
                <a:gd name="connsiteY11" fmla="*/ 519544 h 880682"/>
                <a:gd name="connsiteX12" fmla="*/ 171929 w 1515171"/>
                <a:gd name="connsiteY12" fmla="*/ 518383 h 880682"/>
                <a:gd name="connsiteX13" fmla="*/ 171929 w 1515171"/>
                <a:gd name="connsiteY13" fmla="*/ 10395 h 880682"/>
                <a:gd name="connsiteX14" fmla="*/ 211930 w 1515171"/>
                <a:gd name="connsiteY14" fmla="*/ 3625 h 880682"/>
                <a:gd name="connsiteX15" fmla="*/ 1015975 w 1515171"/>
                <a:gd name="connsiteY15" fmla="*/ 430166 h 880682"/>
                <a:gd name="connsiteX16" fmla="*/ 1426763 w 1515171"/>
                <a:gd name="connsiteY16" fmla="*/ 815929 h 880682"/>
                <a:gd name="connsiteX17" fmla="*/ 1500179 w 1515171"/>
                <a:gd name="connsiteY17" fmla="*/ 669184 h 880682"/>
                <a:gd name="connsiteX18" fmla="*/ 1515171 w 1515171"/>
                <a:gd name="connsiteY18" fmla="*/ 639274 h 880682"/>
                <a:gd name="connsiteX19" fmla="*/ 1515171 w 1515171"/>
                <a:gd name="connsiteY19" fmla="*/ 880682 h 880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15171" h="880682">
                  <a:moveTo>
                    <a:pt x="1515171" y="880682"/>
                  </a:moveTo>
                  <a:lnTo>
                    <a:pt x="1221733" y="880682"/>
                  </a:lnTo>
                  <a:lnTo>
                    <a:pt x="1232775" y="857543"/>
                  </a:lnTo>
                  <a:cubicBezTo>
                    <a:pt x="1263400" y="760891"/>
                    <a:pt x="1167917" y="713485"/>
                    <a:pt x="1070638" y="713884"/>
                  </a:cubicBezTo>
                  <a:cubicBezTo>
                    <a:pt x="973358" y="714284"/>
                    <a:pt x="874281" y="762488"/>
                    <a:pt x="897713" y="857056"/>
                  </a:cubicBezTo>
                  <a:lnTo>
                    <a:pt x="907469" y="880682"/>
                  </a:lnTo>
                  <a:lnTo>
                    <a:pt x="171929" y="880682"/>
                  </a:lnTo>
                  <a:lnTo>
                    <a:pt x="171929" y="703156"/>
                  </a:lnTo>
                  <a:lnTo>
                    <a:pt x="165267" y="702245"/>
                  </a:lnTo>
                  <a:cubicBezTo>
                    <a:pt x="156787" y="704468"/>
                    <a:pt x="146469" y="709979"/>
                    <a:pt x="133675" y="719162"/>
                  </a:cubicBezTo>
                  <a:cubicBezTo>
                    <a:pt x="-42874" y="819033"/>
                    <a:pt x="-46613" y="393746"/>
                    <a:pt x="134797" y="507081"/>
                  </a:cubicBezTo>
                  <a:cubicBezTo>
                    <a:pt x="145405" y="514280"/>
                    <a:pt x="155048" y="518209"/>
                    <a:pt x="163596" y="519544"/>
                  </a:cubicBezTo>
                  <a:lnTo>
                    <a:pt x="171929" y="518383"/>
                  </a:lnTo>
                  <a:lnTo>
                    <a:pt x="171929" y="10395"/>
                  </a:lnTo>
                  <a:lnTo>
                    <a:pt x="211930" y="3625"/>
                  </a:lnTo>
                  <a:cubicBezTo>
                    <a:pt x="465012" y="-21874"/>
                    <a:pt x="783702" y="83694"/>
                    <a:pt x="1015975" y="430166"/>
                  </a:cubicBezTo>
                  <a:cubicBezTo>
                    <a:pt x="1224341" y="458742"/>
                    <a:pt x="1346984" y="496841"/>
                    <a:pt x="1426763" y="815929"/>
                  </a:cubicBezTo>
                  <a:cubicBezTo>
                    <a:pt x="1442669" y="804816"/>
                    <a:pt x="1465322" y="745682"/>
                    <a:pt x="1500179" y="669184"/>
                  </a:cubicBezTo>
                  <a:lnTo>
                    <a:pt x="1515171" y="639274"/>
                  </a:lnTo>
                  <a:lnTo>
                    <a:pt x="1515171" y="880682"/>
                  </a:lnTo>
                  <a:close/>
                </a:path>
              </a:pathLst>
            </a:custGeom>
            <a:solidFill>
              <a:srgbClr val="0091DA"/>
            </a:solidFill>
            <a:ln w="12700" cap="flat" cmpd="sng" algn="ctr">
              <a:noFill/>
              <a:prstDash val="solid"/>
              <a:miter lim="800000"/>
            </a:ln>
            <a:effectLst/>
          </p:spPr>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31" name="Freeform 173">
              <a:extLst>
                <a:ext uri="{FF2B5EF4-FFF2-40B4-BE49-F238E27FC236}">
                  <a16:creationId xmlns:a16="http://schemas.microsoft.com/office/drawing/2014/main" id="{CF2FB16A-9934-4A5E-ACCA-C5FC381FD2E9}"/>
                </a:ext>
              </a:extLst>
            </p:cNvPr>
            <p:cNvSpPr/>
            <p:nvPr/>
          </p:nvSpPr>
          <p:spPr>
            <a:xfrm rot="10800000">
              <a:off x="3309782" y="1504421"/>
              <a:ext cx="1505717" cy="845531"/>
            </a:xfrm>
            <a:custGeom>
              <a:avLst/>
              <a:gdLst>
                <a:gd name="connsiteX0" fmla="*/ 1505717 w 1505717"/>
                <a:gd name="connsiteY0" fmla="*/ 845531 h 845531"/>
                <a:gd name="connsiteX1" fmla="*/ 1416805 w 1505717"/>
                <a:gd name="connsiteY1" fmla="*/ 845531 h 845531"/>
                <a:gd name="connsiteX2" fmla="*/ 1427880 w 1505717"/>
                <a:gd name="connsiteY2" fmla="*/ 822323 h 845531"/>
                <a:gd name="connsiteX3" fmla="*/ 1265743 w 1505717"/>
                <a:gd name="connsiteY3" fmla="*/ 678664 h 845531"/>
                <a:gd name="connsiteX4" fmla="*/ 1092818 w 1505717"/>
                <a:gd name="connsiteY4" fmla="*/ 821836 h 845531"/>
                <a:gd name="connsiteX5" fmla="*/ 1102603 w 1505717"/>
                <a:gd name="connsiteY5" fmla="*/ 845531 h 845531"/>
                <a:gd name="connsiteX6" fmla="*/ 174050 w 1505717"/>
                <a:gd name="connsiteY6" fmla="*/ 845531 h 845531"/>
                <a:gd name="connsiteX7" fmla="*/ 174050 w 1505717"/>
                <a:gd name="connsiteY7" fmla="*/ 770619 h 845531"/>
                <a:gd name="connsiteX8" fmla="*/ 165267 w 1505717"/>
                <a:gd name="connsiteY8" fmla="*/ 769418 h 845531"/>
                <a:gd name="connsiteX9" fmla="*/ 133675 w 1505717"/>
                <a:gd name="connsiteY9" fmla="*/ 786335 h 845531"/>
                <a:gd name="connsiteX10" fmla="*/ 134797 w 1505717"/>
                <a:gd name="connsiteY10" fmla="*/ 574254 h 845531"/>
                <a:gd name="connsiteX11" fmla="*/ 163596 w 1505717"/>
                <a:gd name="connsiteY11" fmla="*/ 586717 h 845531"/>
                <a:gd name="connsiteX12" fmla="*/ 174050 w 1505717"/>
                <a:gd name="connsiteY12" fmla="*/ 585260 h 845531"/>
                <a:gd name="connsiteX13" fmla="*/ 174050 w 1505717"/>
                <a:gd name="connsiteY13" fmla="*/ 0 h 845531"/>
                <a:gd name="connsiteX14" fmla="*/ 1505717 w 1505717"/>
                <a:gd name="connsiteY14" fmla="*/ 0 h 845531"/>
                <a:gd name="connsiteX15" fmla="*/ 1505717 w 1505717"/>
                <a:gd name="connsiteY15" fmla="*/ 845531 h 845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05717" h="845531">
                  <a:moveTo>
                    <a:pt x="1505717" y="845531"/>
                  </a:moveTo>
                  <a:lnTo>
                    <a:pt x="1416805" y="845531"/>
                  </a:lnTo>
                  <a:lnTo>
                    <a:pt x="1427880" y="822323"/>
                  </a:lnTo>
                  <a:cubicBezTo>
                    <a:pt x="1458505" y="725671"/>
                    <a:pt x="1363022" y="678265"/>
                    <a:pt x="1265743" y="678664"/>
                  </a:cubicBezTo>
                  <a:cubicBezTo>
                    <a:pt x="1168463" y="679064"/>
                    <a:pt x="1069386" y="727268"/>
                    <a:pt x="1092818" y="821836"/>
                  </a:cubicBezTo>
                  <a:lnTo>
                    <a:pt x="1102603" y="845531"/>
                  </a:lnTo>
                  <a:lnTo>
                    <a:pt x="174050" y="845531"/>
                  </a:lnTo>
                  <a:lnTo>
                    <a:pt x="174050" y="770619"/>
                  </a:lnTo>
                  <a:lnTo>
                    <a:pt x="165267" y="769418"/>
                  </a:lnTo>
                  <a:cubicBezTo>
                    <a:pt x="156787" y="771641"/>
                    <a:pt x="146469" y="777152"/>
                    <a:pt x="133675" y="786335"/>
                  </a:cubicBezTo>
                  <a:cubicBezTo>
                    <a:pt x="-42874" y="886206"/>
                    <a:pt x="-46613" y="460919"/>
                    <a:pt x="134797" y="574254"/>
                  </a:cubicBezTo>
                  <a:cubicBezTo>
                    <a:pt x="145405" y="581453"/>
                    <a:pt x="155048" y="585382"/>
                    <a:pt x="163596" y="586717"/>
                  </a:cubicBezTo>
                  <a:lnTo>
                    <a:pt x="174050" y="585260"/>
                  </a:lnTo>
                  <a:lnTo>
                    <a:pt x="174050" y="0"/>
                  </a:lnTo>
                  <a:lnTo>
                    <a:pt x="1505717" y="0"/>
                  </a:lnTo>
                  <a:lnTo>
                    <a:pt x="1505717" y="845531"/>
                  </a:lnTo>
                  <a:close/>
                </a:path>
              </a:pathLst>
            </a:custGeom>
            <a:solidFill>
              <a:srgbClr val="00338D"/>
            </a:solidFill>
            <a:ln w="12700" cap="flat" cmpd="sng" algn="ctr">
              <a:noFill/>
              <a:prstDash val="solid"/>
              <a:miter lim="800000"/>
            </a:ln>
            <a:effectLst/>
          </p:spPr>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32" name="Freeform 126">
              <a:extLst>
                <a:ext uri="{FF2B5EF4-FFF2-40B4-BE49-F238E27FC236}">
                  <a16:creationId xmlns:a16="http://schemas.microsoft.com/office/drawing/2014/main" id="{2B72F09A-EBDF-430C-B1BC-B14FBF4E9BFA}"/>
                </a:ext>
              </a:extLst>
            </p:cNvPr>
            <p:cNvSpPr/>
            <p:nvPr/>
          </p:nvSpPr>
          <p:spPr>
            <a:xfrm rot="10800000">
              <a:off x="1863481" y="2395670"/>
              <a:ext cx="1400581" cy="827606"/>
            </a:xfrm>
            <a:custGeom>
              <a:avLst/>
              <a:gdLst>
                <a:gd name="connsiteX0" fmla="*/ 1066834 w 1400581"/>
                <a:gd name="connsiteY0" fmla="*/ 827606 h 827606"/>
                <a:gd name="connsiteX1" fmla="*/ 387265 w 1400581"/>
                <a:gd name="connsiteY1" fmla="*/ 827606 h 827606"/>
                <a:gd name="connsiteX2" fmla="*/ 391586 w 1400581"/>
                <a:gd name="connsiteY2" fmla="*/ 818552 h 827606"/>
                <a:gd name="connsiteX3" fmla="*/ 229449 w 1400581"/>
                <a:gd name="connsiteY3" fmla="*/ 674893 h 827606"/>
                <a:gd name="connsiteX4" fmla="*/ 56524 w 1400581"/>
                <a:gd name="connsiteY4" fmla="*/ 818065 h 827606"/>
                <a:gd name="connsiteX5" fmla="*/ 60464 w 1400581"/>
                <a:gd name="connsiteY5" fmla="*/ 827606 h 827606"/>
                <a:gd name="connsiteX6" fmla="*/ 0 w 1400581"/>
                <a:gd name="connsiteY6" fmla="*/ 827606 h 827606"/>
                <a:gd name="connsiteX7" fmla="*/ 0 w 1400581"/>
                <a:gd name="connsiteY7" fmla="*/ 0 h 827606"/>
                <a:gd name="connsiteX8" fmla="*/ 526099 w 1400581"/>
                <a:gd name="connsiteY8" fmla="*/ 0 h 827606"/>
                <a:gd name="connsiteX9" fmla="*/ 522418 w 1400581"/>
                <a:gd name="connsiteY9" fmla="*/ 7713 h 827606"/>
                <a:gd name="connsiteX10" fmla="*/ 684555 w 1400581"/>
                <a:gd name="connsiteY10" fmla="*/ 151371 h 827606"/>
                <a:gd name="connsiteX11" fmla="*/ 857480 w 1400581"/>
                <a:gd name="connsiteY11" fmla="*/ 8200 h 827606"/>
                <a:gd name="connsiteX12" fmla="*/ 854094 w 1400581"/>
                <a:gd name="connsiteY12" fmla="*/ 0 h 827606"/>
                <a:gd name="connsiteX13" fmla="*/ 1369628 w 1400581"/>
                <a:gd name="connsiteY13" fmla="*/ 0 h 827606"/>
                <a:gd name="connsiteX14" fmla="*/ 1386856 w 1400581"/>
                <a:gd name="connsiteY14" fmla="*/ 54875 h 827606"/>
                <a:gd name="connsiteX15" fmla="*/ 1132369 w 1400581"/>
                <a:gd name="connsiteY15" fmla="*/ 784282 h 827606"/>
                <a:gd name="connsiteX16" fmla="*/ 1066834 w 1400581"/>
                <a:gd name="connsiteY16" fmla="*/ 827606 h 827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00581" h="827606">
                  <a:moveTo>
                    <a:pt x="1066834" y="827606"/>
                  </a:moveTo>
                  <a:lnTo>
                    <a:pt x="387265" y="827606"/>
                  </a:lnTo>
                  <a:lnTo>
                    <a:pt x="391586" y="818552"/>
                  </a:lnTo>
                  <a:cubicBezTo>
                    <a:pt x="422211" y="721900"/>
                    <a:pt x="326728" y="674494"/>
                    <a:pt x="229449" y="674893"/>
                  </a:cubicBezTo>
                  <a:cubicBezTo>
                    <a:pt x="132169" y="675293"/>
                    <a:pt x="33092" y="723497"/>
                    <a:pt x="56524" y="818065"/>
                  </a:cubicBezTo>
                  <a:lnTo>
                    <a:pt x="60464" y="827606"/>
                  </a:lnTo>
                  <a:lnTo>
                    <a:pt x="0" y="827606"/>
                  </a:lnTo>
                  <a:lnTo>
                    <a:pt x="0" y="0"/>
                  </a:lnTo>
                  <a:lnTo>
                    <a:pt x="526099" y="0"/>
                  </a:lnTo>
                  <a:lnTo>
                    <a:pt x="522418" y="7713"/>
                  </a:lnTo>
                  <a:cubicBezTo>
                    <a:pt x="491793" y="104365"/>
                    <a:pt x="587275" y="151771"/>
                    <a:pt x="684555" y="151371"/>
                  </a:cubicBezTo>
                  <a:cubicBezTo>
                    <a:pt x="781835" y="150972"/>
                    <a:pt x="880913" y="102768"/>
                    <a:pt x="857480" y="8200"/>
                  </a:cubicBezTo>
                  <a:lnTo>
                    <a:pt x="854094" y="0"/>
                  </a:lnTo>
                  <a:lnTo>
                    <a:pt x="1369628" y="0"/>
                  </a:lnTo>
                  <a:lnTo>
                    <a:pt x="1386856" y="54875"/>
                  </a:lnTo>
                  <a:cubicBezTo>
                    <a:pt x="1438316" y="307387"/>
                    <a:pt x="1343246" y="609459"/>
                    <a:pt x="1132369" y="784282"/>
                  </a:cubicBezTo>
                  <a:lnTo>
                    <a:pt x="1066834" y="827606"/>
                  </a:lnTo>
                  <a:close/>
                </a:path>
              </a:pathLst>
            </a:custGeom>
            <a:solidFill>
              <a:srgbClr val="00338D"/>
            </a:solidFill>
            <a:ln w="12700" cap="flat" cmpd="sng" algn="ctr">
              <a:noFill/>
              <a:prstDash val="solid"/>
              <a:miter lim="800000"/>
            </a:ln>
            <a:effectLst/>
          </p:spPr>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33" name="Freeform 169">
              <a:extLst>
                <a:ext uri="{FF2B5EF4-FFF2-40B4-BE49-F238E27FC236}">
                  <a16:creationId xmlns:a16="http://schemas.microsoft.com/office/drawing/2014/main" id="{578B5B70-CF3D-4BC6-A68D-C6557DA1EE0B}"/>
                </a:ext>
              </a:extLst>
            </p:cNvPr>
            <p:cNvSpPr/>
            <p:nvPr/>
          </p:nvSpPr>
          <p:spPr>
            <a:xfrm rot="16200000">
              <a:off x="4936023" y="1255566"/>
              <a:ext cx="845532" cy="1343242"/>
            </a:xfrm>
            <a:custGeom>
              <a:avLst/>
              <a:gdLst>
                <a:gd name="connsiteX0" fmla="*/ 845532 w 845532"/>
                <a:gd name="connsiteY0" fmla="*/ 60223 h 1343242"/>
                <a:gd name="connsiteX1" fmla="*/ 845532 w 845532"/>
                <a:gd name="connsiteY1" fmla="*/ 1343242 h 1343242"/>
                <a:gd name="connsiteX2" fmla="*/ 343947 w 845532"/>
                <a:gd name="connsiteY2" fmla="*/ 1343242 h 1343242"/>
                <a:gd name="connsiteX3" fmla="*/ 353992 w 845532"/>
                <a:gd name="connsiteY3" fmla="*/ 1322192 h 1343242"/>
                <a:gd name="connsiteX4" fmla="*/ 191855 w 845532"/>
                <a:gd name="connsiteY4" fmla="*/ 1178534 h 1343242"/>
                <a:gd name="connsiteX5" fmla="*/ 18930 w 845532"/>
                <a:gd name="connsiteY5" fmla="*/ 1321706 h 1343242"/>
                <a:gd name="connsiteX6" fmla="*/ 27823 w 845532"/>
                <a:gd name="connsiteY6" fmla="*/ 1343242 h 1343242"/>
                <a:gd name="connsiteX7" fmla="*/ 0 w 845532"/>
                <a:gd name="connsiteY7" fmla="*/ 1343242 h 1343242"/>
                <a:gd name="connsiteX8" fmla="*/ 0 w 845532"/>
                <a:gd name="connsiteY8" fmla="*/ 0 h 1343242"/>
                <a:gd name="connsiteX9" fmla="*/ 516937 w 845532"/>
                <a:gd name="connsiteY9" fmla="*/ 0 h 1343242"/>
                <a:gd name="connsiteX10" fmla="*/ 509704 w 845532"/>
                <a:gd name="connsiteY10" fmla="*/ 15157 h 1343242"/>
                <a:gd name="connsiteX11" fmla="*/ 671841 w 845532"/>
                <a:gd name="connsiteY11" fmla="*/ 158816 h 1343242"/>
                <a:gd name="connsiteX12" fmla="*/ 837748 w 845532"/>
                <a:gd name="connsiteY12" fmla="*/ 85315 h 1343242"/>
                <a:gd name="connsiteX13" fmla="*/ 845532 w 845532"/>
                <a:gd name="connsiteY13" fmla="*/ 60223 h 1343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5532" h="1343242">
                  <a:moveTo>
                    <a:pt x="845532" y="60223"/>
                  </a:moveTo>
                  <a:lnTo>
                    <a:pt x="845532" y="1343242"/>
                  </a:lnTo>
                  <a:lnTo>
                    <a:pt x="343947" y="1343242"/>
                  </a:lnTo>
                  <a:lnTo>
                    <a:pt x="353992" y="1322192"/>
                  </a:lnTo>
                  <a:cubicBezTo>
                    <a:pt x="384617" y="1225540"/>
                    <a:pt x="289134" y="1178134"/>
                    <a:pt x="191855" y="1178534"/>
                  </a:cubicBezTo>
                  <a:cubicBezTo>
                    <a:pt x="94575" y="1178933"/>
                    <a:pt x="-4503" y="1227138"/>
                    <a:pt x="18930" y="1321706"/>
                  </a:cubicBezTo>
                  <a:lnTo>
                    <a:pt x="27823" y="1343242"/>
                  </a:lnTo>
                  <a:lnTo>
                    <a:pt x="0" y="1343242"/>
                  </a:lnTo>
                  <a:lnTo>
                    <a:pt x="0" y="0"/>
                  </a:lnTo>
                  <a:lnTo>
                    <a:pt x="516937" y="0"/>
                  </a:lnTo>
                  <a:lnTo>
                    <a:pt x="509704" y="15157"/>
                  </a:lnTo>
                  <a:cubicBezTo>
                    <a:pt x="479079" y="111809"/>
                    <a:pt x="574561" y="159215"/>
                    <a:pt x="671841" y="158816"/>
                  </a:cubicBezTo>
                  <a:cubicBezTo>
                    <a:pt x="741327" y="158531"/>
                    <a:pt x="811730" y="133856"/>
                    <a:pt x="837748" y="85315"/>
                  </a:cubicBezTo>
                  <a:lnTo>
                    <a:pt x="845532" y="60223"/>
                  </a:lnTo>
                  <a:close/>
                </a:path>
              </a:pathLst>
            </a:custGeom>
            <a:solidFill>
              <a:srgbClr val="005EB8"/>
            </a:solidFill>
            <a:ln w="12700" cap="flat" cmpd="sng" algn="ctr">
              <a:noFill/>
              <a:prstDash val="solid"/>
              <a:miter lim="800000"/>
            </a:ln>
            <a:effectLst/>
          </p:spPr>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34" name="Freeform 133">
              <a:extLst>
                <a:ext uri="{FF2B5EF4-FFF2-40B4-BE49-F238E27FC236}">
                  <a16:creationId xmlns:a16="http://schemas.microsoft.com/office/drawing/2014/main" id="{2F7E9104-5245-4FC5-A08F-524F444A286D}"/>
                </a:ext>
              </a:extLst>
            </p:cNvPr>
            <p:cNvSpPr/>
            <p:nvPr/>
          </p:nvSpPr>
          <p:spPr>
            <a:xfrm rot="16200000">
              <a:off x="2115493" y="2911300"/>
              <a:ext cx="941862" cy="1355274"/>
            </a:xfrm>
            <a:custGeom>
              <a:avLst/>
              <a:gdLst>
                <a:gd name="connsiteX0" fmla="*/ 941861 w 941862"/>
                <a:gd name="connsiteY0" fmla="*/ 667981 h 1355274"/>
                <a:gd name="connsiteX1" fmla="*/ 807065 w 941862"/>
                <a:gd name="connsiteY1" fmla="*/ 768973 h 1355274"/>
                <a:gd name="connsiteX2" fmla="*/ 790871 w 941862"/>
                <a:gd name="connsiteY2" fmla="*/ 761965 h 1355274"/>
                <a:gd name="connsiteX3" fmla="*/ 790871 w 941862"/>
                <a:gd name="connsiteY3" fmla="*/ 1355274 h 1355274"/>
                <a:gd name="connsiteX4" fmla="*/ 433618 w 941862"/>
                <a:gd name="connsiteY4" fmla="*/ 1355274 h 1355274"/>
                <a:gd name="connsiteX5" fmla="*/ 441757 w 941862"/>
                <a:gd name="connsiteY5" fmla="*/ 1338220 h 1355274"/>
                <a:gd name="connsiteX6" fmla="*/ 279620 w 941862"/>
                <a:gd name="connsiteY6" fmla="*/ 1194562 h 1355274"/>
                <a:gd name="connsiteX7" fmla="*/ 106695 w 941862"/>
                <a:gd name="connsiteY7" fmla="*/ 1337733 h 1355274"/>
                <a:gd name="connsiteX8" fmla="*/ 113938 w 941862"/>
                <a:gd name="connsiteY8" fmla="*/ 1355274 h 1355274"/>
                <a:gd name="connsiteX9" fmla="*/ 89539 w 941862"/>
                <a:gd name="connsiteY9" fmla="*/ 1355274 h 1355274"/>
                <a:gd name="connsiteX10" fmla="*/ 97468 w 941862"/>
                <a:gd name="connsiteY10" fmla="*/ 1342415 h 1355274"/>
                <a:gd name="connsiteX11" fmla="*/ 459418 w 941862"/>
                <a:gd name="connsiteY11" fmla="*/ 593115 h 1355274"/>
                <a:gd name="connsiteX12" fmla="*/ 770159 w 941862"/>
                <a:gd name="connsiteY12" fmla="*/ 6502 h 1355274"/>
                <a:gd name="connsiteX13" fmla="*/ 790871 w 941862"/>
                <a:gd name="connsiteY13" fmla="*/ 0 h 1355274"/>
                <a:gd name="connsiteX14" fmla="*/ 790871 w 941862"/>
                <a:gd name="connsiteY14" fmla="*/ 566164 h 1355274"/>
                <a:gd name="connsiteX15" fmla="*/ 808187 w 941862"/>
                <a:gd name="connsiteY15" fmla="*/ 556892 h 1355274"/>
                <a:gd name="connsiteX16" fmla="*/ 941861 w 941862"/>
                <a:gd name="connsiteY16" fmla="*/ 667981 h 135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41862" h="1355274">
                  <a:moveTo>
                    <a:pt x="941861" y="667981"/>
                  </a:moveTo>
                  <a:cubicBezTo>
                    <a:pt x="942188" y="747652"/>
                    <a:pt x="897770" y="825641"/>
                    <a:pt x="807065" y="768973"/>
                  </a:cubicBezTo>
                  <a:lnTo>
                    <a:pt x="790871" y="761965"/>
                  </a:lnTo>
                  <a:lnTo>
                    <a:pt x="790871" y="1355274"/>
                  </a:lnTo>
                  <a:lnTo>
                    <a:pt x="433618" y="1355274"/>
                  </a:lnTo>
                  <a:lnTo>
                    <a:pt x="441757" y="1338220"/>
                  </a:lnTo>
                  <a:cubicBezTo>
                    <a:pt x="472381" y="1241568"/>
                    <a:pt x="376899" y="1194162"/>
                    <a:pt x="279620" y="1194562"/>
                  </a:cubicBezTo>
                  <a:cubicBezTo>
                    <a:pt x="182340" y="1194961"/>
                    <a:pt x="83262" y="1243164"/>
                    <a:pt x="106695" y="1337733"/>
                  </a:cubicBezTo>
                  <a:lnTo>
                    <a:pt x="113938" y="1355274"/>
                  </a:lnTo>
                  <a:lnTo>
                    <a:pt x="89539" y="1355274"/>
                  </a:lnTo>
                  <a:lnTo>
                    <a:pt x="97468" y="1342415"/>
                  </a:lnTo>
                  <a:cubicBezTo>
                    <a:pt x="-81921" y="1045023"/>
                    <a:pt x="-42233" y="514270"/>
                    <a:pt x="459418" y="593115"/>
                  </a:cubicBezTo>
                  <a:cubicBezTo>
                    <a:pt x="439905" y="280411"/>
                    <a:pt x="577592" y="90799"/>
                    <a:pt x="770159" y="6502"/>
                  </a:cubicBezTo>
                  <a:lnTo>
                    <a:pt x="790871" y="0"/>
                  </a:lnTo>
                  <a:lnTo>
                    <a:pt x="790871" y="566164"/>
                  </a:lnTo>
                  <a:lnTo>
                    <a:pt x="808187" y="556892"/>
                  </a:lnTo>
                  <a:cubicBezTo>
                    <a:pt x="896462" y="506956"/>
                    <a:pt x="941534" y="588310"/>
                    <a:pt x="941861" y="667981"/>
                  </a:cubicBezTo>
                  <a:close/>
                </a:path>
              </a:pathLst>
            </a:custGeom>
            <a:solidFill>
              <a:srgbClr val="0091DA"/>
            </a:solidFill>
            <a:ln w="12700" cap="flat" cmpd="sng" algn="ctr">
              <a:noFill/>
              <a:prstDash val="solid"/>
              <a:miter lim="800000"/>
            </a:ln>
            <a:effectLst/>
          </p:spPr>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grpSp>
      <p:grpSp>
        <p:nvGrpSpPr>
          <p:cNvPr id="35" name="Group 229">
            <a:extLst>
              <a:ext uri="{FF2B5EF4-FFF2-40B4-BE49-F238E27FC236}">
                <a16:creationId xmlns:a16="http://schemas.microsoft.com/office/drawing/2014/main" id="{54B31790-FC81-4A46-A48A-2FAC727B41AF}"/>
              </a:ext>
            </a:extLst>
          </p:cNvPr>
          <p:cNvGrpSpPr/>
          <p:nvPr/>
        </p:nvGrpSpPr>
        <p:grpSpPr>
          <a:xfrm flipH="1">
            <a:off x="8118074" y="2460294"/>
            <a:ext cx="3046833" cy="908197"/>
            <a:chOff x="104931" y="1392699"/>
            <a:chExt cx="2131661" cy="908197"/>
          </a:xfrm>
        </p:grpSpPr>
        <p:sp>
          <p:nvSpPr>
            <p:cNvPr id="36" name="TextBox 232">
              <a:extLst>
                <a:ext uri="{FF2B5EF4-FFF2-40B4-BE49-F238E27FC236}">
                  <a16:creationId xmlns:a16="http://schemas.microsoft.com/office/drawing/2014/main" id="{BBF95CF6-25DE-4B20-BB2F-EC3319413440}"/>
                </a:ext>
              </a:extLst>
            </p:cNvPr>
            <p:cNvSpPr txBox="1"/>
            <p:nvPr/>
          </p:nvSpPr>
          <p:spPr>
            <a:xfrm>
              <a:off x="104931" y="1392699"/>
              <a:ext cx="2131661" cy="89255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600" b="1" i="0" u="none" strike="noStrike" kern="0" cap="none" spc="0" normalizeH="0" baseline="0" noProof="0">
                  <a:ln>
                    <a:noFill/>
                  </a:ln>
                  <a:solidFill>
                    <a:srgbClr val="000000"/>
                  </a:solidFill>
                  <a:effectLst/>
                  <a:uLnTx/>
                  <a:uFillTx/>
                  <a:latin typeface="Calibri" panose="020F0502020204030204"/>
                  <a:ea typeface="Roboto" panose="02000000000000000000" pitchFamily="2" charset="0"/>
                  <a:cs typeface="Arial" panose="020B0604020202020204" pitchFamily="34" charset="0"/>
                </a:rPr>
                <a:t>Want to receive updates?</a:t>
              </a:r>
            </a:p>
          </p:txBody>
        </p:sp>
        <p:cxnSp>
          <p:nvCxnSpPr>
            <p:cNvPr id="37" name="Straight Arrow Connector 231">
              <a:extLst>
                <a:ext uri="{FF2B5EF4-FFF2-40B4-BE49-F238E27FC236}">
                  <a16:creationId xmlns:a16="http://schemas.microsoft.com/office/drawing/2014/main" id="{24A4B2E1-8A6D-4708-8C80-01060A8EE0F3}"/>
                </a:ext>
              </a:extLst>
            </p:cNvPr>
            <p:cNvCxnSpPr>
              <a:cxnSpLocks/>
            </p:cNvCxnSpPr>
            <p:nvPr/>
          </p:nvCxnSpPr>
          <p:spPr>
            <a:xfrm>
              <a:off x="210450" y="2300896"/>
              <a:ext cx="1823071" cy="0"/>
            </a:xfrm>
            <a:prstGeom prst="straightConnector1">
              <a:avLst/>
            </a:prstGeom>
            <a:noFill/>
            <a:ln w="6350" cap="flat" cmpd="sng" algn="ctr">
              <a:solidFill>
                <a:srgbClr val="5B9BD5"/>
              </a:solidFill>
              <a:prstDash val="solid"/>
              <a:miter lim="800000"/>
              <a:headEnd type="none"/>
              <a:tailEnd type="oval"/>
            </a:ln>
            <a:effectLst/>
          </p:spPr>
        </p:cxnSp>
      </p:grpSp>
      <p:sp>
        <p:nvSpPr>
          <p:cNvPr id="38" name="TextBox 227">
            <a:extLst>
              <a:ext uri="{FF2B5EF4-FFF2-40B4-BE49-F238E27FC236}">
                <a16:creationId xmlns:a16="http://schemas.microsoft.com/office/drawing/2014/main" id="{6CE9C3F9-3350-4686-A711-B25471889FDC}"/>
              </a:ext>
            </a:extLst>
          </p:cNvPr>
          <p:cNvSpPr txBox="1"/>
          <p:nvPr/>
        </p:nvSpPr>
        <p:spPr>
          <a:xfrm>
            <a:off x="2152981" y="6196420"/>
            <a:ext cx="7886037"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Calibri" panose="020F0502020204030204"/>
                <a:ea typeface="Roboto" panose="02000000000000000000" pitchFamily="2" charset="0"/>
                <a:cs typeface="Arial" panose="020B0604020202020204" pitchFamily="34" charset="0"/>
              </a:rPr>
              <a:t>Please send an email to </a:t>
            </a:r>
            <a:r>
              <a:rPr kumimoji="0" lang="en-US" sz="2400" b="1" i="0" u="sng" strike="noStrike" kern="1200" cap="none" spc="0" normalizeH="0" baseline="0" noProof="0">
                <a:ln>
                  <a:noFill/>
                </a:ln>
                <a:solidFill>
                  <a:prstClr val="black"/>
                </a:solidFill>
                <a:effectLst/>
                <a:uLnTx/>
                <a:uFillTx/>
                <a:latin typeface="Calibri" panose="020F0502020204030204"/>
                <a:ea typeface="Roboto" panose="02000000000000000000" pitchFamily="2" charset="0"/>
                <a:cs typeface="Arial" panose="020B0604020202020204" pitchFamily="34" charset="0"/>
              </a:rPr>
              <a:t>F-ROC@em.myflorida.com</a:t>
            </a:r>
            <a:endParaRPr kumimoji="0" lang="en-US" sz="2400" b="1" i="0" u="none" strike="noStrike" kern="1200" cap="none" spc="0" normalizeH="0" baseline="0" noProof="0">
              <a:ln>
                <a:noFill/>
              </a:ln>
              <a:solidFill>
                <a:srgbClr val="000000"/>
              </a:solidFill>
              <a:effectLst/>
              <a:uLnTx/>
              <a:uFillTx/>
              <a:latin typeface="Calibri" panose="020F0502020204030204"/>
              <a:ea typeface="Roboto" panose="02000000000000000000" pitchFamily="2" charset="0"/>
              <a:cs typeface="Arial" panose="020B0604020202020204" pitchFamily="34" charset="0"/>
            </a:endParaRPr>
          </a:p>
        </p:txBody>
      </p:sp>
      <p:grpSp>
        <p:nvGrpSpPr>
          <p:cNvPr id="39" name="Group 22">
            <a:extLst>
              <a:ext uri="{FF2B5EF4-FFF2-40B4-BE49-F238E27FC236}">
                <a16:creationId xmlns:a16="http://schemas.microsoft.com/office/drawing/2014/main" id="{A267EB8D-4A13-405C-A76A-2A4CFA974FDC}"/>
              </a:ext>
            </a:extLst>
          </p:cNvPr>
          <p:cNvGrpSpPr/>
          <p:nvPr/>
        </p:nvGrpSpPr>
        <p:grpSpPr>
          <a:xfrm>
            <a:off x="5549109" y="3723667"/>
            <a:ext cx="1939943" cy="2033423"/>
            <a:chOff x="3016623" y="3687603"/>
            <a:chExt cx="3003178" cy="3135979"/>
          </a:xfrm>
        </p:grpSpPr>
        <p:sp>
          <p:nvSpPr>
            <p:cNvPr id="40" name="Oval 379">
              <a:extLst>
                <a:ext uri="{FF2B5EF4-FFF2-40B4-BE49-F238E27FC236}">
                  <a16:creationId xmlns:a16="http://schemas.microsoft.com/office/drawing/2014/main" id="{4D08AB1C-233B-4E57-A9DF-225EB8EA5DAA}"/>
                </a:ext>
              </a:extLst>
            </p:cNvPr>
            <p:cNvSpPr/>
            <p:nvPr/>
          </p:nvSpPr>
          <p:spPr>
            <a:xfrm>
              <a:off x="3016623" y="6287302"/>
              <a:ext cx="3003178" cy="536280"/>
            </a:xfrm>
            <a:prstGeom prst="ellipse">
              <a:avLst/>
            </a:prstGeom>
            <a:solidFill>
              <a:srgbClr val="262626">
                <a:alpha val="2588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41" name="Rectangle 2">
              <a:extLst>
                <a:ext uri="{FF2B5EF4-FFF2-40B4-BE49-F238E27FC236}">
                  <a16:creationId xmlns:a16="http://schemas.microsoft.com/office/drawing/2014/main" id="{8366E7D1-50C7-4491-872A-94F86FAE78EE}"/>
                </a:ext>
              </a:extLst>
            </p:cNvPr>
            <p:cNvSpPr/>
            <p:nvPr/>
          </p:nvSpPr>
          <p:spPr>
            <a:xfrm>
              <a:off x="3505488" y="3687603"/>
              <a:ext cx="2063470" cy="3064994"/>
            </a:xfrm>
            <a:custGeom>
              <a:avLst/>
              <a:gdLst>
                <a:gd name="connsiteX0" fmla="*/ 0 w 3119718"/>
                <a:gd name="connsiteY0" fmla="*/ 0 h 3200400"/>
                <a:gd name="connsiteX1" fmla="*/ 3119718 w 3119718"/>
                <a:gd name="connsiteY1" fmla="*/ 0 h 3200400"/>
                <a:gd name="connsiteX2" fmla="*/ 3119718 w 3119718"/>
                <a:gd name="connsiteY2" fmla="*/ 3200400 h 3200400"/>
                <a:gd name="connsiteX3" fmla="*/ 0 w 3119718"/>
                <a:gd name="connsiteY3" fmla="*/ 3200400 h 3200400"/>
                <a:gd name="connsiteX4" fmla="*/ 0 w 3119718"/>
                <a:gd name="connsiteY4" fmla="*/ 0 h 3200400"/>
                <a:gd name="connsiteX0" fmla="*/ 0 w 3119718"/>
                <a:gd name="connsiteY0" fmla="*/ 0 h 3251200"/>
                <a:gd name="connsiteX1" fmla="*/ 3119718 w 3119718"/>
                <a:gd name="connsiteY1" fmla="*/ 0 h 3251200"/>
                <a:gd name="connsiteX2" fmla="*/ 2325968 w 3119718"/>
                <a:gd name="connsiteY2" fmla="*/ 3251200 h 3251200"/>
                <a:gd name="connsiteX3" fmla="*/ 0 w 3119718"/>
                <a:gd name="connsiteY3" fmla="*/ 3200400 h 3251200"/>
                <a:gd name="connsiteX4" fmla="*/ 0 w 3119718"/>
                <a:gd name="connsiteY4" fmla="*/ 0 h 3251200"/>
                <a:gd name="connsiteX0" fmla="*/ 0 w 3119718"/>
                <a:gd name="connsiteY0" fmla="*/ 0 h 3342602"/>
                <a:gd name="connsiteX1" fmla="*/ 3119718 w 3119718"/>
                <a:gd name="connsiteY1" fmla="*/ 0 h 3342602"/>
                <a:gd name="connsiteX2" fmla="*/ 2325968 w 3119718"/>
                <a:gd name="connsiteY2" fmla="*/ 3251200 h 3342602"/>
                <a:gd name="connsiteX3" fmla="*/ 1326403 w 3119718"/>
                <a:gd name="connsiteY3" fmla="*/ 3341968 h 3342602"/>
                <a:gd name="connsiteX4" fmla="*/ 0 w 3119718"/>
                <a:gd name="connsiteY4" fmla="*/ 3200400 h 3342602"/>
                <a:gd name="connsiteX5" fmla="*/ 0 w 3119718"/>
                <a:gd name="connsiteY5" fmla="*/ 0 h 3342602"/>
                <a:gd name="connsiteX0" fmla="*/ 0 w 3119718"/>
                <a:gd name="connsiteY0" fmla="*/ 0 h 3342602"/>
                <a:gd name="connsiteX1" fmla="*/ 3119718 w 3119718"/>
                <a:gd name="connsiteY1" fmla="*/ 0 h 3342602"/>
                <a:gd name="connsiteX2" fmla="*/ 2325968 w 3119718"/>
                <a:gd name="connsiteY2" fmla="*/ 3251200 h 3342602"/>
                <a:gd name="connsiteX3" fmla="*/ 1326403 w 3119718"/>
                <a:gd name="connsiteY3" fmla="*/ 3341968 h 3342602"/>
                <a:gd name="connsiteX4" fmla="*/ 869203 w 3119718"/>
                <a:gd name="connsiteY4" fmla="*/ 2986368 h 3342602"/>
                <a:gd name="connsiteX5" fmla="*/ 0 w 3119718"/>
                <a:gd name="connsiteY5" fmla="*/ 3200400 h 3342602"/>
                <a:gd name="connsiteX6" fmla="*/ 0 w 3119718"/>
                <a:gd name="connsiteY6" fmla="*/ 0 h 3342602"/>
                <a:gd name="connsiteX0" fmla="*/ 0 w 3119718"/>
                <a:gd name="connsiteY0" fmla="*/ 0 h 3439104"/>
                <a:gd name="connsiteX1" fmla="*/ 3119718 w 3119718"/>
                <a:gd name="connsiteY1" fmla="*/ 0 h 3439104"/>
                <a:gd name="connsiteX2" fmla="*/ 2325968 w 3119718"/>
                <a:gd name="connsiteY2" fmla="*/ 3251200 h 3439104"/>
                <a:gd name="connsiteX3" fmla="*/ 1358153 w 3119718"/>
                <a:gd name="connsiteY3" fmla="*/ 2986368 h 3439104"/>
                <a:gd name="connsiteX4" fmla="*/ 1326403 w 3119718"/>
                <a:gd name="connsiteY4" fmla="*/ 3341968 h 3439104"/>
                <a:gd name="connsiteX5" fmla="*/ 869203 w 3119718"/>
                <a:gd name="connsiteY5" fmla="*/ 2986368 h 3439104"/>
                <a:gd name="connsiteX6" fmla="*/ 0 w 3119718"/>
                <a:gd name="connsiteY6" fmla="*/ 3200400 h 3439104"/>
                <a:gd name="connsiteX7" fmla="*/ 0 w 3119718"/>
                <a:gd name="connsiteY7" fmla="*/ 0 h 3439104"/>
                <a:gd name="connsiteX0" fmla="*/ 0 w 3119718"/>
                <a:gd name="connsiteY0" fmla="*/ 0 h 3346515"/>
                <a:gd name="connsiteX1" fmla="*/ 3119718 w 3119718"/>
                <a:gd name="connsiteY1" fmla="*/ 0 h 3346515"/>
                <a:gd name="connsiteX2" fmla="*/ 2325968 w 3119718"/>
                <a:gd name="connsiteY2" fmla="*/ 3251200 h 3346515"/>
                <a:gd name="connsiteX3" fmla="*/ 1358153 w 3119718"/>
                <a:gd name="connsiteY3" fmla="*/ 2986368 h 3346515"/>
                <a:gd name="connsiteX4" fmla="*/ 1326403 w 3119718"/>
                <a:gd name="connsiteY4" fmla="*/ 3341968 h 3346515"/>
                <a:gd name="connsiteX5" fmla="*/ 869203 w 3119718"/>
                <a:gd name="connsiteY5" fmla="*/ 2986368 h 3346515"/>
                <a:gd name="connsiteX6" fmla="*/ 0 w 3119718"/>
                <a:gd name="connsiteY6" fmla="*/ 3200400 h 3346515"/>
                <a:gd name="connsiteX7" fmla="*/ 0 w 3119718"/>
                <a:gd name="connsiteY7" fmla="*/ 0 h 3346515"/>
                <a:gd name="connsiteX0" fmla="*/ 0 w 3119718"/>
                <a:gd name="connsiteY0" fmla="*/ 0 h 3346515"/>
                <a:gd name="connsiteX1" fmla="*/ 3119718 w 3119718"/>
                <a:gd name="connsiteY1" fmla="*/ 0 h 3346515"/>
                <a:gd name="connsiteX2" fmla="*/ 2325968 w 3119718"/>
                <a:gd name="connsiteY2" fmla="*/ 3251200 h 3346515"/>
                <a:gd name="connsiteX3" fmla="*/ 1358153 w 3119718"/>
                <a:gd name="connsiteY3" fmla="*/ 2986368 h 3346515"/>
                <a:gd name="connsiteX4" fmla="*/ 1326403 w 3119718"/>
                <a:gd name="connsiteY4" fmla="*/ 3341968 h 3346515"/>
                <a:gd name="connsiteX5" fmla="*/ 869203 w 3119718"/>
                <a:gd name="connsiteY5" fmla="*/ 2986368 h 3346515"/>
                <a:gd name="connsiteX6" fmla="*/ 0 w 3119718"/>
                <a:gd name="connsiteY6" fmla="*/ 3200400 h 3346515"/>
                <a:gd name="connsiteX7" fmla="*/ 0 w 3119718"/>
                <a:gd name="connsiteY7" fmla="*/ 0 h 3346515"/>
                <a:gd name="connsiteX0" fmla="*/ 0 w 3119718"/>
                <a:gd name="connsiteY0" fmla="*/ 0 h 3346515"/>
                <a:gd name="connsiteX1" fmla="*/ 3119718 w 3119718"/>
                <a:gd name="connsiteY1" fmla="*/ 0 h 3346515"/>
                <a:gd name="connsiteX2" fmla="*/ 2325968 w 3119718"/>
                <a:gd name="connsiteY2" fmla="*/ 3251200 h 3346515"/>
                <a:gd name="connsiteX3" fmla="*/ 1358153 w 3119718"/>
                <a:gd name="connsiteY3" fmla="*/ 2986368 h 3346515"/>
                <a:gd name="connsiteX4" fmla="*/ 1326403 w 3119718"/>
                <a:gd name="connsiteY4" fmla="*/ 3341968 h 3346515"/>
                <a:gd name="connsiteX5" fmla="*/ 869203 w 3119718"/>
                <a:gd name="connsiteY5" fmla="*/ 2986368 h 3346515"/>
                <a:gd name="connsiteX6" fmla="*/ 0 w 3119718"/>
                <a:gd name="connsiteY6" fmla="*/ 3200400 h 3346515"/>
                <a:gd name="connsiteX7" fmla="*/ 0 w 3119718"/>
                <a:gd name="connsiteY7" fmla="*/ 0 h 3346515"/>
                <a:gd name="connsiteX0" fmla="*/ 0 w 3119718"/>
                <a:gd name="connsiteY0" fmla="*/ 0 h 3346515"/>
                <a:gd name="connsiteX1" fmla="*/ 3119718 w 3119718"/>
                <a:gd name="connsiteY1" fmla="*/ 0 h 3346515"/>
                <a:gd name="connsiteX2" fmla="*/ 2325968 w 3119718"/>
                <a:gd name="connsiteY2" fmla="*/ 3251200 h 3346515"/>
                <a:gd name="connsiteX3" fmla="*/ 1358153 w 3119718"/>
                <a:gd name="connsiteY3" fmla="*/ 2986368 h 3346515"/>
                <a:gd name="connsiteX4" fmla="*/ 1326403 w 3119718"/>
                <a:gd name="connsiteY4" fmla="*/ 3341968 h 3346515"/>
                <a:gd name="connsiteX5" fmla="*/ 869203 w 3119718"/>
                <a:gd name="connsiteY5" fmla="*/ 2986368 h 3346515"/>
                <a:gd name="connsiteX6" fmla="*/ 0 w 3119718"/>
                <a:gd name="connsiteY6" fmla="*/ 3200400 h 3346515"/>
                <a:gd name="connsiteX7" fmla="*/ 0 w 3119718"/>
                <a:gd name="connsiteY7" fmla="*/ 0 h 3346515"/>
                <a:gd name="connsiteX0" fmla="*/ 0 w 3119718"/>
                <a:gd name="connsiteY0" fmla="*/ 0 h 3346515"/>
                <a:gd name="connsiteX1" fmla="*/ 3119718 w 3119718"/>
                <a:gd name="connsiteY1" fmla="*/ 0 h 3346515"/>
                <a:gd name="connsiteX2" fmla="*/ 2325968 w 3119718"/>
                <a:gd name="connsiteY2" fmla="*/ 3251200 h 3346515"/>
                <a:gd name="connsiteX3" fmla="*/ 1358153 w 3119718"/>
                <a:gd name="connsiteY3" fmla="*/ 2986368 h 3346515"/>
                <a:gd name="connsiteX4" fmla="*/ 1326403 w 3119718"/>
                <a:gd name="connsiteY4" fmla="*/ 3341968 h 3346515"/>
                <a:gd name="connsiteX5" fmla="*/ 869203 w 3119718"/>
                <a:gd name="connsiteY5" fmla="*/ 2986368 h 3346515"/>
                <a:gd name="connsiteX6" fmla="*/ 0 w 3119718"/>
                <a:gd name="connsiteY6" fmla="*/ 3200400 h 3346515"/>
                <a:gd name="connsiteX7" fmla="*/ 0 w 3119718"/>
                <a:gd name="connsiteY7" fmla="*/ 0 h 3346515"/>
                <a:gd name="connsiteX0" fmla="*/ 0 w 3119718"/>
                <a:gd name="connsiteY0" fmla="*/ 0 h 3346515"/>
                <a:gd name="connsiteX1" fmla="*/ 3119718 w 3119718"/>
                <a:gd name="connsiteY1" fmla="*/ 0 h 3346515"/>
                <a:gd name="connsiteX2" fmla="*/ 2325968 w 3119718"/>
                <a:gd name="connsiteY2" fmla="*/ 3251200 h 3346515"/>
                <a:gd name="connsiteX3" fmla="*/ 1358153 w 3119718"/>
                <a:gd name="connsiteY3" fmla="*/ 2986368 h 3346515"/>
                <a:gd name="connsiteX4" fmla="*/ 1326403 w 3119718"/>
                <a:gd name="connsiteY4" fmla="*/ 3341968 h 3346515"/>
                <a:gd name="connsiteX5" fmla="*/ 871584 w 3119718"/>
                <a:gd name="connsiteY5" fmla="*/ 2972081 h 3346515"/>
                <a:gd name="connsiteX6" fmla="*/ 0 w 3119718"/>
                <a:gd name="connsiteY6" fmla="*/ 3200400 h 3346515"/>
                <a:gd name="connsiteX7" fmla="*/ 0 w 3119718"/>
                <a:gd name="connsiteY7" fmla="*/ 0 h 3346515"/>
                <a:gd name="connsiteX0" fmla="*/ 0 w 3119718"/>
                <a:gd name="connsiteY0" fmla="*/ 0 h 3346515"/>
                <a:gd name="connsiteX1" fmla="*/ 3119718 w 3119718"/>
                <a:gd name="connsiteY1" fmla="*/ 0 h 3346515"/>
                <a:gd name="connsiteX2" fmla="*/ 2325968 w 3119718"/>
                <a:gd name="connsiteY2" fmla="*/ 3251200 h 3346515"/>
                <a:gd name="connsiteX3" fmla="*/ 1358153 w 3119718"/>
                <a:gd name="connsiteY3" fmla="*/ 2986368 h 3346515"/>
                <a:gd name="connsiteX4" fmla="*/ 1326403 w 3119718"/>
                <a:gd name="connsiteY4" fmla="*/ 3341968 h 3346515"/>
                <a:gd name="connsiteX5" fmla="*/ 871584 w 3119718"/>
                <a:gd name="connsiteY5" fmla="*/ 2972081 h 3346515"/>
                <a:gd name="connsiteX6" fmla="*/ 0 w 3119718"/>
                <a:gd name="connsiteY6" fmla="*/ 3200400 h 3346515"/>
                <a:gd name="connsiteX7" fmla="*/ 0 w 3119718"/>
                <a:gd name="connsiteY7" fmla="*/ 0 h 3346515"/>
                <a:gd name="connsiteX0" fmla="*/ 0 w 3119718"/>
                <a:gd name="connsiteY0" fmla="*/ 0 h 3346515"/>
                <a:gd name="connsiteX1" fmla="*/ 3119718 w 3119718"/>
                <a:gd name="connsiteY1" fmla="*/ 0 h 3346515"/>
                <a:gd name="connsiteX2" fmla="*/ 2325968 w 3119718"/>
                <a:gd name="connsiteY2" fmla="*/ 3251200 h 3346515"/>
                <a:gd name="connsiteX3" fmla="*/ 1358153 w 3119718"/>
                <a:gd name="connsiteY3" fmla="*/ 2986368 h 3346515"/>
                <a:gd name="connsiteX4" fmla="*/ 1326403 w 3119718"/>
                <a:gd name="connsiteY4" fmla="*/ 3341968 h 3346515"/>
                <a:gd name="connsiteX5" fmla="*/ 871584 w 3119718"/>
                <a:gd name="connsiteY5" fmla="*/ 2972081 h 3346515"/>
                <a:gd name="connsiteX6" fmla="*/ 0 w 3119718"/>
                <a:gd name="connsiteY6" fmla="*/ 3200400 h 3346515"/>
                <a:gd name="connsiteX7" fmla="*/ 0 w 3119718"/>
                <a:gd name="connsiteY7" fmla="*/ 0 h 3346515"/>
                <a:gd name="connsiteX0" fmla="*/ 0 w 3119718"/>
                <a:gd name="connsiteY0" fmla="*/ 0 h 3346515"/>
                <a:gd name="connsiteX1" fmla="*/ 3119718 w 3119718"/>
                <a:gd name="connsiteY1" fmla="*/ 0 h 3346515"/>
                <a:gd name="connsiteX2" fmla="*/ 2325968 w 3119718"/>
                <a:gd name="connsiteY2" fmla="*/ 3251200 h 3346515"/>
                <a:gd name="connsiteX3" fmla="*/ 1358153 w 3119718"/>
                <a:gd name="connsiteY3" fmla="*/ 2986368 h 3346515"/>
                <a:gd name="connsiteX4" fmla="*/ 1326403 w 3119718"/>
                <a:gd name="connsiteY4" fmla="*/ 3341968 h 3346515"/>
                <a:gd name="connsiteX5" fmla="*/ 871584 w 3119718"/>
                <a:gd name="connsiteY5" fmla="*/ 2972081 h 3346515"/>
                <a:gd name="connsiteX6" fmla="*/ 0 w 3119718"/>
                <a:gd name="connsiteY6" fmla="*/ 3200400 h 3346515"/>
                <a:gd name="connsiteX7" fmla="*/ 0 w 3119718"/>
                <a:gd name="connsiteY7" fmla="*/ 0 h 3346515"/>
                <a:gd name="connsiteX0" fmla="*/ 0 w 3119718"/>
                <a:gd name="connsiteY0" fmla="*/ 0 h 3341968"/>
                <a:gd name="connsiteX1" fmla="*/ 3119718 w 3119718"/>
                <a:gd name="connsiteY1" fmla="*/ 0 h 3341968"/>
                <a:gd name="connsiteX2" fmla="*/ 2325968 w 3119718"/>
                <a:gd name="connsiteY2" fmla="*/ 3251200 h 3341968"/>
                <a:gd name="connsiteX3" fmla="*/ 1358153 w 3119718"/>
                <a:gd name="connsiteY3" fmla="*/ 2986368 h 3341968"/>
                <a:gd name="connsiteX4" fmla="*/ 1326403 w 3119718"/>
                <a:gd name="connsiteY4" fmla="*/ 3341968 h 3341968"/>
                <a:gd name="connsiteX5" fmla="*/ 871584 w 3119718"/>
                <a:gd name="connsiteY5" fmla="*/ 2972081 h 3341968"/>
                <a:gd name="connsiteX6" fmla="*/ 0 w 3119718"/>
                <a:gd name="connsiteY6" fmla="*/ 3200400 h 3341968"/>
                <a:gd name="connsiteX7" fmla="*/ 0 w 3119718"/>
                <a:gd name="connsiteY7" fmla="*/ 0 h 3341968"/>
                <a:gd name="connsiteX0" fmla="*/ 0 w 3119718"/>
                <a:gd name="connsiteY0" fmla="*/ 0 h 3341968"/>
                <a:gd name="connsiteX1" fmla="*/ 3119718 w 3119718"/>
                <a:gd name="connsiteY1" fmla="*/ 0 h 3341968"/>
                <a:gd name="connsiteX2" fmla="*/ 2325968 w 3119718"/>
                <a:gd name="connsiteY2" fmla="*/ 3251200 h 3341968"/>
                <a:gd name="connsiteX3" fmla="*/ 1358153 w 3119718"/>
                <a:gd name="connsiteY3" fmla="*/ 2986368 h 3341968"/>
                <a:gd name="connsiteX4" fmla="*/ 1326403 w 3119718"/>
                <a:gd name="connsiteY4" fmla="*/ 3341968 h 3341968"/>
                <a:gd name="connsiteX5" fmla="*/ 871584 w 3119718"/>
                <a:gd name="connsiteY5" fmla="*/ 2972081 h 3341968"/>
                <a:gd name="connsiteX6" fmla="*/ 0 w 3119718"/>
                <a:gd name="connsiteY6" fmla="*/ 3200400 h 3341968"/>
                <a:gd name="connsiteX7" fmla="*/ 0 w 3119718"/>
                <a:gd name="connsiteY7" fmla="*/ 0 h 3341968"/>
                <a:gd name="connsiteX0" fmla="*/ 0 w 3119718"/>
                <a:gd name="connsiteY0" fmla="*/ 0 h 3341968"/>
                <a:gd name="connsiteX1" fmla="*/ 3119718 w 3119718"/>
                <a:gd name="connsiteY1" fmla="*/ 0 h 3341968"/>
                <a:gd name="connsiteX2" fmla="*/ 2333112 w 3119718"/>
                <a:gd name="connsiteY2" fmla="*/ 3241675 h 3341968"/>
                <a:gd name="connsiteX3" fmla="*/ 1358153 w 3119718"/>
                <a:gd name="connsiteY3" fmla="*/ 2986368 h 3341968"/>
                <a:gd name="connsiteX4" fmla="*/ 1326403 w 3119718"/>
                <a:gd name="connsiteY4" fmla="*/ 3341968 h 3341968"/>
                <a:gd name="connsiteX5" fmla="*/ 871584 w 3119718"/>
                <a:gd name="connsiteY5" fmla="*/ 2972081 h 3341968"/>
                <a:gd name="connsiteX6" fmla="*/ 0 w 3119718"/>
                <a:gd name="connsiteY6" fmla="*/ 3200400 h 3341968"/>
                <a:gd name="connsiteX7" fmla="*/ 0 w 3119718"/>
                <a:gd name="connsiteY7" fmla="*/ 0 h 3341968"/>
                <a:gd name="connsiteX0" fmla="*/ 0 w 2333112"/>
                <a:gd name="connsiteY0" fmla="*/ 0 h 3341968"/>
                <a:gd name="connsiteX1" fmla="*/ 2071968 w 2333112"/>
                <a:gd name="connsiteY1" fmla="*/ 95250 h 3341968"/>
                <a:gd name="connsiteX2" fmla="*/ 2333112 w 2333112"/>
                <a:gd name="connsiteY2" fmla="*/ 3241675 h 3341968"/>
                <a:gd name="connsiteX3" fmla="*/ 1358153 w 2333112"/>
                <a:gd name="connsiteY3" fmla="*/ 2986368 h 3341968"/>
                <a:gd name="connsiteX4" fmla="*/ 1326403 w 2333112"/>
                <a:gd name="connsiteY4" fmla="*/ 3341968 h 3341968"/>
                <a:gd name="connsiteX5" fmla="*/ 871584 w 2333112"/>
                <a:gd name="connsiteY5" fmla="*/ 2972081 h 3341968"/>
                <a:gd name="connsiteX6" fmla="*/ 0 w 2333112"/>
                <a:gd name="connsiteY6" fmla="*/ 3200400 h 3341968"/>
                <a:gd name="connsiteX7" fmla="*/ 0 w 2333112"/>
                <a:gd name="connsiteY7" fmla="*/ 0 h 3341968"/>
                <a:gd name="connsiteX0" fmla="*/ 238125 w 2333112"/>
                <a:gd name="connsiteY0" fmla="*/ 104775 h 3246718"/>
                <a:gd name="connsiteX1" fmla="*/ 2071968 w 2333112"/>
                <a:gd name="connsiteY1" fmla="*/ 0 h 3246718"/>
                <a:gd name="connsiteX2" fmla="*/ 2333112 w 2333112"/>
                <a:gd name="connsiteY2" fmla="*/ 3146425 h 3246718"/>
                <a:gd name="connsiteX3" fmla="*/ 1358153 w 2333112"/>
                <a:gd name="connsiteY3" fmla="*/ 2891118 h 3246718"/>
                <a:gd name="connsiteX4" fmla="*/ 1326403 w 2333112"/>
                <a:gd name="connsiteY4" fmla="*/ 3246718 h 3246718"/>
                <a:gd name="connsiteX5" fmla="*/ 871584 w 2333112"/>
                <a:gd name="connsiteY5" fmla="*/ 2876831 h 3246718"/>
                <a:gd name="connsiteX6" fmla="*/ 0 w 2333112"/>
                <a:gd name="connsiteY6" fmla="*/ 3105150 h 3246718"/>
                <a:gd name="connsiteX7" fmla="*/ 238125 w 2333112"/>
                <a:gd name="connsiteY7" fmla="*/ 104775 h 3246718"/>
                <a:gd name="connsiteX0" fmla="*/ 238125 w 2333112"/>
                <a:gd name="connsiteY0" fmla="*/ 104775 h 3246718"/>
                <a:gd name="connsiteX1" fmla="*/ 2071968 w 2333112"/>
                <a:gd name="connsiteY1" fmla="*/ 0 h 3246718"/>
                <a:gd name="connsiteX2" fmla="*/ 2333112 w 2333112"/>
                <a:gd name="connsiteY2" fmla="*/ 3146425 h 3246718"/>
                <a:gd name="connsiteX3" fmla="*/ 1358153 w 2333112"/>
                <a:gd name="connsiteY3" fmla="*/ 2891118 h 3246718"/>
                <a:gd name="connsiteX4" fmla="*/ 1326403 w 2333112"/>
                <a:gd name="connsiteY4" fmla="*/ 3246718 h 3246718"/>
                <a:gd name="connsiteX5" fmla="*/ 871584 w 2333112"/>
                <a:gd name="connsiteY5" fmla="*/ 2876831 h 3246718"/>
                <a:gd name="connsiteX6" fmla="*/ 0 w 2333112"/>
                <a:gd name="connsiteY6" fmla="*/ 3105150 h 3246718"/>
                <a:gd name="connsiteX7" fmla="*/ 238125 w 2333112"/>
                <a:gd name="connsiteY7" fmla="*/ 104775 h 3246718"/>
                <a:gd name="connsiteX0" fmla="*/ 238125 w 2333112"/>
                <a:gd name="connsiteY0" fmla="*/ 104775 h 3246718"/>
                <a:gd name="connsiteX1" fmla="*/ 2071968 w 2333112"/>
                <a:gd name="connsiteY1" fmla="*/ 0 h 3246718"/>
                <a:gd name="connsiteX2" fmla="*/ 2333112 w 2333112"/>
                <a:gd name="connsiteY2" fmla="*/ 3146425 h 3246718"/>
                <a:gd name="connsiteX3" fmla="*/ 1358153 w 2333112"/>
                <a:gd name="connsiteY3" fmla="*/ 2891118 h 3246718"/>
                <a:gd name="connsiteX4" fmla="*/ 1326403 w 2333112"/>
                <a:gd name="connsiteY4" fmla="*/ 3246718 h 3246718"/>
                <a:gd name="connsiteX5" fmla="*/ 871584 w 2333112"/>
                <a:gd name="connsiteY5" fmla="*/ 2876831 h 3246718"/>
                <a:gd name="connsiteX6" fmla="*/ 0 w 2333112"/>
                <a:gd name="connsiteY6" fmla="*/ 3105150 h 3246718"/>
                <a:gd name="connsiteX7" fmla="*/ 238125 w 2333112"/>
                <a:gd name="connsiteY7" fmla="*/ 104775 h 3246718"/>
                <a:gd name="connsiteX0" fmla="*/ 238125 w 2333112"/>
                <a:gd name="connsiteY0" fmla="*/ 104775 h 3246718"/>
                <a:gd name="connsiteX1" fmla="*/ 2071968 w 2333112"/>
                <a:gd name="connsiteY1" fmla="*/ 0 h 3246718"/>
                <a:gd name="connsiteX2" fmla="*/ 2333112 w 2333112"/>
                <a:gd name="connsiteY2" fmla="*/ 3146425 h 3246718"/>
                <a:gd name="connsiteX3" fmla="*/ 1358153 w 2333112"/>
                <a:gd name="connsiteY3" fmla="*/ 2891118 h 3246718"/>
                <a:gd name="connsiteX4" fmla="*/ 1326403 w 2333112"/>
                <a:gd name="connsiteY4" fmla="*/ 3246718 h 3246718"/>
                <a:gd name="connsiteX5" fmla="*/ 871584 w 2333112"/>
                <a:gd name="connsiteY5" fmla="*/ 2876831 h 3246718"/>
                <a:gd name="connsiteX6" fmla="*/ 0 w 2333112"/>
                <a:gd name="connsiteY6" fmla="*/ 3105150 h 3246718"/>
                <a:gd name="connsiteX7" fmla="*/ 238125 w 2333112"/>
                <a:gd name="connsiteY7" fmla="*/ 104775 h 3246718"/>
                <a:gd name="connsiteX0" fmla="*/ 238125 w 2333112"/>
                <a:gd name="connsiteY0" fmla="*/ 104775 h 3246718"/>
                <a:gd name="connsiteX1" fmla="*/ 2071968 w 2333112"/>
                <a:gd name="connsiteY1" fmla="*/ 0 h 3246718"/>
                <a:gd name="connsiteX2" fmla="*/ 2333112 w 2333112"/>
                <a:gd name="connsiteY2" fmla="*/ 3146425 h 3246718"/>
                <a:gd name="connsiteX3" fmla="*/ 1358153 w 2333112"/>
                <a:gd name="connsiteY3" fmla="*/ 2891118 h 3246718"/>
                <a:gd name="connsiteX4" fmla="*/ 1326403 w 2333112"/>
                <a:gd name="connsiteY4" fmla="*/ 3246718 h 3246718"/>
                <a:gd name="connsiteX5" fmla="*/ 871584 w 2333112"/>
                <a:gd name="connsiteY5" fmla="*/ 2876831 h 3246718"/>
                <a:gd name="connsiteX6" fmla="*/ 0 w 2333112"/>
                <a:gd name="connsiteY6" fmla="*/ 3105150 h 3246718"/>
                <a:gd name="connsiteX7" fmla="*/ 238125 w 2333112"/>
                <a:gd name="connsiteY7" fmla="*/ 104775 h 3246718"/>
                <a:gd name="connsiteX0" fmla="*/ 240505 w 2335492"/>
                <a:gd name="connsiteY0" fmla="*/ 104775 h 3246718"/>
                <a:gd name="connsiteX1" fmla="*/ 2074348 w 2335492"/>
                <a:gd name="connsiteY1" fmla="*/ 0 h 3246718"/>
                <a:gd name="connsiteX2" fmla="*/ 2335492 w 2335492"/>
                <a:gd name="connsiteY2" fmla="*/ 3146425 h 3246718"/>
                <a:gd name="connsiteX3" fmla="*/ 1360533 w 2335492"/>
                <a:gd name="connsiteY3" fmla="*/ 2891118 h 3246718"/>
                <a:gd name="connsiteX4" fmla="*/ 1328783 w 2335492"/>
                <a:gd name="connsiteY4" fmla="*/ 3246718 h 3246718"/>
                <a:gd name="connsiteX5" fmla="*/ 873964 w 2335492"/>
                <a:gd name="connsiteY5" fmla="*/ 2876831 h 3246718"/>
                <a:gd name="connsiteX6" fmla="*/ 2380 w 2335492"/>
                <a:gd name="connsiteY6" fmla="*/ 3105150 h 3246718"/>
                <a:gd name="connsiteX7" fmla="*/ 629013 w 2335492"/>
                <a:gd name="connsiteY7" fmla="*/ 1873849 h 3246718"/>
                <a:gd name="connsiteX8" fmla="*/ 240505 w 2335492"/>
                <a:gd name="connsiteY8" fmla="*/ 104775 h 3246718"/>
                <a:gd name="connsiteX0" fmla="*/ 238125 w 2333112"/>
                <a:gd name="connsiteY0" fmla="*/ 104775 h 3246718"/>
                <a:gd name="connsiteX1" fmla="*/ 2071968 w 2333112"/>
                <a:gd name="connsiteY1" fmla="*/ 0 h 3246718"/>
                <a:gd name="connsiteX2" fmla="*/ 2333112 w 2333112"/>
                <a:gd name="connsiteY2" fmla="*/ 3146425 h 3246718"/>
                <a:gd name="connsiteX3" fmla="*/ 1358153 w 2333112"/>
                <a:gd name="connsiteY3" fmla="*/ 2891118 h 3246718"/>
                <a:gd name="connsiteX4" fmla="*/ 1326403 w 2333112"/>
                <a:gd name="connsiteY4" fmla="*/ 3246718 h 3246718"/>
                <a:gd name="connsiteX5" fmla="*/ 871584 w 2333112"/>
                <a:gd name="connsiteY5" fmla="*/ 2876831 h 3246718"/>
                <a:gd name="connsiteX6" fmla="*/ 0 w 2333112"/>
                <a:gd name="connsiteY6" fmla="*/ 3105150 h 3246718"/>
                <a:gd name="connsiteX7" fmla="*/ 626633 w 2333112"/>
                <a:gd name="connsiteY7" fmla="*/ 1873849 h 3246718"/>
                <a:gd name="connsiteX8" fmla="*/ 238125 w 2333112"/>
                <a:gd name="connsiteY8" fmla="*/ 104775 h 3246718"/>
                <a:gd name="connsiteX0" fmla="*/ 238125 w 2333112"/>
                <a:gd name="connsiteY0" fmla="*/ 104775 h 3246718"/>
                <a:gd name="connsiteX1" fmla="*/ 2071968 w 2333112"/>
                <a:gd name="connsiteY1" fmla="*/ 0 h 3246718"/>
                <a:gd name="connsiteX2" fmla="*/ 2333112 w 2333112"/>
                <a:gd name="connsiteY2" fmla="*/ 3146425 h 3246718"/>
                <a:gd name="connsiteX3" fmla="*/ 1358153 w 2333112"/>
                <a:gd name="connsiteY3" fmla="*/ 2891118 h 3246718"/>
                <a:gd name="connsiteX4" fmla="*/ 1326403 w 2333112"/>
                <a:gd name="connsiteY4" fmla="*/ 3246718 h 3246718"/>
                <a:gd name="connsiteX5" fmla="*/ 871584 w 2333112"/>
                <a:gd name="connsiteY5" fmla="*/ 2876831 h 3246718"/>
                <a:gd name="connsiteX6" fmla="*/ 0 w 2333112"/>
                <a:gd name="connsiteY6" fmla="*/ 3105150 h 3246718"/>
                <a:gd name="connsiteX7" fmla="*/ 626633 w 2333112"/>
                <a:gd name="connsiteY7" fmla="*/ 1873849 h 3246718"/>
                <a:gd name="connsiteX8" fmla="*/ 238125 w 2333112"/>
                <a:gd name="connsiteY8" fmla="*/ 104775 h 3246718"/>
                <a:gd name="connsiteX0" fmla="*/ 238125 w 2333112"/>
                <a:gd name="connsiteY0" fmla="*/ 104775 h 3246718"/>
                <a:gd name="connsiteX1" fmla="*/ 2071968 w 2333112"/>
                <a:gd name="connsiteY1" fmla="*/ 0 h 3246718"/>
                <a:gd name="connsiteX2" fmla="*/ 2333112 w 2333112"/>
                <a:gd name="connsiteY2" fmla="*/ 3146425 h 3246718"/>
                <a:gd name="connsiteX3" fmla="*/ 1358153 w 2333112"/>
                <a:gd name="connsiteY3" fmla="*/ 2891118 h 3246718"/>
                <a:gd name="connsiteX4" fmla="*/ 1326403 w 2333112"/>
                <a:gd name="connsiteY4" fmla="*/ 3246718 h 3246718"/>
                <a:gd name="connsiteX5" fmla="*/ 871584 w 2333112"/>
                <a:gd name="connsiteY5" fmla="*/ 2876831 h 3246718"/>
                <a:gd name="connsiteX6" fmla="*/ 0 w 2333112"/>
                <a:gd name="connsiteY6" fmla="*/ 3105150 h 3246718"/>
                <a:gd name="connsiteX7" fmla="*/ 626633 w 2333112"/>
                <a:gd name="connsiteY7" fmla="*/ 1873849 h 3246718"/>
                <a:gd name="connsiteX8" fmla="*/ 238125 w 2333112"/>
                <a:gd name="connsiteY8" fmla="*/ 104775 h 3246718"/>
                <a:gd name="connsiteX0" fmla="*/ 238125 w 2333112"/>
                <a:gd name="connsiteY0" fmla="*/ 104775 h 3246718"/>
                <a:gd name="connsiteX1" fmla="*/ 2071968 w 2333112"/>
                <a:gd name="connsiteY1" fmla="*/ 0 h 3246718"/>
                <a:gd name="connsiteX2" fmla="*/ 2333112 w 2333112"/>
                <a:gd name="connsiteY2" fmla="*/ 3146425 h 3246718"/>
                <a:gd name="connsiteX3" fmla="*/ 1358153 w 2333112"/>
                <a:gd name="connsiteY3" fmla="*/ 2891118 h 3246718"/>
                <a:gd name="connsiteX4" fmla="*/ 1326403 w 2333112"/>
                <a:gd name="connsiteY4" fmla="*/ 3246718 h 3246718"/>
                <a:gd name="connsiteX5" fmla="*/ 871584 w 2333112"/>
                <a:gd name="connsiteY5" fmla="*/ 2876831 h 3246718"/>
                <a:gd name="connsiteX6" fmla="*/ 0 w 2333112"/>
                <a:gd name="connsiteY6" fmla="*/ 3105150 h 3246718"/>
                <a:gd name="connsiteX7" fmla="*/ 626633 w 2333112"/>
                <a:gd name="connsiteY7" fmla="*/ 1873849 h 3246718"/>
                <a:gd name="connsiteX8" fmla="*/ 238125 w 2333112"/>
                <a:gd name="connsiteY8" fmla="*/ 104775 h 3246718"/>
                <a:gd name="connsiteX0" fmla="*/ 238125 w 2333112"/>
                <a:gd name="connsiteY0" fmla="*/ 104775 h 3246718"/>
                <a:gd name="connsiteX1" fmla="*/ 2071968 w 2333112"/>
                <a:gd name="connsiteY1" fmla="*/ 0 h 3246718"/>
                <a:gd name="connsiteX2" fmla="*/ 2333112 w 2333112"/>
                <a:gd name="connsiteY2" fmla="*/ 3146425 h 3246718"/>
                <a:gd name="connsiteX3" fmla="*/ 1358153 w 2333112"/>
                <a:gd name="connsiteY3" fmla="*/ 2891118 h 3246718"/>
                <a:gd name="connsiteX4" fmla="*/ 1326403 w 2333112"/>
                <a:gd name="connsiteY4" fmla="*/ 3246718 h 3246718"/>
                <a:gd name="connsiteX5" fmla="*/ 871584 w 2333112"/>
                <a:gd name="connsiteY5" fmla="*/ 2876831 h 3246718"/>
                <a:gd name="connsiteX6" fmla="*/ 0 w 2333112"/>
                <a:gd name="connsiteY6" fmla="*/ 3105150 h 3246718"/>
                <a:gd name="connsiteX7" fmla="*/ 626633 w 2333112"/>
                <a:gd name="connsiteY7" fmla="*/ 1873849 h 3246718"/>
                <a:gd name="connsiteX8" fmla="*/ 238125 w 2333112"/>
                <a:gd name="connsiteY8" fmla="*/ 104775 h 3246718"/>
                <a:gd name="connsiteX0" fmla="*/ 238125 w 2333112"/>
                <a:gd name="connsiteY0" fmla="*/ 104775 h 3246718"/>
                <a:gd name="connsiteX1" fmla="*/ 2071968 w 2333112"/>
                <a:gd name="connsiteY1" fmla="*/ 0 h 3246718"/>
                <a:gd name="connsiteX2" fmla="*/ 1662953 w 2333112"/>
                <a:gd name="connsiteY2" fmla="*/ 1630009 h 3246718"/>
                <a:gd name="connsiteX3" fmla="*/ 2333112 w 2333112"/>
                <a:gd name="connsiteY3" fmla="*/ 3146425 h 3246718"/>
                <a:gd name="connsiteX4" fmla="*/ 1358153 w 2333112"/>
                <a:gd name="connsiteY4" fmla="*/ 2891118 h 3246718"/>
                <a:gd name="connsiteX5" fmla="*/ 1326403 w 2333112"/>
                <a:gd name="connsiteY5" fmla="*/ 3246718 h 3246718"/>
                <a:gd name="connsiteX6" fmla="*/ 871584 w 2333112"/>
                <a:gd name="connsiteY6" fmla="*/ 2876831 h 3246718"/>
                <a:gd name="connsiteX7" fmla="*/ 0 w 2333112"/>
                <a:gd name="connsiteY7" fmla="*/ 3105150 h 3246718"/>
                <a:gd name="connsiteX8" fmla="*/ 626633 w 2333112"/>
                <a:gd name="connsiteY8" fmla="*/ 1873849 h 3246718"/>
                <a:gd name="connsiteX9" fmla="*/ 238125 w 2333112"/>
                <a:gd name="connsiteY9" fmla="*/ 104775 h 3246718"/>
                <a:gd name="connsiteX0" fmla="*/ 238125 w 2333112"/>
                <a:gd name="connsiteY0" fmla="*/ 104775 h 3246718"/>
                <a:gd name="connsiteX1" fmla="*/ 2071968 w 2333112"/>
                <a:gd name="connsiteY1" fmla="*/ 0 h 3246718"/>
                <a:gd name="connsiteX2" fmla="*/ 1662953 w 2333112"/>
                <a:gd name="connsiteY2" fmla="*/ 1630009 h 3246718"/>
                <a:gd name="connsiteX3" fmla="*/ 2333112 w 2333112"/>
                <a:gd name="connsiteY3" fmla="*/ 3146425 h 3246718"/>
                <a:gd name="connsiteX4" fmla="*/ 1358153 w 2333112"/>
                <a:gd name="connsiteY4" fmla="*/ 2891118 h 3246718"/>
                <a:gd name="connsiteX5" fmla="*/ 1326403 w 2333112"/>
                <a:gd name="connsiteY5" fmla="*/ 3246718 h 3246718"/>
                <a:gd name="connsiteX6" fmla="*/ 871584 w 2333112"/>
                <a:gd name="connsiteY6" fmla="*/ 2876831 h 3246718"/>
                <a:gd name="connsiteX7" fmla="*/ 0 w 2333112"/>
                <a:gd name="connsiteY7" fmla="*/ 3105150 h 3246718"/>
                <a:gd name="connsiteX8" fmla="*/ 626633 w 2333112"/>
                <a:gd name="connsiteY8" fmla="*/ 1873849 h 3246718"/>
                <a:gd name="connsiteX9" fmla="*/ 238125 w 2333112"/>
                <a:gd name="connsiteY9" fmla="*/ 104775 h 3246718"/>
                <a:gd name="connsiteX0" fmla="*/ 238125 w 2333112"/>
                <a:gd name="connsiteY0" fmla="*/ 104775 h 3246718"/>
                <a:gd name="connsiteX1" fmla="*/ 2071968 w 2333112"/>
                <a:gd name="connsiteY1" fmla="*/ 0 h 3246718"/>
                <a:gd name="connsiteX2" fmla="*/ 1662953 w 2333112"/>
                <a:gd name="connsiteY2" fmla="*/ 1630009 h 3246718"/>
                <a:gd name="connsiteX3" fmla="*/ 2333112 w 2333112"/>
                <a:gd name="connsiteY3" fmla="*/ 3146425 h 3246718"/>
                <a:gd name="connsiteX4" fmla="*/ 1358153 w 2333112"/>
                <a:gd name="connsiteY4" fmla="*/ 2891118 h 3246718"/>
                <a:gd name="connsiteX5" fmla="*/ 1326403 w 2333112"/>
                <a:gd name="connsiteY5" fmla="*/ 3246718 h 3246718"/>
                <a:gd name="connsiteX6" fmla="*/ 871584 w 2333112"/>
                <a:gd name="connsiteY6" fmla="*/ 2876831 h 3246718"/>
                <a:gd name="connsiteX7" fmla="*/ 0 w 2333112"/>
                <a:gd name="connsiteY7" fmla="*/ 3105150 h 3246718"/>
                <a:gd name="connsiteX8" fmla="*/ 626633 w 2333112"/>
                <a:gd name="connsiteY8" fmla="*/ 1873849 h 3246718"/>
                <a:gd name="connsiteX9" fmla="*/ 238125 w 2333112"/>
                <a:gd name="connsiteY9" fmla="*/ 104775 h 3246718"/>
                <a:gd name="connsiteX0" fmla="*/ 238125 w 2333112"/>
                <a:gd name="connsiteY0" fmla="*/ 104775 h 3246718"/>
                <a:gd name="connsiteX1" fmla="*/ 2071968 w 2333112"/>
                <a:gd name="connsiteY1" fmla="*/ 0 h 3246718"/>
                <a:gd name="connsiteX2" fmla="*/ 1672478 w 2333112"/>
                <a:gd name="connsiteY2" fmla="*/ 1632390 h 3246718"/>
                <a:gd name="connsiteX3" fmla="*/ 2333112 w 2333112"/>
                <a:gd name="connsiteY3" fmla="*/ 3146425 h 3246718"/>
                <a:gd name="connsiteX4" fmla="*/ 1358153 w 2333112"/>
                <a:gd name="connsiteY4" fmla="*/ 2891118 h 3246718"/>
                <a:gd name="connsiteX5" fmla="*/ 1326403 w 2333112"/>
                <a:gd name="connsiteY5" fmla="*/ 3246718 h 3246718"/>
                <a:gd name="connsiteX6" fmla="*/ 871584 w 2333112"/>
                <a:gd name="connsiteY6" fmla="*/ 2876831 h 3246718"/>
                <a:gd name="connsiteX7" fmla="*/ 0 w 2333112"/>
                <a:gd name="connsiteY7" fmla="*/ 3105150 h 3246718"/>
                <a:gd name="connsiteX8" fmla="*/ 626633 w 2333112"/>
                <a:gd name="connsiteY8" fmla="*/ 1873849 h 3246718"/>
                <a:gd name="connsiteX9" fmla="*/ 238125 w 2333112"/>
                <a:gd name="connsiteY9" fmla="*/ 104775 h 3246718"/>
                <a:gd name="connsiteX0" fmla="*/ 238125 w 2333112"/>
                <a:gd name="connsiteY0" fmla="*/ 104775 h 3246718"/>
                <a:gd name="connsiteX1" fmla="*/ 2071968 w 2333112"/>
                <a:gd name="connsiteY1" fmla="*/ 0 h 3246718"/>
                <a:gd name="connsiteX2" fmla="*/ 1672478 w 2333112"/>
                <a:gd name="connsiteY2" fmla="*/ 1632390 h 3246718"/>
                <a:gd name="connsiteX3" fmla="*/ 2333112 w 2333112"/>
                <a:gd name="connsiteY3" fmla="*/ 3146425 h 3246718"/>
                <a:gd name="connsiteX4" fmla="*/ 1358153 w 2333112"/>
                <a:gd name="connsiteY4" fmla="*/ 2891118 h 3246718"/>
                <a:gd name="connsiteX5" fmla="*/ 1326403 w 2333112"/>
                <a:gd name="connsiteY5" fmla="*/ 3246718 h 3246718"/>
                <a:gd name="connsiteX6" fmla="*/ 871584 w 2333112"/>
                <a:gd name="connsiteY6" fmla="*/ 2876831 h 3246718"/>
                <a:gd name="connsiteX7" fmla="*/ 0 w 2333112"/>
                <a:gd name="connsiteY7" fmla="*/ 3105150 h 3246718"/>
                <a:gd name="connsiteX8" fmla="*/ 626633 w 2333112"/>
                <a:gd name="connsiteY8" fmla="*/ 1873849 h 3246718"/>
                <a:gd name="connsiteX9" fmla="*/ 238125 w 2333112"/>
                <a:gd name="connsiteY9" fmla="*/ 104775 h 3246718"/>
                <a:gd name="connsiteX0" fmla="*/ 238125 w 2333112"/>
                <a:gd name="connsiteY0" fmla="*/ 104775 h 3246718"/>
                <a:gd name="connsiteX1" fmla="*/ 2071968 w 2333112"/>
                <a:gd name="connsiteY1" fmla="*/ 0 h 3246718"/>
                <a:gd name="connsiteX2" fmla="*/ 1672478 w 2333112"/>
                <a:gd name="connsiteY2" fmla="*/ 1632390 h 3246718"/>
                <a:gd name="connsiteX3" fmla="*/ 2333112 w 2333112"/>
                <a:gd name="connsiteY3" fmla="*/ 3146425 h 3246718"/>
                <a:gd name="connsiteX4" fmla="*/ 1358153 w 2333112"/>
                <a:gd name="connsiteY4" fmla="*/ 2891118 h 3246718"/>
                <a:gd name="connsiteX5" fmla="*/ 1326403 w 2333112"/>
                <a:gd name="connsiteY5" fmla="*/ 3246718 h 3246718"/>
                <a:gd name="connsiteX6" fmla="*/ 871584 w 2333112"/>
                <a:gd name="connsiteY6" fmla="*/ 2876831 h 3246718"/>
                <a:gd name="connsiteX7" fmla="*/ 0 w 2333112"/>
                <a:gd name="connsiteY7" fmla="*/ 3105150 h 3246718"/>
                <a:gd name="connsiteX8" fmla="*/ 626633 w 2333112"/>
                <a:gd name="connsiteY8" fmla="*/ 1873849 h 3246718"/>
                <a:gd name="connsiteX9" fmla="*/ 238125 w 2333112"/>
                <a:gd name="connsiteY9" fmla="*/ 104775 h 3246718"/>
                <a:gd name="connsiteX0" fmla="*/ 238125 w 2333112"/>
                <a:gd name="connsiteY0" fmla="*/ 211650 h 3353593"/>
                <a:gd name="connsiteX1" fmla="*/ 455659 w 2333112"/>
                <a:gd name="connsiteY1" fmla="*/ 0 h 3353593"/>
                <a:gd name="connsiteX2" fmla="*/ 2071968 w 2333112"/>
                <a:gd name="connsiteY2" fmla="*/ 106875 h 3353593"/>
                <a:gd name="connsiteX3" fmla="*/ 1672478 w 2333112"/>
                <a:gd name="connsiteY3" fmla="*/ 1739265 h 3353593"/>
                <a:gd name="connsiteX4" fmla="*/ 2333112 w 2333112"/>
                <a:gd name="connsiteY4" fmla="*/ 3253300 h 3353593"/>
                <a:gd name="connsiteX5" fmla="*/ 1358153 w 2333112"/>
                <a:gd name="connsiteY5" fmla="*/ 2997993 h 3353593"/>
                <a:gd name="connsiteX6" fmla="*/ 1326403 w 2333112"/>
                <a:gd name="connsiteY6" fmla="*/ 3353593 h 3353593"/>
                <a:gd name="connsiteX7" fmla="*/ 871584 w 2333112"/>
                <a:gd name="connsiteY7" fmla="*/ 2983706 h 3353593"/>
                <a:gd name="connsiteX8" fmla="*/ 0 w 2333112"/>
                <a:gd name="connsiteY8" fmla="*/ 3212025 h 3353593"/>
                <a:gd name="connsiteX9" fmla="*/ 626633 w 2333112"/>
                <a:gd name="connsiteY9" fmla="*/ 1980724 h 3353593"/>
                <a:gd name="connsiteX10" fmla="*/ 238125 w 2333112"/>
                <a:gd name="connsiteY10" fmla="*/ 211650 h 3353593"/>
                <a:gd name="connsiteX0" fmla="*/ 238125 w 2333112"/>
                <a:gd name="connsiteY0" fmla="*/ 211650 h 3353593"/>
                <a:gd name="connsiteX1" fmla="*/ 455659 w 2333112"/>
                <a:gd name="connsiteY1" fmla="*/ 0 h 3353593"/>
                <a:gd name="connsiteX2" fmla="*/ 1020016 w 2333112"/>
                <a:gd name="connsiteY2" fmla="*/ 73820 h 3353593"/>
                <a:gd name="connsiteX3" fmla="*/ 2071968 w 2333112"/>
                <a:gd name="connsiteY3" fmla="*/ 106875 h 3353593"/>
                <a:gd name="connsiteX4" fmla="*/ 1672478 w 2333112"/>
                <a:gd name="connsiteY4" fmla="*/ 1739265 h 3353593"/>
                <a:gd name="connsiteX5" fmla="*/ 2333112 w 2333112"/>
                <a:gd name="connsiteY5" fmla="*/ 3253300 h 3353593"/>
                <a:gd name="connsiteX6" fmla="*/ 1358153 w 2333112"/>
                <a:gd name="connsiteY6" fmla="*/ 2997993 h 3353593"/>
                <a:gd name="connsiteX7" fmla="*/ 1326403 w 2333112"/>
                <a:gd name="connsiteY7" fmla="*/ 3353593 h 3353593"/>
                <a:gd name="connsiteX8" fmla="*/ 871584 w 2333112"/>
                <a:gd name="connsiteY8" fmla="*/ 2983706 h 3353593"/>
                <a:gd name="connsiteX9" fmla="*/ 0 w 2333112"/>
                <a:gd name="connsiteY9" fmla="*/ 3212025 h 3353593"/>
                <a:gd name="connsiteX10" fmla="*/ 626633 w 2333112"/>
                <a:gd name="connsiteY10" fmla="*/ 1980724 h 3353593"/>
                <a:gd name="connsiteX11" fmla="*/ 238125 w 2333112"/>
                <a:gd name="connsiteY11" fmla="*/ 211650 h 3353593"/>
                <a:gd name="connsiteX0" fmla="*/ 238125 w 2333112"/>
                <a:gd name="connsiteY0" fmla="*/ 211650 h 3353593"/>
                <a:gd name="connsiteX1" fmla="*/ 455659 w 2333112"/>
                <a:gd name="connsiteY1" fmla="*/ 0 h 3353593"/>
                <a:gd name="connsiteX2" fmla="*/ 1020016 w 2333112"/>
                <a:gd name="connsiteY2" fmla="*/ 73820 h 3353593"/>
                <a:gd name="connsiteX3" fmla="*/ 1279572 w 2333112"/>
                <a:gd name="connsiteY3" fmla="*/ 297658 h 3353593"/>
                <a:gd name="connsiteX4" fmla="*/ 2071968 w 2333112"/>
                <a:gd name="connsiteY4" fmla="*/ 106875 h 3353593"/>
                <a:gd name="connsiteX5" fmla="*/ 1672478 w 2333112"/>
                <a:gd name="connsiteY5" fmla="*/ 1739265 h 3353593"/>
                <a:gd name="connsiteX6" fmla="*/ 2333112 w 2333112"/>
                <a:gd name="connsiteY6" fmla="*/ 3253300 h 3353593"/>
                <a:gd name="connsiteX7" fmla="*/ 1358153 w 2333112"/>
                <a:gd name="connsiteY7" fmla="*/ 2997993 h 3353593"/>
                <a:gd name="connsiteX8" fmla="*/ 1326403 w 2333112"/>
                <a:gd name="connsiteY8" fmla="*/ 3353593 h 3353593"/>
                <a:gd name="connsiteX9" fmla="*/ 871584 w 2333112"/>
                <a:gd name="connsiteY9" fmla="*/ 2983706 h 3353593"/>
                <a:gd name="connsiteX10" fmla="*/ 0 w 2333112"/>
                <a:gd name="connsiteY10" fmla="*/ 3212025 h 3353593"/>
                <a:gd name="connsiteX11" fmla="*/ 626633 w 2333112"/>
                <a:gd name="connsiteY11" fmla="*/ 1980724 h 3353593"/>
                <a:gd name="connsiteX12" fmla="*/ 238125 w 2333112"/>
                <a:gd name="connsiteY12" fmla="*/ 211650 h 3353593"/>
                <a:gd name="connsiteX0" fmla="*/ 238125 w 2333112"/>
                <a:gd name="connsiteY0" fmla="*/ 323567 h 3465510"/>
                <a:gd name="connsiteX1" fmla="*/ 455659 w 2333112"/>
                <a:gd name="connsiteY1" fmla="*/ 111917 h 3465510"/>
                <a:gd name="connsiteX2" fmla="*/ 1020016 w 2333112"/>
                <a:gd name="connsiteY2" fmla="*/ 185737 h 3465510"/>
                <a:gd name="connsiteX3" fmla="*/ 1279572 w 2333112"/>
                <a:gd name="connsiteY3" fmla="*/ 409575 h 3465510"/>
                <a:gd name="connsiteX4" fmla="*/ 1734391 w 2333112"/>
                <a:gd name="connsiteY4" fmla="*/ 0 h 3465510"/>
                <a:gd name="connsiteX5" fmla="*/ 2071968 w 2333112"/>
                <a:gd name="connsiteY5" fmla="*/ 218792 h 3465510"/>
                <a:gd name="connsiteX6" fmla="*/ 1672478 w 2333112"/>
                <a:gd name="connsiteY6" fmla="*/ 1851182 h 3465510"/>
                <a:gd name="connsiteX7" fmla="*/ 2333112 w 2333112"/>
                <a:gd name="connsiteY7" fmla="*/ 3365217 h 3465510"/>
                <a:gd name="connsiteX8" fmla="*/ 1358153 w 2333112"/>
                <a:gd name="connsiteY8" fmla="*/ 3109910 h 3465510"/>
                <a:gd name="connsiteX9" fmla="*/ 1326403 w 2333112"/>
                <a:gd name="connsiteY9" fmla="*/ 3465510 h 3465510"/>
                <a:gd name="connsiteX10" fmla="*/ 871584 w 2333112"/>
                <a:gd name="connsiteY10" fmla="*/ 3095623 h 3465510"/>
                <a:gd name="connsiteX11" fmla="*/ 0 w 2333112"/>
                <a:gd name="connsiteY11" fmla="*/ 3323942 h 3465510"/>
                <a:gd name="connsiteX12" fmla="*/ 626633 w 2333112"/>
                <a:gd name="connsiteY12" fmla="*/ 2092641 h 3465510"/>
                <a:gd name="connsiteX13" fmla="*/ 238125 w 2333112"/>
                <a:gd name="connsiteY13" fmla="*/ 323567 h 3465510"/>
                <a:gd name="connsiteX0" fmla="*/ 238125 w 2333112"/>
                <a:gd name="connsiteY0" fmla="*/ 323567 h 3465510"/>
                <a:gd name="connsiteX1" fmla="*/ 455659 w 2333112"/>
                <a:gd name="connsiteY1" fmla="*/ 111917 h 3465510"/>
                <a:gd name="connsiteX2" fmla="*/ 1020016 w 2333112"/>
                <a:gd name="connsiteY2" fmla="*/ 185737 h 3465510"/>
                <a:gd name="connsiteX3" fmla="*/ 1279572 w 2333112"/>
                <a:gd name="connsiteY3" fmla="*/ 409575 h 3465510"/>
                <a:gd name="connsiteX4" fmla="*/ 1734391 w 2333112"/>
                <a:gd name="connsiteY4" fmla="*/ 0 h 3465510"/>
                <a:gd name="connsiteX5" fmla="*/ 1927272 w 2333112"/>
                <a:gd name="connsiteY5" fmla="*/ 38100 h 3465510"/>
                <a:gd name="connsiteX6" fmla="*/ 2071968 w 2333112"/>
                <a:gd name="connsiteY6" fmla="*/ 218792 h 3465510"/>
                <a:gd name="connsiteX7" fmla="*/ 1672478 w 2333112"/>
                <a:gd name="connsiteY7" fmla="*/ 1851182 h 3465510"/>
                <a:gd name="connsiteX8" fmla="*/ 2333112 w 2333112"/>
                <a:gd name="connsiteY8" fmla="*/ 3365217 h 3465510"/>
                <a:gd name="connsiteX9" fmla="*/ 1358153 w 2333112"/>
                <a:gd name="connsiteY9" fmla="*/ 3109910 h 3465510"/>
                <a:gd name="connsiteX10" fmla="*/ 1326403 w 2333112"/>
                <a:gd name="connsiteY10" fmla="*/ 3465510 h 3465510"/>
                <a:gd name="connsiteX11" fmla="*/ 871584 w 2333112"/>
                <a:gd name="connsiteY11" fmla="*/ 3095623 h 3465510"/>
                <a:gd name="connsiteX12" fmla="*/ 0 w 2333112"/>
                <a:gd name="connsiteY12" fmla="*/ 3323942 h 3465510"/>
                <a:gd name="connsiteX13" fmla="*/ 626633 w 2333112"/>
                <a:gd name="connsiteY13" fmla="*/ 2092641 h 3465510"/>
                <a:gd name="connsiteX14" fmla="*/ 238125 w 2333112"/>
                <a:gd name="connsiteY14" fmla="*/ 323567 h 3465510"/>
                <a:gd name="connsiteX0" fmla="*/ 238125 w 2333112"/>
                <a:gd name="connsiteY0" fmla="*/ 323567 h 3465510"/>
                <a:gd name="connsiteX1" fmla="*/ 455659 w 2333112"/>
                <a:gd name="connsiteY1" fmla="*/ 111917 h 3465510"/>
                <a:gd name="connsiteX2" fmla="*/ 1020016 w 2333112"/>
                <a:gd name="connsiteY2" fmla="*/ 185737 h 3465510"/>
                <a:gd name="connsiteX3" fmla="*/ 1279572 w 2333112"/>
                <a:gd name="connsiteY3" fmla="*/ 409575 h 3465510"/>
                <a:gd name="connsiteX4" fmla="*/ 1734391 w 2333112"/>
                <a:gd name="connsiteY4" fmla="*/ 0 h 3465510"/>
                <a:gd name="connsiteX5" fmla="*/ 1927272 w 2333112"/>
                <a:gd name="connsiteY5" fmla="*/ 38100 h 3465510"/>
                <a:gd name="connsiteX6" fmla="*/ 2071968 w 2333112"/>
                <a:gd name="connsiteY6" fmla="*/ 218792 h 3465510"/>
                <a:gd name="connsiteX7" fmla="*/ 1672478 w 2333112"/>
                <a:gd name="connsiteY7" fmla="*/ 1851182 h 3465510"/>
                <a:gd name="connsiteX8" fmla="*/ 2333112 w 2333112"/>
                <a:gd name="connsiteY8" fmla="*/ 3365217 h 3465510"/>
                <a:gd name="connsiteX9" fmla="*/ 1358153 w 2333112"/>
                <a:gd name="connsiteY9" fmla="*/ 3109910 h 3465510"/>
                <a:gd name="connsiteX10" fmla="*/ 1326403 w 2333112"/>
                <a:gd name="connsiteY10" fmla="*/ 3465510 h 3465510"/>
                <a:gd name="connsiteX11" fmla="*/ 871584 w 2333112"/>
                <a:gd name="connsiteY11" fmla="*/ 3095623 h 3465510"/>
                <a:gd name="connsiteX12" fmla="*/ 0 w 2333112"/>
                <a:gd name="connsiteY12" fmla="*/ 3323942 h 3465510"/>
                <a:gd name="connsiteX13" fmla="*/ 626633 w 2333112"/>
                <a:gd name="connsiteY13" fmla="*/ 2092641 h 3465510"/>
                <a:gd name="connsiteX14" fmla="*/ 238125 w 2333112"/>
                <a:gd name="connsiteY14" fmla="*/ 323567 h 3465510"/>
                <a:gd name="connsiteX0" fmla="*/ 238125 w 2333112"/>
                <a:gd name="connsiteY0" fmla="*/ 323567 h 3465510"/>
                <a:gd name="connsiteX1" fmla="*/ 455659 w 2333112"/>
                <a:gd name="connsiteY1" fmla="*/ 111917 h 3465510"/>
                <a:gd name="connsiteX2" fmla="*/ 1020016 w 2333112"/>
                <a:gd name="connsiteY2" fmla="*/ 185737 h 3465510"/>
                <a:gd name="connsiteX3" fmla="*/ 1279572 w 2333112"/>
                <a:gd name="connsiteY3" fmla="*/ 409575 h 3465510"/>
                <a:gd name="connsiteX4" fmla="*/ 1734391 w 2333112"/>
                <a:gd name="connsiteY4" fmla="*/ 0 h 3465510"/>
                <a:gd name="connsiteX5" fmla="*/ 1927272 w 2333112"/>
                <a:gd name="connsiteY5" fmla="*/ 38100 h 3465510"/>
                <a:gd name="connsiteX6" fmla="*/ 2071968 w 2333112"/>
                <a:gd name="connsiteY6" fmla="*/ 218792 h 3465510"/>
                <a:gd name="connsiteX7" fmla="*/ 1672478 w 2333112"/>
                <a:gd name="connsiteY7" fmla="*/ 1851182 h 3465510"/>
                <a:gd name="connsiteX8" fmla="*/ 2333112 w 2333112"/>
                <a:gd name="connsiteY8" fmla="*/ 3365217 h 3465510"/>
                <a:gd name="connsiteX9" fmla="*/ 1358153 w 2333112"/>
                <a:gd name="connsiteY9" fmla="*/ 3109910 h 3465510"/>
                <a:gd name="connsiteX10" fmla="*/ 1326403 w 2333112"/>
                <a:gd name="connsiteY10" fmla="*/ 3465510 h 3465510"/>
                <a:gd name="connsiteX11" fmla="*/ 871584 w 2333112"/>
                <a:gd name="connsiteY11" fmla="*/ 3095623 h 3465510"/>
                <a:gd name="connsiteX12" fmla="*/ 0 w 2333112"/>
                <a:gd name="connsiteY12" fmla="*/ 3323942 h 3465510"/>
                <a:gd name="connsiteX13" fmla="*/ 626633 w 2333112"/>
                <a:gd name="connsiteY13" fmla="*/ 2092641 h 3465510"/>
                <a:gd name="connsiteX14" fmla="*/ 238125 w 2333112"/>
                <a:gd name="connsiteY14" fmla="*/ 323567 h 3465510"/>
                <a:gd name="connsiteX0" fmla="*/ 238125 w 2333112"/>
                <a:gd name="connsiteY0" fmla="*/ 323567 h 3465510"/>
                <a:gd name="connsiteX1" fmla="*/ 455659 w 2333112"/>
                <a:gd name="connsiteY1" fmla="*/ 111917 h 3465510"/>
                <a:gd name="connsiteX2" fmla="*/ 1020016 w 2333112"/>
                <a:gd name="connsiteY2" fmla="*/ 185737 h 3465510"/>
                <a:gd name="connsiteX3" fmla="*/ 1279572 w 2333112"/>
                <a:gd name="connsiteY3" fmla="*/ 409575 h 3465510"/>
                <a:gd name="connsiteX4" fmla="*/ 1734391 w 2333112"/>
                <a:gd name="connsiteY4" fmla="*/ 0 h 3465510"/>
                <a:gd name="connsiteX5" fmla="*/ 1927272 w 2333112"/>
                <a:gd name="connsiteY5" fmla="*/ 38100 h 3465510"/>
                <a:gd name="connsiteX6" fmla="*/ 2071968 w 2333112"/>
                <a:gd name="connsiteY6" fmla="*/ 218792 h 3465510"/>
                <a:gd name="connsiteX7" fmla="*/ 1672478 w 2333112"/>
                <a:gd name="connsiteY7" fmla="*/ 1851182 h 3465510"/>
                <a:gd name="connsiteX8" fmla="*/ 2333112 w 2333112"/>
                <a:gd name="connsiteY8" fmla="*/ 3365217 h 3465510"/>
                <a:gd name="connsiteX9" fmla="*/ 1358153 w 2333112"/>
                <a:gd name="connsiteY9" fmla="*/ 3109910 h 3465510"/>
                <a:gd name="connsiteX10" fmla="*/ 1326403 w 2333112"/>
                <a:gd name="connsiteY10" fmla="*/ 3465510 h 3465510"/>
                <a:gd name="connsiteX11" fmla="*/ 871584 w 2333112"/>
                <a:gd name="connsiteY11" fmla="*/ 3095623 h 3465510"/>
                <a:gd name="connsiteX12" fmla="*/ 0 w 2333112"/>
                <a:gd name="connsiteY12" fmla="*/ 3323942 h 3465510"/>
                <a:gd name="connsiteX13" fmla="*/ 626633 w 2333112"/>
                <a:gd name="connsiteY13" fmla="*/ 2092641 h 3465510"/>
                <a:gd name="connsiteX14" fmla="*/ 238125 w 2333112"/>
                <a:gd name="connsiteY14" fmla="*/ 323567 h 3465510"/>
                <a:gd name="connsiteX0" fmla="*/ 238125 w 2333112"/>
                <a:gd name="connsiteY0" fmla="*/ 323567 h 3465510"/>
                <a:gd name="connsiteX1" fmla="*/ 455659 w 2333112"/>
                <a:gd name="connsiteY1" fmla="*/ 111917 h 3465510"/>
                <a:gd name="connsiteX2" fmla="*/ 1020016 w 2333112"/>
                <a:gd name="connsiteY2" fmla="*/ 185737 h 3465510"/>
                <a:gd name="connsiteX3" fmla="*/ 1279572 w 2333112"/>
                <a:gd name="connsiteY3" fmla="*/ 409575 h 3465510"/>
                <a:gd name="connsiteX4" fmla="*/ 1734391 w 2333112"/>
                <a:gd name="connsiteY4" fmla="*/ 0 h 3465510"/>
                <a:gd name="connsiteX5" fmla="*/ 1927272 w 2333112"/>
                <a:gd name="connsiteY5" fmla="*/ 38100 h 3465510"/>
                <a:gd name="connsiteX6" fmla="*/ 2071968 w 2333112"/>
                <a:gd name="connsiteY6" fmla="*/ 218792 h 3465510"/>
                <a:gd name="connsiteX7" fmla="*/ 1672478 w 2333112"/>
                <a:gd name="connsiteY7" fmla="*/ 1851182 h 3465510"/>
                <a:gd name="connsiteX8" fmla="*/ 2333112 w 2333112"/>
                <a:gd name="connsiteY8" fmla="*/ 3365217 h 3465510"/>
                <a:gd name="connsiteX9" fmla="*/ 1358153 w 2333112"/>
                <a:gd name="connsiteY9" fmla="*/ 3109910 h 3465510"/>
                <a:gd name="connsiteX10" fmla="*/ 1326403 w 2333112"/>
                <a:gd name="connsiteY10" fmla="*/ 3465510 h 3465510"/>
                <a:gd name="connsiteX11" fmla="*/ 871584 w 2333112"/>
                <a:gd name="connsiteY11" fmla="*/ 3095623 h 3465510"/>
                <a:gd name="connsiteX12" fmla="*/ 0 w 2333112"/>
                <a:gd name="connsiteY12" fmla="*/ 3323942 h 3465510"/>
                <a:gd name="connsiteX13" fmla="*/ 626633 w 2333112"/>
                <a:gd name="connsiteY13" fmla="*/ 2092641 h 3465510"/>
                <a:gd name="connsiteX14" fmla="*/ 238125 w 2333112"/>
                <a:gd name="connsiteY14" fmla="*/ 323567 h 3465510"/>
                <a:gd name="connsiteX0" fmla="*/ 238125 w 2333112"/>
                <a:gd name="connsiteY0" fmla="*/ 323567 h 3465510"/>
                <a:gd name="connsiteX1" fmla="*/ 455659 w 2333112"/>
                <a:gd name="connsiteY1" fmla="*/ 111917 h 3465510"/>
                <a:gd name="connsiteX2" fmla="*/ 1020016 w 2333112"/>
                <a:gd name="connsiteY2" fmla="*/ 185737 h 3465510"/>
                <a:gd name="connsiteX3" fmla="*/ 1279572 w 2333112"/>
                <a:gd name="connsiteY3" fmla="*/ 409575 h 3465510"/>
                <a:gd name="connsiteX4" fmla="*/ 1734391 w 2333112"/>
                <a:gd name="connsiteY4" fmla="*/ 0 h 3465510"/>
                <a:gd name="connsiteX5" fmla="*/ 1927272 w 2333112"/>
                <a:gd name="connsiteY5" fmla="*/ 38100 h 3465510"/>
                <a:gd name="connsiteX6" fmla="*/ 2071968 w 2333112"/>
                <a:gd name="connsiteY6" fmla="*/ 218792 h 3465510"/>
                <a:gd name="connsiteX7" fmla="*/ 1672478 w 2333112"/>
                <a:gd name="connsiteY7" fmla="*/ 1851182 h 3465510"/>
                <a:gd name="connsiteX8" fmla="*/ 2333112 w 2333112"/>
                <a:gd name="connsiteY8" fmla="*/ 3365217 h 3465510"/>
                <a:gd name="connsiteX9" fmla="*/ 1358153 w 2333112"/>
                <a:gd name="connsiteY9" fmla="*/ 3109910 h 3465510"/>
                <a:gd name="connsiteX10" fmla="*/ 1326403 w 2333112"/>
                <a:gd name="connsiteY10" fmla="*/ 3465510 h 3465510"/>
                <a:gd name="connsiteX11" fmla="*/ 871584 w 2333112"/>
                <a:gd name="connsiteY11" fmla="*/ 3095623 h 3465510"/>
                <a:gd name="connsiteX12" fmla="*/ 0 w 2333112"/>
                <a:gd name="connsiteY12" fmla="*/ 3323942 h 3465510"/>
                <a:gd name="connsiteX13" fmla="*/ 626633 w 2333112"/>
                <a:gd name="connsiteY13" fmla="*/ 2092641 h 3465510"/>
                <a:gd name="connsiteX14" fmla="*/ 238125 w 2333112"/>
                <a:gd name="connsiteY14" fmla="*/ 323567 h 3465510"/>
                <a:gd name="connsiteX0" fmla="*/ 238125 w 2333112"/>
                <a:gd name="connsiteY0" fmla="*/ 323567 h 3465510"/>
                <a:gd name="connsiteX1" fmla="*/ 455659 w 2333112"/>
                <a:gd name="connsiteY1" fmla="*/ 111917 h 3465510"/>
                <a:gd name="connsiteX2" fmla="*/ 1020016 w 2333112"/>
                <a:gd name="connsiteY2" fmla="*/ 185737 h 3465510"/>
                <a:gd name="connsiteX3" fmla="*/ 1279572 w 2333112"/>
                <a:gd name="connsiteY3" fmla="*/ 409575 h 3465510"/>
                <a:gd name="connsiteX4" fmla="*/ 1734391 w 2333112"/>
                <a:gd name="connsiteY4" fmla="*/ 0 h 3465510"/>
                <a:gd name="connsiteX5" fmla="*/ 1927272 w 2333112"/>
                <a:gd name="connsiteY5" fmla="*/ 38100 h 3465510"/>
                <a:gd name="connsiteX6" fmla="*/ 2071968 w 2333112"/>
                <a:gd name="connsiteY6" fmla="*/ 218792 h 3465510"/>
                <a:gd name="connsiteX7" fmla="*/ 1672478 w 2333112"/>
                <a:gd name="connsiteY7" fmla="*/ 1851182 h 3465510"/>
                <a:gd name="connsiteX8" fmla="*/ 2333112 w 2333112"/>
                <a:gd name="connsiteY8" fmla="*/ 3365217 h 3465510"/>
                <a:gd name="connsiteX9" fmla="*/ 1358153 w 2333112"/>
                <a:gd name="connsiteY9" fmla="*/ 3109910 h 3465510"/>
                <a:gd name="connsiteX10" fmla="*/ 1326403 w 2333112"/>
                <a:gd name="connsiteY10" fmla="*/ 3465510 h 3465510"/>
                <a:gd name="connsiteX11" fmla="*/ 871584 w 2333112"/>
                <a:gd name="connsiteY11" fmla="*/ 3095623 h 3465510"/>
                <a:gd name="connsiteX12" fmla="*/ 0 w 2333112"/>
                <a:gd name="connsiteY12" fmla="*/ 3323942 h 3465510"/>
                <a:gd name="connsiteX13" fmla="*/ 626633 w 2333112"/>
                <a:gd name="connsiteY13" fmla="*/ 2092641 h 3465510"/>
                <a:gd name="connsiteX14" fmla="*/ 238125 w 2333112"/>
                <a:gd name="connsiteY14" fmla="*/ 323567 h 3465510"/>
                <a:gd name="connsiteX0" fmla="*/ 238125 w 2333112"/>
                <a:gd name="connsiteY0" fmla="*/ 323567 h 3465510"/>
                <a:gd name="connsiteX1" fmla="*/ 455659 w 2333112"/>
                <a:gd name="connsiteY1" fmla="*/ 111917 h 3465510"/>
                <a:gd name="connsiteX2" fmla="*/ 1020016 w 2333112"/>
                <a:gd name="connsiteY2" fmla="*/ 185737 h 3465510"/>
                <a:gd name="connsiteX3" fmla="*/ 1279572 w 2333112"/>
                <a:gd name="connsiteY3" fmla="*/ 409575 h 3465510"/>
                <a:gd name="connsiteX4" fmla="*/ 1734391 w 2333112"/>
                <a:gd name="connsiteY4" fmla="*/ 0 h 3465510"/>
                <a:gd name="connsiteX5" fmla="*/ 1927272 w 2333112"/>
                <a:gd name="connsiteY5" fmla="*/ 38100 h 3465510"/>
                <a:gd name="connsiteX6" fmla="*/ 2071968 w 2333112"/>
                <a:gd name="connsiteY6" fmla="*/ 218792 h 3465510"/>
                <a:gd name="connsiteX7" fmla="*/ 1672478 w 2333112"/>
                <a:gd name="connsiteY7" fmla="*/ 1851182 h 3465510"/>
                <a:gd name="connsiteX8" fmla="*/ 2333112 w 2333112"/>
                <a:gd name="connsiteY8" fmla="*/ 3365217 h 3465510"/>
                <a:gd name="connsiteX9" fmla="*/ 1358153 w 2333112"/>
                <a:gd name="connsiteY9" fmla="*/ 3109910 h 3465510"/>
                <a:gd name="connsiteX10" fmla="*/ 1326403 w 2333112"/>
                <a:gd name="connsiteY10" fmla="*/ 3465510 h 3465510"/>
                <a:gd name="connsiteX11" fmla="*/ 871584 w 2333112"/>
                <a:gd name="connsiteY11" fmla="*/ 3095623 h 3465510"/>
                <a:gd name="connsiteX12" fmla="*/ 0 w 2333112"/>
                <a:gd name="connsiteY12" fmla="*/ 3323942 h 3465510"/>
                <a:gd name="connsiteX13" fmla="*/ 626633 w 2333112"/>
                <a:gd name="connsiteY13" fmla="*/ 2092641 h 3465510"/>
                <a:gd name="connsiteX14" fmla="*/ 238125 w 2333112"/>
                <a:gd name="connsiteY14" fmla="*/ 323567 h 3465510"/>
                <a:gd name="connsiteX0" fmla="*/ 238125 w 2333112"/>
                <a:gd name="connsiteY0" fmla="*/ 323567 h 3465510"/>
                <a:gd name="connsiteX1" fmla="*/ 455659 w 2333112"/>
                <a:gd name="connsiteY1" fmla="*/ 111917 h 3465510"/>
                <a:gd name="connsiteX2" fmla="*/ 1020016 w 2333112"/>
                <a:gd name="connsiteY2" fmla="*/ 185737 h 3465510"/>
                <a:gd name="connsiteX3" fmla="*/ 1279572 w 2333112"/>
                <a:gd name="connsiteY3" fmla="*/ 409575 h 3465510"/>
                <a:gd name="connsiteX4" fmla="*/ 1734391 w 2333112"/>
                <a:gd name="connsiteY4" fmla="*/ 0 h 3465510"/>
                <a:gd name="connsiteX5" fmla="*/ 1927272 w 2333112"/>
                <a:gd name="connsiteY5" fmla="*/ 38100 h 3465510"/>
                <a:gd name="connsiteX6" fmla="*/ 2071968 w 2333112"/>
                <a:gd name="connsiteY6" fmla="*/ 218792 h 3465510"/>
                <a:gd name="connsiteX7" fmla="*/ 1672478 w 2333112"/>
                <a:gd name="connsiteY7" fmla="*/ 1851182 h 3465510"/>
                <a:gd name="connsiteX8" fmla="*/ 2333112 w 2333112"/>
                <a:gd name="connsiteY8" fmla="*/ 3365217 h 3465510"/>
                <a:gd name="connsiteX9" fmla="*/ 1358153 w 2333112"/>
                <a:gd name="connsiteY9" fmla="*/ 3109910 h 3465510"/>
                <a:gd name="connsiteX10" fmla="*/ 1326403 w 2333112"/>
                <a:gd name="connsiteY10" fmla="*/ 3465510 h 3465510"/>
                <a:gd name="connsiteX11" fmla="*/ 871584 w 2333112"/>
                <a:gd name="connsiteY11" fmla="*/ 3095623 h 3465510"/>
                <a:gd name="connsiteX12" fmla="*/ 0 w 2333112"/>
                <a:gd name="connsiteY12" fmla="*/ 3323942 h 3465510"/>
                <a:gd name="connsiteX13" fmla="*/ 626633 w 2333112"/>
                <a:gd name="connsiteY13" fmla="*/ 2092641 h 3465510"/>
                <a:gd name="connsiteX14" fmla="*/ 238125 w 2333112"/>
                <a:gd name="connsiteY14" fmla="*/ 323567 h 3465510"/>
                <a:gd name="connsiteX0" fmla="*/ 238125 w 2333112"/>
                <a:gd name="connsiteY0" fmla="*/ 323567 h 3465510"/>
                <a:gd name="connsiteX1" fmla="*/ 455659 w 2333112"/>
                <a:gd name="connsiteY1" fmla="*/ 111917 h 3465510"/>
                <a:gd name="connsiteX2" fmla="*/ 1020016 w 2333112"/>
                <a:gd name="connsiteY2" fmla="*/ 185737 h 3465510"/>
                <a:gd name="connsiteX3" fmla="*/ 1279572 w 2333112"/>
                <a:gd name="connsiteY3" fmla="*/ 409575 h 3465510"/>
                <a:gd name="connsiteX4" fmla="*/ 1734391 w 2333112"/>
                <a:gd name="connsiteY4" fmla="*/ 0 h 3465510"/>
                <a:gd name="connsiteX5" fmla="*/ 1927272 w 2333112"/>
                <a:gd name="connsiteY5" fmla="*/ 38100 h 3465510"/>
                <a:gd name="connsiteX6" fmla="*/ 2071968 w 2333112"/>
                <a:gd name="connsiteY6" fmla="*/ 218792 h 3465510"/>
                <a:gd name="connsiteX7" fmla="*/ 1672478 w 2333112"/>
                <a:gd name="connsiteY7" fmla="*/ 1851182 h 3465510"/>
                <a:gd name="connsiteX8" fmla="*/ 2333112 w 2333112"/>
                <a:gd name="connsiteY8" fmla="*/ 3365217 h 3465510"/>
                <a:gd name="connsiteX9" fmla="*/ 1358153 w 2333112"/>
                <a:gd name="connsiteY9" fmla="*/ 3109910 h 3465510"/>
                <a:gd name="connsiteX10" fmla="*/ 1326403 w 2333112"/>
                <a:gd name="connsiteY10" fmla="*/ 3465510 h 3465510"/>
                <a:gd name="connsiteX11" fmla="*/ 871584 w 2333112"/>
                <a:gd name="connsiteY11" fmla="*/ 3095623 h 3465510"/>
                <a:gd name="connsiteX12" fmla="*/ 0 w 2333112"/>
                <a:gd name="connsiteY12" fmla="*/ 3323942 h 3465510"/>
                <a:gd name="connsiteX13" fmla="*/ 626633 w 2333112"/>
                <a:gd name="connsiteY13" fmla="*/ 2092641 h 3465510"/>
                <a:gd name="connsiteX14" fmla="*/ 238125 w 2333112"/>
                <a:gd name="connsiteY14" fmla="*/ 323567 h 3465510"/>
                <a:gd name="connsiteX0" fmla="*/ 238125 w 2333112"/>
                <a:gd name="connsiteY0" fmla="*/ 323567 h 3465510"/>
                <a:gd name="connsiteX1" fmla="*/ 455659 w 2333112"/>
                <a:gd name="connsiteY1" fmla="*/ 111917 h 3465510"/>
                <a:gd name="connsiteX2" fmla="*/ 1020016 w 2333112"/>
                <a:gd name="connsiteY2" fmla="*/ 185737 h 3465510"/>
                <a:gd name="connsiteX3" fmla="*/ 1279572 w 2333112"/>
                <a:gd name="connsiteY3" fmla="*/ 409575 h 3465510"/>
                <a:gd name="connsiteX4" fmla="*/ 1734391 w 2333112"/>
                <a:gd name="connsiteY4" fmla="*/ 0 h 3465510"/>
                <a:gd name="connsiteX5" fmla="*/ 1927272 w 2333112"/>
                <a:gd name="connsiteY5" fmla="*/ 38100 h 3465510"/>
                <a:gd name="connsiteX6" fmla="*/ 2071968 w 2333112"/>
                <a:gd name="connsiteY6" fmla="*/ 218792 h 3465510"/>
                <a:gd name="connsiteX7" fmla="*/ 1672478 w 2333112"/>
                <a:gd name="connsiteY7" fmla="*/ 1851182 h 3465510"/>
                <a:gd name="connsiteX8" fmla="*/ 2333112 w 2333112"/>
                <a:gd name="connsiteY8" fmla="*/ 3365217 h 3465510"/>
                <a:gd name="connsiteX9" fmla="*/ 1358153 w 2333112"/>
                <a:gd name="connsiteY9" fmla="*/ 3109910 h 3465510"/>
                <a:gd name="connsiteX10" fmla="*/ 1326403 w 2333112"/>
                <a:gd name="connsiteY10" fmla="*/ 3465510 h 3465510"/>
                <a:gd name="connsiteX11" fmla="*/ 871584 w 2333112"/>
                <a:gd name="connsiteY11" fmla="*/ 3095623 h 3465510"/>
                <a:gd name="connsiteX12" fmla="*/ 0 w 2333112"/>
                <a:gd name="connsiteY12" fmla="*/ 3323942 h 3465510"/>
                <a:gd name="connsiteX13" fmla="*/ 626633 w 2333112"/>
                <a:gd name="connsiteY13" fmla="*/ 2092641 h 3465510"/>
                <a:gd name="connsiteX14" fmla="*/ 238125 w 2333112"/>
                <a:gd name="connsiteY14" fmla="*/ 323567 h 3465510"/>
                <a:gd name="connsiteX0" fmla="*/ 206375 w 2333112"/>
                <a:gd name="connsiteY0" fmla="*/ 323567 h 3465510"/>
                <a:gd name="connsiteX1" fmla="*/ 455659 w 2333112"/>
                <a:gd name="connsiteY1" fmla="*/ 111917 h 3465510"/>
                <a:gd name="connsiteX2" fmla="*/ 1020016 w 2333112"/>
                <a:gd name="connsiteY2" fmla="*/ 185737 h 3465510"/>
                <a:gd name="connsiteX3" fmla="*/ 1279572 w 2333112"/>
                <a:gd name="connsiteY3" fmla="*/ 409575 h 3465510"/>
                <a:gd name="connsiteX4" fmla="*/ 1734391 w 2333112"/>
                <a:gd name="connsiteY4" fmla="*/ 0 h 3465510"/>
                <a:gd name="connsiteX5" fmla="*/ 1927272 w 2333112"/>
                <a:gd name="connsiteY5" fmla="*/ 38100 h 3465510"/>
                <a:gd name="connsiteX6" fmla="*/ 2071968 w 2333112"/>
                <a:gd name="connsiteY6" fmla="*/ 218792 h 3465510"/>
                <a:gd name="connsiteX7" fmla="*/ 1672478 w 2333112"/>
                <a:gd name="connsiteY7" fmla="*/ 1851182 h 3465510"/>
                <a:gd name="connsiteX8" fmla="*/ 2333112 w 2333112"/>
                <a:gd name="connsiteY8" fmla="*/ 3365217 h 3465510"/>
                <a:gd name="connsiteX9" fmla="*/ 1358153 w 2333112"/>
                <a:gd name="connsiteY9" fmla="*/ 3109910 h 3465510"/>
                <a:gd name="connsiteX10" fmla="*/ 1326403 w 2333112"/>
                <a:gd name="connsiteY10" fmla="*/ 3465510 h 3465510"/>
                <a:gd name="connsiteX11" fmla="*/ 871584 w 2333112"/>
                <a:gd name="connsiteY11" fmla="*/ 3095623 h 3465510"/>
                <a:gd name="connsiteX12" fmla="*/ 0 w 2333112"/>
                <a:gd name="connsiteY12" fmla="*/ 3323942 h 3465510"/>
                <a:gd name="connsiteX13" fmla="*/ 626633 w 2333112"/>
                <a:gd name="connsiteY13" fmla="*/ 2092641 h 3465510"/>
                <a:gd name="connsiteX14" fmla="*/ 206375 w 2333112"/>
                <a:gd name="connsiteY14" fmla="*/ 323567 h 3465510"/>
                <a:gd name="connsiteX0" fmla="*/ 206375 w 2333112"/>
                <a:gd name="connsiteY0" fmla="*/ 323567 h 3465510"/>
                <a:gd name="connsiteX1" fmla="*/ 417559 w 2333112"/>
                <a:gd name="connsiteY1" fmla="*/ 73817 h 3465510"/>
                <a:gd name="connsiteX2" fmla="*/ 1020016 w 2333112"/>
                <a:gd name="connsiteY2" fmla="*/ 185737 h 3465510"/>
                <a:gd name="connsiteX3" fmla="*/ 1279572 w 2333112"/>
                <a:gd name="connsiteY3" fmla="*/ 409575 h 3465510"/>
                <a:gd name="connsiteX4" fmla="*/ 1734391 w 2333112"/>
                <a:gd name="connsiteY4" fmla="*/ 0 h 3465510"/>
                <a:gd name="connsiteX5" fmla="*/ 1927272 w 2333112"/>
                <a:gd name="connsiteY5" fmla="*/ 38100 h 3465510"/>
                <a:gd name="connsiteX6" fmla="*/ 2071968 w 2333112"/>
                <a:gd name="connsiteY6" fmla="*/ 218792 h 3465510"/>
                <a:gd name="connsiteX7" fmla="*/ 1672478 w 2333112"/>
                <a:gd name="connsiteY7" fmla="*/ 1851182 h 3465510"/>
                <a:gd name="connsiteX8" fmla="*/ 2333112 w 2333112"/>
                <a:gd name="connsiteY8" fmla="*/ 3365217 h 3465510"/>
                <a:gd name="connsiteX9" fmla="*/ 1358153 w 2333112"/>
                <a:gd name="connsiteY9" fmla="*/ 3109910 h 3465510"/>
                <a:gd name="connsiteX10" fmla="*/ 1326403 w 2333112"/>
                <a:gd name="connsiteY10" fmla="*/ 3465510 h 3465510"/>
                <a:gd name="connsiteX11" fmla="*/ 871584 w 2333112"/>
                <a:gd name="connsiteY11" fmla="*/ 3095623 h 3465510"/>
                <a:gd name="connsiteX12" fmla="*/ 0 w 2333112"/>
                <a:gd name="connsiteY12" fmla="*/ 3323942 h 3465510"/>
                <a:gd name="connsiteX13" fmla="*/ 626633 w 2333112"/>
                <a:gd name="connsiteY13" fmla="*/ 2092641 h 3465510"/>
                <a:gd name="connsiteX14" fmla="*/ 206375 w 2333112"/>
                <a:gd name="connsiteY14" fmla="*/ 323567 h 3465510"/>
                <a:gd name="connsiteX0" fmla="*/ 206375 w 2333112"/>
                <a:gd name="connsiteY0" fmla="*/ 323567 h 3465510"/>
                <a:gd name="connsiteX1" fmla="*/ 417559 w 2333112"/>
                <a:gd name="connsiteY1" fmla="*/ 73817 h 3465510"/>
                <a:gd name="connsiteX2" fmla="*/ 1013666 w 2333112"/>
                <a:gd name="connsiteY2" fmla="*/ 153987 h 3465510"/>
                <a:gd name="connsiteX3" fmla="*/ 1279572 w 2333112"/>
                <a:gd name="connsiteY3" fmla="*/ 409575 h 3465510"/>
                <a:gd name="connsiteX4" fmla="*/ 1734391 w 2333112"/>
                <a:gd name="connsiteY4" fmla="*/ 0 h 3465510"/>
                <a:gd name="connsiteX5" fmla="*/ 1927272 w 2333112"/>
                <a:gd name="connsiteY5" fmla="*/ 38100 h 3465510"/>
                <a:gd name="connsiteX6" fmla="*/ 2071968 w 2333112"/>
                <a:gd name="connsiteY6" fmla="*/ 218792 h 3465510"/>
                <a:gd name="connsiteX7" fmla="*/ 1672478 w 2333112"/>
                <a:gd name="connsiteY7" fmla="*/ 1851182 h 3465510"/>
                <a:gd name="connsiteX8" fmla="*/ 2333112 w 2333112"/>
                <a:gd name="connsiteY8" fmla="*/ 3365217 h 3465510"/>
                <a:gd name="connsiteX9" fmla="*/ 1358153 w 2333112"/>
                <a:gd name="connsiteY9" fmla="*/ 3109910 h 3465510"/>
                <a:gd name="connsiteX10" fmla="*/ 1326403 w 2333112"/>
                <a:gd name="connsiteY10" fmla="*/ 3465510 h 3465510"/>
                <a:gd name="connsiteX11" fmla="*/ 871584 w 2333112"/>
                <a:gd name="connsiteY11" fmla="*/ 3095623 h 3465510"/>
                <a:gd name="connsiteX12" fmla="*/ 0 w 2333112"/>
                <a:gd name="connsiteY12" fmla="*/ 3323942 h 3465510"/>
                <a:gd name="connsiteX13" fmla="*/ 626633 w 2333112"/>
                <a:gd name="connsiteY13" fmla="*/ 2092641 h 3465510"/>
                <a:gd name="connsiteX14" fmla="*/ 206375 w 2333112"/>
                <a:gd name="connsiteY14" fmla="*/ 323567 h 3465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33112" h="3465510">
                  <a:moveTo>
                    <a:pt x="206375" y="323567"/>
                  </a:moveTo>
                  <a:cubicBezTo>
                    <a:pt x="300318" y="299055"/>
                    <a:pt x="356954" y="88804"/>
                    <a:pt x="417559" y="73817"/>
                  </a:cubicBezTo>
                  <a:cubicBezTo>
                    <a:pt x="631872" y="281779"/>
                    <a:pt x="889841" y="248444"/>
                    <a:pt x="1013666" y="153987"/>
                  </a:cubicBezTo>
                  <a:cubicBezTo>
                    <a:pt x="1100184" y="193675"/>
                    <a:pt x="1224010" y="384175"/>
                    <a:pt x="1279572" y="409575"/>
                  </a:cubicBezTo>
                  <a:cubicBezTo>
                    <a:pt x="1354184" y="318294"/>
                    <a:pt x="1633585" y="29369"/>
                    <a:pt x="1734391" y="0"/>
                  </a:cubicBezTo>
                  <a:cubicBezTo>
                    <a:pt x="1784397" y="34131"/>
                    <a:pt x="1877266" y="3969"/>
                    <a:pt x="1927272" y="38100"/>
                  </a:cubicBezTo>
                  <a:cubicBezTo>
                    <a:pt x="1977885" y="117381"/>
                    <a:pt x="2021355" y="201424"/>
                    <a:pt x="2071968" y="218792"/>
                  </a:cubicBezTo>
                  <a:cubicBezTo>
                    <a:pt x="1496686" y="535909"/>
                    <a:pt x="1631016" y="1345946"/>
                    <a:pt x="1672478" y="1851182"/>
                  </a:cubicBezTo>
                  <a:cubicBezTo>
                    <a:pt x="1736321" y="2563822"/>
                    <a:pt x="2024001" y="3033576"/>
                    <a:pt x="2333112" y="3365217"/>
                  </a:cubicBezTo>
                  <a:cubicBezTo>
                    <a:pt x="2118893" y="3373995"/>
                    <a:pt x="1683497" y="3285282"/>
                    <a:pt x="1358153" y="3109910"/>
                  </a:cubicBezTo>
                  <a:cubicBezTo>
                    <a:pt x="1310622" y="3060744"/>
                    <a:pt x="1437264" y="3309141"/>
                    <a:pt x="1326403" y="3465510"/>
                  </a:cubicBezTo>
                  <a:cubicBezTo>
                    <a:pt x="1240414" y="3342214"/>
                    <a:pt x="983767" y="3104618"/>
                    <a:pt x="871584" y="3095623"/>
                  </a:cubicBezTo>
                  <a:cubicBezTo>
                    <a:pt x="653288" y="3189192"/>
                    <a:pt x="467534" y="3354198"/>
                    <a:pt x="0" y="3323942"/>
                  </a:cubicBezTo>
                  <a:cubicBezTo>
                    <a:pt x="479875" y="2905318"/>
                    <a:pt x="533606" y="2592703"/>
                    <a:pt x="626633" y="2092641"/>
                  </a:cubicBezTo>
                  <a:cubicBezTo>
                    <a:pt x="696800" y="1584959"/>
                    <a:pt x="966246" y="376795"/>
                    <a:pt x="206375" y="323567"/>
                  </a:cubicBezTo>
                  <a:close/>
                </a:path>
              </a:pathLst>
            </a:custGeom>
            <a:solidFill>
              <a:srgbClr val="470A6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grpSp>
      <p:pic>
        <p:nvPicPr>
          <p:cNvPr id="3" name="Picture 2" descr="A qr code with a logo&#10;&#10;Description automatically generated with low confidence">
            <a:extLst>
              <a:ext uri="{FF2B5EF4-FFF2-40B4-BE49-F238E27FC236}">
                <a16:creationId xmlns:a16="http://schemas.microsoft.com/office/drawing/2014/main" id="{B4B43B4E-E7DC-4ED1-EAD5-8AC4E11ABE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6866" y="4171492"/>
            <a:ext cx="1601767" cy="1989395"/>
          </a:xfrm>
          <a:prstGeom prst="rect">
            <a:avLst/>
          </a:prstGeom>
        </p:spPr>
      </p:pic>
    </p:spTree>
    <p:custDataLst>
      <p:tags r:id="rId1"/>
    </p:custDataLst>
    <p:extLst>
      <p:ext uri="{BB962C8B-B14F-4D97-AF65-F5344CB8AC3E}">
        <p14:creationId xmlns:p14="http://schemas.microsoft.com/office/powerpoint/2010/main" val="31116496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584C87E-D319-4629-AEB0-AE29E3690707}"/>
              </a:ext>
            </a:extLst>
          </p:cNvPr>
          <p:cNvSpPr>
            <a:spLocks noGrp="1"/>
          </p:cNvSpPr>
          <p:nvPr>
            <p:ph type="title"/>
          </p:nvPr>
        </p:nvSpPr>
        <p:spPr/>
        <p:txBody>
          <a:bodyPr/>
          <a:lstStyle/>
          <a:p>
            <a:r>
              <a:rPr lang="en-US"/>
              <a:t>Course Evaluation</a:t>
            </a:r>
          </a:p>
        </p:txBody>
      </p:sp>
      <p:sp>
        <p:nvSpPr>
          <p:cNvPr id="91" name="Content Placeholder 2">
            <a:extLst>
              <a:ext uri="{FF2B5EF4-FFF2-40B4-BE49-F238E27FC236}">
                <a16:creationId xmlns:a16="http://schemas.microsoft.com/office/drawing/2014/main" id="{C6BE8289-18EA-4F37-A06D-E17EC577C7DB}"/>
              </a:ext>
            </a:extLst>
          </p:cNvPr>
          <p:cNvSpPr>
            <a:spLocks noGrp="1"/>
          </p:cNvSpPr>
          <p:nvPr>
            <p:ph idx="1"/>
          </p:nvPr>
        </p:nvSpPr>
        <p:spPr>
          <a:xfrm>
            <a:off x="706631" y="1653748"/>
            <a:ext cx="11198498" cy="1313811"/>
          </a:xfrm>
        </p:spPr>
        <p:txBody>
          <a:bodyPr>
            <a:normAutofit/>
          </a:bodyPr>
          <a:lstStyle/>
          <a:p>
            <a:pPr marL="0" indent="0">
              <a:buNone/>
            </a:pPr>
            <a:r>
              <a:rPr lang="en-US">
                <a:cs typeface="Arial" panose="020B0604020202020204" pitchFamily="34" charset="0"/>
              </a:rPr>
              <a:t>To access the poll, either:</a:t>
            </a:r>
          </a:p>
          <a:p>
            <a:pPr lvl="1"/>
            <a:r>
              <a:rPr lang="en-US">
                <a:cs typeface="Arial" panose="020B0604020202020204" pitchFamily="34" charset="0"/>
              </a:rPr>
              <a:t>Scan the QR code on your phone/device:</a:t>
            </a:r>
          </a:p>
          <a:p>
            <a:pPr lvl="1"/>
            <a:r>
              <a:rPr lang="en-US" sz="2400">
                <a:cs typeface="Arial" panose="020B0604020202020204" pitchFamily="34" charset="0"/>
              </a:rPr>
              <a:t>Or type the below URL into your browser:</a:t>
            </a:r>
            <a:endParaRPr lang="en-US">
              <a:cs typeface="Arial" panose="020B0604020202020204" pitchFamily="34" charset="0"/>
            </a:endParaRPr>
          </a:p>
        </p:txBody>
      </p:sp>
      <p:pic>
        <p:nvPicPr>
          <p:cNvPr id="5" name="Picture 4" descr="A qr code on a green background&#10;&#10;Description automatically generated">
            <a:extLst>
              <a:ext uri="{FF2B5EF4-FFF2-40B4-BE49-F238E27FC236}">
                <a16:creationId xmlns:a16="http://schemas.microsoft.com/office/drawing/2014/main" id="{4EA0A83F-C696-148A-8DE9-0358EA63CF46}"/>
              </a:ext>
            </a:extLst>
          </p:cNvPr>
          <p:cNvPicPr>
            <a:picLocks noChangeAspect="1"/>
          </p:cNvPicPr>
          <p:nvPr/>
        </p:nvPicPr>
        <p:blipFill rotWithShape="1">
          <a:blip r:embed="rId3">
            <a:extLst>
              <a:ext uri="{28A0092B-C50C-407E-A947-70E740481C1C}">
                <a14:useLocalDpi xmlns:a14="http://schemas.microsoft.com/office/drawing/2010/main" val="0"/>
              </a:ext>
            </a:extLst>
          </a:blip>
          <a:srcRect l="25817" t="36079" r="25555" b="14379"/>
          <a:stretch/>
        </p:blipFill>
        <p:spPr>
          <a:xfrm>
            <a:off x="7783593" y="1268747"/>
            <a:ext cx="3334871" cy="3397624"/>
          </a:xfrm>
          <a:prstGeom prst="rect">
            <a:avLst/>
          </a:prstGeom>
        </p:spPr>
      </p:pic>
      <p:sp>
        <p:nvSpPr>
          <p:cNvPr id="6" name="TextBox 5">
            <a:extLst>
              <a:ext uri="{FF2B5EF4-FFF2-40B4-BE49-F238E27FC236}">
                <a16:creationId xmlns:a16="http://schemas.microsoft.com/office/drawing/2014/main" id="{4003EB7E-2BB0-C37E-1C77-B4FB974DF318}"/>
              </a:ext>
            </a:extLst>
          </p:cNvPr>
          <p:cNvSpPr txBox="1"/>
          <p:nvPr/>
        </p:nvSpPr>
        <p:spPr>
          <a:xfrm>
            <a:off x="969973" y="4619757"/>
            <a:ext cx="10148491" cy="1938992"/>
          </a:xfrm>
          <a:prstGeom prst="rect">
            <a:avLst/>
          </a:prstGeom>
          <a:noFill/>
        </p:spPr>
        <p:txBody>
          <a:bodyPr wrap="square" rtlCol="0">
            <a:spAutoFit/>
          </a:bodyPr>
          <a:lstStyle/>
          <a:p>
            <a:r>
              <a:rPr lang="en-US" sz="6000" u="sng">
                <a:cs typeface="Arial" panose="020B0604020202020204" pitchFamily="34" charset="0"/>
              </a:rPr>
              <a:t>https://forms.microsoft.com/e/b6xsusnbq5</a:t>
            </a:r>
            <a:endParaRPr lang="en-US" sz="2800" u="sng">
              <a:cs typeface="Arial" panose="020B0604020202020204" pitchFamily="34" charset="0"/>
            </a:endParaRPr>
          </a:p>
        </p:txBody>
      </p:sp>
    </p:spTree>
    <p:custDataLst>
      <p:tags r:id="rId1"/>
    </p:custDataLst>
    <p:extLst>
      <p:ext uri="{BB962C8B-B14F-4D97-AF65-F5344CB8AC3E}">
        <p14:creationId xmlns:p14="http://schemas.microsoft.com/office/powerpoint/2010/main" val="41085351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Seagulls flying over wave illustration">
            <a:extLst>
              <a:ext uri="{FF2B5EF4-FFF2-40B4-BE49-F238E27FC236}">
                <a16:creationId xmlns:a16="http://schemas.microsoft.com/office/drawing/2014/main" id="{27448E9F-8383-C2FF-85E7-3F19FBE1208F}"/>
              </a:ext>
            </a:extLst>
          </p:cNvPr>
          <p:cNvPicPr>
            <a:picLocks noChangeAspect="1"/>
          </p:cNvPicPr>
          <p:nvPr/>
        </p:nvPicPr>
        <p:blipFill rotWithShape="1">
          <a:blip r:embed="rId3">
            <a:extLst>
              <a:ext uri="{28A0092B-C50C-407E-A947-70E740481C1C}">
                <a14:useLocalDpi xmlns:a14="http://schemas.microsoft.com/office/drawing/2010/main" val="0"/>
              </a:ext>
            </a:extLst>
          </a:blip>
          <a:srcRect t="5820" b="11565"/>
          <a:stretch/>
        </p:blipFill>
        <p:spPr>
          <a:xfrm>
            <a:off x="639794" y="1487302"/>
            <a:ext cx="4131943" cy="4876800"/>
          </a:xfrm>
          <a:prstGeom prst="rect">
            <a:avLst/>
          </a:prstGeom>
          <a:solidFill>
            <a:srgbClr val="2EBCA0"/>
          </a:solidFill>
        </p:spPr>
      </p:pic>
      <p:sp>
        <p:nvSpPr>
          <p:cNvPr id="2" name="Title 1">
            <a:extLst>
              <a:ext uri="{FF2B5EF4-FFF2-40B4-BE49-F238E27FC236}">
                <a16:creationId xmlns:a16="http://schemas.microsoft.com/office/drawing/2014/main" id="{04F1EC34-1F61-4257-B5C1-8B03E03C802E}"/>
              </a:ext>
            </a:extLst>
          </p:cNvPr>
          <p:cNvSpPr>
            <a:spLocks noGrp="1"/>
          </p:cNvSpPr>
          <p:nvPr>
            <p:ph type="title"/>
          </p:nvPr>
        </p:nvSpPr>
        <p:spPr/>
        <p:txBody>
          <a:bodyPr/>
          <a:lstStyle/>
          <a:p>
            <a:r>
              <a:rPr lang="en-US">
                <a:latin typeface="+mn-lt"/>
              </a:rPr>
              <a:t>Course Agenda</a:t>
            </a:r>
          </a:p>
        </p:txBody>
      </p:sp>
      <p:graphicFrame>
        <p:nvGraphicFramePr>
          <p:cNvPr id="7" name="Table 24">
            <a:extLst>
              <a:ext uri="{FF2B5EF4-FFF2-40B4-BE49-F238E27FC236}">
                <a16:creationId xmlns:a16="http://schemas.microsoft.com/office/drawing/2014/main" id="{DC73A7DF-82CF-D7DA-AF2F-61790BEE2677}"/>
              </a:ext>
            </a:extLst>
          </p:cNvPr>
          <p:cNvGraphicFramePr>
            <a:graphicFrameLocks/>
          </p:cNvGraphicFramePr>
          <p:nvPr>
            <p:extLst>
              <p:ext uri="{D42A27DB-BD31-4B8C-83A1-F6EECF244321}">
                <p14:modId xmlns:p14="http://schemas.microsoft.com/office/powerpoint/2010/main" val="3277899651"/>
              </p:ext>
            </p:extLst>
          </p:nvPr>
        </p:nvGraphicFramePr>
        <p:xfrm>
          <a:off x="5038367" y="2330700"/>
          <a:ext cx="6520855" cy="3190003"/>
        </p:xfrm>
        <a:graphic>
          <a:graphicData uri="http://schemas.openxmlformats.org/drawingml/2006/table">
            <a:tbl>
              <a:tblPr firstRow="1" bandRow="1">
                <a:tableStyleId>{5C22544A-7EE6-4342-B048-85BDC9FD1C3A}</a:tableStyleId>
              </a:tblPr>
              <a:tblGrid>
                <a:gridCol w="815107">
                  <a:extLst>
                    <a:ext uri="{9D8B030D-6E8A-4147-A177-3AD203B41FA5}">
                      <a16:colId xmlns:a16="http://schemas.microsoft.com/office/drawing/2014/main" val="1857791330"/>
                    </a:ext>
                  </a:extLst>
                </a:gridCol>
                <a:gridCol w="5705748">
                  <a:extLst>
                    <a:ext uri="{9D8B030D-6E8A-4147-A177-3AD203B41FA5}">
                      <a16:colId xmlns:a16="http://schemas.microsoft.com/office/drawing/2014/main" val="620299569"/>
                    </a:ext>
                  </a:extLst>
                </a:gridCol>
              </a:tblGrid>
              <a:tr h="649514">
                <a:tc>
                  <a:txBody>
                    <a:bodyPr/>
                    <a:lstStyle/>
                    <a:p>
                      <a:pPr>
                        <a:lnSpc>
                          <a:spcPct val="70000"/>
                        </a:lnSpc>
                      </a:pPr>
                      <a:r>
                        <a:rPr lang="en-GB" sz="3200" b="1">
                          <a:solidFill>
                            <a:srgbClr val="00338D"/>
                          </a:solidFill>
                          <a:latin typeface="+mn-lt"/>
                        </a:rPr>
                        <a:t>01</a:t>
                      </a:r>
                    </a:p>
                  </a:txBody>
                  <a:tcPr marT="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2000" b="0">
                          <a:solidFill>
                            <a:srgbClr val="00338D"/>
                          </a:solidFill>
                          <a:latin typeface="+mn-lt"/>
                        </a:rPr>
                        <a:t>Overview of F-RO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9216587"/>
                  </a:ext>
                </a:extLst>
              </a:tr>
              <a:tr h="649514">
                <a:tc>
                  <a:txBody>
                    <a:bodyPr/>
                    <a:lstStyle/>
                    <a:p>
                      <a:pPr>
                        <a:lnSpc>
                          <a:spcPct val="70000"/>
                        </a:lnSpc>
                      </a:pPr>
                      <a:r>
                        <a:rPr lang="en-GB" sz="3200" b="1">
                          <a:solidFill>
                            <a:srgbClr val="00338D"/>
                          </a:solidFill>
                          <a:latin typeface="+mn-lt"/>
                        </a:rPr>
                        <a:t>02</a:t>
                      </a:r>
                    </a:p>
                  </a:txBody>
                  <a:tcPr marT="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338D"/>
                          </a:solidFill>
                          <a:effectLst/>
                          <a:uLnTx/>
                          <a:uFillTx/>
                          <a:latin typeface="+mn-lt"/>
                          <a:ea typeface="+mn-ea"/>
                          <a:cs typeface="+mn-cs"/>
                        </a:rPr>
                        <a:t>Exploring F-ROC Forms and Document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0955894"/>
                  </a:ext>
                </a:extLst>
              </a:tr>
              <a:tr h="649514">
                <a:tc>
                  <a:txBody>
                    <a:bodyPr/>
                    <a:lstStyle/>
                    <a:p>
                      <a:pPr>
                        <a:lnSpc>
                          <a:spcPct val="70000"/>
                        </a:lnSpc>
                      </a:pPr>
                      <a:r>
                        <a:rPr lang="en-GB" sz="3200" b="1">
                          <a:solidFill>
                            <a:srgbClr val="00338D"/>
                          </a:solidFill>
                          <a:latin typeface="+mn-lt"/>
                        </a:rPr>
                        <a:t>03</a:t>
                      </a:r>
                    </a:p>
                  </a:txBody>
                  <a:tcPr marT="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338D"/>
                          </a:solidFill>
                          <a:effectLst/>
                          <a:uLnTx/>
                          <a:uFillTx/>
                          <a:latin typeface="+mn-lt"/>
                          <a:ea typeface="+mn-ea"/>
                          <a:cs typeface="+mn-cs"/>
                        </a:rPr>
                        <a:t>F-ROC Applicant Proces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0045840"/>
                  </a:ext>
                </a:extLst>
              </a:tr>
              <a:tr h="521773">
                <a:tc>
                  <a:txBody>
                    <a:bodyPr/>
                    <a:lstStyle/>
                    <a:p>
                      <a:pPr>
                        <a:lnSpc>
                          <a:spcPct val="70000"/>
                        </a:lnSpc>
                      </a:pPr>
                      <a:r>
                        <a:rPr lang="en-GB" sz="3200" b="1">
                          <a:solidFill>
                            <a:srgbClr val="00338D"/>
                          </a:solidFill>
                          <a:latin typeface="+mn-lt"/>
                        </a:rPr>
                        <a:t>04</a:t>
                      </a:r>
                    </a:p>
                  </a:txBody>
                  <a:tcPr marT="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338D"/>
                          </a:solidFill>
                          <a:effectLst/>
                          <a:uLnTx/>
                          <a:uFillTx/>
                          <a:latin typeface="+mn-lt"/>
                          <a:ea typeface="+mn-ea"/>
                          <a:cs typeface="+mn-cs"/>
                        </a:rPr>
                        <a:t>Integration and Applicatio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883214"/>
                  </a:ext>
                </a:extLst>
              </a:tr>
              <a:tr h="649514">
                <a:tc>
                  <a:txBody>
                    <a:bodyPr/>
                    <a:lstStyle/>
                    <a:p>
                      <a:pPr>
                        <a:lnSpc>
                          <a:spcPct val="70000"/>
                        </a:lnSpc>
                      </a:pPr>
                      <a:r>
                        <a:rPr lang="en-GB" sz="3200" b="1">
                          <a:solidFill>
                            <a:srgbClr val="00338D"/>
                          </a:solidFill>
                          <a:latin typeface="+mn-lt"/>
                        </a:rPr>
                        <a:t>05</a:t>
                      </a:r>
                    </a:p>
                  </a:txBody>
                  <a:tcPr marT="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0338D"/>
                          </a:solidFill>
                          <a:effectLst/>
                          <a:uLnTx/>
                          <a:uFillTx/>
                          <a:latin typeface="+mn-lt"/>
                          <a:ea typeface="+mn-ea"/>
                          <a:cs typeface="+mn-cs"/>
                        </a:rPr>
                        <a:t>Wrap-Up</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68550306"/>
                  </a:ext>
                </a:extLst>
              </a:tr>
            </a:tbl>
          </a:graphicData>
        </a:graphic>
      </p:graphicFrame>
      <p:pic>
        <p:nvPicPr>
          <p:cNvPr id="35" name="Picture 34">
            <a:extLst>
              <a:ext uri="{FF2B5EF4-FFF2-40B4-BE49-F238E27FC236}">
                <a16:creationId xmlns:a16="http://schemas.microsoft.com/office/drawing/2014/main" id="{40EEB01B-5C52-2808-D859-E97042CBB49F}"/>
              </a:ext>
            </a:extLst>
          </p:cNvPr>
          <p:cNvPicPr>
            <a:picLocks noChangeAspect="1"/>
          </p:cNvPicPr>
          <p:nvPr/>
        </p:nvPicPr>
        <p:blipFill rotWithShape="1">
          <a:blip r:embed="rId4"/>
          <a:srcRect t="345"/>
          <a:stretch/>
        </p:blipFill>
        <p:spPr>
          <a:xfrm>
            <a:off x="632778" y="3505200"/>
            <a:ext cx="2109000" cy="2426261"/>
          </a:xfrm>
          <a:prstGeom prst="rect">
            <a:avLst/>
          </a:prstGeom>
        </p:spPr>
      </p:pic>
    </p:spTree>
    <p:custDataLst>
      <p:tags r:id="rId1"/>
    </p:custDataLst>
    <p:extLst>
      <p:ext uri="{BB962C8B-B14F-4D97-AF65-F5344CB8AC3E}">
        <p14:creationId xmlns:p14="http://schemas.microsoft.com/office/powerpoint/2010/main" val="206788129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3030A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126D11-1926-40CB-A970-0DB36DA2942C}"/>
              </a:ext>
            </a:extLst>
          </p:cNvPr>
          <p:cNvSpPr>
            <a:spLocks noGrp="1"/>
          </p:cNvSpPr>
          <p:nvPr>
            <p:ph type="title"/>
          </p:nvPr>
        </p:nvSpPr>
        <p:spPr>
          <a:xfrm>
            <a:off x="838200" y="3363203"/>
            <a:ext cx="10515600" cy="1018714"/>
          </a:xfrm>
        </p:spPr>
        <p:txBody>
          <a:bodyPr>
            <a:normAutofit/>
          </a:bodyPr>
          <a:lstStyle/>
          <a:p>
            <a:pPr algn="ctr"/>
            <a:r>
              <a:rPr lang="en-US" sz="6000">
                <a:latin typeface="+mn-lt"/>
              </a:rPr>
              <a:t>QUESTIONS?</a:t>
            </a:r>
          </a:p>
        </p:txBody>
      </p:sp>
      <p:pic>
        <p:nvPicPr>
          <p:cNvPr id="4" name="Picture 3" descr="A qr code with a logo&#10;&#10;Description automatically generated with low confidence">
            <a:extLst>
              <a:ext uri="{FF2B5EF4-FFF2-40B4-BE49-F238E27FC236}">
                <a16:creationId xmlns:a16="http://schemas.microsoft.com/office/drawing/2014/main" id="{49180C74-2EAF-5457-BE6B-27F15FDBF83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9271" y="4018417"/>
            <a:ext cx="1894440" cy="2352895"/>
          </a:xfrm>
          <a:prstGeom prst="rect">
            <a:avLst/>
          </a:prstGeom>
        </p:spPr>
      </p:pic>
    </p:spTree>
    <p:custDataLst>
      <p:tags r:id="rId1"/>
    </p:custDataLst>
    <p:extLst>
      <p:ext uri="{BB962C8B-B14F-4D97-AF65-F5344CB8AC3E}">
        <p14:creationId xmlns:p14="http://schemas.microsoft.com/office/powerpoint/2010/main" val="35973128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3030A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126D11-1926-40CB-A970-0DB36DA2942C}"/>
              </a:ext>
            </a:extLst>
          </p:cNvPr>
          <p:cNvSpPr>
            <a:spLocks noGrp="1"/>
          </p:cNvSpPr>
          <p:nvPr>
            <p:ph type="title"/>
          </p:nvPr>
        </p:nvSpPr>
        <p:spPr>
          <a:xfrm>
            <a:off x="838200" y="3321322"/>
            <a:ext cx="10515600" cy="1018714"/>
          </a:xfrm>
        </p:spPr>
        <p:txBody>
          <a:bodyPr>
            <a:noAutofit/>
          </a:bodyPr>
          <a:lstStyle/>
          <a:p>
            <a:pPr algn="ctr"/>
            <a:r>
              <a:rPr lang="en-US" sz="6000">
                <a:latin typeface="+mn-lt"/>
              </a:rPr>
              <a:t>Module 1</a:t>
            </a:r>
            <a:br>
              <a:rPr lang="en-US" sz="6000">
                <a:latin typeface="+mn-lt"/>
              </a:rPr>
            </a:br>
            <a:r>
              <a:rPr lang="en-US" sz="6000">
                <a:latin typeface="+mn-lt"/>
              </a:rPr>
              <a:t>Overview of F-ROC</a:t>
            </a:r>
          </a:p>
        </p:txBody>
      </p:sp>
    </p:spTree>
    <p:custDataLst>
      <p:tags r:id="rId1"/>
    </p:custDataLst>
    <p:extLst>
      <p:ext uri="{BB962C8B-B14F-4D97-AF65-F5344CB8AC3E}">
        <p14:creationId xmlns:p14="http://schemas.microsoft.com/office/powerpoint/2010/main" val="22350053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866B0A-1903-4773-984F-54753D1F66A9}"/>
              </a:ext>
            </a:extLst>
          </p:cNvPr>
          <p:cNvSpPr>
            <a:spLocks noGrp="1"/>
          </p:cNvSpPr>
          <p:nvPr>
            <p:ph type="title"/>
          </p:nvPr>
        </p:nvSpPr>
        <p:spPr/>
        <p:txBody>
          <a:bodyPr/>
          <a:lstStyle/>
          <a:p>
            <a:r>
              <a:rPr lang="en-US">
                <a:latin typeface="+mn-lt"/>
              </a:rPr>
              <a:t>F-ROC Comprehensive</a:t>
            </a:r>
          </a:p>
        </p:txBody>
      </p:sp>
      <p:pic>
        <p:nvPicPr>
          <p:cNvPr id="3" name="Comprehensive F-ROC-720p-230620">
            <a:hlinkClick r:id="" action="ppaction://media"/>
            <a:extLst>
              <a:ext uri="{FF2B5EF4-FFF2-40B4-BE49-F238E27FC236}">
                <a16:creationId xmlns:a16="http://schemas.microsoft.com/office/drawing/2014/main" id="{B419EB7A-CF47-DF74-27A1-B3385A720667}"/>
              </a:ext>
            </a:extLst>
          </p:cNvPr>
          <p:cNvPicPr>
            <a:picLocks noChangeAspect="1"/>
          </p:cNvPicPr>
          <p:nvPr>
            <a:videoFile r:link="rId3"/>
            <p:extLst>
              <p:ext uri="{DAA4B4D4-6D71-4841-9C94-3DE7FCFB9230}">
                <p14:media xmlns:p14="http://schemas.microsoft.com/office/powerpoint/2010/main" r:embed="rId2"/>
              </p:ext>
            </p:extLst>
          </p:nvPr>
        </p:nvPicPr>
        <p:blipFill>
          <a:blip r:embed="rId5"/>
          <a:stretch>
            <a:fillRect/>
          </a:stretch>
        </p:blipFill>
        <p:spPr>
          <a:xfrm>
            <a:off x="1288299" y="1268639"/>
            <a:ext cx="9615402" cy="5408664"/>
          </a:xfrm>
          <a:prstGeom prst="rect">
            <a:avLst/>
          </a:prstGeom>
        </p:spPr>
      </p:pic>
    </p:spTree>
    <p:custDataLst>
      <p:tags r:id="rId1"/>
    </p:custDataLst>
    <p:extLst>
      <p:ext uri="{BB962C8B-B14F-4D97-AF65-F5344CB8AC3E}">
        <p14:creationId xmlns:p14="http://schemas.microsoft.com/office/powerpoint/2010/main" val="35489931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2154"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Rectangle 110">
            <a:extLst>
              <a:ext uri="{FF2B5EF4-FFF2-40B4-BE49-F238E27FC236}">
                <a16:creationId xmlns:a16="http://schemas.microsoft.com/office/drawing/2014/main" id="{97BF87DC-A901-BB9E-C009-071B67F170DF}"/>
              </a:ext>
            </a:extLst>
          </p:cNvPr>
          <p:cNvSpPr/>
          <p:nvPr/>
        </p:nvSpPr>
        <p:spPr>
          <a:xfrm>
            <a:off x="9843949" y="0"/>
            <a:ext cx="2348052" cy="6858000"/>
          </a:xfrm>
          <a:prstGeom prst="rect">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a:ln>
                <a:noFill/>
              </a:ln>
              <a:solidFill>
                <a:srgbClr val="FFFFFF"/>
              </a:solidFill>
              <a:effectLst/>
              <a:uLnTx/>
              <a:uFillTx/>
              <a:latin typeface="Calibri" panose="020F0502020204030204"/>
              <a:ea typeface="+mn-ea"/>
              <a:cs typeface="+mn-cs"/>
              <a:sym typeface="Arial"/>
            </a:endParaRPr>
          </a:p>
        </p:txBody>
      </p:sp>
      <p:sp>
        <p:nvSpPr>
          <p:cNvPr id="2" name="Title 1">
            <a:extLst>
              <a:ext uri="{FF2B5EF4-FFF2-40B4-BE49-F238E27FC236}">
                <a16:creationId xmlns:a16="http://schemas.microsoft.com/office/drawing/2014/main" id="{7480BA5E-7179-4FA0-894D-3397905642BC}"/>
              </a:ext>
            </a:extLst>
          </p:cNvPr>
          <p:cNvSpPr>
            <a:spLocks noGrp="1"/>
          </p:cNvSpPr>
          <p:nvPr>
            <p:ph type="title"/>
          </p:nvPr>
        </p:nvSpPr>
        <p:spPr/>
        <p:txBody>
          <a:bodyPr>
            <a:normAutofit/>
          </a:bodyPr>
          <a:lstStyle/>
          <a:p>
            <a:r>
              <a:rPr lang="en-US" sz="3600"/>
              <a:t>Why does Public Assistance Need a Change?</a:t>
            </a:r>
            <a:endParaRPr lang="en-US" sz="3600">
              <a:solidFill>
                <a:schemeClr val="bg1"/>
              </a:solidFill>
            </a:endParaRPr>
          </a:p>
        </p:txBody>
      </p:sp>
      <p:sp>
        <p:nvSpPr>
          <p:cNvPr id="61" name="Slide Number Placeholder 60">
            <a:extLst>
              <a:ext uri="{FF2B5EF4-FFF2-40B4-BE49-F238E27FC236}">
                <a16:creationId xmlns:a16="http://schemas.microsoft.com/office/drawing/2014/main" id="{EDAEACD0-50F7-B8F1-23C2-28788C0A2FCD}"/>
              </a:ext>
            </a:extLst>
          </p:cNvPr>
          <p:cNvSpPr>
            <a:spLocks noGrp="1"/>
          </p:cNvSpPr>
          <p:nvPr>
            <p:ph type="sldNum" sz="quarter" idx="12"/>
          </p:nvPr>
        </p:nvSpPr>
        <p:spPr>
          <a:xfrm>
            <a:off x="4724400" y="6481407"/>
            <a:ext cx="2743200" cy="218622"/>
          </a:xfrm>
        </p:spPr>
        <p:txBody>
          <a:bodyPr/>
          <a:lstStyle/>
          <a:p>
            <a:pPr algn="ctr"/>
            <a:r>
              <a:rPr lang="en-US" sz="900" b="1">
                <a:solidFill>
                  <a:srgbClr val="002060"/>
                </a:solidFill>
              </a:rPr>
              <a:t>- </a:t>
            </a:r>
            <a:fld id="{425190C6-7B3E-465D-8846-AA81F2046AC6}" type="slidenum">
              <a:rPr lang="en-US" sz="900" b="1" smtClean="0">
                <a:solidFill>
                  <a:srgbClr val="002060"/>
                </a:solidFill>
              </a:rPr>
              <a:pPr algn="ctr"/>
              <a:t>9</a:t>
            </a:fld>
            <a:r>
              <a:rPr lang="en-US" sz="900" b="1">
                <a:solidFill>
                  <a:srgbClr val="002060"/>
                </a:solidFill>
              </a:rPr>
              <a:t> -</a:t>
            </a:r>
          </a:p>
        </p:txBody>
      </p:sp>
      <p:sp>
        <p:nvSpPr>
          <p:cNvPr id="109" name="Content Placeholder 2">
            <a:extLst>
              <a:ext uri="{FF2B5EF4-FFF2-40B4-BE49-F238E27FC236}">
                <a16:creationId xmlns:a16="http://schemas.microsoft.com/office/drawing/2014/main" id="{59DF48C6-F6F5-4CE7-7B4C-040CA9EF1C50}"/>
              </a:ext>
            </a:extLst>
          </p:cNvPr>
          <p:cNvSpPr txBox="1">
            <a:spLocks/>
          </p:cNvSpPr>
          <p:nvPr/>
        </p:nvSpPr>
        <p:spPr>
          <a:xfrm>
            <a:off x="258658" y="1247842"/>
            <a:ext cx="9438236" cy="847699"/>
          </a:xfrm>
          <a:prstGeom prst="rect">
            <a:avLst/>
          </a:prstGeom>
        </p:spPr>
        <p:txBody>
          <a:bodyPr vert="horz" lIns="91440" tIns="45720" rIns="91440" bIns="45720" rtlCol="0">
            <a:noAutofit/>
          </a:bodyPr>
          <a:lstStyle>
            <a:lvl1pPr marL="228589" indent="-228589" algn="l" defTabSz="914354" rtl="0" eaLnBrk="1" latinLnBrk="0" hangingPunct="1">
              <a:lnSpc>
                <a:spcPct val="90000"/>
              </a:lnSpc>
              <a:spcBef>
                <a:spcPts val="1000"/>
              </a:spcBef>
              <a:buFont typeface="Arial" panose="020B0604020202020204" pitchFamily="34" charset="0"/>
              <a:buChar char="•"/>
              <a:defRPr sz="2800" kern="1200">
                <a:solidFill>
                  <a:schemeClr val="bg2">
                    <a:lumMod val="50000"/>
                  </a:schemeClr>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2400" kern="1200">
                <a:solidFill>
                  <a:schemeClr val="bg2">
                    <a:lumMod val="50000"/>
                  </a:schemeClr>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2000" kern="1200">
                <a:solidFill>
                  <a:schemeClr val="bg2">
                    <a:lumMod val="50000"/>
                  </a:schemeClr>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bg2">
                    <a:lumMod val="50000"/>
                  </a:schemeClr>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bg2">
                    <a:lumMod val="50000"/>
                  </a:schemeClr>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Clr>
                <a:srgbClr val="000000"/>
              </a:buClr>
              <a:buFont typeface="Arial" panose="020B0604020202020204" pitchFamily="34" charset="0"/>
              <a:buNone/>
              <a:defRPr/>
            </a:pPr>
            <a:r>
              <a:rPr lang="en-US" sz="1800" b="1" i="1">
                <a:solidFill>
                  <a:schemeClr val="tx1"/>
                </a:solidFill>
                <a:cs typeface="Arial" panose="020B0604020202020204" pitchFamily="34" charset="0"/>
                <a:sym typeface="Arial"/>
              </a:rPr>
              <a:t>The process of Public Assistance is complex and time-consuming. Applicants are required to navigate a maze of bureaucratic procedures, paperwork, and reporting requirements. This administrative burden strains already limited resources and slows down the recovery process. Some of the many challenges are:</a:t>
            </a:r>
          </a:p>
        </p:txBody>
      </p:sp>
      <p:graphicFrame>
        <p:nvGraphicFramePr>
          <p:cNvPr id="110" name="Table 110">
            <a:extLst>
              <a:ext uri="{FF2B5EF4-FFF2-40B4-BE49-F238E27FC236}">
                <a16:creationId xmlns:a16="http://schemas.microsoft.com/office/drawing/2014/main" id="{77579EBC-5037-49B5-E991-4E090D801435}"/>
              </a:ext>
            </a:extLst>
          </p:cNvPr>
          <p:cNvGraphicFramePr>
            <a:graphicFrameLocks noGrp="1"/>
          </p:cNvGraphicFramePr>
          <p:nvPr>
            <p:extLst>
              <p:ext uri="{D42A27DB-BD31-4B8C-83A1-F6EECF244321}">
                <p14:modId xmlns:p14="http://schemas.microsoft.com/office/powerpoint/2010/main" val="904379594"/>
              </p:ext>
            </p:extLst>
          </p:nvPr>
        </p:nvGraphicFramePr>
        <p:xfrm>
          <a:off x="366281" y="2438400"/>
          <a:ext cx="9195508" cy="4142710"/>
        </p:xfrm>
        <a:graphic>
          <a:graphicData uri="http://schemas.openxmlformats.org/drawingml/2006/table">
            <a:tbl>
              <a:tblPr firstRow="1" bandRow="1">
                <a:tableStyleId>{5C22544A-7EE6-4342-B048-85BDC9FD1C3A}</a:tableStyleId>
              </a:tblPr>
              <a:tblGrid>
                <a:gridCol w="597310">
                  <a:extLst>
                    <a:ext uri="{9D8B030D-6E8A-4147-A177-3AD203B41FA5}">
                      <a16:colId xmlns:a16="http://schemas.microsoft.com/office/drawing/2014/main" val="924579717"/>
                    </a:ext>
                  </a:extLst>
                </a:gridCol>
                <a:gridCol w="8598198">
                  <a:extLst>
                    <a:ext uri="{9D8B030D-6E8A-4147-A177-3AD203B41FA5}">
                      <a16:colId xmlns:a16="http://schemas.microsoft.com/office/drawing/2014/main" val="2736229024"/>
                    </a:ext>
                  </a:extLst>
                </a:gridCol>
              </a:tblGrid>
              <a:tr h="668162">
                <a:tc>
                  <a:txBody>
                    <a:bodyPr/>
                    <a:lstStyle/>
                    <a:p>
                      <a:endParaRPr lang="en-US" sz="1400">
                        <a:solidFill>
                          <a:schemeClr val="tx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Font typeface="Arial" panose="020B0604020202020204" pitchFamily="34" charset="0"/>
                        <a:buNone/>
                      </a:pPr>
                      <a:r>
                        <a:rPr lang="en-US" sz="1600" b="0">
                          <a:solidFill>
                            <a:schemeClr val="tx1"/>
                          </a:solidFill>
                          <a:latin typeface="+mn-lt"/>
                          <a:cs typeface="Arial" panose="020B0604020202020204" pitchFamily="34" charset="0"/>
                        </a:rPr>
                        <a:t>Inaccurate, incomplete, or inconsistent documentation has caused an </a:t>
                      </a:r>
                      <a:r>
                        <a:rPr lang="en-US" sz="1600" b="1">
                          <a:solidFill>
                            <a:srgbClr val="0070C0"/>
                          </a:solidFill>
                          <a:latin typeface="+mn-lt"/>
                          <a:cs typeface="Arial" panose="020B0604020202020204" pitchFamily="34" charset="0"/>
                        </a:rPr>
                        <a:t>increase in de-obligations</a:t>
                      </a:r>
                      <a:r>
                        <a:rPr lang="en-US" sz="1600" b="0">
                          <a:solidFill>
                            <a:schemeClr val="tx1"/>
                          </a:solidFill>
                          <a:latin typeface="+mn-lt"/>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8195059"/>
                  </a:ext>
                </a:extLst>
              </a:tr>
              <a:tr h="868637">
                <a:tc>
                  <a:txBody>
                    <a:bodyPr/>
                    <a:lstStyle/>
                    <a:p>
                      <a:endParaRPr lang="en-US" sz="1400">
                        <a:solidFill>
                          <a:schemeClr val="tx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0">
                          <a:solidFill>
                            <a:schemeClr val="tx1"/>
                          </a:solidFill>
                          <a:latin typeface="+mn-lt"/>
                          <a:cs typeface="Arial" panose="020B0604020202020204" pitchFamily="34" charset="0"/>
                        </a:rPr>
                        <a:t>There is a </a:t>
                      </a:r>
                      <a:r>
                        <a:rPr lang="en-US" sz="1600" b="1">
                          <a:solidFill>
                            <a:srgbClr val="0070C0"/>
                          </a:solidFill>
                          <a:latin typeface="+mn-lt"/>
                          <a:cs typeface="Arial" panose="020B0604020202020204" pitchFamily="34" charset="0"/>
                        </a:rPr>
                        <a:t>lack of standards </a:t>
                      </a:r>
                      <a:r>
                        <a:rPr lang="en-US" sz="1600" b="0">
                          <a:solidFill>
                            <a:schemeClr val="tx1"/>
                          </a:solidFill>
                          <a:latin typeface="+mn-lt"/>
                          <a:cs typeface="Arial" panose="020B0604020202020204" pitchFamily="34" charset="0"/>
                        </a:rPr>
                        <a:t>when it comes to documentation – paperwork is often submitted in a variety of formats (like PDFs, Excel spreadsheets, emails, and scanned files).</a:t>
                      </a:r>
                      <a:endParaRPr lang="en-US" sz="1600">
                        <a:solidFill>
                          <a:schemeClr val="tx1"/>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0251502"/>
                  </a:ext>
                </a:extLst>
              </a:tr>
              <a:tr h="868637">
                <a:tc>
                  <a:txBody>
                    <a:bodyPr/>
                    <a:lstStyle/>
                    <a:p>
                      <a:endParaRPr lang="en-US" sz="1400">
                        <a:solidFill>
                          <a:schemeClr val="tx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chemeClr val="tx1"/>
                          </a:solidFill>
                          <a:latin typeface="+mn-lt"/>
                          <a:cs typeface="Arial" panose="020B0604020202020204" pitchFamily="34" charset="0"/>
                        </a:rPr>
                        <a:t>Public Assistance efforts are </a:t>
                      </a:r>
                      <a:r>
                        <a:rPr lang="en-US" sz="1600" b="1">
                          <a:solidFill>
                            <a:srgbClr val="0070C0"/>
                          </a:solidFill>
                          <a:latin typeface="+mn-lt"/>
                          <a:cs typeface="Arial" panose="020B0604020202020204" pitchFamily="34" charset="0"/>
                        </a:rPr>
                        <a:t>too reactive</a:t>
                      </a:r>
                      <a:r>
                        <a:rPr lang="en-US" sz="1600">
                          <a:solidFill>
                            <a:schemeClr val="tx1"/>
                          </a:solidFill>
                          <a:latin typeface="+mn-lt"/>
                          <a:cs typeface="Arial" panose="020B0604020202020204" pitchFamily="34" charset="0"/>
                        </a:rPr>
                        <a:t>. Most of the work being done for an event takes place after it has already occurred, exacerbating the suffering of affected communit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1454618"/>
                  </a:ext>
                </a:extLst>
              </a:tr>
              <a:tr h="868637">
                <a:tc>
                  <a:txBody>
                    <a:bodyPr/>
                    <a:lstStyle/>
                    <a:p>
                      <a:endParaRPr lang="en-US" sz="1400">
                        <a:solidFill>
                          <a:schemeClr val="tx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chemeClr val="tx1"/>
                          </a:solidFill>
                          <a:latin typeface="+mn-lt"/>
                          <a:cs typeface="Arial" panose="020B0604020202020204" pitchFamily="34" charset="0"/>
                        </a:rPr>
                        <a:t>Post-event funding to help address the immediate needs of impacted communities is often </a:t>
                      </a:r>
                      <a:r>
                        <a:rPr lang="en-US" sz="1600" b="1">
                          <a:solidFill>
                            <a:srgbClr val="0070C0"/>
                          </a:solidFill>
                          <a:latin typeface="+mn-lt"/>
                          <a:cs typeface="Arial" panose="020B0604020202020204" pitchFamily="34" charset="0"/>
                        </a:rPr>
                        <a:t>delayed</a:t>
                      </a:r>
                      <a:r>
                        <a:rPr lang="en-US" sz="1600">
                          <a:solidFill>
                            <a:schemeClr val="tx1"/>
                          </a:solidFill>
                          <a:latin typeface="+mn-lt"/>
                          <a:cs typeface="Arial" panose="020B0604020202020204" pitchFamily="34" charset="0"/>
                        </a:rPr>
                        <a:t> or even </a:t>
                      </a:r>
                      <a:r>
                        <a:rPr lang="en-US" sz="1600" b="1">
                          <a:solidFill>
                            <a:srgbClr val="0070C0"/>
                          </a:solidFill>
                          <a:latin typeface="+mn-lt"/>
                          <a:cs typeface="Arial" panose="020B0604020202020204" pitchFamily="34" charset="0"/>
                        </a:rPr>
                        <a:t>clawed back</a:t>
                      </a:r>
                      <a:r>
                        <a:rPr lang="en-US" sz="1600" b="0">
                          <a:solidFill>
                            <a:schemeClr val="tx1"/>
                          </a:solidFill>
                          <a:latin typeface="+mn-lt"/>
                          <a:cs typeface="Arial" panose="020B0604020202020204" pitchFamily="34" charset="0"/>
                        </a:rPr>
                        <a:t>, hindering recovery and rebuilding effort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9727236"/>
                  </a:ext>
                </a:extLst>
              </a:tr>
              <a:tr h="868637">
                <a:tc>
                  <a:txBody>
                    <a:bodyPr/>
                    <a:lstStyle/>
                    <a:p>
                      <a:endParaRPr lang="en-US" sz="1400">
                        <a:solidFill>
                          <a:schemeClr val="tx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a:solidFill>
                            <a:schemeClr val="tx1"/>
                          </a:solidFill>
                          <a:latin typeface="+mn-lt"/>
                          <a:cs typeface="Arial" panose="020B0604020202020204" pitchFamily="34" charset="0"/>
                        </a:rPr>
                        <a:t>A </a:t>
                      </a:r>
                      <a:r>
                        <a:rPr lang="en-US" sz="1600" b="1">
                          <a:solidFill>
                            <a:srgbClr val="0070C0"/>
                          </a:solidFill>
                          <a:latin typeface="+mn-lt"/>
                          <a:cs typeface="Arial" panose="020B0604020202020204" pitchFamily="34" charset="0"/>
                        </a:rPr>
                        <a:t>lack of risk-based approaches </a:t>
                      </a:r>
                      <a:r>
                        <a:rPr lang="en-US" sz="1600">
                          <a:solidFill>
                            <a:schemeClr val="tx1"/>
                          </a:solidFill>
                          <a:latin typeface="+mn-lt"/>
                          <a:cs typeface="Arial" panose="020B0604020202020204" pitchFamily="34" charset="0"/>
                        </a:rPr>
                        <a:t>in Public Assistance results in challenges with OIG findings, audits, and complianc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5549473"/>
                  </a:ext>
                </a:extLst>
              </a:tr>
            </a:tbl>
          </a:graphicData>
        </a:graphic>
      </p:graphicFrame>
      <p:sp>
        <p:nvSpPr>
          <p:cNvPr id="112" name="Rectangle 111">
            <a:extLst>
              <a:ext uri="{FF2B5EF4-FFF2-40B4-BE49-F238E27FC236}">
                <a16:creationId xmlns:a16="http://schemas.microsoft.com/office/drawing/2014/main" id="{D374742C-FD70-9CE3-FD36-F983B1D8673C}"/>
              </a:ext>
            </a:extLst>
          </p:cNvPr>
          <p:cNvSpPr/>
          <p:nvPr/>
        </p:nvSpPr>
        <p:spPr>
          <a:xfrm>
            <a:off x="11552771" y="0"/>
            <a:ext cx="639229" cy="55148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a:ln>
                <a:noFill/>
              </a:ln>
              <a:solidFill>
                <a:srgbClr val="FFFFFF"/>
              </a:solidFill>
              <a:effectLst/>
              <a:uLnTx/>
              <a:uFillTx/>
              <a:latin typeface="Calibri" panose="020F0502020204030204"/>
              <a:ea typeface="+mn-ea"/>
              <a:cs typeface="+mn-cs"/>
              <a:sym typeface="Arial"/>
            </a:endParaRPr>
          </a:p>
        </p:txBody>
      </p:sp>
      <p:sp>
        <p:nvSpPr>
          <p:cNvPr id="113" name="Right Triangle 112">
            <a:extLst>
              <a:ext uri="{FF2B5EF4-FFF2-40B4-BE49-F238E27FC236}">
                <a16:creationId xmlns:a16="http://schemas.microsoft.com/office/drawing/2014/main" id="{337761C1-2E05-F471-071D-CBA0E869007A}"/>
              </a:ext>
            </a:extLst>
          </p:cNvPr>
          <p:cNvSpPr/>
          <p:nvPr/>
        </p:nvSpPr>
        <p:spPr>
          <a:xfrm>
            <a:off x="11547815" y="0"/>
            <a:ext cx="644185" cy="566122"/>
          </a:xfrm>
          <a:prstGeom prst="rtTriangle">
            <a:avLst/>
          </a:prstGeom>
          <a:solidFill>
            <a:schemeClr val="bg2">
              <a:lumMod val="50000"/>
            </a:schemeClr>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a:ln>
                <a:noFill/>
              </a:ln>
              <a:solidFill>
                <a:srgbClr val="FFFFFF"/>
              </a:solidFill>
              <a:effectLst/>
              <a:uLnTx/>
              <a:uFillTx/>
              <a:latin typeface="Calibri" panose="020F0502020204030204"/>
              <a:ea typeface="+mn-ea"/>
              <a:cs typeface="+mn-cs"/>
              <a:sym typeface="Arial"/>
            </a:endParaRPr>
          </a:p>
        </p:txBody>
      </p:sp>
      <p:sp>
        <p:nvSpPr>
          <p:cNvPr id="121" name="Rectangular Callout 14">
            <a:extLst>
              <a:ext uri="{FF2B5EF4-FFF2-40B4-BE49-F238E27FC236}">
                <a16:creationId xmlns:a16="http://schemas.microsoft.com/office/drawing/2014/main" id="{36414AC0-800E-65F1-C9C4-2940F72283F1}"/>
              </a:ext>
            </a:extLst>
          </p:cNvPr>
          <p:cNvSpPr/>
          <p:nvPr/>
        </p:nvSpPr>
        <p:spPr>
          <a:xfrm>
            <a:off x="10001194" y="194822"/>
            <a:ext cx="1362919" cy="1201903"/>
          </a:xfrm>
          <a:prstGeom prst="wedgeRectCallout">
            <a:avLst>
              <a:gd name="adj1" fmla="val -18943"/>
              <a:gd name="adj2" fmla="val 66243"/>
            </a:avLst>
          </a:prstGeom>
          <a:solidFill>
            <a:schemeClr val="bg1">
              <a:lumMod val="95000"/>
            </a:schemeClr>
          </a:solidFill>
          <a:ln>
            <a:solidFill>
              <a:schemeClr val="bg2">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1219170" rtl="0" eaLnBrk="0" fontAlgn="base" latinLnBrk="0" hangingPunct="0">
              <a:lnSpc>
                <a:spcPct val="100000"/>
              </a:lnSpc>
              <a:spcBef>
                <a:spcPct val="0"/>
              </a:spcBef>
              <a:spcAft>
                <a:spcPts val="451"/>
              </a:spcAft>
              <a:buClr>
                <a:srgbClr val="000000"/>
              </a:buClr>
              <a:buSzTx/>
              <a:buFontTx/>
              <a:buNone/>
              <a:tabLst/>
              <a:defRPr/>
            </a:pPr>
            <a:r>
              <a:rPr kumimoji="0" lang="en-US" sz="1050" b="0" i="1" u="none" strike="noStrike" kern="0" cap="none" spc="0" normalizeH="0" baseline="0" noProof="0">
                <a:ln>
                  <a:noFill/>
                </a:ln>
                <a:solidFill>
                  <a:srgbClr val="000000"/>
                </a:solidFill>
                <a:effectLst/>
                <a:uLnTx/>
                <a:uFillTx/>
                <a:ea typeface="+mn-ea"/>
                <a:cs typeface="Arial" panose="020B0604020202020204" pitchFamily="34" charset="0"/>
                <a:sym typeface="Arial"/>
              </a:rPr>
              <a:t>“We’re still </a:t>
            </a:r>
            <a:r>
              <a:rPr lang="en-US" sz="1050" i="1" kern="0">
                <a:solidFill>
                  <a:srgbClr val="000000"/>
                </a:solidFill>
                <a:cs typeface="Arial" panose="020B0604020202020204" pitchFamily="34" charset="0"/>
                <a:sym typeface="Arial"/>
              </a:rPr>
              <a:t>waiting on closeouts for Hurricane Matthew and Hurricane Irma. Anything to make this process faster would really help.”</a:t>
            </a:r>
            <a:endParaRPr kumimoji="0" lang="en-US" sz="1050" b="0" i="1" u="none" strike="noStrike" kern="0" cap="none" spc="0" normalizeH="0" baseline="0" noProof="0">
              <a:ln>
                <a:noFill/>
              </a:ln>
              <a:solidFill>
                <a:srgbClr val="000000"/>
              </a:solidFill>
              <a:effectLst/>
              <a:uLnTx/>
              <a:uFillTx/>
              <a:ea typeface="+mn-ea"/>
              <a:cs typeface="Arial" panose="020B0604020202020204" pitchFamily="34" charset="0"/>
              <a:sym typeface="Arial"/>
            </a:endParaRPr>
          </a:p>
        </p:txBody>
      </p:sp>
      <p:sp>
        <p:nvSpPr>
          <p:cNvPr id="413" name="Rectangular Callout 14">
            <a:extLst>
              <a:ext uri="{FF2B5EF4-FFF2-40B4-BE49-F238E27FC236}">
                <a16:creationId xmlns:a16="http://schemas.microsoft.com/office/drawing/2014/main" id="{CB06761C-6772-88FE-F0E9-2F515E856DA0}"/>
              </a:ext>
            </a:extLst>
          </p:cNvPr>
          <p:cNvSpPr/>
          <p:nvPr/>
        </p:nvSpPr>
        <p:spPr>
          <a:xfrm>
            <a:off x="10024593" y="5841229"/>
            <a:ext cx="1500718" cy="768455"/>
          </a:xfrm>
          <a:prstGeom prst="wedgeRectCallout">
            <a:avLst>
              <a:gd name="adj1" fmla="val -22621"/>
              <a:gd name="adj2" fmla="val -63864"/>
            </a:avLst>
          </a:prstGeom>
          <a:solidFill>
            <a:schemeClr val="bg1">
              <a:lumMod val="95000"/>
            </a:schemeClr>
          </a:solidFill>
          <a:ln>
            <a:solidFill>
              <a:schemeClr val="bg2">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rtl="0" eaLnBrk="0" fontAlgn="base" latinLnBrk="0" hangingPunct="0">
              <a:lnSpc>
                <a:spcPct val="100000"/>
              </a:lnSpc>
              <a:spcBef>
                <a:spcPct val="0"/>
              </a:spcBef>
              <a:spcAft>
                <a:spcPts val="451"/>
              </a:spcAft>
              <a:buClr>
                <a:srgbClr val="000000"/>
              </a:buClr>
              <a:buSzTx/>
              <a:buFontTx/>
              <a:buNone/>
              <a:tabLst/>
              <a:defRPr/>
            </a:pPr>
            <a:r>
              <a:rPr kumimoji="0" lang="en-US" sz="1050" b="0" i="1" u="none" strike="noStrike" kern="0" cap="none" spc="0" normalizeH="0" baseline="0" noProof="0">
                <a:ln>
                  <a:noFill/>
                </a:ln>
                <a:solidFill>
                  <a:srgbClr val="000000"/>
                </a:solidFill>
                <a:effectLst/>
                <a:uLnTx/>
                <a:uFillTx/>
                <a:ea typeface="+mn-ea"/>
                <a:cs typeface="Arial" panose="020B0604020202020204" pitchFamily="34" charset="0"/>
                <a:sym typeface="Arial"/>
              </a:rPr>
              <a:t>“When I think of Public Assistance, I think of tedious paperwork and looming deadlines.”</a:t>
            </a:r>
          </a:p>
        </p:txBody>
      </p:sp>
      <p:sp>
        <p:nvSpPr>
          <p:cNvPr id="414" name="Rectangular Callout 14">
            <a:extLst>
              <a:ext uri="{FF2B5EF4-FFF2-40B4-BE49-F238E27FC236}">
                <a16:creationId xmlns:a16="http://schemas.microsoft.com/office/drawing/2014/main" id="{4E31E1F4-A6E3-AC43-653D-B0AE80B792D5}"/>
              </a:ext>
            </a:extLst>
          </p:cNvPr>
          <p:cNvSpPr/>
          <p:nvPr/>
        </p:nvSpPr>
        <p:spPr>
          <a:xfrm>
            <a:off x="10769557" y="4523149"/>
            <a:ext cx="1275471" cy="983769"/>
          </a:xfrm>
          <a:prstGeom prst="wedgeRectCallout">
            <a:avLst>
              <a:gd name="adj1" fmla="val -22681"/>
              <a:gd name="adj2" fmla="val -65821"/>
            </a:avLst>
          </a:prstGeom>
          <a:solidFill>
            <a:schemeClr val="bg1">
              <a:lumMod val="95000"/>
            </a:schemeClr>
          </a:solidFill>
          <a:ln>
            <a:solidFill>
              <a:schemeClr val="bg2">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rtl="0" eaLnBrk="0" fontAlgn="base" latinLnBrk="0" hangingPunct="0">
              <a:lnSpc>
                <a:spcPct val="100000"/>
              </a:lnSpc>
              <a:spcBef>
                <a:spcPct val="0"/>
              </a:spcBef>
              <a:spcAft>
                <a:spcPts val="451"/>
              </a:spcAft>
              <a:buClr>
                <a:srgbClr val="000000"/>
              </a:buClr>
              <a:buSzTx/>
              <a:buFontTx/>
              <a:buNone/>
              <a:tabLst/>
              <a:defRPr/>
            </a:pPr>
            <a:r>
              <a:rPr kumimoji="0" lang="en-US" sz="1050" b="0" i="1" u="none" strike="noStrike" kern="0" cap="none" spc="0" normalizeH="0" baseline="0" noProof="0">
                <a:ln>
                  <a:noFill/>
                </a:ln>
                <a:solidFill>
                  <a:srgbClr val="000000"/>
                </a:solidFill>
                <a:effectLst/>
                <a:uLnTx/>
                <a:uFillTx/>
                <a:ea typeface="+mn-ea"/>
                <a:cs typeface="Arial" panose="020B0604020202020204" pitchFamily="34" charset="0"/>
                <a:sym typeface="Arial"/>
              </a:rPr>
              <a:t>“Anything that will make this more streamlined and efficient seems like a bonus to me!”</a:t>
            </a:r>
          </a:p>
        </p:txBody>
      </p:sp>
      <p:sp>
        <p:nvSpPr>
          <p:cNvPr id="415" name="Rectangular Callout 14">
            <a:extLst>
              <a:ext uri="{FF2B5EF4-FFF2-40B4-BE49-F238E27FC236}">
                <a16:creationId xmlns:a16="http://schemas.microsoft.com/office/drawing/2014/main" id="{40924FAB-F40D-7DAA-8A70-568418A711B3}"/>
              </a:ext>
            </a:extLst>
          </p:cNvPr>
          <p:cNvSpPr/>
          <p:nvPr/>
        </p:nvSpPr>
        <p:spPr>
          <a:xfrm>
            <a:off x="10846049" y="1640512"/>
            <a:ext cx="1275471" cy="771038"/>
          </a:xfrm>
          <a:prstGeom prst="wedgeRectCallout">
            <a:avLst>
              <a:gd name="adj1" fmla="val -33040"/>
              <a:gd name="adj2" fmla="val 59190"/>
            </a:avLst>
          </a:prstGeom>
          <a:solidFill>
            <a:schemeClr val="bg1">
              <a:lumMod val="95000"/>
            </a:schemeClr>
          </a:solidFill>
          <a:ln>
            <a:solidFill>
              <a:schemeClr val="bg2">
                <a:lumMod val="7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9170" rtl="0" eaLnBrk="0" fontAlgn="base" latinLnBrk="0" hangingPunct="0">
              <a:lnSpc>
                <a:spcPct val="100000"/>
              </a:lnSpc>
              <a:spcBef>
                <a:spcPct val="0"/>
              </a:spcBef>
              <a:spcAft>
                <a:spcPts val="451"/>
              </a:spcAft>
              <a:buClr>
                <a:srgbClr val="000000"/>
              </a:buClr>
              <a:buSzTx/>
              <a:buFontTx/>
              <a:buNone/>
              <a:tabLst/>
              <a:defRPr/>
            </a:pPr>
            <a:r>
              <a:rPr kumimoji="0" lang="en-US" sz="1050" b="0" i="1" u="none" strike="noStrike" kern="0" cap="none" spc="0" normalizeH="0" baseline="0" noProof="0">
                <a:ln>
                  <a:noFill/>
                </a:ln>
                <a:solidFill>
                  <a:srgbClr val="000000"/>
                </a:solidFill>
                <a:effectLst/>
                <a:uLnTx/>
                <a:uFillTx/>
                <a:ea typeface="+mn-ea"/>
                <a:cs typeface="Arial" panose="020B0604020202020204" pitchFamily="34" charset="0"/>
                <a:sym typeface="Arial"/>
              </a:rPr>
              <a:t>“I wish we had this process before. It would’ve been invaluable to us.”</a:t>
            </a:r>
          </a:p>
        </p:txBody>
      </p:sp>
      <p:pic>
        <p:nvPicPr>
          <p:cNvPr id="416" name="Picture 415">
            <a:extLst>
              <a:ext uri="{FF2B5EF4-FFF2-40B4-BE49-F238E27FC236}">
                <a16:creationId xmlns:a16="http://schemas.microsoft.com/office/drawing/2014/main" id="{B3FF437B-0259-F937-0952-CDA26766BDF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064726" y="2669163"/>
            <a:ext cx="1921788" cy="1519675"/>
          </a:xfrm>
          <a:prstGeom prst="rect">
            <a:avLst/>
          </a:prstGeom>
        </p:spPr>
      </p:pic>
      <p:grpSp>
        <p:nvGrpSpPr>
          <p:cNvPr id="3" name="Group 2">
            <a:extLst>
              <a:ext uri="{FF2B5EF4-FFF2-40B4-BE49-F238E27FC236}">
                <a16:creationId xmlns:a16="http://schemas.microsoft.com/office/drawing/2014/main" id="{1009F22F-EE8B-37C9-AAC6-E8404577F1E0}"/>
              </a:ext>
            </a:extLst>
          </p:cNvPr>
          <p:cNvGrpSpPr/>
          <p:nvPr/>
        </p:nvGrpSpPr>
        <p:grpSpPr>
          <a:xfrm>
            <a:off x="435092" y="2636415"/>
            <a:ext cx="360717" cy="326904"/>
            <a:chOff x="4257676" y="4102100"/>
            <a:chExt cx="839788" cy="839788"/>
          </a:xfrm>
        </p:grpSpPr>
        <p:sp>
          <p:nvSpPr>
            <p:cNvPr id="4" name="Freeform 769">
              <a:extLst>
                <a:ext uri="{FF2B5EF4-FFF2-40B4-BE49-F238E27FC236}">
                  <a16:creationId xmlns:a16="http://schemas.microsoft.com/office/drawing/2014/main" id="{AD55B107-5C5B-BD72-91EB-14F97BBF14C0}"/>
                </a:ext>
              </a:extLst>
            </p:cNvPr>
            <p:cNvSpPr>
              <a:spLocks/>
            </p:cNvSpPr>
            <p:nvPr/>
          </p:nvSpPr>
          <p:spPr bwMode="auto">
            <a:xfrm>
              <a:off x="4257676" y="4102100"/>
              <a:ext cx="839788" cy="839788"/>
            </a:xfrm>
            <a:custGeom>
              <a:avLst/>
              <a:gdLst/>
              <a:ahLst/>
              <a:cxnLst>
                <a:cxn ang="0">
                  <a:pos x="4223" y="2277"/>
                </a:cxn>
                <a:cxn ang="0">
                  <a:pos x="4186" y="2540"/>
                </a:cxn>
                <a:cxn ang="0">
                  <a:pos x="4118" y="2792"/>
                </a:cxn>
                <a:cxn ang="0">
                  <a:pos x="4021" y="3030"/>
                </a:cxn>
                <a:cxn ang="0">
                  <a:pos x="3896" y="3254"/>
                </a:cxn>
                <a:cxn ang="0">
                  <a:pos x="3747" y="3459"/>
                </a:cxn>
                <a:cxn ang="0">
                  <a:pos x="3574" y="3644"/>
                </a:cxn>
                <a:cxn ang="0">
                  <a:pos x="3380" y="3808"/>
                </a:cxn>
                <a:cxn ang="0">
                  <a:pos x="3168" y="3948"/>
                </a:cxn>
                <a:cxn ang="0">
                  <a:pos x="2938" y="4062"/>
                </a:cxn>
                <a:cxn ang="0">
                  <a:pos x="2694" y="4148"/>
                </a:cxn>
                <a:cxn ang="0">
                  <a:pos x="2437" y="4204"/>
                </a:cxn>
                <a:cxn ang="0">
                  <a:pos x="2169" y="4227"/>
                </a:cxn>
                <a:cxn ang="0">
                  <a:pos x="1952" y="4222"/>
                </a:cxn>
                <a:cxn ang="0">
                  <a:pos x="1689" y="4185"/>
                </a:cxn>
                <a:cxn ang="0">
                  <a:pos x="1437" y="4117"/>
                </a:cxn>
                <a:cxn ang="0">
                  <a:pos x="1197" y="4019"/>
                </a:cxn>
                <a:cxn ang="0">
                  <a:pos x="975" y="3895"/>
                </a:cxn>
                <a:cxn ang="0">
                  <a:pos x="770" y="3745"/>
                </a:cxn>
                <a:cxn ang="0">
                  <a:pos x="584" y="3573"/>
                </a:cxn>
                <a:cxn ang="0">
                  <a:pos x="420" y="3379"/>
                </a:cxn>
                <a:cxn ang="0">
                  <a:pos x="280" y="3166"/>
                </a:cxn>
                <a:cxn ang="0">
                  <a:pos x="166" y="2937"/>
                </a:cxn>
                <a:cxn ang="0">
                  <a:pos x="80" y="2693"/>
                </a:cxn>
                <a:cxn ang="0">
                  <a:pos x="25" y="2436"/>
                </a:cxn>
                <a:cxn ang="0">
                  <a:pos x="1" y="2169"/>
                </a:cxn>
                <a:cxn ang="0">
                  <a:pos x="6" y="1952"/>
                </a:cxn>
                <a:cxn ang="0">
                  <a:pos x="43" y="1688"/>
                </a:cxn>
                <a:cxn ang="0">
                  <a:pos x="111" y="1436"/>
                </a:cxn>
                <a:cxn ang="0">
                  <a:pos x="208" y="1197"/>
                </a:cxn>
                <a:cxn ang="0">
                  <a:pos x="333" y="975"/>
                </a:cxn>
                <a:cxn ang="0">
                  <a:pos x="483" y="770"/>
                </a:cxn>
                <a:cxn ang="0">
                  <a:pos x="655" y="584"/>
                </a:cxn>
                <a:cxn ang="0">
                  <a:pos x="849" y="421"/>
                </a:cxn>
                <a:cxn ang="0">
                  <a:pos x="1062" y="281"/>
                </a:cxn>
                <a:cxn ang="0">
                  <a:pos x="1291" y="166"/>
                </a:cxn>
                <a:cxn ang="0">
                  <a:pos x="1535" y="81"/>
                </a:cxn>
                <a:cxn ang="0">
                  <a:pos x="1793" y="24"/>
                </a:cxn>
                <a:cxn ang="0">
                  <a:pos x="2060" y="1"/>
                </a:cxn>
                <a:cxn ang="0">
                  <a:pos x="2277" y="7"/>
                </a:cxn>
                <a:cxn ang="0">
                  <a:pos x="2541" y="44"/>
                </a:cxn>
                <a:cxn ang="0">
                  <a:pos x="2793" y="112"/>
                </a:cxn>
                <a:cxn ang="0">
                  <a:pos x="3032" y="209"/>
                </a:cxn>
                <a:cxn ang="0">
                  <a:pos x="3254" y="333"/>
                </a:cxn>
                <a:cxn ang="0">
                  <a:pos x="3459" y="483"/>
                </a:cxn>
                <a:cxn ang="0">
                  <a:pos x="3645" y="656"/>
                </a:cxn>
                <a:cxn ang="0">
                  <a:pos x="3809" y="849"/>
                </a:cxn>
                <a:cxn ang="0">
                  <a:pos x="3949" y="1062"/>
                </a:cxn>
                <a:cxn ang="0">
                  <a:pos x="4063" y="1291"/>
                </a:cxn>
                <a:cxn ang="0">
                  <a:pos x="4149" y="1535"/>
                </a:cxn>
                <a:cxn ang="0">
                  <a:pos x="4204" y="1792"/>
                </a:cxn>
                <a:cxn ang="0">
                  <a:pos x="4228" y="2060"/>
                </a:cxn>
              </a:cxnLst>
              <a:rect l="0" t="0" r="r" b="b"/>
              <a:pathLst>
                <a:path w="4229" h="4228">
                  <a:moveTo>
                    <a:pt x="4229" y="2114"/>
                  </a:moveTo>
                  <a:lnTo>
                    <a:pt x="4229" y="2114"/>
                  </a:lnTo>
                  <a:lnTo>
                    <a:pt x="4228" y="2169"/>
                  </a:lnTo>
                  <a:lnTo>
                    <a:pt x="4226" y="2223"/>
                  </a:lnTo>
                  <a:lnTo>
                    <a:pt x="4223" y="2277"/>
                  </a:lnTo>
                  <a:lnTo>
                    <a:pt x="4219" y="2331"/>
                  </a:lnTo>
                  <a:lnTo>
                    <a:pt x="4213" y="2383"/>
                  </a:lnTo>
                  <a:lnTo>
                    <a:pt x="4204" y="2436"/>
                  </a:lnTo>
                  <a:lnTo>
                    <a:pt x="4196" y="2488"/>
                  </a:lnTo>
                  <a:lnTo>
                    <a:pt x="4186" y="2540"/>
                  </a:lnTo>
                  <a:lnTo>
                    <a:pt x="4175" y="2591"/>
                  </a:lnTo>
                  <a:lnTo>
                    <a:pt x="4163" y="2643"/>
                  </a:lnTo>
                  <a:lnTo>
                    <a:pt x="4149" y="2693"/>
                  </a:lnTo>
                  <a:lnTo>
                    <a:pt x="4134" y="2743"/>
                  </a:lnTo>
                  <a:lnTo>
                    <a:pt x="4118" y="2792"/>
                  </a:lnTo>
                  <a:lnTo>
                    <a:pt x="4101" y="2841"/>
                  </a:lnTo>
                  <a:lnTo>
                    <a:pt x="4083" y="2889"/>
                  </a:lnTo>
                  <a:lnTo>
                    <a:pt x="4063" y="2937"/>
                  </a:lnTo>
                  <a:lnTo>
                    <a:pt x="4042" y="2984"/>
                  </a:lnTo>
                  <a:lnTo>
                    <a:pt x="4021" y="3030"/>
                  </a:lnTo>
                  <a:lnTo>
                    <a:pt x="3998" y="3077"/>
                  </a:lnTo>
                  <a:lnTo>
                    <a:pt x="3973" y="3122"/>
                  </a:lnTo>
                  <a:lnTo>
                    <a:pt x="3949" y="3166"/>
                  </a:lnTo>
                  <a:lnTo>
                    <a:pt x="3923" y="3210"/>
                  </a:lnTo>
                  <a:lnTo>
                    <a:pt x="3896" y="3254"/>
                  </a:lnTo>
                  <a:lnTo>
                    <a:pt x="3868" y="3296"/>
                  </a:lnTo>
                  <a:lnTo>
                    <a:pt x="3839" y="3338"/>
                  </a:lnTo>
                  <a:lnTo>
                    <a:pt x="3809" y="3379"/>
                  </a:lnTo>
                  <a:lnTo>
                    <a:pt x="3778" y="3420"/>
                  </a:lnTo>
                  <a:lnTo>
                    <a:pt x="3747" y="3459"/>
                  </a:lnTo>
                  <a:lnTo>
                    <a:pt x="3714" y="3498"/>
                  </a:lnTo>
                  <a:lnTo>
                    <a:pt x="3680" y="3536"/>
                  </a:lnTo>
                  <a:lnTo>
                    <a:pt x="3645" y="3573"/>
                  </a:lnTo>
                  <a:lnTo>
                    <a:pt x="3610" y="3609"/>
                  </a:lnTo>
                  <a:lnTo>
                    <a:pt x="3574" y="3644"/>
                  </a:lnTo>
                  <a:lnTo>
                    <a:pt x="3537" y="3679"/>
                  </a:lnTo>
                  <a:lnTo>
                    <a:pt x="3498" y="3712"/>
                  </a:lnTo>
                  <a:lnTo>
                    <a:pt x="3459" y="3745"/>
                  </a:lnTo>
                  <a:lnTo>
                    <a:pt x="3420" y="3777"/>
                  </a:lnTo>
                  <a:lnTo>
                    <a:pt x="3380" y="3808"/>
                  </a:lnTo>
                  <a:lnTo>
                    <a:pt x="3339" y="3838"/>
                  </a:lnTo>
                  <a:lnTo>
                    <a:pt x="3296" y="3867"/>
                  </a:lnTo>
                  <a:lnTo>
                    <a:pt x="3254" y="3895"/>
                  </a:lnTo>
                  <a:lnTo>
                    <a:pt x="3211" y="3922"/>
                  </a:lnTo>
                  <a:lnTo>
                    <a:pt x="3168" y="3948"/>
                  </a:lnTo>
                  <a:lnTo>
                    <a:pt x="3122" y="3973"/>
                  </a:lnTo>
                  <a:lnTo>
                    <a:pt x="3077" y="3996"/>
                  </a:lnTo>
                  <a:lnTo>
                    <a:pt x="3032" y="4019"/>
                  </a:lnTo>
                  <a:lnTo>
                    <a:pt x="2985" y="4042"/>
                  </a:lnTo>
                  <a:lnTo>
                    <a:pt x="2938" y="4062"/>
                  </a:lnTo>
                  <a:lnTo>
                    <a:pt x="2890" y="4082"/>
                  </a:lnTo>
                  <a:lnTo>
                    <a:pt x="2842" y="4099"/>
                  </a:lnTo>
                  <a:lnTo>
                    <a:pt x="2793" y="4117"/>
                  </a:lnTo>
                  <a:lnTo>
                    <a:pt x="2743" y="4133"/>
                  </a:lnTo>
                  <a:lnTo>
                    <a:pt x="2694" y="4148"/>
                  </a:lnTo>
                  <a:lnTo>
                    <a:pt x="2643" y="4161"/>
                  </a:lnTo>
                  <a:lnTo>
                    <a:pt x="2593" y="4174"/>
                  </a:lnTo>
                  <a:lnTo>
                    <a:pt x="2541" y="4185"/>
                  </a:lnTo>
                  <a:lnTo>
                    <a:pt x="2489" y="4195"/>
                  </a:lnTo>
                  <a:lnTo>
                    <a:pt x="2437" y="4204"/>
                  </a:lnTo>
                  <a:lnTo>
                    <a:pt x="2383" y="4211"/>
                  </a:lnTo>
                  <a:lnTo>
                    <a:pt x="2331" y="4217"/>
                  </a:lnTo>
                  <a:lnTo>
                    <a:pt x="2277" y="4222"/>
                  </a:lnTo>
                  <a:lnTo>
                    <a:pt x="2224" y="4225"/>
                  </a:lnTo>
                  <a:lnTo>
                    <a:pt x="2169" y="4227"/>
                  </a:lnTo>
                  <a:lnTo>
                    <a:pt x="2115" y="4228"/>
                  </a:lnTo>
                  <a:lnTo>
                    <a:pt x="2115" y="4228"/>
                  </a:lnTo>
                  <a:lnTo>
                    <a:pt x="2060" y="4227"/>
                  </a:lnTo>
                  <a:lnTo>
                    <a:pt x="2006" y="4225"/>
                  </a:lnTo>
                  <a:lnTo>
                    <a:pt x="1952" y="4222"/>
                  </a:lnTo>
                  <a:lnTo>
                    <a:pt x="1898" y="4217"/>
                  </a:lnTo>
                  <a:lnTo>
                    <a:pt x="1846" y="4211"/>
                  </a:lnTo>
                  <a:lnTo>
                    <a:pt x="1793" y="4204"/>
                  </a:lnTo>
                  <a:lnTo>
                    <a:pt x="1740" y="4195"/>
                  </a:lnTo>
                  <a:lnTo>
                    <a:pt x="1689" y="4185"/>
                  </a:lnTo>
                  <a:lnTo>
                    <a:pt x="1637" y="4174"/>
                  </a:lnTo>
                  <a:lnTo>
                    <a:pt x="1586" y="4161"/>
                  </a:lnTo>
                  <a:lnTo>
                    <a:pt x="1535" y="4148"/>
                  </a:lnTo>
                  <a:lnTo>
                    <a:pt x="1486" y="4133"/>
                  </a:lnTo>
                  <a:lnTo>
                    <a:pt x="1437" y="4117"/>
                  </a:lnTo>
                  <a:lnTo>
                    <a:pt x="1388" y="4099"/>
                  </a:lnTo>
                  <a:lnTo>
                    <a:pt x="1340" y="4082"/>
                  </a:lnTo>
                  <a:lnTo>
                    <a:pt x="1291" y="4062"/>
                  </a:lnTo>
                  <a:lnTo>
                    <a:pt x="1245" y="4042"/>
                  </a:lnTo>
                  <a:lnTo>
                    <a:pt x="1197" y="4019"/>
                  </a:lnTo>
                  <a:lnTo>
                    <a:pt x="1152" y="3996"/>
                  </a:lnTo>
                  <a:lnTo>
                    <a:pt x="1107" y="3973"/>
                  </a:lnTo>
                  <a:lnTo>
                    <a:pt x="1062" y="3948"/>
                  </a:lnTo>
                  <a:lnTo>
                    <a:pt x="1018" y="3922"/>
                  </a:lnTo>
                  <a:lnTo>
                    <a:pt x="975" y="3895"/>
                  </a:lnTo>
                  <a:lnTo>
                    <a:pt x="933" y="3867"/>
                  </a:lnTo>
                  <a:lnTo>
                    <a:pt x="890" y="3838"/>
                  </a:lnTo>
                  <a:lnTo>
                    <a:pt x="849" y="3808"/>
                  </a:lnTo>
                  <a:lnTo>
                    <a:pt x="809" y="3777"/>
                  </a:lnTo>
                  <a:lnTo>
                    <a:pt x="770" y="3745"/>
                  </a:lnTo>
                  <a:lnTo>
                    <a:pt x="731" y="3712"/>
                  </a:lnTo>
                  <a:lnTo>
                    <a:pt x="693" y="3679"/>
                  </a:lnTo>
                  <a:lnTo>
                    <a:pt x="655" y="3644"/>
                  </a:lnTo>
                  <a:lnTo>
                    <a:pt x="619" y="3609"/>
                  </a:lnTo>
                  <a:lnTo>
                    <a:pt x="584" y="3573"/>
                  </a:lnTo>
                  <a:lnTo>
                    <a:pt x="549" y="3536"/>
                  </a:lnTo>
                  <a:lnTo>
                    <a:pt x="516" y="3498"/>
                  </a:lnTo>
                  <a:lnTo>
                    <a:pt x="483" y="3459"/>
                  </a:lnTo>
                  <a:lnTo>
                    <a:pt x="451" y="3420"/>
                  </a:lnTo>
                  <a:lnTo>
                    <a:pt x="420" y="3379"/>
                  </a:lnTo>
                  <a:lnTo>
                    <a:pt x="391" y="3338"/>
                  </a:lnTo>
                  <a:lnTo>
                    <a:pt x="362" y="3296"/>
                  </a:lnTo>
                  <a:lnTo>
                    <a:pt x="333" y="3254"/>
                  </a:lnTo>
                  <a:lnTo>
                    <a:pt x="306" y="3210"/>
                  </a:lnTo>
                  <a:lnTo>
                    <a:pt x="280" y="3166"/>
                  </a:lnTo>
                  <a:lnTo>
                    <a:pt x="256" y="3122"/>
                  </a:lnTo>
                  <a:lnTo>
                    <a:pt x="232" y="3077"/>
                  </a:lnTo>
                  <a:lnTo>
                    <a:pt x="208" y="3030"/>
                  </a:lnTo>
                  <a:lnTo>
                    <a:pt x="187" y="2984"/>
                  </a:lnTo>
                  <a:lnTo>
                    <a:pt x="166" y="2937"/>
                  </a:lnTo>
                  <a:lnTo>
                    <a:pt x="146" y="2889"/>
                  </a:lnTo>
                  <a:lnTo>
                    <a:pt x="129" y="2841"/>
                  </a:lnTo>
                  <a:lnTo>
                    <a:pt x="111" y="2792"/>
                  </a:lnTo>
                  <a:lnTo>
                    <a:pt x="95" y="2743"/>
                  </a:lnTo>
                  <a:lnTo>
                    <a:pt x="80" y="2693"/>
                  </a:lnTo>
                  <a:lnTo>
                    <a:pt x="67" y="2643"/>
                  </a:lnTo>
                  <a:lnTo>
                    <a:pt x="55" y="2591"/>
                  </a:lnTo>
                  <a:lnTo>
                    <a:pt x="43" y="2540"/>
                  </a:lnTo>
                  <a:lnTo>
                    <a:pt x="33" y="2488"/>
                  </a:lnTo>
                  <a:lnTo>
                    <a:pt x="25" y="2436"/>
                  </a:lnTo>
                  <a:lnTo>
                    <a:pt x="18" y="2383"/>
                  </a:lnTo>
                  <a:lnTo>
                    <a:pt x="11" y="2331"/>
                  </a:lnTo>
                  <a:lnTo>
                    <a:pt x="6" y="2277"/>
                  </a:lnTo>
                  <a:lnTo>
                    <a:pt x="3" y="2223"/>
                  </a:lnTo>
                  <a:lnTo>
                    <a:pt x="1" y="2169"/>
                  </a:lnTo>
                  <a:lnTo>
                    <a:pt x="0" y="2114"/>
                  </a:lnTo>
                  <a:lnTo>
                    <a:pt x="0" y="2114"/>
                  </a:lnTo>
                  <a:lnTo>
                    <a:pt x="1" y="2060"/>
                  </a:lnTo>
                  <a:lnTo>
                    <a:pt x="3" y="2005"/>
                  </a:lnTo>
                  <a:lnTo>
                    <a:pt x="6" y="1952"/>
                  </a:lnTo>
                  <a:lnTo>
                    <a:pt x="11" y="1898"/>
                  </a:lnTo>
                  <a:lnTo>
                    <a:pt x="18" y="1844"/>
                  </a:lnTo>
                  <a:lnTo>
                    <a:pt x="25" y="1792"/>
                  </a:lnTo>
                  <a:lnTo>
                    <a:pt x="33" y="1740"/>
                  </a:lnTo>
                  <a:lnTo>
                    <a:pt x="43" y="1688"/>
                  </a:lnTo>
                  <a:lnTo>
                    <a:pt x="55" y="1636"/>
                  </a:lnTo>
                  <a:lnTo>
                    <a:pt x="67" y="1586"/>
                  </a:lnTo>
                  <a:lnTo>
                    <a:pt x="80" y="1535"/>
                  </a:lnTo>
                  <a:lnTo>
                    <a:pt x="95" y="1486"/>
                  </a:lnTo>
                  <a:lnTo>
                    <a:pt x="111" y="1436"/>
                  </a:lnTo>
                  <a:lnTo>
                    <a:pt x="129" y="1387"/>
                  </a:lnTo>
                  <a:lnTo>
                    <a:pt x="146" y="1339"/>
                  </a:lnTo>
                  <a:lnTo>
                    <a:pt x="166" y="1291"/>
                  </a:lnTo>
                  <a:lnTo>
                    <a:pt x="187" y="1244"/>
                  </a:lnTo>
                  <a:lnTo>
                    <a:pt x="208" y="1197"/>
                  </a:lnTo>
                  <a:lnTo>
                    <a:pt x="232" y="1152"/>
                  </a:lnTo>
                  <a:lnTo>
                    <a:pt x="256" y="1107"/>
                  </a:lnTo>
                  <a:lnTo>
                    <a:pt x="280" y="1062"/>
                  </a:lnTo>
                  <a:lnTo>
                    <a:pt x="306" y="1018"/>
                  </a:lnTo>
                  <a:lnTo>
                    <a:pt x="333" y="975"/>
                  </a:lnTo>
                  <a:lnTo>
                    <a:pt x="362" y="933"/>
                  </a:lnTo>
                  <a:lnTo>
                    <a:pt x="391" y="890"/>
                  </a:lnTo>
                  <a:lnTo>
                    <a:pt x="420" y="849"/>
                  </a:lnTo>
                  <a:lnTo>
                    <a:pt x="451" y="809"/>
                  </a:lnTo>
                  <a:lnTo>
                    <a:pt x="483" y="770"/>
                  </a:lnTo>
                  <a:lnTo>
                    <a:pt x="516" y="731"/>
                  </a:lnTo>
                  <a:lnTo>
                    <a:pt x="549" y="693"/>
                  </a:lnTo>
                  <a:lnTo>
                    <a:pt x="584" y="656"/>
                  </a:lnTo>
                  <a:lnTo>
                    <a:pt x="619" y="620"/>
                  </a:lnTo>
                  <a:lnTo>
                    <a:pt x="655" y="584"/>
                  </a:lnTo>
                  <a:lnTo>
                    <a:pt x="693" y="550"/>
                  </a:lnTo>
                  <a:lnTo>
                    <a:pt x="731" y="516"/>
                  </a:lnTo>
                  <a:lnTo>
                    <a:pt x="770" y="483"/>
                  </a:lnTo>
                  <a:lnTo>
                    <a:pt x="809" y="452"/>
                  </a:lnTo>
                  <a:lnTo>
                    <a:pt x="849" y="421"/>
                  </a:lnTo>
                  <a:lnTo>
                    <a:pt x="890" y="390"/>
                  </a:lnTo>
                  <a:lnTo>
                    <a:pt x="933" y="361"/>
                  </a:lnTo>
                  <a:lnTo>
                    <a:pt x="975" y="333"/>
                  </a:lnTo>
                  <a:lnTo>
                    <a:pt x="1018" y="306"/>
                  </a:lnTo>
                  <a:lnTo>
                    <a:pt x="1062" y="281"/>
                  </a:lnTo>
                  <a:lnTo>
                    <a:pt x="1107" y="256"/>
                  </a:lnTo>
                  <a:lnTo>
                    <a:pt x="1152" y="231"/>
                  </a:lnTo>
                  <a:lnTo>
                    <a:pt x="1197" y="209"/>
                  </a:lnTo>
                  <a:lnTo>
                    <a:pt x="1245" y="187"/>
                  </a:lnTo>
                  <a:lnTo>
                    <a:pt x="1291" y="166"/>
                  </a:lnTo>
                  <a:lnTo>
                    <a:pt x="1340" y="147"/>
                  </a:lnTo>
                  <a:lnTo>
                    <a:pt x="1388" y="128"/>
                  </a:lnTo>
                  <a:lnTo>
                    <a:pt x="1437" y="112"/>
                  </a:lnTo>
                  <a:lnTo>
                    <a:pt x="1486" y="95"/>
                  </a:lnTo>
                  <a:lnTo>
                    <a:pt x="1535" y="81"/>
                  </a:lnTo>
                  <a:lnTo>
                    <a:pt x="1586" y="66"/>
                  </a:lnTo>
                  <a:lnTo>
                    <a:pt x="1637" y="54"/>
                  </a:lnTo>
                  <a:lnTo>
                    <a:pt x="1689" y="44"/>
                  </a:lnTo>
                  <a:lnTo>
                    <a:pt x="1740" y="33"/>
                  </a:lnTo>
                  <a:lnTo>
                    <a:pt x="1793" y="24"/>
                  </a:lnTo>
                  <a:lnTo>
                    <a:pt x="1846" y="17"/>
                  </a:lnTo>
                  <a:lnTo>
                    <a:pt x="1898" y="11"/>
                  </a:lnTo>
                  <a:lnTo>
                    <a:pt x="1952" y="7"/>
                  </a:lnTo>
                  <a:lnTo>
                    <a:pt x="2006" y="4"/>
                  </a:lnTo>
                  <a:lnTo>
                    <a:pt x="2060" y="1"/>
                  </a:lnTo>
                  <a:lnTo>
                    <a:pt x="2115" y="0"/>
                  </a:lnTo>
                  <a:lnTo>
                    <a:pt x="2115" y="0"/>
                  </a:lnTo>
                  <a:lnTo>
                    <a:pt x="2169" y="1"/>
                  </a:lnTo>
                  <a:lnTo>
                    <a:pt x="2224" y="4"/>
                  </a:lnTo>
                  <a:lnTo>
                    <a:pt x="2277" y="7"/>
                  </a:lnTo>
                  <a:lnTo>
                    <a:pt x="2331" y="11"/>
                  </a:lnTo>
                  <a:lnTo>
                    <a:pt x="2383" y="17"/>
                  </a:lnTo>
                  <a:lnTo>
                    <a:pt x="2437" y="24"/>
                  </a:lnTo>
                  <a:lnTo>
                    <a:pt x="2489" y="33"/>
                  </a:lnTo>
                  <a:lnTo>
                    <a:pt x="2541" y="44"/>
                  </a:lnTo>
                  <a:lnTo>
                    <a:pt x="2593" y="54"/>
                  </a:lnTo>
                  <a:lnTo>
                    <a:pt x="2643" y="66"/>
                  </a:lnTo>
                  <a:lnTo>
                    <a:pt x="2694" y="81"/>
                  </a:lnTo>
                  <a:lnTo>
                    <a:pt x="2743" y="95"/>
                  </a:lnTo>
                  <a:lnTo>
                    <a:pt x="2793" y="112"/>
                  </a:lnTo>
                  <a:lnTo>
                    <a:pt x="2842" y="128"/>
                  </a:lnTo>
                  <a:lnTo>
                    <a:pt x="2890" y="147"/>
                  </a:lnTo>
                  <a:lnTo>
                    <a:pt x="2938" y="166"/>
                  </a:lnTo>
                  <a:lnTo>
                    <a:pt x="2985" y="187"/>
                  </a:lnTo>
                  <a:lnTo>
                    <a:pt x="3032" y="209"/>
                  </a:lnTo>
                  <a:lnTo>
                    <a:pt x="3077" y="231"/>
                  </a:lnTo>
                  <a:lnTo>
                    <a:pt x="3122" y="256"/>
                  </a:lnTo>
                  <a:lnTo>
                    <a:pt x="3168" y="281"/>
                  </a:lnTo>
                  <a:lnTo>
                    <a:pt x="3211" y="306"/>
                  </a:lnTo>
                  <a:lnTo>
                    <a:pt x="3254" y="333"/>
                  </a:lnTo>
                  <a:lnTo>
                    <a:pt x="3296" y="361"/>
                  </a:lnTo>
                  <a:lnTo>
                    <a:pt x="3339" y="390"/>
                  </a:lnTo>
                  <a:lnTo>
                    <a:pt x="3380" y="421"/>
                  </a:lnTo>
                  <a:lnTo>
                    <a:pt x="3420" y="452"/>
                  </a:lnTo>
                  <a:lnTo>
                    <a:pt x="3459" y="483"/>
                  </a:lnTo>
                  <a:lnTo>
                    <a:pt x="3498" y="516"/>
                  </a:lnTo>
                  <a:lnTo>
                    <a:pt x="3537" y="550"/>
                  </a:lnTo>
                  <a:lnTo>
                    <a:pt x="3574" y="584"/>
                  </a:lnTo>
                  <a:lnTo>
                    <a:pt x="3610" y="620"/>
                  </a:lnTo>
                  <a:lnTo>
                    <a:pt x="3645" y="656"/>
                  </a:lnTo>
                  <a:lnTo>
                    <a:pt x="3680" y="693"/>
                  </a:lnTo>
                  <a:lnTo>
                    <a:pt x="3714" y="731"/>
                  </a:lnTo>
                  <a:lnTo>
                    <a:pt x="3747" y="770"/>
                  </a:lnTo>
                  <a:lnTo>
                    <a:pt x="3778" y="809"/>
                  </a:lnTo>
                  <a:lnTo>
                    <a:pt x="3809" y="849"/>
                  </a:lnTo>
                  <a:lnTo>
                    <a:pt x="3839" y="890"/>
                  </a:lnTo>
                  <a:lnTo>
                    <a:pt x="3868" y="933"/>
                  </a:lnTo>
                  <a:lnTo>
                    <a:pt x="3896" y="975"/>
                  </a:lnTo>
                  <a:lnTo>
                    <a:pt x="3923" y="1018"/>
                  </a:lnTo>
                  <a:lnTo>
                    <a:pt x="3949" y="1062"/>
                  </a:lnTo>
                  <a:lnTo>
                    <a:pt x="3973" y="1107"/>
                  </a:lnTo>
                  <a:lnTo>
                    <a:pt x="3998" y="1152"/>
                  </a:lnTo>
                  <a:lnTo>
                    <a:pt x="4021" y="1197"/>
                  </a:lnTo>
                  <a:lnTo>
                    <a:pt x="4042" y="1244"/>
                  </a:lnTo>
                  <a:lnTo>
                    <a:pt x="4063" y="1291"/>
                  </a:lnTo>
                  <a:lnTo>
                    <a:pt x="4083" y="1339"/>
                  </a:lnTo>
                  <a:lnTo>
                    <a:pt x="4101" y="1387"/>
                  </a:lnTo>
                  <a:lnTo>
                    <a:pt x="4118" y="1436"/>
                  </a:lnTo>
                  <a:lnTo>
                    <a:pt x="4134" y="1486"/>
                  </a:lnTo>
                  <a:lnTo>
                    <a:pt x="4149" y="1535"/>
                  </a:lnTo>
                  <a:lnTo>
                    <a:pt x="4163" y="1586"/>
                  </a:lnTo>
                  <a:lnTo>
                    <a:pt x="4175" y="1636"/>
                  </a:lnTo>
                  <a:lnTo>
                    <a:pt x="4186" y="1688"/>
                  </a:lnTo>
                  <a:lnTo>
                    <a:pt x="4196" y="1740"/>
                  </a:lnTo>
                  <a:lnTo>
                    <a:pt x="4204" y="1792"/>
                  </a:lnTo>
                  <a:lnTo>
                    <a:pt x="4213" y="1844"/>
                  </a:lnTo>
                  <a:lnTo>
                    <a:pt x="4219" y="1898"/>
                  </a:lnTo>
                  <a:lnTo>
                    <a:pt x="4223" y="1952"/>
                  </a:lnTo>
                  <a:lnTo>
                    <a:pt x="4226" y="2005"/>
                  </a:lnTo>
                  <a:lnTo>
                    <a:pt x="4228" y="2060"/>
                  </a:lnTo>
                  <a:lnTo>
                    <a:pt x="4229" y="2114"/>
                  </a:lnTo>
                  <a:close/>
                </a:path>
              </a:pathLst>
            </a:custGeom>
            <a:solidFill>
              <a:srgbClr val="4CC5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Freeform 770">
              <a:extLst>
                <a:ext uri="{FF2B5EF4-FFF2-40B4-BE49-F238E27FC236}">
                  <a16:creationId xmlns:a16="http://schemas.microsoft.com/office/drawing/2014/main" id="{753572A8-EFD8-ADFB-F09C-0DD1CCA23F57}"/>
                </a:ext>
              </a:extLst>
            </p:cNvPr>
            <p:cNvSpPr>
              <a:spLocks/>
            </p:cNvSpPr>
            <p:nvPr/>
          </p:nvSpPr>
          <p:spPr bwMode="auto">
            <a:xfrm>
              <a:off x="4257676" y="4102100"/>
              <a:ext cx="839788" cy="839788"/>
            </a:xfrm>
            <a:custGeom>
              <a:avLst/>
              <a:gdLst/>
              <a:ahLst/>
              <a:cxnLst>
                <a:cxn ang="0">
                  <a:pos x="4223" y="2277"/>
                </a:cxn>
                <a:cxn ang="0">
                  <a:pos x="4186" y="2540"/>
                </a:cxn>
                <a:cxn ang="0">
                  <a:pos x="4118" y="2792"/>
                </a:cxn>
                <a:cxn ang="0">
                  <a:pos x="4021" y="3030"/>
                </a:cxn>
                <a:cxn ang="0">
                  <a:pos x="3896" y="3254"/>
                </a:cxn>
                <a:cxn ang="0">
                  <a:pos x="3747" y="3459"/>
                </a:cxn>
                <a:cxn ang="0">
                  <a:pos x="3574" y="3644"/>
                </a:cxn>
                <a:cxn ang="0">
                  <a:pos x="3380" y="3808"/>
                </a:cxn>
                <a:cxn ang="0">
                  <a:pos x="3168" y="3948"/>
                </a:cxn>
                <a:cxn ang="0">
                  <a:pos x="2938" y="4062"/>
                </a:cxn>
                <a:cxn ang="0">
                  <a:pos x="2694" y="4148"/>
                </a:cxn>
                <a:cxn ang="0">
                  <a:pos x="2437" y="4204"/>
                </a:cxn>
                <a:cxn ang="0">
                  <a:pos x="2169" y="4227"/>
                </a:cxn>
                <a:cxn ang="0">
                  <a:pos x="1952" y="4222"/>
                </a:cxn>
                <a:cxn ang="0">
                  <a:pos x="1689" y="4185"/>
                </a:cxn>
                <a:cxn ang="0">
                  <a:pos x="1437" y="4117"/>
                </a:cxn>
                <a:cxn ang="0">
                  <a:pos x="1197" y="4019"/>
                </a:cxn>
                <a:cxn ang="0">
                  <a:pos x="975" y="3895"/>
                </a:cxn>
                <a:cxn ang="0">
                  <a:pos x="770" y="3745"/>
                </a:cxn>
                <a:cxn ang="0">
                  <a:pos x="584" y="3573"/>
                </a:cxn>
                <a:cxn ang="0">
                  <a:pos x="420" y="3379"/>
                </a:cxn>
                <a:cxn ang="0">
                  <a:pos x="280" y="3166"/>
                </a:cxn>
                <a:cxn ang="0">
                  <a:pos x="166" y="2937"/>
                </a:cxn>
                <a:cxn ang="0">
                  <a:pos x="80" y="2693"/>
                </a:cxn>
                <a:cxn ang="0">
                  <a:pos x="25" y="2436"/>
                </a:cxn>
                <a:cxn ang="0">
                  <a:pos x="1" y="2169"/>
                </a:cxn>
                <a:cxn ang="0">
                  <a:pos x="6" y="1952"/>
                </a:cxn>
                <a:cxn ang="0">
                  <a:pos x="43" y="1688"/>
                </a:cxn>
                <a:cxn ang="0">
                  <a:pos x="111" y="1436"/>
                </a:cxn>
                <a:cxn ang="0">
                  <a:pos x="208" y="1197"/>
                </a:cxn>
                <a:cxn ang="0">
                  <a:pos x="333" y="975"/>
                </a:cxn>
                <a:cxn ang="0">
                  <a:pos x="483" y="770"/>
                </a:cxn>
                <a:cxn ang="0">
                  <a:pos x="655" y="584"/>
                </a:cxn>
                <a:cxn ang="0">
                  <a:pos x="849" y="421"/>
                </a:cxn>
                <a:cxn ang="0">
                  <a:pos x="1062" y="281"/>
                </a:cxn>
                <a:cxn ang="0">
                  <a:pos x="1291" y="166"/>
                </a:cxn>
                <a:cxn ang="0">
                  <a:pos x="1535" y="81"/>
                </a:cxn>
                <a:cxn ang="0">
                  <a:pos x="1793" y="24"/>
                </a:cxn>
                <a:cxn ang="0">
                  <a:pos x="2060" y="1"/>
                </a:cxn>
                <a:cxn ang="0">
                  <a:pos x="2277" y="7"/>
                </a:cxn>
                <a:cxn ang="0">
                  <a:pos x="2541" y="44"/>
                </a:cxn>
                <a:cxn ang="0">
                  <a:pos x="2793" y="112"/>
                </a:cxn>
                <a:cxn ang="0">
                  <a:pos x="3032" y="209"/>
                </a:cxn>
                <a:cxn ang="0">
                  <a:pos x="3254" y="333"/>
                </a:cxn>
                <a:cxn ang="0">
                  <a:pos x="3459" y="483"/>
                </a:cxn>
                <a:cxn ang="0">
                  <a:pos x="3645" y="656"/>
                </a:cxn>
                <a:cxn ang="0">
                  <a:pos x="3809" y="849"/>
                </a:cxn>
                <a:cxn ang="0">
                  <a:pos x="3949" y="1062"/>
                </a:cxn>
                <a:cxn ang="0">
                  <a:pos x="4063" y="1291"/>
                </a:cxn>
                <a:cxn ang="0">
                  <a:pos x="4149" y="1535"/>
                </a:cxn>
                <a:cxn ang="0">
                  <a:pos x="4204" y="1792"/>
                </a:cxn>
                <a:cxn ang="0">
                  <a:pos x="4228" y="2060"/>
                </a:cxn>
              </a:cxnLst>
              <a:rect l="0" t="0" r="r" b="b"/>
              <a:pathLst>
                <a:path w="4229" h="4228">
                  <a:moveTo>
                    <a:pt x="4229" y="2114"/>
                  </a:moveTo>
                  <a:lnTo>
                    <a:pt x="4229" y="2114"/>
                  </a:lnTo>
                  <a:lnTo>
                    <a:pt x="4228" y="2169"/>
                  </a:lnTo>
                  <a:lnTo>
                    <a:pt x="4226" y="2223"/>
                  </a:lnTo>
                  <a:lnTo>
                    <a:pt x="4223" y="2277"/>
                  </a:lnTo>
                  <a:lnTo>
                    <a:pt x="4219" y="2331"/>
                  </a:lnTo>
                  <a:lnTo>
                    <a:pt x="4213" y="2383"/>
                  </a:lnTo>
                  <a:lnTo>
                    <a:pt x="4204" y="2436"/>
                  </a:lnTo>
                  <a:lnTo>
                    <a:pt x="4196" y="2488"/>
                  </a:lnTo>
                  <a:lnTo>
                    <a:pt x="4186" y="2540"/>
                  </a:lnTo>
                  <a:lnTo>
                    <a:pt x="4175" y="2591"/>
                  </a:lnTo>
                  <a:lnTo>
                    <a:pt x="4163" y="2643"/>
                  </a:lnTo>
                  <a:lnTo>
                    <a:pt x="4149" y="2693"/>
                  </a:lnTo>
                  <a:lnTo>
                    <a:pt x="4134" y="2743"/>
                  </a:lnTo>
                  <a:lnTo>
                    <a:pt x="4118" y="2792"/>
                  </a:lnTo>
                  <a:lnTo>
                    <a:pt x="4101" y="2841"/>
                  </a:lnTo>
                  <a:lnTo>
                    <a:pt x="4083" y="2889"/>
                  </a:lnTo>
                  <a:lnTo>
                    <a:pt x="4063" y="2937"/>
                  </a:lnTo>
                  <a:lnTo>
                    <a:pt x="4042" y="2984"/>
                  </a:lnTo>
                  <a:lnTo>
                    <a:pt x="4021" y="3030"/>
                  </a:lnTo>
                  <a:lnTo>
                    <a:pt x="3998" y="3077"/>
                  </a:lnTo>
                  <a:lnTo>
                    <a:pt x="3973" y="3122"/>
                  </a:lnTo>
                  <a:lnTo>
                    <a:pt x="3949" y="3166"/>
                  </a:lnTo>
                  <a:lnTo>
                    <a:pt x="3923" y="3210"/>
                  </a:lnTo>
                  <a:lnTo>
                    <a:pt x="3896" y="3254"/>
                  </a:lnTo>
                  <a:lnTo>
                    <a:pt x="3868" y="3296"/>
                  </a:lnTo>
                  <a:lnTo>
                    <a:pt x="3839" y="3338"/>
                  </a:lnTo>
                  <a:lnTo>
                    <a:pt x="3809" y="3379"/>
                  </a:lnTo>
                  <a:lnTo>
                    <a:pt x="3778" y="3420"/>
                  </a:lnTo>
                  <a:lnTo>
                    <a:pt x="3747" y="3459"/>
                  </a:lnTo>
                  <a:lnTo>
                    <a:pt x="3714" y="3498"/>
                  </a:lnTo>
                  <a:lnTo>
                    <a:pt x="3680" y="3536"/>
                  </a:lnTo>
                  <a:lnTo>
                    <a:pt x="3645" y="3573"/>
                  </a:lnTo>
                  <a:lnTo>
                    <a:pt x="3610" y="3609"/>
                  </a:lnTo>
                  <a:lnTo>
                    <a:pt x="3574" y="3644"/>
                  </a:lnTo>
                  <a:lnTo>
                    <a:pt x="3537" y="3679"/>
                  </a:lnTo>
                  <a:lnTo>
                    <a:pt x="3498" y="3712"/>
                  </a:lnTo>
                  <a:lnTo>
                    <a:pt x="3459" y="3745"/>
                  </a:lnTo>
                  <a:lnTo>
                    <a:pt x="3420" y="3777"/>
                  </a:lnTo>
                  <a:lnTo>
                    <a:pt x="3380" y="3808"/>
                  </a:lnTo>
                  <a:lnTo>
                    <a:pt x="3339" y="3838"/>
                  </a:lnTo>
                  <a:lnTo>
                    <a:pt x="3296" y="3867"/>
                  </a:lnTo>
                  <a:lnTo>
                    <a:pt x="3254" y="3895"/>
                  </a:lnTo>
                  <a:lnTo>
                    <a:pt x="3211" y="3922"/>
                  </a:lnTo>
                  <a:lnTo>
                    <a:pt x="3168" y="3948"/>
                  </a:lnTo>
                  <a:lnTo>
                    <a:pt x="3122" y="3973"/>
                  </a:lnTo>
                  <a:lnTo>
                    <a:pt x="3077" y="3996"/>
                  </a:lnTo>
                  <a:lnTo>
                    <a:pt x="3032" y="4019"/>
                  </a:lnTo>
                  <a:lnTo>
                    <a:pt x="2985" y="4042"/>
                  </a:lnTo>
                  <a:lnTo>
                    <a:pt x="2938" y="4062"/>
                  </a:lnTo>
                  <a:lnTo>
                    <a:pt x="2890" y="4082"/>
                  </a:lnTo>
                  <a:lnTo>
                    <a:pt x="2842" y="4099"/>
                  </a:lnTo>
                  <a:lnTo>
                    <a:pt x="2793" y="4117"/>
                  </a:lnTo>
                  <a:lnTo>
                    <a:pt x="2743" y="4133"/>
                  </a:lnTo>
                  <a:lnTo>
                    <a:pt x="2694" y="4148"/>
                  </a:lnTo>
                  <a:lnTo>
                    <a:pt x="2643" y="4161"/>
                  </a:lnTo>
                  <a:lnTo>
                    <a:pt x="2593" y="4174"/>
                  </a:lnTo>
                  <a:lnTo>
                    <a:pt x="2541" y="4185"/>
                  </a:lnTo>
                  <a:lnTo>
                    <a:pt x="2489" y="4195"/>
                  </a:lnTo>
                  <a:lnTo>
                    <a:pt x="2437" y="4204"/>
                  </a:lnTo>
                  <a:lnTo>
                    <a:pt x="2383" y="4211"/>
                  </a:lnTo>
                  <a:lnTo>
                    <a:pt x="2331" y="4217"/>
                  </a:lnTo>
                  <a:lnTo>
                    <a:pt x="2277" y="4222"/>
                  </a:lnTo>
                  <a:lnTo>
                    <a:pt x="2224" y="4225"/>
                  </a:lnTo>
                  <a:lnTo>
                    <a:pt x="2169" y="4227"/>
                  </a:lnTo>
                  <a:lnTo>
                    <a:pt x="2115" y="4228"/>
                  </a:lnTo>
                  <a:lnTo>
                    <a:pt x="2115" y="4228"/>
                  </a:lnTo>
                  <a:lnTo>
                    <a:pt x="2060" y="4227"/>
                  </a:lnTo>
                  <a:lnTo>
                    <a:pt x="2006" y="4225"/>
                  </a:lnTo>
                  <a:lnTo>
                    <a:pt x="1952" y="4222"/>
                  </a:lnTo>
                  <a:lnTo>
                    <a:pt x="1898" y="4217"/>
                  </a:lnTo>
                  <a:lnTo>
                    <a:pt x="1846" y="4211"/>
                  </a:lnTo>
                  <a:lnTo>
                    <a:pt x="1793" y="4204"/>
                  </a:lnTo>
                  <a:lnTo>
                    <a:pt x="1740" y="4195"/>
                  </a:lnTo>
                  <a:lnTo>
                    <a:pt x="1689" y="4185"/>
                  </a:lnTo>
                  <a:lnTo>
                    <a:pt x="1637" y="4174"/>
                  </a:lnTo>
                  <a:lnTo>
                    <a:pt x="1586" y="4161"/>
                  </a:lnTo>
                  <a:lnTo>
                    <a:pt x="1535" y="4148"/>
                  </a:lnTo>
                  <a:lnTo>
                    <a:pt x="1486" y="4133"/>
                  </a:lnTo>
                  <a:lnTo>
                    <a:pt x="1437" y="4117"/>
                  </a:lnTo>
                  <a:lnTo>
                    <a:pt x="1388" y="4099"/>
                  </a:lnTo>
                  <a:lnTo>
                    <a:pt x="1340" y="4082"/>
                  </a:lnTo>
                  <a:lnTo>
                    <a:pt x="1291" y="4062"/>
                  </a:lnTo>
                  <a:lnTo>
                    <a:pt x="1245" y="4042"/>
                  </a:lnTo>
                  <a:lnTo>
                    <a:pt x="1197" y="4019"/>
                  </a:lnTo>
                  <a:lnTo>
                    <a:pt x="1152" y="3996"/>
                  </a:lnTo>
                  <a:lnTo>
                    <a:pt x="1107" y="3973"/>
                  </a:lnTo>
                  <a:lnTo>
                    <a:pt x="1062" y="3948"/>
                  </a:lnTo>
                  <a:lnTo>
                    <a:pt x="1018" y="3922"/>
                  </a:lnTo>
                  <a:lnTo>
                    <a:pt x="975" y="3895"/>
                  </a:lnTo>
                  <a:lnTo>
                    <a:pt x="933" y="3867"/>
                  </a:lnTo>
                  <a:lnTo>
                    <a:pt x="890" y="3838"/>
                  </a:lnTo>
                  <a:lnTo>
                    <a:pt x="849" y="3808"/>
                  </a:lnTo>
                  <a:lnTo>
                    <a:pt x="809" y="3777"/>
                  </a:lnTo>
                  <a:lnTo>
                    <a:pt x="770" y="3745"/>
                  </a:lnTo>
                  <a:lnTo>
                    <a:pt x="731" y="3712"/>
                  </a:lnTo>
                  <a:lnTo>
                    <a:pt x="693" y="3679"/>
                  </a:lnTo>
                  <a:lnTo>
                    <a:pt x="655" y="3644"/>
                  </a:lnTo>
                  <a:lnTo>
                    <a:pt x="619" y="3609"/>
                  </a:lnTo>
                  <a:lnTo>
                    <a:pt x="584" y="3573"/>
                  </a:lnTo>
                  <a:lnTo>
                    <a:pt x="549" y="3536"/>
                  </a:lnTo>
                  <a:lnTo>
                    <a:pt x="516" y="3498"/>
                  </a:lnTo>
                  <a:lnTo>
                    <a:pt x="483" y="3459"/>
                  </a:lnTo>
                  <a:lnTo>
                    <a:pt x="451" y="3420"/>
                  </a:lnTo>
                  <a:lnTo>
                    <a:pt x="420" y="3379"/>
                  </a:lnTo>
                  <a:lnTo>
                    <a:pt x="391" y="3338"/>
                  </a:lnTo>
                  <a:lnTo>
                    <a:pt x="362" y="3296"/>
                  </a:lnTo>
                  <a:lnTo>
                    <a:pt x="333" y="3254"/>
                  </a:lnTo>
                  <a:lnTo>
                    <a:pt x="306" y="3210"/>
                  </a:lnTo>
                  <a:lnTo>
                    <a:pt x="280" y="3166"/>
                  </a:lnTo>
                  <a:lnTo>
                    <a:pt x="256" y="3122"/>
                  </a:lnTo>
                  <a:lnTo>
                    <a:pt x="232" y="3077"/>
                  </a:lnTo>
                  <a:lnTo>
                    <a:pt x="208" y="3030"/>
                  </a:lnTo>
                  <a:lnTo>
                    <a:pt x="187" y="2984"/>
                  </a:lnTo>
                  <a:lnTo>
                    <a:pt x="166" y="2937"/>
                  </a:lnTo>
                  <a:lnTo>
                    <a:pt x="146" y="2889"/>
                  </a:lnTo>
                  <a:lnTo>
                    <a:pt x="129" y="2841"/>
                  </a:lnTo>
                  <a:lnTo>
                    <a:pt x="111" y="2792"/>
                  </a:lnTo>
                  <a:lnTo>
                    <a:pt x="95" y="2743"/>
                  </a:lnTo>
                  <a:lnTo>
                    <a:pt x="80" y="2693"/>
                  </a:lnTo>
                  <a:lnTo>
                    <a:pt x="67" y="2643"/>
                  </a:lnTo>
                  <a:lnTo>
                    <a:pt x="55" y="2591"/>
                  </a:lnTo>
                  <a:lnTo>
                    <a:pt x="43" y="2540"/>
                  </a:lnTo>
                  <a:lnTo>
                    <a:pt x="33" y="2488"/>
                  </a:lnTo>
                  <a:lnTo>
                    <a:pt x="25" y="2436"/>
                  </a:lnTo>
                  <a:lnTo>
                    <a:pt x="18" y="2383"/>
                  </a:lnTo>
                  <a:lnTo>
                    <a:pt x="11" y="2331"/>
                  </a:lnTo>
                  <a:lnTo>
                    <a:pt x="6" y="2277"/>
                  </a:lnTo>
                  <a:lnTo>
                    <a:pt x="3" y="2223"/>
                  </a:lnTo>
                  <a:lnTo>
                    <a:pt x="1" y="2169"/>
                  </a:lnTo>
                  <a:lnTo>
                    <a:pt x="0" y="2114"/>
                  </a:lnTo>
                  <a:lnTo>
                    <a:pt x="0" y="2114"/>
                  </a:lnTo>
                  <a:lnTo>
                    <a:pt x="1" y="2060"/>
                  </a:lnTo>
                  <a:lnTo>
                    <a:pt x="3" y="2005"/>
                  </a:lnTo>
                  <a:lnTo>
                    <a:pt x="6" y="1952"/>
                  </a:lnTo>
                  <a:lnTo>
                    <a:pt x="11" y="1898"/>
                  </a:lnTo>
                  <a:lnTo>
                    <a:pt x="18" y="1844"/>
                  </a:lnTo>
                  <a:lnTo>
                    <a:pt x="25" y="1792"/>
                  </a:lnTo>
                  <a:lnTo>
                    <a:pt x="33" y="1740"/>
                  </a:lnTo>
                  <a:lnTo>
                    <a:pt x="43" y="1688"/>
                  </a:lnTo>
                  <a:lnTo>
                    <a:pt x="55" y="1636"/>
                  </a:lnTo>
                  <a:lnTo>
                    <a:pt x="67" y="1586"/>
                  </a:lnTo>
                  <a:lnTo>
                    <a:pt x="80" y="1535"/>
                  </a:lnTo>
                  <a:lnTo>
                    <a:pt x="95" y="1486"/>
                  </a:lnTo>
                  <a:lnTo>
                    <a:pt x="111" y="1436"/>
                  </a:lnTo>
                  <a:lnTo>
                    <a:pt x="129" y="1387"/>
                  </a:lnTo>
                  <a:lnTo>
                    <a:pt x="146" y="1339"/>
                  </a:lnTo>
                  <a:lnTo>
                    <a:pt x="166" y="1291"/>
                  </a:lnTo>
                  <a:lnTo>
                    <a:pt x="187" y="1244"/>
                  </a:lnTo>
                  <a:lnTo>
                    <a:pt x="208" y="1197"/>
                  </a:lnTo>
                  <a:lnTo>
                    <a:pt x="232" y="1152"/>
                  </a:lnTo>
                  <a:lnTo>
                    <a:pt x="256" y="1107"/>
                  </a:lnTo>
                  <a:lnTo>
                    <a:pt x="280" y="1062"/>
                  </a:lnTo>
                  <a:lnTo>
                    <a:pt x="306" y="1018"/>
                  </a:lnTo>
                  <a:lnTo>
                    <a:pt x="333" y="975"/>
                  </a:lnTo>
                  <a:lnTo>
                    <a:pt x="362" y="933"/>
                  </a:lnTo>
                  <a:lnTo>
                    <a:pt x="391" y="890"/>
                  </a:lnTo>
                  <a:lnTo>
                    <a:pt x="420" y="849"/>
                  </a:lnTo>
                  <a:lnTo>
                    <a:pt x="451" y="809"/>
                  </a:lnTo>
                  <a:lnTo>
                    <a:pt x="483" y="770"/>
                  </a:lnTo>
                  <a:lnTo>
                    <a:pt x="516" y="731"/>
                  </a:lnTo>
                  <a:lnTo>
                    <a:pt x="549" y="693"/>
                  </a:lnTo>
                  <a:lnTo>
                    <a:pt x="584" y="656"/>
                  </a:lnTo>
                  <a:lnTo>
                    <a:pt x="619" y="620"/>
                  </a:lnTo>
                  <a:lnTo>
                    <a:pt x="655" y="584"/>
                  </a:lnTo>
                  <a:lnTo>
                    <a:pt x="693" y="550"/>
                  </a:lnTo>
                  <a:lnTo>
                    <a:pt x="731" y="516"/>
                  </a:lnTo>
                  <a:lnTo>
                    <a:pt x="770" y="483"/>
                  </a:lnTo>
                  <a:lnTo>
                    <a:pt x="809" y="452"/>
                  </a:lnTo>
                  <a:lnTo>
                    <a:pt x="849" y="421"/>
                  </a:lnTo>
                  <a:lnTo>
                    <a:pt x="890" y="390"/>
                  </a:lnTo>
                  <a:lnTo>
                    <a:pt x="933" y="361"/>
                  </a:lnTo>
                  <a:lnTo>
                    <a:pt x="975" y="333"/>
                  </a:lnTo>
                  <a:lnTo>
                    <a:pt x="1018" y="306"/>
                  </a:lnTo>
                  <a:lnTo>
                    <a:pt x="1062" y="281"/>
                  </a:lnTo>
                  <a:lnTo>
                    <a:pt x="1107" y="256"/>
                  </a:lnTo>
                  <a:lnTo>
                    <a:pt x="1152" y="231"/>
                  </a:lnTo>
                  <a:lnTo>
                    <a:pt x="1197" y="209"/>
                  </a:lnTo>
                  <a:lnTo>
                    <a:pt x="1245" y="187"/>
                  </a:lnTo>
                  <a:lnTo>
                    <a:pt x="1291" y="166"/>
                  </a:lnTo>
                  <a:lnTo>
                    <a:pt x="1340" y="147"/>
                  </a:lnTo>
                  <a:lnTo>
                    <a:pt x="1388" y="128"/>
                  </a:lnTo>
                  <a:lnTo>
                    <a:pt x="1437" y="112"/>
                  </a:lnTo>
                  <a:lnTo>
                    <a:pt x="1486" y="95"/>
                  </a:lnTo>
                  <a:lnTo>
                    <a:pt x="1535" y="81"/>
                  </a:lnTo>
                  <a:lnTo>
                    <a:pt x="1586" y="66"/>
                  </a:lnTo>
                  <a:lnTo>
                    <a:pt x="1637" y="54"/>
                  </a:lnTo>
                  <a:lnTo>
                    <a:pt x="1689" y="44"/>
                  </a:lnTo>
                  <a:lnTo>
                    <a:pt x="1740" y="33"/>
                  </a:lnTo>
                  <a:lnTo>
                    <a:pt x="1793" y="24"/>
                  </a:lnTo>
                  <a:lnTo>
                    <a:pt x="1846" y="17"/>
                  </a:lnTo>
                  <a:lnTo>
                    <a:pt x="1898" y="11"/>
                  </a:lnTo>
                  <a:lnTo>
                    <a:pt x="1952" y="7"/>
                  </a:lnTo>
                  <a:lnTo>
                    <a:pt x="2006" y="4"/>
                  </a:lnTo>
                  <a:lnTo>
                    <a:pt x="2060" y="1"/>
                  </a:lnTo>
                  <a:lnTo>
                    <a:pt x="2115" y="0"/>
                  </a:lnTo>
                  <a:lnTo>
                    <a:pt x="2115" y="0"/>
                  </a:lnTo>
                  <a:lnTo>
                    <a:pt x="2169" y="1"/>
                  </a:lnTo>
                  <a:lnTo>
                    <a:pt x="2224" y="4"/>
                  </a:lnTo>
                  <a:lnTo>
                    <a:pt x="2277" y="7"/>
                  </a:lnTo>
                  <a:lnTo>
                    <a:pt x="2331" y="11"/>
                  </a:lnTo>
                  <a:lnTo>
                    <a:pt x="2383" y="17"/>
                  </a:lnTo>
                  <a:lnTo>
                    <a:pt x="2437" y="24"/>
                  </a:lnTo>
                  <a:lnTo>
                    <a:pt x="2489" y="33"/>
                  </a:lnTo>
                  <a:lnTo>
                    <a:pt x="2541" y="44"/>
                  </a:lnTo>
                  <a:lnTo>
                    <a:pt x="2593" y="54"/>
                  </a:lnTo>
                  <a:lnTo>
                    <a:pt x="2643" y="66"/>
                  </a:lnTo>
                  <a:lnTo>
                    <a:pt x="2694" y="81"/>
                  </a:lnTo>
                  <a:lnTo>
                    <a:pt x="2743" y="95"/>
                  </a:lnTo>
                  <a:lnTo>
                    <a:pt x="2793" y="112"/>
                  </a:lnTo>
                  <a:lnTo>
                    <a:pt x="2842" y="128"/>
                  </a:lnTo>
                  <a:lnTo>
                    <a:pt x="2890" y="147"/>
                  </a:lnTo>
                  <a:lnTo>
                    <a:pt x="2938" y="166"/>
                  </a:lnTo>
                  <a:lnTo>
                    <a:pt x="2985" y="187"/>
                  </a:lnTo>
                  <a:lnTo>
                    <a:pt x="3032" y="209"/>
                  </a:lnTo>
                  <a:lnTo>
                    <a:pt x="3077" y="231"/>
                  </a:lnTo>
                  <a:lnTo>
                    <a:pt x="3122" y="256"/>
                  </a:lnTo>
                  <a:lnTo>
                    <a:pt x="3168" y="281"/>
                  </a:lnTo>
                  <a:lnTo>
                    <a:pt x="3211" y="306"/>
                  </a:lnTo>
                  <a:lnTo>
                    <a:pt x="3254" y="333"/>
                  </a:lnTo>
                  <a:lnTo>
                    <a:pt x="3296" y="361"/>
                  </a:lnTo>
                  <a:lnTo>
                    <a:pt x="3339" y="390"/>
                  </a:lnTo>
                  <a:lnTo>
                    <a:pt x="3380" y="421"/>
                  </a:lnTo>
                  <a:lnTo>
                    <a:pt x="3420" y="452"/>
                  </a:lnTo>
                  <a:lnTo>
                    <a:pt x="3459" y="483"/>
                  </a:lnTo>
                  <a:lnTo>
                    <a:pt x="3498" y="516"/>
                  </a:lnTo>
                  <a:lnTo>
                    <a:pt x="3537" y="550"/>
                  </a:lnTo>
                  <a:lnTo>
                    <a:pt x="3574" y="584"/>
                  </a:lnTo>
                  <a:lnTo>
                    <a:pt x="3610" y="620"/>
                  </a:lnTo>
                  <a:lnTo>
                    <a:pt x="3645" y="656"/>
                  </a:lnTo>
                  <a:lnTo>
                    <a:pt x="3680" y="693"/>
                  </a:lnTo>
                  <a:lnTo>
                    <a:pt x="3714" y="731"/>
                  </a:lnTo>
                  <a:lnTo>
                    <a:pt x="3747" y="770"/>
                  </a:lnTo>
                  <a:lnTo>
                    <a:pt x="3778" y="809"/>
                  </a:lnTo>
                  <a:lnTo>
                    <a:pt x="3809" y="849"/>
                  </a:lnTo>
                  <a:lnTo>
                    <a:pt x="3839" y="890"/>
                  </a:lnTo>
                  <a:lnTo>
                    <a:pt x="3868" y="933"/>
                  </a:lnTo>
                  <a:lnTo>
                    <a:pt x="3896" y="975"/>
                  </a:lnTo>
                  <a:lnTo>
                    <a:pt x="3923" y="1018"/>
                  </a:lnTo>
                  <a:lnTo>
                    <a:pt x="3949" y="1062"/>
                  </a:lnTo>
                  <a:lnTo>
                    <a:pt x="3973" y="1107"/>
                  </a:lnTo>
                  <a:lnTo>
                    <a:pt x="3998" y="1152"/>
                  </a:lnTo>
                  <a:lnTo>
                    <a:pt x="4021" y="1197"/>
                  </a:lnTo>
                  <a:lnTo>
                    <a:pt x="4042" y="1244"/>
                  </a:lnTo>
                  <a:lnTo>
                    <a:pt x="4063" y="1291"/>
                  </a:lnTo>
                  <a:lnTo>
                    <a:pt x="4083" y="1339"/>
                  </a:lnTo>
                  <a:lnTo>
                    <a:pt x="4101" y="1387"/>
                  </a:lnTo>
                  <a:lnTo>
                    <a:pt x="4118" y="1436"/>
                  </a:lnTo>
                  <a:lnTo>
                    <a:pt x="4134" y="1486"/>
                  </a:lnTo>
                  <a:lnTo>
                    <a:pt x="4149" y="1535"/>
                  </a:lnTo>
                  <a:lnTo>
                    <a:pt x="4163" y="1586"/>
                  </a:lnTo>
                  <a:lnTo>
                    <a:pt x="4175" y="1636"/>
                  </a:lnTo>
                  <a:lnTo>
                    <a:pt x="4186" y="1688"/>
                  </a:lnTo>
                  <a:lnTo>
                    <a:pt x="4196" y="1740"/>
                  </a:lnTo>
                  <a:lnTo>
                    <a:pt x="4204" y="1792"/>
                  </a:lnTo>
                  <a:lnTo>
                    <a:pt x="4213" y="1844"/>
                  </a:lnTo>
                  <a:lnTo>
                    <a:pt x="4219" y="1898"/>
                  </a:lnTo>
                  <a:lnTo>
                    <a:pt x="4223" y="1952"/>
                  </a:lnTo>
                  <a:lnTo>
                    <a:pt x="4226" y="2005"/>
                  </a:lnTo>
                  <a:lnTo>
                    <a:pt x="4228" y="2060"/>
                  </a:lnTo>
                  <a:lnTo>
                    <a:pt x="4229" y="2114"/>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 name="Freeform 771">
              <a:extLst>
                <a:ext uri="{FF2B5EF4-FFF2-40B4-BE49-F238E27FC236}">
                  <a16:creationId xmlns:a16="http://schemas.microsoft.com/office/drawing/2014/main" id="{D3146481-46BC-DB6F-6E80-A6999215349B}"/>
                </a:ext>
              </a:extLst>
            </p:cNvPr>
            <p:cNvSpPr>
              <a:spLocks/>
            </p:cNvSpPr>
            <p:nvPr/>
          </p:nvSpPr>
          <p:spPr bwMode="auto">
            <a:xfrm>
              <a:off x="4508501" y="4287838"/>
              <a:ext cx="588963" cy="654050"/>
            </a:xfrm>
            <a:custGeom>
              <a:avLst/>
              <a:gdLst/>
              <a:ahLst/>
              <a:cxnLst>
                <a:cxn ang="0">
                  <a:pos x="1715" y="2373"/>
                </a:cxn>
                <a:cxn ang="0">
                  <a:pos x="922" y="3295"/>
                </a:cxn>
                <a:cxn ang="0">
                  <a:pos x="975" y="3293"/>
                </a:cxn>
                <a:cxn ang="0">
                  <a:pos x="1079" y="3285"/>
                </a:cxn>
                <a:cxn ang="0">
                  <a:pos x="1182" y="3272"/>
                </a:cxn>
                <a:cxn ang="0">
                  <a:pos x="1283" y="3254"/>
                </a:cxn>
                <a:cxn ang="0">
                  <a:pos x="1382" y="3231"/>
                </a:cxn>
                <a:cxn ang="0">
                  <a:pos x="1480" y="3204"/>
                </a:cxn>
                <a:cxn ang="0">
                  <a:pos x="1576" y="3172"/>
                </a:cxn>
                <a:cxn ang="0">
                  <a:pos x="1670" y="3136"/>
                </a:cxn>
                <a:cxn ang="0">
                  <a:pos x="1715" y="3116"/>
                </a:cxn>
                <a:cxn ang="0">
                  <a:pos x="1782" y="3085"/>
                </a:cxn>
                <a:cxn ang="0">
                  <a:pos x="1848" y="3051"/>
                </a:cxn>
                <a:cxn ang="0">
                  <a:pos x="1913" y="3015"/>
                </a:cxn>
                <a:cxn ang="0">
                  <a:pos x="1976" y="2978"/>
                </a:cxn>
                <a:cxn ang="0">
                  <a:pos x="2037" y="2938"/>
                </a:cxn>
                <a:cxn ang="0">
                  <a:pos x="2097" y="2896"/>
                </a:cxn>
                <a:cxn ang="0">
                  <a:pos x="2156" y="2851"/>
                </a:cxn>
                <a:cxn ang="0">
                  <a:pos x="2214" y="2806"/>
                </a:cxn>
                <a:cxn ang="0">
                  <a:pos x="2268" y="2757"/>
                </a:cxn>
                <a:cxn ang="0">
                  <a:pos x="2322" y="2708"/>
                </a:cxn>
                <a:cxn ang="0">
                  <a:pos x="2374" y="2657"/>
                </a:cxn>
                <a:cxn ang="0">
                  <a:pos x="2424" y="2603"/>
                </a:cxn>
                <a:cxn ang="0">
                  <a:pos x="2472" y="2548"/>
                </a:cxn>
                <a:cxn ang="0">
                  <a:pos x="2519" y="2492"/>
                </a:cxn>
                <a:cxn ang="0">
                  <a:pos x="2563" y="2433"/>
                </a:cxn>
                <a:cxn ang="0">
                  <a:pos x="2605" y="2373"/>
                </a:cxn>
                <a:cxn ang="0">
                  <a:pos x="2626" y="2342"/>
                </a:cxn>
                <a:cxn ang="0">
                  <a:pos x="2665" y="2282"/>
                </a:cxn>
                <a:cxn ang="0">
                  <a:pos x="2702" y="2218"/>
                </a:cxn>
                <a:cxn ang="0">
                  <a:pos x="2736" y="2154"/>
                </a:cxn>
                <a:cxn ang="0">
                  <a:pos x="2769" y="2088"/>
                </a:cxn>
                <a:cxn ang="0">
                  <a:pos x="2799" y="2021"/>
                </a:cxn>
                <a:cxn ang="0">
                  <a:pos x="2827" y="1953"/>
                </a:cxn>
                <a:cxn ang="0">
                  <a:pos x="2852" y="1884"/>
                </a:cxn>
                <a:cxn ang="0">
                  <a:pos x="2876" y="1813"/>
                </a:cxn>
                <a:cxn ang="0">
                  <a:pos x="2897" y="1742"/>
                </a:cxn>
                <a:cxn ang="0">
                  <a:pos x="2915" y="1669"/>
                </a:cxn>
                <a:cxn ang="0">
                  <a:pos x="2931" y="1595"/>
                </a:cxn>
                <a:cxn ang="0">
                  <a:pos x="2944" y="1521"/>
                </a:cxn>
                <a:cxn ang="0">
                  <a:pos x="2954" y="1446"/>
                </a:cxn>
                <a:cxn ang="0">
                  <a:pos x="2963" y="1370"/>
                </a:cxn>
                <a:cxn ang="0">
                  <a:pos x="2968" y="1293"/>
                </a:cxn>
                <a:cxn ang="0">
                  <a:pos x="1715" y="0"/>
                </a:cxn>
              </a:cxnLst>
              <a:rect l="0" t="0" r="r" b="b"/>
              <a:pathLst>
                <a:path w="2970" h="3295">
                  <a:moveTo>
                    <a:pt x="1715" y="0"/>
                  </a:moveTo>
                  <a:lnTo>
                    <a:pt x="1715" y="2373"/>
                  </a:lnTo>
                  <a:lnTo>
                    <a:pt x="0" y="2373"/>
                  </a:lnTo>
                  <a:lnTo>
                    <a:pt x="922" y="3295"/>
                  </a:lnTo>
                  <a:lnTo>
                    <a:pt x="922" y="3295"/>
                  </a:lnTo>
                  <a:lnTo>
                    <a:pt x="975" y="3293"/>
                  </a:lnTo>
                  <a:lnTo>
                    <a:pt x="1028" y="3289"/>
                  </a:lnTo>
                  <a:lnTo>
                    <a:pt x="1079" y="3285"/>
                  </a:lnTo>
                  <a:lnTo>
                    <a:pt x="1131" y="3279"/>
                  </a:lnTo>
                  <a:lnTo>
                    <a:pt x="1182" y="3272"/>
                  </a:lnTo>
                  <a:lnTo>
                    <a:pt x="1233" y="3263"/>
                  </a:lnTo>
                  <a:lnTo>
                    <a:pt x="1283" y="3254"/>
                  </a:lnTo>
                  <a:lnTo>
                    <a:pt x="1334" y="3243"/>
                  </a:lnTo>
                  <a:lnTo>
                    <a:pt x="1382" y="3231"/>
                  </a:lnTo>
                  <a:lnTo>
                    <a:pt x="1431" y="3218"/>
                  </a:lnTo>
                  <a:lnTo>
                    <a:pt x="1480" y="3204"/>
                  </a:lnTo>
                  <a:lnTo>
                    <a:pt x="1528" y="3188"/>
                  </a:lnTo>
                  <a:lnTo>
                    <a:pt x="1576" y="3172"/>
                  </a:lnTo>
                  <a:lnTo>
                    <a:pt x="1622" y="3154"/>
                  </a:lnTo>
                  <a:lnTo>
                    <a:pt x="1670" y="3136"/>
                  </a:lnTo>
                  <a:lnTo>
                    <a:pt x="1715" y="3116"/>
                  </a:lnTo>
                  <a:lnTo>
                    <a:pt x="1715" y="3116"/>
                  </a:lnTo>
                  <a:lnTo>
                    <a:pt x="1749" y="3101"/>
                  </a:lnTo>
                  <a:lnTo>
                    <a:pt x="1782" y="3085"/>
                  </a:lnTo>
                  <a:lnTo>
                    <a:pt x="1815" y="3069"/>
                  </a:lnTo>
                  <a:lnTo>
                    <a:pt x="1848" y="3051"/>
                  </a:lnTo>
                  <a:lnTo>
                    <a:pt x="1881" y="3034"/>
                  </a:lnTo>
                  <a:lnTo>
                    <a:pt x="1913" y="3015"/>
                  </a:lnTo>
                  <a:lnTo>
                    <a:pt x="1945" y="2996"/>
                  </a:lnTo>
                  <a:lnTo>
                    <a:pt x="1976" y="2978"/>
                  </a:lnTo>
                  <a:lnTo>
                    <a:pt x="2006" y="2958"/>
                  </a:lnTo>
                  <a:lnTo>
                    <a:pt x="2037" y="2938"/>
                  </a:lnTo>
                  <a:lnTo>
                    <a:pt x="2067" y="2917"/>
                  </a:lnTo>
                  <a:lnTo>
                    <a:pt x="2097" y="2896"/>
                  </a:lnTo>
                  <a:lnTo>
                    <a:pt x="2127" y="2874"/>
                  </a:lnTo>
                  <a:lnTo>
                    <a:pt x="2156" y="2851"/>
                  </a:lnTo>
                  <a:lnTo>
                    <a:pt x="2185" y="2829"/>
                  </a:lnTo>
                  <a:lnTo>
                    <a:pt x="2214" y="2806"/>
                  </a:lnTo>
                  <a:lnTo>
                    <a:pt x="2241" y="2782"/>
                  </a:lnTo>
                  <a:lnTo>
                    <a:pt x="2268" y="2757"/>
                  </a:lnTo>
                  <a:lnTo>
                    <a:pt x="2296" y="2733"/>
                  </a:lnTo>
                  <a:lnTo>
                    <a:pt x="2322" y="2708"/>
                  </a:lnTo>
                  <a:lnTo>
                    <a:pt x="2349" y="2682"/>
                  </a:lnTo>
                  <a:lnTo>
                    <a:pt x="2374" y="2657"/>
                  </a:lnTo>
                  <a:lnTo>
                    <a:pt x="2399" y="2630"/>
                  </a:lnTo>
                  <a:lnTo>
                    <a:pt x="2424" y="2603"/>
                  </a:lnTo>
                  <a:lnTo>
                    <a:pt x="2449" y="2576"/>
                  </a:lnTo>
                  <a:lnTo>
                    <a:pt x="2472" y="2548"/>
                  </a:lnTo>
                  <a:lnTo>
                    <a:pt x="2496" y="2520"/>
                  </a:lnTo>
                  <a:lnTo>
                    <a:pt x="2519" y="2492"/>
                  </a:lnTo>
                  <a:lnTo>
                    <a:pt x="2541" y="2462"/>
                  </a:lnTo>
                  <a:lnTo>
                    <a:pt x="2563" y="2433"/>
                  </a:lnTo>
                  <a:lnTo>
                    <a:pt x="2585" y="2403"/>
                  </a:lnTo>
                  <a:lnTo>
                    <a:pt x="2605" y="2373"/>
                  </a:lnTo>
                  <a:lnTo>
                    <a:pt x="2605" y="2373"/>
                  </a:lnTo>
                  <a:lnTo>
                    <a:pt x="2626" y="2342"/>
                  </a:lnTo>
                  <a:lnTo>
                    <a:pt x="2645" y="2312"/>
                  </a:lnTo>
                  <a:lnTo>
                    <a:pt x="2665" y="2282"/>
                  </a:lnTo>
                  <a:lnTo>
                    <a:pt x="2683" y="2250"/>
                  </a:lnTo>
                  <a:lnTo>
                    <a:pt x="2702" y="2218"/>
                  </a:lnTo>
                  <a:lnTo>
                    <a:pt x="2720" y="2186"/>
                  </a:lnTo>
                  <a:lnTo>
                    <a:pt x="2736" y="2154"/>
                  </a:lnTo>
                  <a:lnTo>
                    <a:pt x="2753" y="2121"/>
                  </a:lnTo>
                  <a:lnTo>
                    <a:pt x="2769" y="2088"/>
                  </a:lnTo>
                  <a:lnTo>
                    <a:pt x="2784" y="2055"/>
                  </a:lnTo>
                  <a:lnTo>
                    <a:pt x="2799" y="2021"/>
                  </a:lnTo>
                  <a:lnTo>
                    <a:pt x="2813" y="1987"/>
                  </a:lnTo>
                  <a:lnTo>
                    <a:pt x="2827" y="1953"/>
                  </a:lnTo>
                  <a:lnTo>
                    <a:pt x="2840" y="1918"/>
                  </a:lnTo>
                  <a:lnTo>
                    <a:pt x="2852" y="1884"/>
                  </a:lnTo>
                  <a:lnTo>
                    <a:pt x="2865" y="1849"/>
                  </a:lnTo>
                  <a:lnTo>
                    <a:pt x="2876" y="1813"/>
                  </a:lnTo>
                  <a:lnTo>
                    <a:pt x="2886" y="1778"/>
                  </a:lnTo>
                  <a:lnTo>
                    <a:pt x="2897" y="1742"/>
                  </a:lnTo>
                  <a:lnTo>
                    <a:pt x="2906" y="1706"/>
                  </a:lnTo>
                  <a:lnTo>
                    <a:pt x="2915" y="1669"/>
                  </a:lnTo>
                  <a:lnTo>
                    <a:pt x="2924" y="1633"/>
                  </a:lnTo>
                  <a:lnTo>
                    <a:pt x="2931" y="1595"/>
                  </a:lnTo>
                  <a:lnTo>
                    <a:pt x="2938" y="1558"/>
                  </a:lnTo>
                  <a:lnTo>
                    <a:pt x="2944" y="1521"/>
                  </a:lnTo>
                  <a:lnTo>
                    <a:pt x="2950" y="1483"/>
                  </a:lnTo>
                  <a:lnTo>
                    <a:pt x="2954" y="1446"/>
                  </a:lnTo>
                  <a:lnTo>
                    <a:pt x="2960" y="1408"/>
                  </a:lnTo>
                  <a:lnTo>
                    <a:pt x="2963" y="1370"/>
                  </a:lnTo>
                  <a:lnTo>
                    <a:pt x="2966" y="1331"/>
                  </a:lnTo>
                  <a:lnTo>
                    <a:pt x="2968" y="1293"/>
                  </a:lnTo>
                  <a:lnTo>
                    <a:pt x="2970" y="1253"/>
                  </a:lnTo>
                  <a:lnTo>
                    <a:pt x="1715" y="0"/>
                  </a:lnTo>
                  <a:close/>
                </a:path>
              </a:pathLst>
            </a:custGeom>
            <a:solidFill>
              <a:srgbClr val="3C9987"/>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Freeform 772">
              <a:extLst>
                <a:ext uri="{FF2B5EF4-FFF2-40B4-BE49-F238E27FC236}">
                  <a16:creationId xmlns:a16="http://schemas.microsoft.com/office/drawing/2014/main" id="{6637DBE8-9B03-3A41-AEA5-13C5CDF08A97}"/>
                </a:ext>
              </a:extLst>
            </p:cNvPr>
            <p:cNvSpPr>
              <a:spLocks/>
            </p:cNvSpPr>
            <p:nvPr/>
          </p:nvSpPr>
          <p:spPr bwMode="auto">
            <a:xfrm>
              <a:off x="4508501" y="4287838"/>
              <a:ext cx="588963" cy="654050"/>
            </a:xfrm>
            <a:custGeom>
              <a:avLst/>
              <a:gdLst/>
              <a:ahLst/>
              <a:cxnLst>
                <a:cxn ang="0">
                  <a:pos x="1715" y="2373"/>
                </a:cxn>
                <a:cxn ang="0">
                  <a:pos x="922" y="3295"/>
                </a:cxn>
                <a:cxn ang="0">
                  <a:pos x="975" y="3293"/>
                </a:cxn>
                <a:cxn ang="0">
                  <a:pos x="1079" y="3285"/>
                </a:cxn>
                <a:cxn ang="0">
                  <a:pos x="1182" y="3272"/>
                </a:cxn>
                <a:cxn ang="0">
                  <a:pos x="1283" y="3254"/>
                </a:cxn>
                <a:cxn ang="0">
                  <a:pos x="1382" y="3231"/>
                </a:cxn>
                <a:cxn ang="0">
                  <a:pos x="1480" y="3204"/>
                </a:cxn>
                <a:cxn ang="0">
                  <a:pos x="1576" y="3172"/>
                </a:cxn>
                <a:cxn ang="0">
                  <a:pos x="1670" y="3136"/>
                </a:cxn>
                <a:cxn ang="0">
                  <a:pos x="1715" y="3116"/>
                </a:cxn>
                <a:cxn ang="0">
                  <a:pos x="1782" y="3085"/>
                </a:cxn>
                <a:cxn ang="0">
                  <a:pos x="1848" y="3051"/>
                </a:cxn>
                <a:cxn ang="0">
                  <a:pos x="1913" y="3015"/>
                </a:cxn>
                <a:cxn ang="0">
                  <a:pos x="1976" y="2978"/>
                </a:cxn>
                <a:cxn ang="0">
                  <a:pos x="2037" y="2938"/>
                </a:cxn>
                <a:cxn ang="0">
                  <a:pos x="2097" y="2896"/>
                </a:cxn>
                <a:cxn ang="0">
                  <a:pos x="2156" y="2851"/>
                </a:cxn>
                <a:cxn ang="0">
                  <a:pos x="2214" y="2806"/>
                </a:cxn>
                <a:cxn ang="0">
                  <a:pos x="2268" y="2757"/>
                </a:cxn>
                <a:cxn ang="0">
                  <a:pos x="2322" y="2708"/>
                </a:cxn>
                <a:cxn ang="0">
                  <a:pos x="2374" y="2657"/>
                </a:cxn>
                <a:cxn ang="0">
                  <a:pos x="2424" y="2603"/>
                </a:cxn>
                <a:cxn ang="0">
                  <a:pos x="2472" y="2548"/>
                </a:cxn>
                <a:cxn ang="0">
                  <a:pos x="2519" y="2492"/>
                </a:cxn>
                <a:cxn ang="0">
                  <a:pos x="2563" y="2433"/>
                </a:cxn>
                <a:cxn ang="0">
                  <a:pos x="2605" y="2373"/>
                </a:cxn>
                <a:cxn ang="0">
                  <a:pos x="2626" y="2342"/>
                </a:cxn>
                <a:cxn ang="0">
                  <a:pos x="2665" y="2282"/>
                </a:cxn>
                <a:cxn ang="0">
                  <a:pos x="2702" y="2218"/>
                </a:cxn>
                <a:cxn ang="0">
                  <a:pos x="2736" y="2154"/>
                </a:cxn>
                <a:cxn ang="0">
                  <a:pos x="2769" y="2088"/>
                </a:cxn>
                <a:cxn ang="0">
                  <a:pos x="2799" y="2021"/>
                </a:cxn>
                <a:cxn ang="0">
                  <a:pos x="2827" y="1953"/>
                </a:cxn>
                <a:cxn ang="0">
                  <a:pos x="2852" y="1884"/>
                </a:cxn>
                <a:cxn ang="0">
                  <a:pos x="2876" y="1813"/>
                </a:cxn>
                <a:cxn ang="0">
                  <a:pos x="2897" y="1742"/>
                </a:cxn>
                <a:cxn ang="0">
                  <a:pos x="2915" y="1669"/>
                </a:cxn>
                <a:cxn ang="0">
                  <a:pos x="2931" y="1595"/>
                </a:cxn>
                <a:cxn ang="0">
                  <a:pos x="2944" y="1521"/>
                </a:cxn>
                <a:cxn ang="0">
                  <a:pos x="2954" y="1446"/>
                </a:cxn>
                <a:cxn ang="0">
                  <a:pos x="2963" y="1370"/>
                </a:cxn>
                <a:cxn ang="0">
                  <a:pos x="2968" y="1293"/>
                </a:cxn>
                <a:cxn ang="0">
                  <a:pos x="1715" y="0"/>
                </a:cxn>
              </a:cxnLst>
              <a:rect l="0" t="0" r="r" b="b"/>
              <a:pathLst>
                <a:path w="2970" h="3295">
                  <a:moveTo>
                    <a:pt x="1715" y="0"/>
                  </a:moveTo>
                  <a:lnTo>
                    <a:pt x="1715" y="2373"/>
                  </a:lnTo>
                  <a:lnTo>
                    <a:pt x="0" y="2373"/>
                  </a:lnTo>
                  <a:lnTo>
                    <a:pt x="922" y="3295"/>
                  </a:lnTo>
                  <a:lnTo>
                    <a:pt x="922" y="3295"/>
                  </a:lnTo>
                  <a:lnTo>
                    <a:pt x="975" y="3293"/>
                  </a:lnTo>
                  <a:lnTo>
                    <a:pt x="1028" y="3289"/>
                  </a:lnTo>
                  <a:lnTo>
                    <a:pt x="1079" y="3285"/>
                  </a:lnTo>
                  <a:lnTo>
                    <a:pt x="1131" y="3279"/>
                  </a:lnTo>
                  <a:lnTo>
                    <a:pt x="1182" y="3272"/>
                  </a:lnTo>
                  <a:lnTo>
                    <a:pt x="1233" y="3263"/>
                  </a:lnTo>
                  <a:lnTo>
                    <a:pt x="1283" y="3254"/>
                  </a:lnTo>
                  <a:lnTo>
                    <a:pt x="1334" y="3243"/>
                  </a:lnTo>
                  <a:lnTo>
                    <a:pt x="1382" y="3231"/>
                  </a:lnTo>
                  <a:lnTo>
                    <a:pt x="1431" y="3218"/>
                  </a:lnTo>
                  <a:lnTo>
                    <a:pt x="1480" y="3204"/>
                  </a:lnTo>
                  <a:lnTo>
                    <a:pt x="1528" y="3188"/>
                  </a:lnTo>
                  <a:lnTo>
                    <a:pt x="1576" y="3172"/>
                  </a:lnTo>
                  <a:lnTo>
                    <a:pt x="1622" y="3154"/>
                  </a:lnTo>
                  <a:lnTo>
                    <a:pt x="1670" y="3136"/>
                  </a:lnTo>
                  <a:lnTo>
                    <a:pt x="1715" y="3116"/>
                  </a:lnTo>
                  <a:lnTo>
                    <a:pt x="1715" y="3116"/>
                  </a:lnTo>
                  <a:lnTo>
                    <a:pt x="1749" y="3101"/>
                  </a:lnTo>
                  <a:lnTo>
                    <a:pt x="1782" y="3085"/>
                  </a:lnTo>
                  <a:lnTo>
                    <a:pt x="1815" y="3069"/>
                  </a:lnTo>
                  <a:lnTo>
                    <a:pt x="1848" y="3051"/>
                  </a:lnTo>
                  <a:lnTo>
                    <a:pt x="1881" y="3034"/>
                  </a:lnTo>
                  <a:lnTo>
                    <a:pt x="1913" y="3015"/>
                  </a:lnTo>
                  <a:lnTo>
                    <a:pt x="1945" y="2996"/>
                  </a:lnTo>
                  <a:lnTo>
                    <a:pt x="1976" y="2978"/>
                  </a:lnTo>
                  <a:lnTo>
                    <a:pt x="2006" y="2958"/>
                  </a:lnTo>
                  <a:lnTo>
                    <a:pt x="2037" y="2938"/>
                  </a:lnTo>
                  <a:lnTo>
                    <a:pt x="2067" y="2917"/>
                  </a:lnTo>
                  <a:lnTo>
                    <a:pt x="2097" y="2896"/>
                  </a:lnTo>
                  <a:lnTo>
                    <a:pt x="2127" y="2874"/>
                  </a:lnTo>
                  <a:lnTo>
                    <a:pt x="2156" y="2851"/>
                  </a:lnTo>
                  <a:lnTo>
                    <a:pt x="2185" y="2829"/>
                  </a:lnTo>
                  <a:lnTo>
                    <a:pt x="2214" y="2806"/>
                  </a:lnTo>
                  <a:lnTo>
                    <a:pt x="2241" y="2782"/>
                  </a:lnTo>
                  <a:lnTo>
                    <a:pt x="2268" y="2757"/>
                  </a:lnTo>
                  <a:lnTo>
                    <a:pt x="2296" y="2733"/>
                  </a:lnTo>
                  <a:lnTo>
                    <a:pt x="2322" y="2708"/>
                  </a:lnTo>
                  <a:lnTo>
                    <a:pt x="2349" y="2682"/>
                  </a:lnTo>
                  <a:lnTo>
                    <a:pt x="2374" y="2657"/>
                  </a:lnTo>
                  <a:lnTo>
                    <a:pt x="2399" y="2630"/>
                  </a:lnTo>
                  <a:lnTo>
                    <a:pt x="2424" y="2603"/>
                  </a:lnTo>
                  <a:lnTo>
                    <a:pt x="2449" y="2576"/>
                  </a:lnTo>
                  <a:lnTo>
                    <a:pt x="2472" y="2548"/>
                  </a:lnTo>
                  <a:lnTo>
                    <a:pt x="2496" y="2520"/>
                  </a:lnTo>
                  <a:lnTo>
                    <a:pt x="2519" y="2492"/>
                  </a:lnTo>
                  <a:lnTo>
                    <a:pt x="2541" y="2462"/>
                  </a:lnTo>
                  <a:lnTo>
                    <a:pt x="2563" y="2433"/>
                  </a:lnTo>
                  <a:lnTo>
                    <a:pt x="2585" y="2403"/>
                  </a:lnTo>
                  <a:lnTo>
                    <a:pt x="2605" y="2373"/>
                  </a:lnTo>
                  <a:lnTo>
                    <a:pt x="2605" y="2373"/>
                  </a:lnTo>
                  <a:lnTo>
                    <a:pt x="2626" y="2342"/>
                  </a:lnTo>
                  <a:lnTo>
                    <a:pt x="2645" y="2312"/>
                  </a:lnTo>
                  <a:lnTo>
                    <a:pt x="2665" y="2282"/>
                  </a:lnTo>
                  <a:lnTo>
                    <a:pt x="2683" y="2250"/>
                  </a:lnTo>
                  <a:lnTo>
                    <a:pt x="2702" y="2218"/>
                  </a:lnTo>
                  <a:lnTo>
                    <a:pt x="2720" y="2186"/>
                  </a:lnTo>
                  <a:lnTo>
                    <a:pt x="2736" y="2154"/>
                  </a:lnTo>
                  <a:lnTo>
                    <a:pt x="2753" y="2121"/>
                  </a:lnTo>
                  <a:lnTo>
                    <a:pt x="2769" y="2088"/>
                  </a:lnTo>
                  <a:lnTo>
                    <a:pt x="2784" y="2055"/>
                  </a:lnTo>
                  <a:lnTo>
                    <a:pt x="2799" y="2021"/>
                  </a:lnTo>
                  <a:lnTo>
                    <a:pt x="2813" y="1987"/>
                  </a:lnTo>
                  <a:lnTo>
                    <a:pt x="2827" y="1953"/>
                  </a:lnTo>
                  <a:lnTo>
                    <a:pt x="2840" y="1918"/>
                  </a:lnTo>
                  <a:lnTo>
                    <a:pt x="2852" y="1884"/>
                  </a:lnTo>
                  <a:lnTo>
                    <a:pt x="2865" y="1849"/>
                  </a:lnTo>
                  <a:lnTo>
                    <a:pt x="2876" y="1813"/>
                  </a:lnTo>
                  <a:lnTo>
                    <a:pt x="2886" y="1778"/>
                  </a:lnTo>
                  <a:lnTo>
                    <a:pt x="2897" y="1742"/>
                  </a:lnTo>
                  <a:lnTo>
                    <a:pt x="2906" y="1706"/>
                  </a:lnTo>
                  <a:lnTo>
                    <a:pt x="2915" y="1669"/>
                  </a:lnTo>
                  <a:lnTo>
                    <a:pt x="2924" y="1633"/>
                  </a:lnTo>
                  <a:lnTo>
                    <a:pt x="2931" y="1595"/>
                  </a:lnTo>
                  <a:lnTo>
                    <a:pt x="2938" y="1558"/>
                  </a:lnTo>
                  <a:lnTo>
                    <a:pt x="2944" y="1521"/>
                  </a:lnTo>
                  <a:lnTo>
                    <a:pt x="2950" y="1483"/>
                  </a:lnTo>
                  <a:lnTo>
                    <a:pt x="2954" y="1446"/>
                  </a:lnTo>
                  <a:lnTo>
                    <a:pt x="2960" y="1408"/>
                  </a:lnTo>
                  <a:lnTo>
                    <a:pt x="2963" y="1370"/>
                  </a:lnTo>
                  <a:lnTo>
                    <a:pt x="2966" y="1331"/>
                  </a:lnTo>
                  <a:lnTo>
                    <a:pt x="2968" y="1293"/>
                  </a:lnTo>
                  <a:lnTo>
                    <a:pt x="2970" y="1253"/>
                  </a:lnTo>
                  <a:lnTo>
                    <a:pt x="1715"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Rectangle 773">
              <a:extLst>
                <a:ext uri="{FF2B5EF4-FFF2-40B4-BE49-F238E27FC236}">
                  <a16:creationId xmlns:a16="http://schemas.microsoft.com/office/drawing/2014/main" id="{E2677AF2-D185-78F1-AAAA-445605793D77}"/>
                </a:ext>
              </a:extLst>
            </p:cNvPr>
            <p:cNvSpPr>
              <a:spLocks noChangeArrowheads="1"/>
            </p:cNvSpPr>
            <p:nvPr/>
          </p:nvSpPr>
          <p:spPr bwMode="auto">
            <a:xfrm>
              <a:off x="4508501" y="4287838"/>
              <a:ext cx="339725" cy="469900"/>
            </a:xfrm>
            <a:prstGeom prst="rect">
              <a:avLst/>
            </a:prstGeom>
            <a:solidFill>
              <a:srgbClr val="FFEED2"/>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 name="Rectangle 774">
              <a:extLst>
                <a:ext uri="{FF2B5EF4-FFF2-40B4-BE49-F238E27FC236}">
                  <a16:creationId xmlns:a16="http://schemas.microsoft.com/office/drawing/2014/main" id="{5AEDE405-0ACC-420B-3D24-6FD921C2C105}"/>
                </a:ext>
              </a:extLst>
            </p:cNvPr>
            <p:cNvSpPr>
              <a:spLocks noChangeArrowheads="1"/>
            </p:cNvSpPr>
            <p:nvPr/>
          </p:nvSpPr>
          <p:spPr bwMode="auto">
            <a:xfrm>
              <a:off x="4508501" y="4287838"/>
              <a:ext cx="339725" cy="4699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 name="Rectangle 775">
              <a:extLst>
                <a:ext uri="{FF2B5EF4-FFF2-40B4-BE49-F238E27FC236}">
                  <a16:creationId xmlns:a16="http://schemas.microsoft.com/office/drawing/2014/main" id="{31F2F860-0335-183A-DCB2-75269ABA1F75}"/>
                </a:ext>
              </a:extLst>
            </p:cNvPr>
            <p:cNvSpPr>
              <a:spLocks noChangeArrowheads="1"/>
            </p:cNvSpPr>
            <p:nvPr/>
          </p:nvSpPr>
          <p:spPr bwMode="auto">
            <a:xfrm>
              <a:off x="4560888" y="4624388"/>
              <a:ext cx="234950" cy="25400"/>
            </a:xfrm>
            <a:prstGeom prst="rect">
              <a:avLst/>
            </a:prstGeom>
            <a:solidFill>
              <a:srgbClr val="CCBEAC"/>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 name="Rectangle 776">
              <a:extLst>
                <a:ext uri="{FF2B5EF4-FFF2-40B4-BE49-F238E27FC236}">
                  <a16:creationId xmlns:a16="http://schemas.microsoft.com/office/drawing/2014/main" id="{93BE8F74-B4E7-D8D7-99C3-BE0ED44D98A4}"/>
                </a:ext>
              </a:extLst>
            </p:cNvPr>
            <p:cNvSpPr>
              <a:spLocks noChangeArrowheads="1"/>
            </p:cNvSpPr>
            <p:nvPr/>
          </p:nvSpPr>
          <p:spPr bwMode="auto">
            <a:xfrm>
              <a:off x="4560888" y="4624388"/>
              <a:ext cx="234950" cy="25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 name="Rectangle 777">
              <a:extLst>
                <a:ext uri="{FF2B5EF4-FFF2-40B4-BE49-F238E27FC236}">
                  <a16:creationId xmlns:a16="http://schemas.microsoft.com/office/drawing/2014/main" id="{B909A8C5-3719-1876-7A2B-A428C596B6CA}"/>
                </a:ext>
              </a:extLst>
            </p:cNvPr>
            <p:cNvSpPr>
              <a:spLocks noChangeArrowheads="1"/>
            </p:cNvSpPr>
            <p:nvPr/>
          </p:nvSpPr>
          <p:spPr bwMode="auto">
            <a:xfrm>
              <a:off x="4560888" y="4572000"/>
              <a:ext cx="234950" cy="25400"/>
            </a:xfrm>
            <a:prstGeom prst="rect">
              <a:avLst/>
            </a:prstGeom>
            <a:solidFill>
              <a:srgbClr val="CCBEAC"/>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 name="Rectangle 778">
              <a:extLst>
                <a:ext uri="{FF2B5EF4-FFF2-40B4-BE49-F238E27FC236}">
                  <a16:creationId xmlns:a16="http://schemas.microsoft.com/office/drawing/2014/main" id="{5EF4AD69-56CD-CDE5-A8B0-49F0DF849F85}"/>
                </a:ext>
              </a:extLst>
            </p:cNvPr>
            <p:cNvSpPr>
              <a:spLocks noChangeArrowheads="1"/>
            </p:cNvSpPr>
            <p:nvPr/>
          </p:nvSpPr>
          <p:spPr bwMode="auto">
            <a:xfrm>
              <a:off x="4560888" y="4572000"/>
              <a:ext cx="234950" cy="25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 name="Rectangle 779">
              <a:extLst>
                <a:ext uri="{FF2B5EF4-FFF2-40B4-BE49-F238E27FC236}">
                  <a16:creationId xmlns:a16="http://schemas.microsoft.com/office/drawing/2014/main" id="{771F989D-B613-AF19-096E-E85386A63FF8}"/>
                </a:ext>
              </a:extLst>
            </p:cNvPr>
            <p:cNvSpPr>
              <a:spLocks noChangeArrowheads="1"/>
            </p:cNvSpPr>
            <p:nvPr/>
          </p:nvSpPr>
          <p:spPr bwMode="auto">
            <a:xfrm>
              <a:off x="4560888" y="4519613"/>
              <a:ext cx="234950" cy="25400"/>
            </a:xfrm>
            <a:prstGeom prst="rect">
              <a:avLst/>
            </a:prstGeom>
            <a:solidFill>
              <a:srgbClr val="CCBEAC"/>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 name="Rectangle 780">
              <a:extLst>
                <a:ext uri="{FF2B5EF4-FFF2-40B4-BE49-F238E27FC236}">
                  <a16:creationId xmlns:a16="http://schemas.microsoft.com/office/drawing/2014/main" id="{53FEF06D-0A09-7728-7BD6-62048809064B}"/>
                </a:ext>
              </a:extLst>
            </p:cNvPr>
            <p:cNvSpPr>
              <a:spLocks noChangeArrowheads="1"/>
            </p:cNvSpPr>
            <p:nvPr/>
          </p:nvSpPr>
          <p:spPr bwMode="auto">
            <a:xfrm>
              <a:off x="4560888" y="4519613"/>
              <a:ext cx="234950" cy="25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 name="Rectangle 781">
              <a:extLst>
                <a:ext uri="{FF2B5EF4-FFF2-40B4-BE49-F238E27FC236}">
                  <a16:creationId xmlns:a16="http://schemas.microsoft.com/office/drawing/2014/main" id="{E9C13E3A-5C07-A001-0E0E-4B0E2DDF8D62}"/>
                </a:ext>
              </a:extLst>
            </p:cNvPr>
            <p:cNvSpPr>
              <a:spLocks noChangeArrowheads="1"/>
            </p:cNvSpPr>
            <p:nvPr/>
          </p:nvSpPr>
          <p:spPr bwMode="auto">
            <a:xfrm>
              <a:off x="4560888" y="4467225"/>
              <a:ext cx="234950" cy="25400"/>
            </a:xfrm>
            <a:prstGeom prst="rect">
              <a:avLst/>
            </a:prstGeom>
            <a:solidFill>
              <a:srgbClr val="CCBEAC"/>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 name="Rectangle 782">
              <a:extLst>
                <a:ext uri="{FF2B5EF4-FFF2-40B4-BE49-F238E27FC236}">
                  <a16:creationId xmlns:a16="http://schemas.microsoft.com/office/drawing/2014/main" id="{442CD826-10AD-7C78-41FA-B9B845CDD4EF}"/>
                </a:ext>
              </a:extLst>
            </p:cNvPr>
            <p:cNvSpPr>
              <a:spLocks noChangeArrowheads="1"/>
            </p:cNvSpPr>
            <p:nvPr/>
          </p:nvSpPr>
          <p:spPr bwMode="auto">
            <a:xfrm>
              <a:off x="4560888" y="4467225"/>
              <a:ext cx="234950" cy="25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 name="Rectangle 783">
              <a:extLst>
                <a:ext uri="{FF2B5EF4-FFF2-40B4-BE49-F238E27FC236}">
                  <a16:creationId xmlns:a16="http://schemas.microsoft.com/office/drawing/2014/main" id="{97D636E5-73E0-796A-D8F1-0A30732A80A7}"/>
                </a:ext>
              </a:extLst>
            </p:cNvPr>
            <p:cNvSpPr>
              <a:spLocks noChangeArrowheads="1"/>
            </p:cNvSpPr>
            <p:nvPr/>
          </p:nvSpPr>
          <p:spPr bwMode="auto">
            <a:xfrm>
              <a:off x="4560888" y="4414838"/>
              <a:ext cx="234950" cy="25400"/>
            </a:xfrm>
            <a:prstGeom prst="rect">
              <a:avLst/>
            </a:prstGeom>
            <a:solidFill>
              <a:srgbClr val="CCBEAC"/>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 name="Rectangle 784">
              <a:extLst>
                <a:ext uri="{FF2B5EF4-FFF2-40B4-BE49-F238E27FC236}">
                  <a16:creationId xmlns:a16="http://schemas.microsoft.com/office/drawing/2014/main" id="{424F1406-1D10-A4BB-FD16-A43A6234CC16}"/>
                </a:ext>
              </a:extLst>
            </p:cNvPr>
            <p:cNvSpPr>
              <a:spLocks noChangeArrowheads="1"/>
            </p:cNvSpPr>
            <p:nvPr/>
          </p:nvSpPr>
          <p:spPr bwMode="auto">
            <a:xfrm>
              <a:off x="4560888" y="4414838"/>
              <a:ext cx="234950" cy="25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 name="Rectangle 785">
              <a:extLst>
                <a:ext uri="{FF2B5EF4-FFF2-40B4-BE49-F238E27FC236}">
                  <a16:creationId xmlns:a16="http://schemas.microsoft.com/office/drawing/2014/main" id="{E0EABDA2-AEC2-200C-ED04-A43D990577A5}"/>
                </a:ext>
              </a:extLst>
            </p:cNvPr>
            <p:cNvSpPr>
              <a:spLocks noChangeArrowheads="1"/>
            </p:cNvSpPr>
            <p:nvPr/>
          </p:nvSpPr>
          <p:spPr bwMode="auto">
            <a:xfrm>
              <a:off x="4560888" y="4362450"/>
              <a:ext cx="234950" cy="25400"/>
            </a:xfrm>
            <a:prstGeom prst="rect">
              <a:avLst/>
            </a:prstGeom>
            <a:solidFill>
              <a:srgbClr val="CCBEAC"/>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 name="Rectangle 786">
              <a:extLst>
                <a:ext uri="{FF2B5EF4-FFF2-40B4-BE49-F238E27FC236}">
                  <a16:creationId xmlns:a16="http://schemas.microsoft.com/office/drawing/2014/main" id="{3288E991-B4B9-C5FB-9D83-05FAD5A90765}"/>
                </a:ext>
              </a:extLst>
            </p:cNvPr>
            <p:cNvSpPr>
              <a:spLocks noChangeArrowheads="1"/>
            </p:cNvSpPr>
            <p:nvPr/>
          </p:nvSpPr>
          <p:spPr bwMode="auto">
            <a:xfrm>
              <a:off x="4560888" y="4362450"/>
              <a:ext cx="234950" cy="25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787">
              <a:extLst>
                <a:ext uri="{FF2B5EF4-FFF2-40B4-BE49-F238E27FC236}">
                  <a16:creationId xmlns:a16="http://schemas.microsoft.com/office/drawing/2014/main" id="{0165325F-0460-14C9-F95D-3348F4BEFAFB}"/>
                </a:ext>
              </a:extLst>
            </p:cNvPr>
            <p:cNvSpPr>
              <a:spLocks/>
            </p:cNvSpPr>
            <p:nvPr/>
          </p:nvSpPr>
          <p:spPr bwMode="auto">
            <a:xfrm>
              <a:off x="4508501" y="4287838"/>
              <a:ext cx="169863" cy="469900"/>
            </a:xfrm>
            <a:custGeom>
              <a:avLst/>
              <a:gdLst/>
              <a:ahLst/>
              <a:cxnLst>
                <a:cxn ang="0">
                  <a:pos x="858" y="0"/>
                </a:cxn>
                <a:cxn ang="0">
                  <a:pos x="0" y="0"/>
                </a:cxn>
                <a:cxn ang="0">
                  <a:pos x="0" y="2373"/>
                </a:cxn>
                <a:cxn ang="0">
                  <a:pos x="858" y="2373"/>
                </a:cxn>
                <a:cxn ang="0">
                  <a:pos x="858" y="1828"/>
                </a:cxn>
                <a:cxn ang="0">
                  <a:pos x="264" y="1828"/>
                </a:cxn>
                <a:cxn ang="0">
                  <a:pos x="264" y="1696"/>
                </a:cxn>
                <a:cxn ang="0">
                  <a:pos x="858" y="1696"/>
                </a:cxn>
                <a:cxn ang="0">
                  <a:pos x="858" y="1565"/>
                </a:cxn>
                <a:cxn ang="0">
                  <a:pos x="264" y="1565"/>
                </a:cxn>
                <a:cxn ang="0">
                  <a:pos x="264" y="1433"/>
                </a:cxn>
                <a:cxn ang="0">
                  <a:pos x="858" y="1433"/>
                </a:cxn>
                <a:cxn ang="0">
                  <a:pos x="858" y="1302"/>
                </a:cxn>
                <a:cxn ang="0">
                  <a:pos x="264" y="1302"/>
                </a:cxn>
                <a:cxn ang="0">
                  <a:pos x="264" y="1170"/>
                </a:cxn>
                <a:cxn ang="0">
                  <a:pos x="858" y="1170"/>
                </a:cxn>
                <a:cxn ang="0">
                  <a:pos x="858" y="1037"/>
                </a:cxn>
                <a:cxn ang="0">
                  <a:pos x="264" y="1037"/>
                </a:cxn>
                <a:cxn ang="0">
                  <a:pos x="264" y="905"/>
                </a:cxn>
                <a:cxn ang="0">
                  <a:pos x="858" y="905"/>
                </a:cxn>
                <a:cxn ang="0">
                  <a:pos x="858" y="774"/>
                </a:cxn>
                <a:cxn ang="0">
                  <a:pos x="264" y="774"/>
                </a:cxn>
                <a:cxn ang="0">
                  <a:pos x="264" y="643"/>
                </a:cxn>
                <a:cxn ang="0">
                  <a:pos x="858" y="643"/>
                </a:cxn>
                <a:cxn ang="0">
                  <a:pos x="858" y="510"/>
                </a:cxn>
                <a:cxn ang="0">
                  <a:pos x="264" y="510"/>
                </a:cxn>
                <a:cxn ang="0">
                  <a:pos x="264" y="378"/>
                </a:cxn>
                <a:cxn ang="0">
                  <a:pos x="858" y="378"/>
                </a:cxn>
                <a:cxn ang="0">
                  <a:pos x="858" y="0"/>
                </a:cxn>
              </a:cxnLst>
              <a:rect l="0" t="0" r="r" b="b"/>
              <a:pathLst>
                <a:path w="858" h="2373">
                  <a:moveTo>
                    <a:pt x="858" y="0"/>
                  </a:moveTo>
                  <a:lnTo>
                    <a:pt x="0" y="0"/>
                  </a:lnTo>
                  <a:lnTo>
                    <a:pt x="0" y="2373"/>
                  </a:lnTo>
                  <a:lnTo>
                    <a:pt x="858" y="2373"/>
                  </a:lnTo>
                  <a:lnTo>
                    <a:pt x="858" y="1828"/>
                  </a:lnTo>
                  <a:lnTo>
                    <a:pt x="264" y="1828"/>
                  </a:lnTo>
                  <a:lnTo>
                    <a:pt x="264" y="1696"/>
                  </a:lnTo>
                  <a:lnTo>
                    <a:pt x="858" y="1696"/>
                  </a:lnTo>
                  <a:lnTo>
                    <a:pt x="858" y="1565"/>
                  </a:lnTo>
                  <a:lnTo>
                    <a:pt x="264" y="1565"/>
                  </a:lnTo>
                  <a:lnTo>
                    <a:pt x="264" y="1433"/>
                  </a:lnTo>
                  <a:lnTo>
                    <a:pt x="858" y="1433"/>
                  </a:lnTo>
                  <a:lnTo>
                    <a:pt x="858" y="1302"/>
                  </a:lnTo>
                  <a:lnTo>
                    <a:pt x="264" y="1302"/>
                  </a:lnTo>
                  <a:lnTo>
                    <a:pt x="264" y="1170"/>
                  </a:lnTo>
                  <a:lnTo>
                    <a:pt x="858" y="1170"/>
                  </a:lnTo>
                  <a:lnTo>
                    <a:pt x="858" y="1037"/>
                  </a:lnTo>
                  <a:lnTo>
                    <a:pt x="264" y="1037"/>
                  </a:lnTo>
                  <a:lnTo>
                    <a:pt x="264" y="905"/>
                  </a:lnTo>
                  <a:lnTo>
                    <a:pt x="858" y="905"/>
                  </a:lnTo>
                  <a:lnTo>
                    <a:pt x="858" y="774"/>
                  </a:lnTo>
                  <a:lnTo>
                    <a:pt x="264" y="774"/>
                  </a:lnTo>
                  <a:lnTo>
                    <a:pt x="264" y="643"/>
                  </a:lnTo>
                  <a:lnTo>
                    <a:pt x="858" y="643"/>
                  </a:lnTo>
                  <a:lnTo>
                    <a:pt x="858" y="510"/>
                  </a:lnTo>
                  <a:lnTo>
                    <a:pt x="264" y="510"/>
                  </a:lnTo>
                  <a:lnTo>
                    <a:pt x="264" y="378"/>
                  </a:lnTo>
                  <a:lnTo>
                    <a:pt x="858" y="378"/>
                  </a:lnTo>
                  <a:lnTo>
                    <a:pt x="858" y="0"/>
                  </a:lnTo>
                  <a:close/>
                </a:path>
              </a:pathLst>
            </a:custGeom>
            <a:solidFill>
              <a:srgbClr val="FFEED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3" name="Freeform 788">
              <a:extLst>
                <a:ext uri="{FF2B5EF4-FFF2-40B4-BE49-F238E27FC236}">
                  <a16:creationId xmlns:a16="http://schemas.microsoft.com/office/drawing/2014/main" id="{851960CA-A91C-B7AC-703D-B6797B5E16C1}"/>
                </a:ext>
              </a:extLst>
            </p:cNvPr>
            <p:cNvSpPr>
              <a:spLocks/>
            </p:cNvSpPr>
            <p:nvPr/>
          </p:nvSpPr>
          <p:spPr bwMode="auto">
            <a:xfrm>
              <a:off x="4508501" y="4287838"/>
              <a:ext cx="169863" cy="469900"/>
            </a:xfrm>
            <a:custGeom>
              <a:avLst/>
              <a:gdLst/>
              <a:ahLst/>
              <a:cxnLst>
                <a:cxn ang="0">
                  <a:pos x="858" y="0"/>
                </a:cxn>
                <a:cxn ang="0">
                  <a:pos x="0" y="0"/>
                </a:cxn>
                <a:cxn ang="0">
                  <a:pos x="0" y="2373"/>
                </a:cxn>
                <a:cxn ang="0">
                  <a:pos x="858" y="2373"/>
                </a:cxn>
                <a:cxn ang="0">
                  <a:pos x="858" y="1828"/>
                </a:cxn>
                <a:cxn ang="0">
                  <a:pos x="264" y="1828"/>
                </a:cxn>
                <a:cxn ang="0">
                  <a:pos x="264" y="1696"/>
                </a:cxn>
                <a:cxn ang="0">
                  <a:pos x="858" y="1696"/>
                </a:cxn>
                <a:cxn ang="0">
                  <a:pos x="858" y="1565"/>
                </a:cxn>
                <a:cxn ang="0">
                  <a:pos x="264" y="1565"/>
                </a:cxn>
                <a:cxn ang="0">
                  <a:pos x="264" y="1433"/>
                </a:cxn>
                <a:cxn ang="0">
                  <a:pos x="858" y="1433"/>
                </a:cxn>
                <a:cxn ang="0">
                  <a:pos x="858" y="1302"/>
                </a:cxn>
                <a:cxn ang="0">
                  <a:pos x="264" y="1302"/>
                </a:cxn>
                <a:cxn ang="0">
                  <a:pos x="264" y="1170"/>
                </a:cxn>
                <a:cxn ang="0">
                  <a:pos x="858" y="1170"/>
                </a:cxn>
                <a:cxn ang="0">
                  <a:pos x="858" y="1037"/>
                </a:cxn>
                <a:cxn ang="0">
                  <a:pos x="264" y="1037"/>
                </a:cxn>
                <a:cxn ang="0">
                  <a:pos x="264" y="905"/>
                </a:cxn>
                <a:cxn ang="0">
                  <a:pos x="858" y="905"/>
                </a:cxn>
                <a:cxn ang="0">
                  <a:pos x="858" y="774"/>
                </a:cxn>
                <a:cxn ang="0">
                  <a:pos x="264" y="774"/>
                </a:cxn>
                <a:cxn ang="0">
                  <a:pos x="264" y="643"/>
                </a:cxn>
                <a:cxn ang="0">
                  <a:pos x="858" y="643"/>
                </a:cxn>
                <a:cxn ang="0">
                  <a:pos x="858" y="510"/>
                </a:cxn>
                <a:cxn ang="0">
                  <a:pos x="264" y="510"/>
                </a:cxn>
                <a:cxn ang="0">
                  <a:pos x="264" y="378"/>
                </a:cxn>
                <a:cxn ang="0">
                  <a:pos x="858" y="378"/>
                </a:cxn>
                <a:cxn ang="0">
                  <a:pos x="858" y="0"/>
                </a:cxn>
              </a:cxnLst>
              <a:rect l="0" t="0" r="r" b="b"/>
              <a:pathLst>
                <a:path w="858" h="2373">
                  <a:moveTo>
                    <a:pt x="858" y="0"/>
                  </a:moveTo>
                  <a:lnTo>
                    <a:pt x="0" y="0"/>
                  </a:lnTo>
                  <a:lnTo>
                    <a:pt x="0" y="2373"/>
                  </a:lnTo>
                  <a:lnTo>
                    <a:pt x="858" y="2373"/>
                  </a:lnTo>
                  <a:lnTo>
                    <a:pt x="858" y="1828"/>
                  </a:lnTo>
                  <a:lnTo>
                    <a:pt x="264" y="1828"/>
                  </a:lnTo>
                  <a:lnTo>
                    <a:pt x="264" y="1696"/>
                  </a:lnTo>
                  <a:lnTo>
                    <a:pt x="858" y="1696"/>
                  </a:lnTo>
                  <a:lnTo>
                    <a:pt x="858" y="1565"/>
                  </a:lnTo>
                  <a:lnTo>
                    <a:pt x="264" y="1565"/>
                  </a:lnTo>
                  <a:lnTo>
                    <a:pt x="264" y="1433"/>
                  </a:lnTo>
                  <a:lnTo>
                    <a:pt x="858" y="1433"/>
                  </a:lnTo>
                  <a:lnTo>
                    <a:pt x="858" y="1302"/>
                  </a:lnTo>
                  <a:lnTo>
                    <a:pt x="264" y="1302"/>
                  </a:lnTo>
                  <a:lnTo>
                    <a:pt x="264" y="1170"/>
                  </a:lnTo>
                  <a:lnTo>
                    <a:pt x="858" y="1170"/>
                  </a:lnTo>
                  <a:lnTo>
                    <a:pt x="858" y="1037"/>
                  </a:lnTo>
                  <a:lnTo>
                    <a:pt x="264" y="1037"/>
                  </a:lnTo>
                  <a:lnTo>
                    <a:pt x="264" y="905"/>
                  </a:lnTo>
                  <a:lnTo>
                    <a:pt x="858" y="905"/>
                  </a:lnTo>
                  <a:lnTo>
                    <a:pt x="858" y="774"/>
                  </a:lnTo>
                  <a:lnTo>
                    <a:pt x="264" y="774"/>
                  </a:lnTo>
                  <a:lnTo>
                    <a:pt x="264" y="643"/>
                  </a:lnTo>
                  <a:lnTo>
                    <a:pt x="858" y="643"/>
                  </a:lnTo>
                  <a:lnTo>
                    <a:pt x="858" y="510"/>
                  </a:lnTo>
                  <a:lnTo>
                    <a:pt x="264" y="510"/>
                  </a:lnTo>
                  <a:lnTo>
                    <a:pt x="264" y="378"/>
                  </a:lnTo>
                  <a:lnTo>
                    <a:pt x="858" y="378"/>
                  </a:lnTo>
                  <a:lnTo>
                    <a:pt x="85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Rectangle 789">
              <a:extLst>
                <a:ext uri="{FF2B5EF4-FFF2-40B4-BE49-F238E27FC236}">
                  <a16:creationId xmlns:a16="http://schemas.microsoft.com/office/drawing/2014/main" id="{724283E9-6094-5524-6AE9-F5159E37EC6C}"/>
                </a:ext>
              </a:extLst>
            </p:cNvPr>
            <p:cNvSpPr>
              <a:spLocks noChangeArrowheads="1"/>
            </p:cNvSpPr>
            <p:nvPr/>
          </p:nvSpPr>
          <p:spPr bwMode="auto">
            <a:xfrm>
              <a:off x="4560888" y="4624388"/>
              <a:ext cx="117475" cy="25400"/>
            </a:xfrm>
            <a:prstGeom prst="rect">
              <a:avLst/>
            </a:prstGeom>
            <a:solidFill>
              <a:srgbClr val="DBCCB7"/>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 name="Rectangle 790">
              <a:extLst>
                <a:ext uri="{FF2B5EF4-FFF2-40B4-BE49-F238E27FC236}">
                  <a16:creationId xmlns:a16="http://schemas.microsoft.com/office/drawing/2014/main" id="{6AE41015-A3FF-E04E-813F-EB03EB30B6FE}"/>
                </a:ext>
              </a:extLst>
            </p:cNvPr>
            <p:cNvSpPr>
              <a:spLocks noChangeArrowheads="1"/>
            </p:cNvSpPr>
            <p:nvPr/>
          </p:nvSpPr>
          <p:spPr bwMode="auto">
            <a:xfrm>
              <a:off x="4560888" y="4624388"/>
              <a:ext cx="117475" cy="25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 name="Rectangle 791">
              <a:extLst>
                <a:ext uri="{FF2B5EF4-FFF2-40B4-BE49-F238E27FC236}">
                  <a16:creationId xmlns:a16="http://schemas.microsoft.com/office/drawing/2014/main" id="{113848F6-8C6D-5A28-0D0B-A2E033FE716A}"/>
                </a:ext>
              </a:extLst>
            </p:cNvPr>
            <p:cNvSpPr>
              <a:spLocks noChangeArrowheads="1"/>
            </p:cNvSpPr>
            <p:nvPr/>
          </p:nvSpPr>
          <p:spPr bwMode="auto">
            <a:xfrm>
              <a:off x="4560888" y="4572000"/>
              <a:ext cx="117475" cy="25400"/>
            </a:xfrm>
            <a:prstGeom prst="rect">
              <a:avLst/>
            </a:prstGeom>
            <a:solidFill>
              <a:srgbClr val="DBCCB7"/>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 name="Rectangle 792">
              <a:extLst>
                <a:ext uri="{FF2B5EF4-FFF2-40B4-BE49-F238E27FC236}">
                  <a16:creationId xmlns:a16="http://schemas.microsoft.com/office/drawing/2014/main" id="{7343AC22-1324-919F-FB22-9E4C88272D7C}"/>
                </a:ext>
              </a:extLst>
            </p:cNvPr>
            <p:cNvSpPr>
              <a:spLocks noChangeArrowheads="1"/>
            </p:cNvSpPr>
            <p:nvPr/>
          </p:nvSpPr>
          <p:spPr bwMode="auto">
            <a:xfrm>
              <a:off x="4560888" y="4572000"/>
              <a:ext cx="117475" cy="25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 name="Rectangle 793">
              <a:extLst>
                <a:ext uri="{FF2B5EF4-FFF2-40B4-BE49-F238E27FC236}">
                  <a16:creationId xmlns:a16="http://schemas.microsoft.com/office/drawing/2014/main" id="{98BB39F9-E336-AAA0-8459-F132E71DA722}"/>
                </a:ext>
              </a:extLst>
            </p:cNvPr>
            <p:cNvSpPr>
              <a:spLocks noChangeArrowheads="1"/>
            </p:cNvSpPr>
            <p:nvPr/>
          </p:nvSpPr>
          <p:spPr bwMode="auto">
            <a:xfrm>
              <a:off x="4560888" y="4519613"/>
              <a:ext cx="117475" cy="25400"/>
            </a:xfrm>
            <a:prstGeom prst="rect">
              <a:avLst/>
            </a:prstGeom>
            <a:solidFill>
              <a:srgbClr val="DBCCB7"/>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 name="Rectangle 794">
              <a:extLst>
                <a:ext uri="{FF2B5EF4-FFF2-40B4-BE49-F238E27FC236}">
                  <a16:creationId xmlns:a16="http://schemas.microsoft.com/office/drawing/2014/main" id="{F7ACFC20-2109-C5CE-7403-5870158852E1}"/>
                </a:ext>
              </a:extLst>
            </p:cNvPr>
            <p:cNvSpPr>
              <a:spLocks noChangeArrowheads="1"/>
            </p:cNvSpPr>
            <p:nvPr/>
          </p:nvSpPr>
          <p:spPr bwMode="auto">
            <a:xfrm>
              <a:off x="4560888" y="4519613"/>
              <a:ext cx="117475" cy="25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 name="Rectangle 795">
              <a:extLst>
                <a:ext uri="{FF2B5EF4-FFF2-40B4-BE49-F238E27FC236}">
                  <a16:creationId xmlns:a16="http://schemas.microsoft.com/office/drawing/2014/main" id="{52D57912-33C7-5189-390E-5E24FDE1D0B3}"/>
                </a:ext>
              </a:extLst>
            </p:cNvPr>
            <p:cNvSpPr>
              <a:spLocks noChangeArrowheads="1"/>
            </p:cNvSpPr>
            <p:nvPr/>
          </p:nvSpPr>
          <p:spPr bwMode="auto">
            <a:xfrm>
              <a:off x="4560888" y="4467225"/>
              <a:ext cx="117475" cy="25400"/>
            </a:xfrm>
            <a:prstGeom prst="rect">
              <a:avLst/>
            </a:prstGeom>
            <a:solidFill>
              <a:srgbClr val="DBCCB7"/>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 name="Rectangle 796">
              <a:extLst>
                <a:ext uri="{FF2B5EF4-FFF2-40B4-BE49-F238E27FC236}">
                  <a16:creationId xmlns:a16="http://schemas.microsoft.com/office/drawing/2014/main" id="{0F8AD780-4629-4B33-AD83-C6D8E9A432AF}"/>
                </a:ext>
              </a:extLst>
            </p:cNvPr>
            <p:cNvSpPr>
              <a:spLocks noChangeArrowheads="1"/>
            </p:cNvSpPr>
            <p:nvPr/>
          </p:nvSpPr>
          <p:spPr bwMode="auto">
            <a:xfrm>
              <a:off x="4560888" y="4467225"/>
              <a:ext cx="117475" cy="25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 name="Rectangle 797">
              <a:extLst>
                <a:ext uri="{FF2B5EF4-FFF2-40B4-BE49-F238E27FC236}">
                  <a16:creationId xmlns:a16="http://schemas.microsoft.com/office/drawing/2014/main" id="{8DA9614B-9C46-E820-D24C-6E0110BFBE98}"/>
                </a:ext>
              </a:extLst>
            </p:cNvPr>
            <p:cNvSpPr>
              <a:spLocks noChangeArrowheads="1"/>
            </p:cNvSpPr>
            <p:nvPr/>
          </p:nvSpPr>
          <p:spPr bwMode="auto">
            <a:xfrm>
              <a:off x="4560888" y="4414838"/>
              <a:ext cx="117475" cy="25400"/>
            </a:xfrm>
            <a:prstGeom prst="rect">
              <a:avLst/>
            </a:prstGeom>
            <a:solidFill>
              <a:srgbClr val="DBCCB7"/>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 name="Rectangle 798">
              <a:extLst>
                <a:ext uri="{FF2B5EF4-FFF2-40B4-BE49-F238E27FC236}">
                  <a16:creationId xmlns:a16="http://schemas.microsoft.com/office/drawing/2014/main" id="{C73A0D2A-74E2-8986-85CE-B939E4D3FEE8}"/>
                </a:ext>
              </a:extLst>
            </p:cNvPr>
            <p:cNvSpPr>
              <a:spLocks noChangeArrowheads="1"/>
            </p:cNvSpPr>
            <p:nvPr/>
          </p:nvSpPr>
          <p:spPr bwMode="auto">
            <a:xfrm>
              <a:off x="4560888" y="4414838"/>
              <a:ext cx="117475" cy="25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 name="Rectangle 799">
              <a:extLst>
                <a:ext uri="{FF2B5EF4-FFF2-40B4-BE49-F238E27FC236}">
                  <a16:creationId xmlns:a16="http://schemas.microsoft.com/office/drawing/2014/main" id="{462DED71-3695-67AB-56F2-C401D6A20372}"/>
                </a:ext>
              </a:extLst>
            </p:cNvPr>
            <p:cNvSpPr>
              <a:spLocks noChangeArrowheads="1"/>
            </p:cNvSpPr>
            <p:nvPr/>
          </p:nvSpPr>
          <p:spPr bwMode="auto">
            <a:xfrm>
              <a:off x="4560888" y="4362450"/>
              <a:ext cx="117475" cy="25400"/>
            </a:xfrm>
            <a:prstGeom prst="rect">
              <a:avLst/>
            </a:prstGeom>
            <a:solidFill>
              <a:srgbClr val="DBCCB7"/>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 name="Rectangle 800">
              <a:extLst>
                <a:ext uri="{FF2B5EF4-FFF2-40B4-BE49-F238E27FC236}">
                  <a16:creationId xmlns:a16="http://schemas.microsoft.com/office/drawing/2014/main" id="{7DF0B3AA-46EC-A84A-80AD-E8D99EB7B6A3}"/>
                </a:ext>
              </a:extLst>
            </p:cNvPr>
            <p:cNvSpPr>
              <a:spLocks noChangeArrowheads="1"/>
            </p:cNvSpPr>
            <p:nvPr/>
          </p:nvSpPr>
          <p:spPr bwMode="auto">
            <a:xfrm>
              <a:off x="4560888" y="4362450"/>
              <a:ext cx="117475" cy="25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 name="Freeform 801">
              <a:extLst>
                <a:ext uri="{FF2B5EF4-FFF2-40B4-BE49-F238E27FC236}">
                  <a16:creationId xmlns:a16="http://schemas.microsoft.com/office/drawing/2014/main" id="{9B3179FE-8036-A39F-54C2-1332DE431EF8}"/>
                </a:ext>
              </a:extLst>
            </p:cNvPr>
            <p:cNvSpPr>
              <a:spLocks/>
            </p:cNvSpPr>
            <p:nvPr/>
          </p:nvSpPr>
          <p:spPr bwMode="auto">
            <a:xfrm>
              <a:off x="4510088" y="4329113"/>
              <a:ext cx="19050" cy="20638"/>
            </a:xfrm>
            <a:custGeom>
              <a:avLst/>
              <a:gdLst/>
              <a:ahLst/>
              <a:cxnLst>
                <a:cxn ang="0">
                  <a:pos x="98" y="49"/>
                </a:cxn>
                <a:cxn ang="0">
                  <a:pos x="98" y="49"/>
                </a:cxn>
                <a:cxn ang="0">
                  <a:pos x="97" y="60"/>
                </a:cxn>
                <a:cxn ang="0">
                  <a:pos x="94" y="69"/>
                </a:cxn>
                <a:cxn ang="0">
                  <a:pos x="89" y="77"/>
                </a:cxn>
                <a:cxn ang="0">
                  <a:pos x="84" y="84"/>
                </a:cxn>
                <a:cxn ang="0">
                  <a:pos x="76" y="91"/>
                </a:cxn>
                <a:cxn ang="0">
                  <a:pos x="68" y="96"/>
                </a:cxn>
                <a:cxn ang="0">
                  <a:pos x="58" y="98"/>
                </a:cxn>
                <a:cxn ang="0">
                  <a:pos x="49" y="99"/>
                </a:cxn>
                <a:cxn ang="0">
                  <a:pos x="49" y="99"/>
                </a:cxn>
                <a:cxn ang="0">
                  <a:pos x="39" y="98"/>
                </a:cxn>
                <a:cxn ang="0">
                  <a:pos x="29" y="96"/>
                </a:cxn>
                <a:cxn ang="0">
                  <a:pos x="21" y="91"/>
                </a:cxn>
                <a:cxn ang="0">
                  <a:pos x="14" y="84"/>
                </a:cxn>
                <a:cxn ang="0">
                  <a:pos x="8" y="77"/>
                </a:cxn>
                <a:cxn ang="0">
                  <a:pos x="3" y="69"/>
                </a:cxn>
                <a:cxn ang="0">
                  <a:pos x="1" y="60"/>
                </a:cxn>
                <a:cxn ang="0">
                  <a:pos x="0" y="49"/>
                </a:cxn>
                <a:cxn ang="0">
                  <a:pos x="0" y="49"/>
                </a:cxn>
                <a:cxn ang="0">
                  <a:pos x="1" y="40"/>
                </a:cxn>
                <a:cxn ang="0">
                  <a:pos x="3" y="31"/>
                </a:cxn>
                <a:cxn ang="0">
                  <a:pos x="8" y="23"/>
                </a:cxn>
                <a:cxn ang="0">
                  <a:pos x="14" y="14"/>
                </a:cxn>
                <a:cxn ang="0">
                  <a:pos x="21" y="9"/>
                </a:cxn>
                <a:cxn ang="0">
                  <a:pos x="29" y="4"/>
                </a:cxn>
                <a:cxn ang="0">
                  <a:pos x="39" y="1"/>
                </a:cxn>
                <a:cxn ang="0">
                  <a:pos x="49" y="0"/>
                </a:cxn>
                <a:cxn ang="0">
                  <a:pos x="49" y="0"/>
                </a:cxn>
                <a:cxn ang="0">
                  <a:pos x="58" y="1"/>
                </a:cxn>
                <a:cxn ang="0">
                  <a:pos x="68" y="4"/>
                </a:cxn>
                <a:cxn ang="0">
                  <a:pos x="76" y="9"/>
                </a:cxn>
                <a:cxn ang="0">
                  <a:pos x="84" y="14"/>
                </a:cxn>
                <a:cxn ang="0">
                  <a:pos x="89" y="23"/>
                </a:cxn>
                <a:cxn ang="0">
                  <a:pos x="94" y="31"/>
                </a:cxn>
                <a:cxn ang="0">
                  <a:pos x="97" y="40"/>
                </a:cxn>
                <a:cxn ang="0">
                  <a:pos x="98" y="49"/>
                </a:cxn>
                <a:cxn ang="0">
                  <a:pos x="98" y="49"/>
                </a:cxn>
              </a:cxnLst>
              <a:rect l="0" t="0" r="r" b="b"/>
              <a:pathLst>
                <a:path w="98" h="99">
                  <a:moveTo>
                    <a:pt x="98" y="49"/>
                  </a:moveTo>
                  <a:lnTo>
                    <a:pt x="98" y="49"/>
                  </a:lnTo>
                  <a:lnTo>
                    <a:pt x="97" y="60"/>
                  </a:lnTo>
                  <a:lnTo>
                    <a:pt x="94" y="69"/>
                  </a:lnTo>
                  <a:lnTo>
                    <a:pt x="89" y="77"/>
                  </a:lnTo>
                  <a:lnTo>
                    <a:pt x="84" y="84"/>
                  </a:lnTo>
                  <a:lnTo>
                    <a:pt x="76" y="91"/>
                  </a:lnTo>
                  <a:lnTo>
                    <a:pt x="68" y="96"/>
                  </a:lnTo>
                  <a:lnTo>
                    <a:pt x="58" y="98"/>
                  </a:lnTo>
                  <a:lnTo>
                    <a:pt x="49" y="99"/>
                  </a:lnTo>
                  <a:lnTo>
                    <a:pt x="49" y="99"/>
                  </a:lnTo>
                  <a:lnTo>
                    <a:pt x="39" y="98"/>
                  </a:lnTo>
                  <a:lnTo>
                    <a:pt x="29" y="96"/>
                  </a:lnTo>
                  <a:lnTo>
                    <a:pt x="21" y="91"/>
                  </a:lnTo>
                  <a:lnTo>
                    <a:pt x="14" y="84"/>
                  </a:lnTo>
                  <a:lnTo>
                    <a:pt x="8" y="77"/>
                  </a:lnTo>
                  <a:lnTo>
                    <a:pt x="3" y="69"/>
                  </a:lnTo>
                  <a:lnTo>
                    <a:pt x="1" y="60"/>
                  </a:lnTo>
                  <a:lnTo>
                    <a:pt x="0" y="49"/>
                  </a:lnTo>
                  <a:lnTo>
                    <a:pt x="0" y="49"/>
                  </a:lnTo>
                  <a:lnTo>
                    <a:pt x="1" y="40"/>
                  </a:lnTo>
                  <a:lnTo>
                    <a:pt x="3" y="31"/>
                  </a:lnTo>
                  <a:lnTo>
                    <a:pt x="8" y="23"/>
                  </a:lnTo>
                  <a:lnTo>
                    <a:pt x="14" y="14"/>
                  </a:lnTo>
                  <a:lnTo>
                    <a:pt x="21" y="9"/>
                  </a:lnTo>
                  <a:lnTo>
                    <a:pt x="29" y="4"/>
                  </a:lnTo>
                  <a:lnTo>
                    <a:pt x="39" y="1"/>
                  </a:lnTo>
                  <a:lnTo>
                    <a:pt x="49" y="0"/>
                  </a:lnTo>
                  <a:lnTo>
                    <a:pt x="49" y="0"/>
                  </a:lnTo>
                  <a:lnTo>
                    <a:pt x="58" y="1"/>
                  </a:lnTo>
                  <a:lnTo>
                    <a:pt x="68" y="4"/>
                  </a:lnTo>
                  <a:lnTo>
                    <a:pt x="76" y="9"/>
                  </a:lnTo>
                  <a:lnTo>
                    <a:pt x="84" y="14"/>
                  </a:lnTo>
                  <a:lnTo>
                    <a:pt x="89" y="23"/>
                  </a:lnTo>
                  <a:lnTo>
                    <a:pt x="94" y="31"/>
                  </a:lnTo>
                  <a:lnTo>
                    <a:pt x="97" y="40"/>
                  </a:lnTo>
                  <a:lnTo>
                    <a:pt x="98" y="49"/>
                  </a:lnTo>
                  <a:lnTo>
                    <a:pt x="98" y="49"/>
                  </a:lnTo>
                  <a:close/>
                </a:path>
              </a:pathLst>
            </a:custGeom>
            <a:solidFill>
              <a:srgbClr val="475059"/>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7" name="Freeform 802">
              <a:extLst>
                <a:ext uri="{FF2B5EF4-FFF2-40B4-BE49-F238E27FC236}">
                  <a16:creationId xmlns:a16="http://schemas.microsoft.com/office/drawing/2014/main" id="{2309906D-9610-9DC6-FC6F-10AFC17B81E4}"/>
                </a:ext>
              </a:extLst>
            </p:cNvPr>
            <p:cNvSpPr>
              <a:spLocks/>
            </p:cNvSpPr>
            <p:nvPr/>
          </p:nvSpPr>
          <p:spPr bwMode="auto">
            <a:xfrm>
              <a:off x="4510088" y="4381500"/>
              <a:ext cx="19050" cy="20638"/>
            </a:xfrm>
            <a:custGeom>
              <a:avLst/>
              <a:gdLst/>
              <a:ahLst/>
              <a:cxnLst>
                <a:cxn ang="0">
                  <a:pos x="98" y="49"/>
                </a:cxn>
                <a:cxn ang="0">
                  <a:pos x="98" y="49"/>
                </a:cxn>
                <a:cxn ang="0">
                  <a:pos x="97" y="59"/>
                </a:cxn>
                <a:cxn ang="0">
                  <a:pos x="94" y="69"/>
                </a:cxn>
                <a:cxn ang="0">
                  <a:pos x="89" y="77"/>
                </a:cxn>
                <a:cxn ang="0">
                  <a:pos x="84" y="84"/>
                </a:cxn>
                <a:cxn ang="0">
                  <a:pos x="76" y="90"/>
                </a:cxn>
                <a:cxn ang="0">
                  <a:pos x="68" y="96"/>
                </a:cxn>
                <a:cxn ang="0">
                  <a:pos x="58" y="98"/>
                </a:cxn>
                <a:cxn ang="0">
                  <a:pos x="49" y="99"/>
                </a:cxn>
                <a:cxn ang="0">
                  <a:pos x="49" y="99"/>
                </a:cxn>
                <a:cxn ang="0">
                  <a:pos x="39" y="98"/>
                </a:cxn>
                <a:cxn ang="0">
                  <a:pos x="29" y="96"/>
                </a:cxn>
                <a:cxn ang="0">
                  <a:pos x="21" y="90"/>
                </a:cxn>
                <a:cxn ang="0">
                  <a:pos x="14" y="84"/>
                </a:cxn>
                <a:cxn ang="0">
                  <a:pos x="8" y="77"/>
                </a:cxn>
                <a:cxn ang="0">
                  <a:pos x="3" y="69"/>
                </a:cxn>
                <a:cxn ang="0">
                  <a:pos x="1" y="59"/>
                </a:cxn>
                <a:cxn ang="0">
                  <a:pos x="0" y="49"/>
                </a:cxn>
                <a:cxn ang="0">
                  <a:pos x="0" y="49"/>
                </a:cxn>
                <a:cxn ang="0">
                  <a:pos x="1" y="40"/>
                </a:cxn>
                <a:cxn ang="0">
                  <a:pos x="3" y="31"/>
                </a:cxn>
                <a:cxn ang="0">
                  <a:pos x="8" y="22"/>
                </a:cxn>
                <a:cxn ang="0">
                  <a:pos x="14" y="14"/>
                </a:cxn>
                <a:cxn ang="0">
                  <a:pos x="21" y="9"/>
                </a:cxn>
                <a:cxn ang="0">
                  <a:pos x="29" y="4"/>
                </a:cxn>
                <a:cxn ang="0">
                  <a:pos x="39" y="1"/>
                </a:cxn>
                <a:cxn ang="0">
                  <a:pos x="49" y="0"/>
                </a:cxn>
                <a:cxn ang="0">
                  <a:pos x="49" y="0"/>
                </a:cxn>
                <a:cxn ang="0">
                  <a:pos x="58" y="1"/>
                </a:cxn>
                <a:cxn ang="0">
                  <a:pos x="68" y="4"/>
                </a:cxn>
                <a:cxn ang="0">
                  <a:pos x="76" y="9"/>
                </a:cxn>
                <a:cxn ang="0">
                  <a:pos x="84" y="14"/>
                </a:cxn>
                <a:cxn ang="0">
                  <a:pos x="89" y="22"/>
                </a:cxn>
                <a:cxn ang="0">
                  <a:pos x="94" y="31"/>
                </a:cxn>
                <a:cxn ang="0">
                  <a:pos x="97" y="40"/>
                </a:cxn>
                <a:cxn ang="0">
                  <a:pos x="98" y="49"/>
                </a:cxn>
                <a:cxn ang="0">
                  <a:pos x="98" y="49"/>
                </a:cxn>
              </a:cxnLst>
              <a:rect l="0" t="0" r="r" b="b"/>
              <a:pathLst>
                <a:path w="98" h="99">
                  <a:moveTo>
                    <a:pt x="98" y="49"/>
                  </a:moveTo>
                  <a:lnTo>
                    <a:pt x="98" y="49"/>
                  </a:lnTo>
                  <a:lnTo>
                    <a:pt x="97" y="59"/>
                  </a:lnTo>
                  <a:lnTo>
                    <a:pt x="94" y="69"/>
                  </a:lnTo>
                  <a:lnTo>
                    <a:pt x="89" y="77"/>
                  </a:lnTo>
                  <a:lnTo>
                    <a:pt x="84" y="84"/>
                  </a:lnTo>
                  <a:lnTo>
                    <a:pt x="76" y="90"/>
                  </a:lnTo>
                  <a:lnTo>
                    <a:pt x="68" y="96"/>
                  </a:lnTo>
                  <a:lnTo>
                    <a:pt x="58" y="98"/>
                  </a:lnTo>
                  <a:lnTo>
                    <a:pt x="49" y="99"/>
                  </a:lnTo>
                  <a:lnTo>
                    <a:pt x="49" y="99"/>
                  </a:lnTo>
                  <a:lnTo>
                    <a:pt x="39" y="98"/>
                  </a:lnTo>
                  <a:lnTo>
                    <a:pt x="29" y="96"/>
                  </a:lnTo>
                  <a:lnTo>
                    <a:pt x="21" y="90"/>
                  </a:lnTo>
                  <a:lnTo>
                    <a:pt x="14" y="84"/>
                  </a:lnTo>
                  <a:lnTo>
                    <a:pt x="8" y="77"/>
                  </a:lnTo>
                  <a:lnTo>
                    <a:pt x="3" y="69"/>
                  </a:lnTo>
                  <a:lnTo>
                    <a:pt x="1" y="59"/>
                  </a:lnTo>
                  <a:lnTo>
                    <a:pt x="0" y="49"/>
                  </a:lnTo>
                  <a:lnTo>
                    <a:pt x="0" y="49"/>
                  </a:lnTo>
                  <a:lnTo>
                    <a:pt x="1" y="40"/>
                  </a:lnTo>
                  <a:lnTo>
                    <a:pt x="3" y="31"/>
                  </a:lnTo>
                  <a:lnTo>
                    <a:pt x="8" y="22"/>
                  </a:lnTo>
                  <a:lnTo>
                    <a:pt x="14" y="14"/>
                  </a:lnTo>
                  <a:lnTo>
                    <a:pt x="21" y="9"/>
                  </a:lnTo>
                  <a:lnTo>
                    <a:pt x="29" y="4"/>
                  </a:lnTo>
                  <a:lnTo>
                    <a:pt x="39" y="1"/>
                  </a:lnTo>
                  <a:lnTo>
                    <a:pt x="49" y="0"/>
                  </a:lnTo>
                  <a:lnTo>
                    <a:pt x="49" y="0"/>
                  </a:lnTo>
                  <a:lnTo>
                    <a:pt x="58" y="1"/>
                  </a:lnTo>
                  <a:lnTo>
                    <a:pt x="68" y="4"/>
                  </a:lnTo>
                  <a:lnTo>
                    <a:pt x="76" y="9"/>
                  </a:lnTo>
                  <a:lnTo>
                    <a:pt x="84" y="14"/>
                  </a:lnTo>
                  <a:lnTo>
                    <a:pt x="89" y="22"/>
                  </a:lnTo>
                  <a:lnTo>
                    <a:pt x="94" y="31"/>
                  </a:lnTo>
                  <a:lnTo>
                    <a:pt x="97" y="40"/>
                  </a:lnTo>
                  <a:lnTo>
                    <a:pt x="98" y="49"/>
                  </a:lnTo>
                  <a:lnTo>
                    <a:pt x="98" y="49"/>
                  </a:lnTo>
                  <a:close/>
                </a:path>
              </a:pathLst>
            </a:custGeom>
            <a:solidFill>
              <a:srgbClr val="475059"/>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8" name="Freeform 803">
              <a:extLst>
                <a:ext uri="{FF2B5EF4-FFF2-40B4-BE49-F238E27FC236}">
                  <a16:creationId xmlns:a16="http://schemas.microsoft.com/office/drawing/2014/main" id="{54AF33EC-96EE-2D90-825E-4D1AC9C2AF3F}"/>
                </a:ext>
              </a:extLst>
            </p:cNvPr>
            <p:cNvSpPr>
              <a:spLocks/>
            </p:cNvSpPr>
            <p:nvPr/>
          </p:nvSpPr>
          <p:spPr bwMode="auto">
            <a:xfrm>
              <a:off x="4510088" y="4433888"/>
              <a:ext cx="19050" cy="20638"/>
            </a:xfrm>
            <a:custGeom>
              <a:avLst/>
              <a:gdLst/>
              <a:ahLst/>
              <a:cxnLst>
                <a:cxn ang="0">
                  <a:pos x="98" y="50"/>
                </a:cxn>
                <a:cxn ang="0">
                  <a:pos x="98" y="50"/>
                </a:cxn>
                <a:cxn ang="0">
                  <a:pos x="97" y="60"/>
                </a:cxn>
                <a:cxn ang="0">
                  <a:pos x="94" y="69"/>
                </a:cxn>
                <a:cxn ang="0">
                  <a:pos x="89" y="78"/>
                </a:cxn>
                <a:cxn ang="0">
                  <a:pos x="84" y="85"/>
                </a:cxn>
                <a:cxn ang="0">
                  <a:pos x="76" y="91"/>
                </a:cxn>
                <a:cxn ang="0">
                  <a:pos x="68" y="96"/>
                </a:cxn>
                <a:cxn ang="0">
                  <a:pos x="58" y="98"/>
                </a:cxn>
                <a:cxn ang="0">
                  <a:pos x="49" y="99"/>
                </a:cxn>
                <a:cxn ang="0">
                  <a:pos x="49" y="99"/>
                </a:cxn>
                <a:cxn ang="0">
                  <a:pos x="39" y="98"/>
                </a:cxn>
                <a:cxn ang="0">
                  <a:pos x="29" y="96"/>
                </a:cxn>
                <a:cxn ang="0">
                  <a:pos x="21" y="91"/>
                </a:cxn>
                <a:cxn ang="0">
                  <a:pos x="14" y="85"/>
                </a:cxn>
                <a:cxn ang="0">
                  <a:pos x="8" y="78"/>
                </a:cxn>
                <a:cxn ang="0">
                  <a:pos x="3" y="69"/>
                </a:cxn>
                <a:cxn ang="0">
                  <a:pos x="1" y="60"/>
                </a:cxn>
                <a:cxn ang="0">
                  <a:pos x="0" y="50"/>
                </a:cxn>
                <a:cxn ang="0">
                  <a:pos x="0" y="50"/>
                </a:cxn>
                <a:cxn ang="0">
                  <a:pos x="1" y="41"/>
                </a:cxn>
                <a:cxn ang="0">
                  <a:pos x="3" y="31"/>
                </a:cxn>
                <a:cxn ang="0">
                  <a:pos x="8" y="23"/>
                </a:cxn>
                <a:cxn ang="0">
                  <a:pos x="14" y="15"/>
                </a:cxn>
                <a:cxn ang="0">
                  <a:pos x="21" y="10"/>
                </a:cxn>
                <a:cxn ang="0">
                  <a:pos x="29" y="5"/>
                </a:cxn>
                <a:cxn ang="0">
                  <a:pos x="39" y="1"/>
                </a:cxn>
                <a:cxn ang="0">
                  <a:pos x="49" y="0"/>
                </a:cxn>
                <a:cxn ang="0">
                  <a:pos x="49" y="0"/>
                </a:cxn>
                <a:cxn ang="0">
                  <a:pos x="58" y="1"/>
                </a:cxn>
                <a:cxn ang="0">
                  <a:pos x="68" y="5"/>
                </a:cxn>
                <a:cxn ang="0">
                  <a:pos x="76" y="10"/>
                </a:cxn>
                <a:cxn ang="0">
                  <a:pos x="84" y="15"/>
                </a:cxn>
                <a:cxn ang="0">
                  <a:pos x="89" y="23"/>
                </a:cxn>
                <a:cxn ang="0">
                  <a:pos x="94" y="31"/>
                </a:cxn>
                <a:cxn ang="0">
                  <a:pos x="97" y="41"/>
                </a:cxn>
                <a:cxn ang="0">
                  <a:pos x="98" y="50"/>
                </a:cxn>
                <a:cxn ang="0">
                  <a:pos x="98" y="50"/>
                </a:cxn>
              </a:cxnLst>
              <a:rect l="0" t="0" r="r" b="b"/>
              <a:pathLst>
                <a:path w="98" h="99">
                  <a:moveTo>
                    <a:pt x="98" y="50"/>
                  </a:moveTo>
                  <a:lnTo>
                    <a:pt x="98" y="50"/>
                  </a:lnTo>
                  <a:lnTo>
                    <a:pt x="97" y="60"/>
                  </a:lnTo>
                  <a:lnTo>
                    <a:pt x="94" y="69"/>
                  </a:lnTo>
                  <a:lnTo>
                    <a:pt x="89" y="78"/>
                  </a:lnTo>
                  <a:lnTo>
                    <a:pt x="84" y="85"/>
                  </a:lnTo>
                  <a:lnTo>
                    <a:pt x="76" y="91"/>
                  </a:lnTo>
                  <a:lnTo>
                    <a:pt x="68" y="96"/>
                  </a:lnTo>
                  <a:lnTo>
                    <a:pt x="58" y="98"/>
                  </a:lnTo>
                  <a:lnTo>
                    <a:pt x="49" y="99"/>
                  </a:lnTo>
                  <a:lnTo>
                    <a:pt x="49" y="99"/>
                  </a:lnTo>
                  <a:lnTo>
                    <a:pt x="39" y="98"/>
                  </a:lnTo>
                  <a:lnTo>
                    <a:pt x="29" y="96"/>
                  </a:lnTo>
                  <a:lnTo>
                    <a:pt x="21" y="91"/>
                  </a:lnTo>
                  <a:lnTo>
                    <a:pt x="14" y="85"/>
                  </a:lnTo>
                  <a:lnTo>
                    <a:pt x="8" y="78"/>
                  </a:lnTo>
                  <a:lnTo>
                    <a:pt x="3" y="69"/>
                  </a:lnTo>
                  <a:lnTo>
                    <a:pt x="1" y="60"/>
                  </a:lnTo>
                  <a:lnTo>
                    <a:pt x="0" y="50"/>
                  </a:lnTo>
                  <a:lnTo>
                    <a:pt x="0" y="50"/>
                  </a:lnTo>
                  <a:lnTo>
                    <a:pt x="1" y="41"/>
                  </a:lnTo>
                  <a:lnTo>
                    <a:pt x="3" y="31"/>
                  </a:lnTo>
                  <a:lnTo>
                    <a:pt x="8" y="23"/>
                  </a:lnTo>
                  <a:lnTo>
                    <a:pt x="14" y="15"/>
                  </a:lnTo>
                  <a:lnTo>
                    <a:pt x="21" y="10"/>
                  </a:lnTo>
                  <a:lnTo>
                    <a:pt x="29" y="5"/>
                  </a:lnTo>
                  <a:lnTo>
                    <a:pt x="39" y="1"/>
                  </a:lnTo>
                  <a:lnTo>
                    <a:pt x="49" y="0"/>
                  </a:lnTo>
                  <a:lnTo>
                    <a:pt x="49" y="0"/>
                  </a:lnTo>
                  <a:lnTo>
                    <a:pt x="58" y="1"/>
                  </a:lnTo>
                  <a:lnTo>
                    <a:pt x="68" y="5"/>
                  </a:lnTo>
                  <a:lnTo>
                    <a:pt x="76" y="10"/>
                  </a:lnTo>
                  <a:lnTo>
                    <a:pt x="84" y="15"/>
                  </a:lnTo>
                  <a:lnTo>
                    <a:pt x="89" y="23"/>
                  </a:lnTo>
                  <a:lnTo>
                    <a:pt x="94" y="31"/>
                  </a:lnTo>
                  <a:lnTo>
                    <a:pt x="97" y="41"/>
                  </a:lnTo>
                  <a:lnTo>
                    <a:pt x="98" y="50"/>
                  </a:lnTo>
                  <a:lnTo>
                    <a:pt x="98" y="50"/>
                  </a:lnTo>
                  <a:close/>
                </a:path>
              </a:pathLst>
            </a:custGeom>
            <a:solidFill>
              <a:srgbClr val="475059"/>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9" name="Freeform 804">
              <a:extLst>
                <a:ext uri="{FF2B5EF4-FFF2-40B4-BE49-F238E27FC236}">
                  <a16:creationId xmlns:a16="http://schemas.microsoft.com/office/drawing/2014/main" id="{E5AD077C-923C-1868-D692-D539FE380B54}"/>
                </a:ext>
              </a:extLst>
            </p:cNvPr>
            <p:cNvSpPr>
              <a:spLocks/>
            </p:cNvSpPr>
            <p:nvPr/>
          </p:nvSpPr>
          <p:spPr bwMode="auto">
            <a:xfrm>
              <a:off x="4510088" y="4486275"/>
              <a:ext cx="19050" cy="20638"/>
            </a:xfrm>
            <a:custGeom>
              <a:avLst/>
              <a:gdLst/>
              <a:ahLst/>
              <a:cxnLst>
                <a:cxn ang="0">
                  <a:pos x="98" y="50"/>
                </a:cxn>
                <a:cxn ang="0">
                  <a:pos x="98" y="50"/>
                </a:cxn>
                <a:cxn ang="0">
                  <a:pos x="97" y="60"/>
                </a:cxn>
                <a:cxn ang="0">
                  <a:pos x="94" y="69"/>
                </a:cxn>
                <a:cxn ang="0">
                  <a:pos x="89" y="77"/>
                </a:cxn>
                <a:cxn ang="0">
                  <a:pos x="84" y="85"/>
                </a:cxn>
                <a:cxn ang="0">
                  <a:pos x="76" y="91"/>
                </a:cxn>
                <a:cxn ang="0">
                  <a:pos x="68" y="96"/>
                </a:cxn>
                <a:cxn ang="0">
                  <a:pos x="58" y="98"/>
                </a:cxn>
                <a:cxn ang="0">
                  <a:pos x="49" y="99"/>
                </a:cxn>
                <a:cxn ang="0">
                  <a:pos x="49" y="99"/>
                </a:cxn>
                <a:cxn ang="0">
                  <a:pos x="39" y="98"/>
                </a:cxn>
                <a:cxn ang="0">
                  <a:pos x="29" y="96"/>
                </a:cxn>
                <a:cxn ang="0">
                  <a:pos x="21" y="91"/>
                </a:cxn>
                <a:cxn ang="0">
                  <a:pos x="14" y="85"/>
                </a:cxn>
                <a:cxn ang="0">
                  <a:pos x="8" y="77"/>
                </a:cxn>
                <a:cxn ang="0">
                  <a:pos x="3" y="69"/>
                </a:cxn>
                <a:cxn ang="0">
                  <a:pos x="1" y="60"/>
                </a:cxn>
                <a:cxn ang="0">
                  <a:pos x="0" y="50"/>
                </a:cxn>
                <a:cxn ang="0">
                  <a:pos x="0" y="50"/>
                </a:cxn>
                <a:cxn ang="0">
                  <a:pos x="1" y="40"/>
                </a:cxn>
                <a:cxn ang="0">
                  <a:pos x="3" y="31"/>
                </a:cxn>
                <a:cxn ang="0">
                  <a:pos x="8" y="23"/>
                </a:cxn>
                <a:cxn ang="0">
                  <a:pos x="14" y="15"/>
                </a:cxn>
                <a:cxn ang="0">
                  <a:pos x="21" y="9"/>
                </a:cxn>
                <a:cxn ang="0">
                  <a:pos x="29" y="4"/>
                </a:cxn>
                <a:cxn ang="0">
                  <a:pos x="39" y="1"/>
                </a:cxn>
                <a:cxn ang="0">
                  <a:pos x="49" y="0"/>
                </a:cxn>
                <a:cxn ang="0">
                  <a:pos x="49" y="0"/>
                </a:cxn>
                <a:cxn ang="0">
                  <a:pos x="58" y="1"/>
                </a:cxn>
                <a:cxn ang="0">
                  <a:pos x="68" y="4"/>
                </a:cxn>
                <a:cxn ang="0">
                  <a:pos x="76" y="9"/>
                </a:cxn>
                <a:cxn ang="0">
                  <a:pos x="84" y="15"/>
                </a:cxn>
                <a:cxn ang="0">
                  <a:pos x="89" y="23"/>
                </a:cxn>
                <a:cxn ang="0">
                  <a:pos x="94" y="31"/>
                </a:cxn>
                <a:cxn ang="0">
                  <a:pos x="97" y="40"/>
                </a:cxn>
                <a:cxn ang="0">
                  <a:pos x="98" y="50"/>
                </a:cxn>
                <a:cxn ang="0">
                  <a:pos x="98" y="50"/>
                </a:cxn>
              </a:cxnLst>
              <a:rect l="0" t="0" r="r" b="b"/>
              <a:pathLst>
                <a:path w="98" h="99">
                  <a:moveTo>
                    <a:pt x="98" y="50"/>
                  </a:moveTo>
                  <a:lnTo>
                    <a:pt x="98" y="50"/>
                  </a:lnTo>
                  <a:lnTo>
                    <a:pt x="97" y="60"/>
                  </a:lnTo>
                  <a:lnTo>
                    <a:pt x="94" y="69"/>
                  </a:lnTo>
                  <a:lnTo>
                    <a:pt x="89" y="77"/>
                  </a:lnTo>
                  <a:lnTo>
                    <a:pt x="84" y="85"/>
                  </a:lnTo>
                  <a:lnTo>
                    <a:pt x="76" y="91"/>
                  </a:lnTo>
                  <a:lnTo>
                    <a:pt x="68" y="96"/>
                  </a:lnTo>
                  <a:lnTo>
                    <a:pt x="58" y="98"/>
                  </a:lnTo>
                  <a:lnTo>
                    <a:pt x="49" y="99"/>
                  </a:lnTo>
                  <a:lnTo>
                    <a:pt x="49" y="99"/>
                  </a:lnTo>
                  <a:lnTo>
                    <a:pt x="39" y="98"/>
                  </a:lnTo>
                  <a:lnTo>
                    <a:pt x="29" y="96"/>
                  </a:lnTo>
                  <a:lnTo>
                    <a:pt x="21" y="91"/>
                  </a:lnTo>
                  <a:lnTo>
                    <a:pt x="14" y="85"/>
                  </a:lnTo>
                  <a:lnTo>
                    <a:pt x="8" y="77"/>
                  </a:lnTo>
                  <a:lnTo>
                    <a:pt x="3" y="69"/>
                  </a:lnTo>
                  <a:lnTo>
                    <a:pt x="1" y="60"/>
                  </a:lnTo>
                  <a:lnTo>
                    <a:pt x="0" y="50"/>
                  </a:lnTo>
                  <a:lnTo>
                    <a:pt x="0" y="50"/>
                  </a:lnTo>
                  <a:lnTo>
                    <a:pt x="1" y="40"/>
                  </a:lnTo>
                  <a:lnTo>
                    <a:pt x="3" y="31"/>
                  </a:lnTo>
                  <a:lnTo>
                    <a:pt x="8" y="23"/>
                  </a:lnTo>
                  <a:lnTo>
                    <a:pt x="14" y="15"/>
                  </a:lnTo>
                  <a:lnTo>
                    <a:pt x="21" y="9"/>
                  </a:lnTo>
                  <a:lnTo>
                    <a:pt x="29" y="4"/>
                  </a:lnTo>
                  <a:lnTo>
                    <a:pt x="39" y="1"/>
                  </a:lnTo>
                  <a:lnTo>
                    <a:pt x="49" y="0"/>
                  </a:lnTo>
                  <a:lnTo>
                    <a:pt x="49" y="0"/>
                  </a:lnTo>
                  <a:lnTo>
                    <a:pt x="58" y="1"/>
                  </a:lnTo>
                  <a:lnTo>
                    <a:pt x="68" y="4"/>
                  </a:lnTo>
                  <a:lnTo>
                    <a:pt x="76" y="9"/>
                  </a:lnTo>
                  <a:lnTo>
                    <a:pt x="84" y="15"/>
                  </a:lnTo>
                  <a:lnTo>
                    <a:pt x="89" y="23"/>
                  </a:lnTo>
                  <a:lnTo>
                    <a:pt x="94" y="31"/>
                  </a:lnTo>
                  <a:lnTo>
                    <a:pt x="97" y="40"/>
                  </a:lnTo>
                  <a:lnTo>
                    <a:pt x="98" y="50"/>
                  </a:lnTo>
                  <a:lnTo>
                    <a:pt x="98" y="50"/>
                  </a:lnTo>
                  <a:close/>
                </a:path>
              </a:pathLst>
            </a:custGeom>
            <a:solidFill>
              <a:srgbClr val="475059"/>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0" name="Freeform 805">
              <a:extLst>
                <a:ext uri="{FF2B5EF4-FFF2-40B4-BE49-F238E27FC236}">
                  <a16:creationId xmlns:a16="http://schemas.microsoft.com/office/drawing/2014/main" id="{3E9B3ACF-7C85-AB05-A7F5-4600552B9F22}"/>
                </a:ext>
              </a:extLst>
            </p:cNvPr>
            <p:cNvSpPr>
              <a:spLocks/>
            </p:cNvSpPr>
            <p:nvPr/>
          </p:nvSpPr>
          <p:spPr bwMode="auto">
            <a:xfrm>
              <a:off x="4510088" y="4538663"/>
              <a:ext cx="19050" cy="19050"/>
            </a:xfrm>
            <a:custGeom>
              <a:avLst/>
              <a:gdLst/>
              <a:ahLst/>
              <a:cxnLst>
                <a:cxn ang="0">
                  <a:pos x="98" y="49"/>
                </a:cxn>
                <a:cxn ang="0">
                  <a:pos x="98" y="49"/>
                </a:cxn>
                <a:cxn ang="0">
                  <a:pos x="97" y="60"/>
                </a:cxn>
                <a:cxn ang="0">
                  <a:pos x="94" y="69"/>
                </a:cxn>
                <a:cxn ang="0">
                  <a:pos x="89" y="77"/>
                </a:cxn>
                <a:cxn ang="0">
                  <a:pos x="84" y="84"/>
                </a:cxn>
                <a:cxn ang="0">
                  <a:pos x="76" y="91"/>
                </a:cxn>
                <a:cxn ang="0">
                  <a:pos x="68" y="96"/>
                </a:cxn>
                <a:cxn ang="0">
                  <a:pos x="58" y="98"/>
                </a:cxn>
                <a:cxn ang="0">
                  <a:pos x="49" y="99"/>
                </a:cxn>
                <a:cxn ang="0">
                  <a:pos x="49" y="99"/>
                </a:cxn>
                <a:cxn ang="0">
                  <a:pos x="39" y="98"/>
                </a:cxn>
                <a:cxn ang="0">
                  <a:pos x="29" y="96"/>
                </a:cxn>
                <a:cxn ang="0">
                  <a:pos x="21" y="91"/>
                </a:cxn>
                <a:cxn ang="0">
                  <a:pos x="14" y="84"/>
                </a:cxn>
                <a:cxn ang="0">
                  <a:pos x="8" y="77"/>
                </a:cxn>
                <a:cxn ang="0">
                  <a:pos x="3" y="69"/>
                </a:cxn>
                <a:cxn ang="0">
                  <a:pos x="1" y="60"/>
                </a:cxn>
                <a:cxn ang="0">
                  <a:pos x="0" y="49"/>
                </a:cxn>
                <a:cxn ang="0">
                  <a:pos x="0" y="49"/>
                </a:cxn>
                <a:cxn ang="0">
                  <a:pos x="1" y="40"/>
                </a:cxn>
                <a:cxn ang="0">
                  <a:pos x="3" y="31"/>
                </a:cxn>
                <a:cxn ang="0">
                  <a:pos x="8" y="23"/>
                </a:cxn>
                <a:cxn ang="0">
                  <a:pos x="14" y="14"/>
                </a:cxn>
                <a:cxn ang="0">
                  <a:pos x="21" y="9"/>
                </a:cxn>
                <a:cxn ang="0">
                  <a:pos x="29" y="4"/>
                </a:cxn>
                <a:cxn ang="0">
                  <a:pos x="39" y="1"/>
                </a:cxn>
                <a:cxn ang="0">
                  <a:pos x="49" y="0"/>
                </a:cxn>
                <a:cxn ang="0">
                  <a:pos x="49" y="0"/>
                </a:cxn>
                <a:cxn ang="0">
                  <a:pos x="58" y="1"/>
                </a:cxn>
                <a:cxn ang="0">
                  <a:pos x="68" y="4"/>
                </a:cxn>
                <a:cxn ang="0">
                  <a:pos x="76" y="9"/>
                </a:cxn>
                <a:cxn ang="0">
                  <a:pos x="84" y="14"/>
                </a:cxn>
                <a:cxn ang="0">
                  <a:pos x="89" y="23"/>
                </a:cxn>
                <a:cxn ang="0">
                  <a:pos x="94" y="31"/>
                </a:cxn>
                <a:cxn ang="0">
                  <a:pos x="97" y="40"/>
                </a:cxn>
                <a:cxn ang="0">
                  <a:pos x="98" y="49"/>
                </a:cxn>
                <a:cxn ang="0">
                  <a:pos x="98" y="49"/>
                </a:cxn>
              </a:cxnLst>
              <a:rect l="0" t="0" r="r" b="b"/>
              <a:pathLst>
                <a:path w="98" h="99">
                  <a:moveTo>
                    <a:pt x="98" y="49"/>
                  </a:moveTo>
                  <a:lnTo>
                    <a:pt x="98" y="49"/>
                  </a:lnTo>
                  <a:lnTo>
                    <a:pt x="97" y="60"/>
                  </a:lnTo>
                  <a:lnTo>
                    <a:pt x="94" y="69"/>
                  </a:lnTo>
                  <a:lnTo>
                    <a:pt x="89" y="77"/>
                  </a:lnTo>
                  <a:lnTo>
                    <a:pt x="84" y="84"/>
                  </a:lnTo>
                  <a:lnTo>
                    <a:pt x="76" y="91"/>
                  </a:lnTo>
                  <a:lnTo>
                    <a:pt x="68" y="96"/>
                  </a:lnTo>
                  <a:lnTo>
                    <a:pt x="58" y="98"/>
                  </a:lnTo>
                  <a:lnTo>
                    <a:pt x="49" y="99"/>
                  </a:lnTo>
                  <a:lnTo>
                    <a:pt x="49" y="99"/>
                  </a:lnTo>
                  <a:lnTo>
                    <a:pt x="39" y="98"/>
                  </a:lnTo>
                  <a:lnTo>
                    <a:pt x="29" y="96"/>
                  </a:lnTo>
                  <a:lnTo>
                    <a:pt x="21" y="91"/>
                  </a:lnTo>
                  <a:lnTo>
                    <a:pt x="14" y="84"/>
                  </a:lnTo>
                  <a:lnTo>
                    <a:pt x="8" y="77"/>
                  </a:lnTo>
                  <a:lnTo>
                    <a:pt x="3" y="69"/>
                  </a:lnTo>
                  <a:lnTo>
                    <a:pt x="1" y="60"/>
                  </a:lnTo>
                  <a:lnTo>
                    <a:pt x="0" y="49"/>
                  </a:lnTo>
                  <a:lnTo>
                    <a:pt x="0" y="49"/>
                  </a:lnTo>
                  <a:lnTo>
                    <a:pt x="1" y="40"/>
                  </a:lnTo>
                  <a:lnTo>
                    <a:pt x="3" y="31"/>
                  </a:lnTo>
                  <a:lnTo>
                    <a:pt x="8" y="23"/>
                  </a:lnTo>
                  <a:lnTo>
                    <a:pt x="14" y="14"/>
                  </a:lnTo>
                  <a:lnTo>
                    <a:pt x="21" y="9"/>
                  </a:lnTo>
                  <a:lnTo>
                    <a:pt x="29" y="4"/>
                  </a:lnTo>
                  <a:lnTo>
                    <a:pt x="39" y="1"/>
                  </a:lnTo>
                  <a:lnTo>
                    <a:pt x="49" y="0"/>
                  </a:lnTo>
                  <a:lnTo>
                    <a:pt x="49" y="0"/>
                  </a:lnTo>
                  <a:lnTo>
                    <a:pt x="58" y="1"/>
                  </a:lnTo>
                  <a:lnTo>
                    <a:pt x="68" y="4"/>
                  </a:lnTo>
                  <a:lnTo>
                    <a:pt x="76" y="9"/>
                  </a:lnTo>
                  <a:lnTo>
                    <a:pt x="84" y="14"/>
                  </a:lnTo>
                  <a:lnTo>
                    <a:pt x="89" y="23"/>
                  </a:lnTo>
                  <a:lnTo>
                    <a:pt x="94" y="31"/>
                  </a:lnTo>
                  <a:lnTo>
                    <a:pt x="97" y="40"/>
                  </a:lnTo>
                  <a:lnTo>
                    <a:pt x="98" y="49"/>
                  </a:lnTo>
                  <a:lnTo>
                    <a:pt x="98" y="49"/>
                  </a:lnTo>
                  <a:close/>
                </a:path>
              </a:pathLst>
            </a:custGeom>
            <a:solidFill>
              <a:srgbClr val="475059"/>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 name="Freeform 806">
              <a:extLst>
                <a:ext uri="{FF2B5EF4-FFF2-40B4-BE49-F238E27FC236}">
                  <a16:creationId xmlns:a16="http://schemas.microsoft.com/office/drawing/2014/main" id="{5D725E25-0753-6768-67D9-298AA9C5E4C4}"/>
                </a:ext>
              </a:extLst>
            </p:cNvPr>
            <p:cNvSpPr>
              <a:spLocks/>
            </p:cNvSpPr>
            <p:nvPr/>
          </p:nvSpPr>
          <p:spPr bwMode="auto">
            <a:xfrm>
              <a:off x="4510088" y="4591050"/>
              <a:ext cx="19050" cy="19050"/>
            </a:xfrm>
            <a:custGeom>
              <a:avLst/>
              <a:gdLst/>
              <a:ahLst/>
              <a:cxnLst>
                <a:cxn ang="0">
                  <a:pos x="98" y="49"/>
                </a:cxn>
                <a:cxn ang="0">
                  <a:pos x="98" y="49"/>
                </a:cxn>
                <a:cxn ang="0">
                  <a:pos x="97" y="59"/>
                </a:cxn>
                <a:cxn ang="0">
                  <a:pos x="94" y="69"/>
                </a:cxn>
                <a:cxn ang="0">
                  <a:pos x="89" y="77"/>
                </a:cxn>
                <a:cxn ang="0">
                  <a:pos x="84" y="84"/>
                </a:cxn>
                <a:cxn ang="0">
                  <a:pos x="76" y="90"/>
                </a:cxn>
                <a:cxn ang="0">
                  <a:pos x="68" y="95"/>
                </a:cxn>
                <a:cxn ang="0">
                  <a:pos x="58" y="97"/>
                </a:cxn>
                <a:cxn ang="0">
                  <a:pos x="49" y="98"/>
                </a:cxn>
                <a:cxn ang="0">
                  <a:pos x="49" y="98"/>
                </a:cxn>
                <a:cxn ang="0">
                  <a:pos x="39" y="97"/>
                </a:cxn>
                <a:cxn ang="0">
                  <a:pos x="29" y="95"/>
                </a:cxn>
                <a:cxn ang="0">
                  <a:pos x="21" y="90"/>
                </a:cxn>
                <a:cxn ang="0">
                  <a:pos x="14" y="84"/>
                </a:cxn>
                <a:cxn ang="0">
                  <a:pos x="8" y="77"/>
                </a:cxn>
                <a:cxn ang="0">
                  <a:pos x="3" y="69"/>
                </a:cxn>
                <a:cxn ang="0">
                  <a:pos x="1" y="59"/>
                </a:cxn>
                <a:cxn ang="0">
                  <a:pos x="0" y="49"/>
                </a:cxn>
                <a:cxn ang="0">
                  <a:pos x="0" y="49"/>
                </a:cxn>
                <a:cxn ang="0">
                  <a:pos x="1" y="40"/>
                </a:cxn>
                <a:cxn ang="0">
                  <a:pos x="3" y="30"/>
                </a:cxn>
                <a:cxn ang="0">
                  <a:pos x="8" y="22"/>
                </a:cxn>
                <a:cxn ang="0">
                  <a:pos x="14" y="14"/>
                </a:cxn>
                <a:cxn ang="0">
                  <a:pos x="21" y="9"/>
                </a:cxn>
                <a:cxn ang="0">
                  <a:pos x="29" y="4"/>
                </a:cxn>
                <a:cxn ang="0">
                  <a:pos x="39" y="1"/>
                </a:cxn>
                <a:cxn ang="0">
                  <a:pos x="49" y="0"/>
                </a:cxn>
                <a:cxn ang="0">
                  <a:pos x="49" y="0"/>
                </a:cxn>
                <a:cxn ang="0">
                  <a:pos x="58" y="1"/>
                </a:cxn>
                <a:cxn ang="0">
                  <a:pos x="68" y="4"/>
                </a:cxn>
                <a:cxn ang="0">
                  <a:pos x="76" y="9"/>
                </a:cxn>
                <a:cxn ang="0">
                  <a:pos x="84" y="14"/>
                </a:cxn>
                <a:cxn ang="0">
                  <a:pos x="89" y="22"/>
                </a:cxn>
                <a:cxn ang="0">
                  <a:pos x="94" y="30"/>
                </a:cxn>
                <a:cxn ang="0">
                  <a:pos x="97" y="40"/>
                </a:cxn>
                <a:cxn ang="0">
                  <a:pos x="98" y="49"/>
                </a:cxn>
                <a:cxn ang="0">
                  <a:pos x="98" y="49"/>
                </a:cxn>
              </a:cxnLst>
              <a:rect l="0" t="0" r="r" b="b"/>
              <a:pathLst>
                <a:path w="98" h="98">
                  <a:moveTo>
                    <a:pt x="98" y="49"/>
                  </a:moveTo>
                  <a:lnTo>
                    <a:pt x="98" y="49"/>
                  </a:lnTo>
                  <a:lnTo>
                    <a:pt x="97" y="59"/>
                  </a:lnTo>
                  <a:lnTo>
                    <a:pt x="94" y="69"/>
                  </a:lnTo>
                  <a:lnTo>
                    <a:pt x="89" y="77"/>
                  </a:lnTo>
                  <a:lnTo>
                    <a:pt x="84" y="84"/>
                  </a:lnTo>
                  <a:lnTo>
                    <a:pt x="76" y="90"/>
                  </a:lnTo>
                  <a:lnTo>
                    <a:pt x="68" y="95"/>
                  </a:lnTo>
                  <a:lnTo>
                    <a:pt x="58" y="97"/>
                  </a:lnTo>
                  <a:lnTo>
                    <a:pt x="49" y="98"/>
                  </a:lnTo>
                  <a:lnTo>
                    <a:pt x="49" y="98"/>
                  </a:lnTo>
                  <a:lnTo>
                    <a:pt x="39" y="97"/>
                  </a:lnTo>
                  <a:lnTo>
                    <a:pt x="29" y="95"/>
                  </a:lnTo>
                  <a:lnTo>
                    <a:pt x="21" y="90"/>
                  </a:lnTo>
                  <a:lnTo>
                    <a:pt x="14" y="84"/>
                  </a:lnTo>
                  <a:lnTo>
                    <a:pt x="8" y="77"/>
                  </a:lnTo>
                  <a:lnTo>
                    <a:pt x="3" y="69"/>
                  </a:lnTo>
                  <a:lnTo>
                    <a:pt x="1" y="59"/>
                  </a:lnTo>
                  <a:lnTo>
                    <a:pt x="0" y="49"/>
                  </a:lnTo>
                  <a:lnTo>
                    <a:pt x="0" y="49"/>
                  </a:lnTo>
                  <a:lnTo>
                    <a:pt x="1" y="40"/>
                  </a:lnTo>
                  <a:lnTo>
                    <a:pt x="3" y="30"/>
                  </a:lnTo>
                  <a:lnTo>
                    <a:pt x="8" y="22"/>
                  </a:lnTo>
                  <a:lnTo>
                    <a:pt x="14" y="14"/>
                  </a:lnTo>
                  <a:lnTo>
                    <a:pt x="21" y="9"/>
                  </a:lnTo>
                  <a:lnTo>
                    <a:pt x="29" y="4"/>
                  </a:lnTo>
                  <a:lnTo>
                    <a:pt x="39" y="1"/>
                  </a:lnTo>
                  <a:lnTo>
                    <a:pt x="49" y="0"/>
                  </a:lnTo>
                  <a:lnTo>
                    <a:pt x="49" y="0"/>
                  </a:lnTo>
                  <a:lnTo>
                    <a:pt x="58" y="1"/>
                  </a:lnTo>
                  <a:lnTo>
                    <a:pt x="68" y="4"/>
                  </a:lnTo>
                  <a:lnTo>
                    <a:pt x="76" y="9"/>
                  </a:lnTo>
                  <a:lnTo>
                    <a:pt x="84" y="14"/>
                  </a:lnTo>
                  <a:lnTo>
                    <a:pt x="89" y="22"/>
                  </a:lnTo>
                  <a:lnTo>
                    <a:pt x="94" y="30"/>
                  </a:lnTo>
                  <a:lnTo>
                    <a:pt x="97" y="40"/>
                  </a:lnTo>
                  <a:lnTo>
                    <a:pt x="98" y="49"/>
                  </a:lnTo>
                  <a:lnTo>
                    <a:pt x="98" y="49"/>
                  </a:lnTo>
                  <a:close/>
                </a:path>
              </a:pathLst>
            </a:custGeom>
            <a:solidFill>
              <a:srgbClr val="475059"/>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2" name="Freeform 807">
              <a:extLst>
                <a:ext uri="{FF2B5EF4-FFF2-40B4-BE49-F238E27FC236}">
                  <a16:creationId xmlns:a16="http://schemas.microsoft.com/office/drawing/2014/main" id="{5A873E60-3354-3EF6-6140-2640527F9D41}"/>
                </a:ext>
              </a:extLst>
            </p:cNvPr>
            <p:cNvSpPr>
              <a:spLocks/>
            </p:cNvSpPr>
            <p:nvPr/>
          </p:nvSpPr>
          <p:spPr bwMode="auto">
            <a:xfrm>
              <a:off x="4510088" y="4643438"/>
              <a:ext cx="19050" cy="19050"/>
            </a:xfrm>
            <a:custGeom>
              <a:avLst/>
              <a:gdLst/>
              <a:ahLst/>
              <a:cxnLst>
                <a:cxn ang="0">
                  <a:pos x="98" y="50"/>
                </a:cxn>
                <a:cxn ang="0">
                  <a:pos x="98" y="50"/>
                </a:cxn>
                <a:cxn ang="0">
                  <a:pos x="97" y="60"/>
                </a:cxn>
                <a:cxn ang="0">
                  <a:pos x="94" y="69"/>
                </a:cxn>
                <a:cxn ang="0">
                  <a:pos x="89" y="78"/>
                </a:cxn>
                <a:cxn ang="0">
                  <a:pos x="84" y="85"/>
                </a:cxn>
                <a:cxn ang="0">
                  <a:pos x="76" y="91"/>
                </a:cxn>
                <a:cxn ang="0">
                  <a:pos x="68" y="96"/>
                </a:cxn>
                <a:cxn ang="0">
                  <a:pos x="58" y="98"/>
                </a:cxn>
                <a:cxn ang="0">
                  <a:pos x="49" y="99"/>
                </a:cxn>
                <a:cxn ang="0">
                  <a:pos x="49" y="99"/>
                </a:cxn>
                <a:cxn ang="0">
                  <a:pos x="39" y="98"/>
                </a:cxn>
                <a:cxn ang="0">
                  <a:pos x="29" y="96"/>
                </a:cxn>
                <a:cxn ang="0">
                  <a:pos x="21" y="91"/>
                </a:cxn>
                <a:cxn ang="0">
                  <a:pos x="14" y="85"/>
                </a:cxn>
                <a:cxn ang="0">
                  <a:pos x="8" y="78"/>
                </a:cxn>
                <a:cxn ang="0">
                  <a:pos x="3" y="69"/>
                </a:cxn>
                <a:cxn ang="0">
                  <a:pos x="1" y="60"/>
                </a:cxn>
                <a:cxn ang="0">
                  <a:pos x="0" y="50"/>
                </a:cxn>
                <a:cxn ang="0">
                  <a:pos x="0" y="50"/>
                </a:cxn>
                <a:cxn ang="0">
                  <a:pos x="1" y="40"/>
                </a:cxn>
                <a:cxn ang="0">
                  <a:pos x="3" y="31"/>
                </a:cxn>
                <a:cxn ang="0">
                  <a:pos x="8" y="23"/>
                </a:cxn>
                <a:cxn ang="0">
                  <a:pos x="14" y="15"/>
                </a:cxn>
                <a:cxn ang="0">
                  <a:pos x="21" y="10"/>
                </a:cxn>
                <a:cxn ang="0">
                  <a:pos x="29" y="4"/>
                </a:cxn>
                <a:cxn ang="0">
                  <a:pos x="39" y="1"/>
                </a:cxn>
                <a:cxn ang="0">
                  <a:pos x="49" y="0"/>
                </a:cxn>
                <a:cxn ang="0">
                  <a:pos x="49" y="0"/>
                </a:cxn>
                <a:cxn ang="0">
                  <a:pos x="58" y="1"/>
                </a:cxn>
                <a:cxn ang="0">
                  <a:pos x="68" y="4"/>
                </a:cxn>
                <a:cxn ang="0">
                  <a:pos x="76" y="10"/>
                </a:cxn>
                <a:cxn ang="0">
                  <a:pos x="84" y="15"/>
                </a:cxn>
                <a:cxn ang="0">
                  <a:pos x="89" y="23"/>
                </a:cxn>
                <a:cxn ang="0">
                  <a:pos x="94" y="31"/>
                </a:cxn>
                <a:cxn ang="0">
                  <a:pos x="97" y="40"/>
                </a:cxn>
                <a:cxn ang="0">
                  <a:pos x="98" y="50"/>
                </a:cxn>
                <a:cxn ang="0">
                  <a:pos x="98" y="50"/>
                </a:cxn>
              </a:cxnLst>
              <a:rect l="0" t="0" r="r" b="b"/>
              <a:pathLst>
                <a:path w="98" h="99">
                  <a:moveTo>
                    <a:pt x="98" y="50"/>
                  </a:moveTo>
                  <a:lnTo>
                    <a:pt x="98" y="50"/>
                  </a:lnTo>
                  <a:lnTo>
                    <a:pt x="97" y="60"/>
                  </a:lnTo>
                  <a:lnTo>
                    <a:pt x="94" y="69"/>
                  </a:lnTo>
                  <a:lnTo>
                    <a:pt x="89" y="78"/>
                  </a:lnTo>
                  <a:lnTo>
                    <a:pt x="84" y="85"/>
                  </a:lnTo>
                  <a:lnTo>
                    <a:pt x="76" y="91"/>
                  </a:lnTo>
                  <a:lnTo>
                    <a:pt x="68" y="96"/>
                  </a:lnTo>
                  <a:lnTo>
                    <a:pt x="58" y="98"/>
                  </a:lnTo>
                  <a:lnTo>
                    <a:pt x="49" y="99"/>
                  </a:lnTo>
                  <a:lnTo>
                    <a:pt x="49" y="99"/>
                  </a:lnTo>
                  <a:lnTo>
                    <a:pt x="39" y="98"/>
                  </a:lnTo>
                  <a:lnTo>
                    <a:pt x="29" y="96"/>
                  </a:lnTo>
                  <a:lnTo>
                    <a:pt x="21" y="91"/>
                  </a:lnTo>
                  <a:lnTo>
                    <a:pt x="14" y="85"/>
                  </a:lnTo>
                  <a:lnTo>
                    <a:pt x="8" y="78"/>
                  </a:lnTo>
                  <a:lnTo>
                    <a:pt x="3" y="69"/>
                  </a:lnTo>
                  <a:lnTo>
                    <a:pt x="1" y="60"/>
                  </a:lnTo>
                  <a:lnTo>
                    <a:pt x="0" y="50"/>
                  </a:lnTo>
                  <a:lnTo>
                    <a:pt x="0" y="50"/>
                  </a:lnTo>
                  <a:lnTo>
                    <a:pt x="1" y="40"/>
                  </a:lnTo>
                  <a:lnTo>
                    <a:pt x="3" y="31"/>
                  </a:lnTo>
                  <a:lnTo>
                    <a:pt x="8" y="23"/>
                  </a:lnTo>
                  <a:lnTo>
                    <a:pt x="14" y="15"/>
                  </a:lnTo>
                  <a:lnTo>
                    <a:pt x="21" y="10"/>
                  </a:lnTo>
                  <a:lnTo>
                    <a:pt x="29" y="4"/>
                  </a:lnTo>
                  <a:lnTo>
                    <a:pt x="39" y="1"/>
                  </a:lnTo>
                  <a:lnTo>
                    <a:pt x="49" y="0"/>
                  </a:lnTo>
                  <a:lnTo>
                    <a:pt x="49" y="0"/>
                  </a:lnTo>
                  <a:lnTo>
                    <a:pt x="58" y="1"/>
                  </a:lnTo>
                  <a:lnTo>
                    <a:pt x="68" y="4"/>
                  </a:lnTo>
                  <a:lnTo>
                    <a:pt x="76" y="10"/>
                  </a:lnTo>
                  <a:lnTo>
                    <a:pt x="84" y="15"/>
                  </a:lnTo>
                  <a:lnTo>
                    <a:pt x="89" y="23"/>
                  </a:lnTo>
                  <a:lnTo>
                    <a:pt x="94" y="31"/>
                  </a:lnTo>
                  <a:lnTo>
                    <a:pt x="97" y="40"/>
                  </a:lnTo>
                  <a:lnTo>
                    <a:pt x="98" y="50"/>
                  </a:lnTo>
                  <a:lnTo>
                    <a:pt x="98" y="50"/>
                  </a:lnTo>
                  <a:close/>
                </a:path>
              </a:pathLst>
            </a:custGeom>
            <a:solidFill>
              <a:srgbClr val="475059"/>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3" name="Freeform 808">
              <a:extLst>
                <a:ext uri="{FF2B5EF4-FFF2-40B4-BE49-F238E27FC236}">
                  <a16:creationId xmlns:a16="http://schemas.microsoft.com/office/drawing/2014/main" id="{69E6D23F-8B91-01B1-0722-69E1FCD85C35}"/>
                </a:ext>
              </a:extLst>
            </p:cNvPr>
            <p:cNvSpPr>
              <a:spLocks/>
            </p:cNvSpPr>
            <p:nvPr/>
          </p:nvSpPr>
          <p:spPr bwMode="auto">
            <a:xfrm>
              <a:off x="4510088" y="4695825"/>
              <a:ext cx="19050" cy="19050"/>
            </a:xfrm>
            <a:custGeom>
              <a:avLst/>
              <a:gdLst/>
              <a:ahLst/>
              <a:cxnLst>
                <a:cxn ang="0">
                  <a:pos x="98" y="49"/>
                </a:cxn>
                <a:cxn ang="0">
                  <a:pos x="98" y="49"/>
                </a:cxn>
                <a:cxn ang="0">
                  <a:pos x="97" y="60"/>
                </a:cxn>
                <a:cxn ang="0">
                  <a:pos x="94" y="69"/>
                </a:cxn>
                <a:cxn ang="0">
                  <a:pos x="89" y="77"/>
                </a:cxn>
                <a:cxn ang="0">
                  <a:pos x="84" y="85"/>
                </a:cxn>
                <a:cxn ang="0">
                  <a:pos x="76" y="91"/>
                </a:cxn>
                <a:cxn ang="0">
                  <a:pos x="68" y="96"/>
                </a:cxn>
                <a:cxn ang="0">
                  <a:pos x="58" y="98"/>
                </a:cxn>
                <a:cxn ang="0">
                  <a:pos x="49" y="99"/>
                </a:cxn>
                <a:cxn ang="0">
                  <a:pos x="49" y="99"/>
                </a:cxn>
                <a:cxn ang="0">
                  <a:pos x="39" y="98"/>
                </a:cxn>
                <a:cxn ang="0">
                  <a:pos x="29" y="96"/>
                </a:cxn>
                <a:cxn ang="0">
                  <a:pos x="21" y="91"/>
                </a:cxn>
                <a:cxn ang="0">
                  <a:pos x="14" y="85"/>
                </a:cxn>
                <a:cxn ang="0">
                  <a:pos x="8" y="77"/>
                </a:cxn>
                <a:cxn ang="0">
                  <a:pos x="3" y="69"/>
                </a:cxn>
                <a:cxn ang="0">
                  <a:pos x="1" y="60"/>
                </a:cxn>
                <a:cxn ang="0">
                  <a:pos x="0" y="49"/>
                </a:cxn>
                <a:cxn ang="0">
                  <a:pos x="0" y="49"/>
                </a:cxn>
                <a:cxn ang="0">
                  <a:pos x="1" y="40"/>
                </a:cxn>
                <a:cxn ang="0">
                  <a:pos x="3" y="31"/>
                </a:cxn>
                <a:cxn ang="0">
                  <a:pos x="8" y="23"/>
                </a:cxn>
                <a:cxn ang="0">
                  <a:pos x="14" y="14"/>
                </a:cxn>
                <a:cxn ang="0">
                  <a:pos x="21" y="9"/>
                </a:cxn>
                <a:cxn ang="0">
                  <a:pos x="29" y="4"/>
                </a:cxn>
                <a:cxn ang="0">
                  <a:pos x="39" y="1"/>
                </a:cxn>
                <a:cxn ang="0">
                  <a:pos x="49" y="0"/>
                </a:cxn>
                <a:cxn ang="0">
                  <a:pos x="49" y="0"/>
                </a:cxn>
                <a:cxn ang="0">
                  <a:pos x="58" y="1"/>
                </a:cxn>
                <a:cxn ang="0">
                  <a:pos x="68" y="4"/>
                </a:cxn>
                <a:cxn ang="0">
                  <a:pos x="76" y="9"/>
                </a:cxn>
                <a:cxn ang="0">
                  <a:pos x="84" y="14"/>
                </a:cxn>
                <a:cxn ang="0">
                  <a:pos x="89" y="23"/>
                </a:cxn>
                <a:cxn ang="0">
                  <a:pos x="94" y="31"/>
                </a:cxn>
                <a:cxn ang="0">
                  <a:pos x="97" y="40"/>
                </a:cxn>
                <a:cxn ang="0">
                  <a:pos x="98" y="49"/>
                </a:cxn>
                <a:cxn ang="0">
                  <a:pos x="98" y="49"/>
                </a:cxn>
              </a:cxnLst>
              <a:rect l="0" t="0" r="r" b="b"/>
              <a:pathLst>
                <a:path w="98" h="99">
                  <a:moveTo>
                    <a:pt x="98" y="49"/>
                  </a:moveTo>
                  <a:lnTo>
                    <a:pt x="98" y="49"/>
                  </a:lnTo>
                  <a:lnTo>
                    <a:pt x="97" y="60"/>
                  </a:lnTo>
                  <a:lnTo>
                    <a:pt x="94" y="69"/>
                  </a:lnTo>
                  <a:lnTo>
                    <a:pt x="89" y="77"/>
                  </a:lnTo>
                  <a:lnTo>
                    <a:pt x="84" y="85"/>
                  </a:lnTo>
                  <a:lnTo>
                    <a:pt x="76" y="91"/>
                  </a:lnTo>
                  <a:lnTo>
                    <a:pt x="68" y="96"/>
                  </a:lnTo>
                  <a:lnTo>
                    <a:pt x="58" y="98"/>
                  </a:lnTo>
                  <a:lnTo>
                    <a:pt x="49" y="99"/>
                  </a:lnTo>
                  <a:lnTo>
                    <a:pt x="49" y="99"/>
                  </a:lnTo>
                  <a:lnTo>
                    <a:pt x="39" y="98"/>
                  </a:lnTo>
                  <a:lnTo>
                    <a:pt x="29" y="96"/>
                  </a:lnTo>
                  <a:lnTo>
                    <a:pt x="21" y="91"/>
                  </a:lnTo>
                  <a:lnTo>
                    <a:pt x="14" y="85"/>
                  </a:lnTo>
                  <a:lnTo>
                    <a:pt x="8" y="77"/>
                  </a:lnTo>
                  <a:lnTo>
                    <a:pt x="3" y="69"/>
                  </a:lnTo>
                  <a:lnTo>
                    <a:pt x="1" y="60"/>
                  </a:lnTo>
                  <a:lnTo>
                    <a:pt x="0" y="49"/>
                  </a:lnTo>
                  <a:lnTo>
                    <a:pt x="0" y="49"/>
                  </a:lnTo>
                  <a:lnTo>
                    <a:pt x="1" y="40"/>
                  </a:lnTo>
                  <a:lnTo>
                    <a:pt x="3" y="31"/>
                  </a:lnTo>
                  <a:lnTo>
                    <a:pt x="8" y="23"/>
                  </a:lnTo>
                  <a:lnTo>
                    <a:pt x="14" y="14"/>
                  </a:lnTo>
                  <a:lnTo>
                    <a:pt x="21" y="9"/>
                  </a:lnTo>
                  <a:lnTo>
                    <a:pt x="29" y="4"/>
                  </a:lnTo>
                  <a:lnTo>
                    <a:pt x="39" y="1"/>
                  </a:lnTo>
                  <a:lnTo>
                    <a:pt x="49" y="0"/>
                  </a:lnTo>
                  <a:lnTo>
                    <a:pt x="49" y="0"/>
                  </a:lnTo>
                  <a:lnTo>
                    <a:pt x="58" y="1"/>
                  </a:lnTo>
                  <a:lnTo>
                    <a:pt x="68" y="4"/>
                  </a:lnTo>
                  <a:lnTo>
                    <a:pt x="76" y="9"/>
                  </a:lnTo>
                  <a:lnTo>
                    <a:pt x="84" y="14"/>
                  </a:lnTo>
                  <a:lnTo>
                    <a:pt x="89" y="23"/>
                  </a:lnTo>
                  <a:lnTo>
                    <a:pt x="94" y="31"/>
                  </a:lnTo>
                  <a:lnTo>
                    <a:pt x="97" y="40"/>
                  </a:lnTo>
                  <a:lnTo>
                    <a:pt x="98" y="49"/>
                  </a:lnTo>
                  <a:lnTo>
                    <a:pt x="98" y="49"/>
                  </a:lnTo>
                  <a:close/>
                </a:path>
              </a:pathLst>
            </a:custGeom>
            <a:solidFill>
              <a:srgbClr val="475059"/>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4" name="Freeform 810">
              <a:extLst>
                <a:ext uri="{FF2B5EF4-FFF2-40B4-BE49-F238E27FC236}">
                  <a16:creationId xmlns:a16="http://schemas.microsoft.com/office/drawing/2014/main" id="{CDB1C979-3837-C337-4427-BA3B5407D438}"/>
                </a:ext>
              </a:extLst>
            </p:cNvPr>
            <p:cNvSpPr>
              <a:spLocks/>
            </p:cNvSpPr>
            <p:nvPr/>
          </p:nvSpPr>
          <p:spPr bwMode="auto">
            <a:xfrm>
              <a:off x="4487863" y="4332288"/>
              <a:ext cx="38100" cy="14287"/>
            </a:xfrm>
            <a:custGeom>
              <a:avLst/>
              <a:gdLst/>
              <a:ahLst/>
              <a:cxnLst>
                <a:cxn ang="0">
                  <a:pos x="165" y="66"/>
                </a:cxn>
                <a:cxn ang="0">
                  <a:pos x="33" y="66"/>
                </a:cxn>
                <a:cxn ang="0">
                  <a:pos x="33" y="66"/>
                </a:cxn>
                <a:cxn ang="0">
                  <a:pos x="26" y="66"/>
                </a:cxn>
                <a:cxn ang="0">
                  <a:pos x="20" y="64"/>
                </a:cxn>
                <a:cxn ang="0">
                  <a:pos x="15" y="61"/>
                </a:cxn>
                <a:cxn ang="0">
                  <a:pos x="9" y="57"/>
                </a:cxn>
                <a:cxn ang="0">
                  <a:pos x="5" y="52"/>
                </a:cxn>
                <a:cxn ang="0">
                  <a:pos x="2" y="47"/>
                </a:cxn>
                <a:cxn ang="0">
                  <a:pos x="0" y="41"/>
                </a:cxn>
                <a:cxn ang="0">
                  <a:pos x="0" y="33"/>
                </a:cxn>
                <a:cxn ang="0">
                  <a:pos x="0" y="33"/>
                </a:cxn>
                <a:cxn ang="0">
                  <a:pos x="0" y="27"/>
                </a:cxn>
                <a:cxn ang="0">
                  <a:pos x="2" y="21"/>
                </a:cxn>
                <a:cxn ang="0">
                  <a:pos x="5" y="15"/>
                </a:cxn>
                <a:cxn ang="0">
                  <a:pos x="9" y="11"/>
                </a:cxn>
                <a:cxn ang="0">
                  <a:pos x="15" y="7"/>
                </a:cxn>
                <a:cxn ang="0">
                  <a:pos x="20" y="4"/>
                </a:cxn>
                <a:cxn ang="0">
                  <a:pos x="26" y="1"/>
                </a:cxn>
                <a:cxn ang="0">
                  <a:pos x="33" y="0"/>
                </a:cxn>
                <a:cxn ang="0">
                  <a:pos x="165" y="0"/>
                </a:cxn>
                <a:cxn ang="0">
                  <a:pos x="165" y="0"/>
                </a:cxn>
                <a:cxn ang="0">
                  <a:pos x="171" y="1"/>
                </a:cxn>
                <a:cxn ang="0">
                  <a:pos x="177" y="4"/>
                </a:cxn>
                <a:cxn ang="0">
                  <a:pos x="184" y="7"/>
                </a:cxn>
                <a:cxn ang="0">
                  <a:pos x="188" y="11"/>
                </a:cxn>
                <a:cxn ang="0">
                  <a:pos x="192" y="15"/>
                </a:cxn>
                <a:cxn ang="0">
                  <a:pos x="195" y="21"/>
                </a:cxn>
                <a:cxn ang="0">
                  <a:pos x="197" y="27"/>
                </a:cxn>
                <a:cxn ang="0">
                  <a:pos x="198" y="33"/>
                </a:cxn>
                <a:cxn ang="0">
                  <a:pos x="198" y="33"/>
                </a:cxn>
                <a:cxn ang="0">
                  <a:pos x="197" y="41"/>
                </a:cxn>
                <a:cxn ang="0">
                  <a:pos x="195" y="47"/>
                </a:cxn>
                <a:cxn ang="0">
                  <a:pos x="192" y="52"/>
                </a:cxn>
                <a:cxn ang="0">
                  <a:pos x="188" y="57"/>
                </a:cxn>
                <a:cxn ang="0">
                  <a:pos x="184" y="61"/>
                </a:cxn>
                <a:cxn ang="0">
                  <a:pos x="177" y="64"/>
                </a:cxn>
                <a:cxn ang="0">
                  <a:pos x="171" y="66"/>
                </a:cxn>
                <a:cxn ang="0">
                  <a:pos x="165" y="66"/>
                </a:cxn>
                <a:cxn ang="0">
                  <a:pos x="165" y="66"/>
                </a:cxn>
              </a:cxnLst>
              <a:rect l="0" t="0" r="r" b="b"/>
              <a:pathLst>
                <a:path w="198" h="66">
                  <a:moveTo>
                    <a:pt x="165" y="66"/>
                  </a:moveTo>
                  <a:lnTo>
                    <a:pt x="33" y="66"/>
                  </a:lnTo>
                  <a:lnTo>
                    <a:pt x="33" y="66"/>
                  </a:lnTo>
                  <a:lnTo>
                    <a:pt x="26" y="66"/>
                  </a:lnTo>
                  <a:lnTo>
                    <a:pt x="20" y="64"/>
                  </a:lnTo>
                  <a:lnTo>
                    <a:pt x="15" y="61"/>
                  </a:lnTo>
                  <a:lnTo>
                    <a:pt x="9" y="57"/>
                  </a:lnTo>
                  <a:lnTo>
                    <a:pt x="5" y="52"/>
                  </a:lnTo>
                  <a:lnTo>
                    <a:pt x="2" y="47"/>
                  </a:lnTo>
                  <a:lnTo>
                    <a:pt x="0" y="41"/>
                  </a:lnTo>
                  <a:lnTo>
                    <a:pt x="0" y="33"/>
                  </a:lnTo>
                  <a:lnTo>
                    <a:pt x="0" y="33"/>
                  </a:lnTo>
                  <a:lnTo>
                    <a:pt x="0" y="27"/>
                  </a:lnTo>
                  <a:lnTo>
                    <a:pt x="2" y="21"/>
                  </a:lnTo>
                  <a:lnTo>
                    <a:pt x="5" y="15"/>
                  </a:lnTo>
                  <a:lnTo>
                    <a:pt x="9" y="11"/>
                  </a:lnTo>
                  <a:lnTo>
                    <a:pt x="15" y="7"/>
                  </a:lnTo>
                  <a:lnTo>
                    <a:pt x="20" y="4"/>
                  </a:lnTo>
                  <a:lnTo>
                    <a:pt x="26" y="1"/>
                  </a:lnTo>
                  <a:lnTo>
                    <a:pt x="33" y="0"/>
                  </a:lnTo>
                  <a:lnTo>
                    <a:pt x="165" y="0"/>
                  </a:lnTo>
                  <a:lnTo>
                    <a:pt x="165" y="0"/>
                  </a:lnTo>
                  <a:lnTo>
                    <a:pt x="171" y="1"/>
                  </a:lnTo>
                  <a:lnTo>
                    <a:pt x="177" y="4"/>
                  </a:lnTo>
                  <a:lnTo>
                    <a:pt x="184" y="7"/>
                  </a:lnTo>
                  <a:lnTo>
                    <a:pt x="188" y="11"/>
                  </a:lnTo>
                  <a:lnTo>
                    <a:pt x="192" y="15"/>
                  </a:lnTo>
                  <a:lnTo>
                    <a:pt x="195" y="21"/>
                  </a:lnTo>
                  <a:lnTo>
                    <a:pt x="197" y="27"/>
                  </a:lnTo>
                  <a:lnTo>
                    <a:pt x="198" y="33"/>
                  </a:lnTo>
                  <a:lnTo>
                    <a:pt x="198" y="33"/>
                  </a:lnTo>
                  <a:lnTo>
                    <a:pt x="197" y="41"/>
                  </a:lnTo>
                  <a:lnTo>
                    <a:pt x="195" y="47"/>
                  </a:lnTo>
                  <a:lnTo>
                    <a:pt x="192" y="52"/>
                  </a:lnTo>
                  <a:lnTo>
                    <a:pt x="188" y="57"/>
                  </a:lnTo>
                  <a:lnTo>
                    <a:pt x="184" y="61"/>
                  </a:lnTo>
                  <a:lnTo>
                    <a:pt x="177" y="64"/>
                  </a:lnTo>
                  <a:lnTo>
                    <a:pt x="171" y="66"/>
                  </a:lnTo>
                  <a:lnTo>
                    <a:pt x="165" y="66"/>
                  </a:lnTo>
                  <a:lnTo>
                    <a:pt x="165" y="66"/>
                  </a:lnTo>
                  <a:close/>
                </a:path>
              </a:pathLst>
            </a:custGeom>
            <a:solidFill>
              <a:srgbClr val="CCBEA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5" name="Freeform 811">
              <a:extLst>
                <a:ext uri="{FF2B5EF4-FFF2-40B4-BE49-F238E27FC236}">
                  <a16:creationId xmlns:a16="http://schemas.microsoft.com/office/drawing/2014/main" id="{565D28F5-0378-C0A9-FFF1-58FDE98F40D5}"/>
                </a:ext>
              </a:extLst>
            </p:cNvPr>
            <p:cNvSpPr>
              <a:spLocks/>
            </p:cNvSpPr>
            <p:nvPr/>
          </p:nvSpPr>
          <p:spPr bwMode="auto">
            <a:xfrm>
              <a:off x="4487863" y="4384675"/>
              <a:ext cx="38100" cy="14287"/>
            </a:xfrm>
            <a:custGeom>
              <a:avLst/>
              <a:gdLst/>
              <a:ahLst/>
              <a:cxnLst>
                <a:cxn ang="0">
                  <a:pos x="165" y="66"/>
                </a:cxn>
                <a:cxn ang="0">
                  <a:pos x="33" y="66"/>
                </a:cxn>
                <a:cxn ang="0">
                  <a:pos x="33" y="66"/>
                </a:cxn>
                <a:cxn ang="0">
                  <a:pos x="26" y="66"/>
                </a:cxn>
                <a:cxn ang="0">
                  <a:pos x="20" y="64"/>
                </a:cxn>
                <a:cxn ang="0">
                  <a:pos x="15" y="61"/>
                </a:cxn>
                <a:cxn ang="0">
                  <a:pos x="9" y="57"/>
                </a:cxn>
                <a:cxn ang="0">
                  <a:pos x="5" y="52"/>
                </a:cxn>
                <a:cxn ang="0">
                  <a:pos x="2" y="47"/>
                </a:cxn>
                <a:cxn ang="0">
                  <a:pos x="0" y="40"/>
                </a:cxn>
                <a:cxn ang="0">
                  <a:pos x="0" y="33"/>
                </a:cxn>
                <a:cxn ang="0">
                  <a:pos x="0" y="33"/>
                </a:cxn>
                <a:cxn ang="0">
                  <a:pos x="0" y="27"/>
                </a:cxn>
                <a:cxn ang="0">
                  <a:pos x="2" y="21"/>
                </a:cxn>
                <a:cxn ang="0">
                  <a:pos x="5" y="15"/>
                </a:cxn>
                <a:cxn ang="0">
                  <a:pos x="9" y="10"/>
                </a:cxn>
                <a:cxn ang="0">
                  <a:pos x="15" y="6"/>
                </a:cxn>
                <a:cxn ang="0">
                  <a:pos x="20" y="3"/>
                </a:cxn>
                <a:cxn ang="0">
                  <a:pos x="26" y="1"/>
                </a:cxn>
                <a:cxn ang="0">
                  <a:pos x="33" y="0"/>
                </a:cxn>
                <a:cxn ang="0">
                  <a:pos x="165" y="0"/>
                </a:cxn>
                <a:cxn ang="0">
                  <a:pos x="165" y="0"/>
                </a:cxn>
                <a:cxn ang="0">
                  <a:pos x="171" y="1"/>
                </a:cxn>
                <a:cxn ang="0">
                  <a:pos x="177" y="3"/>
                </a:cxn>
                <a:cxn ang="0">
                  <a:pos x="184" y="6"/>
                </a:cxn>
                <a:cxn ang="0">
                  <a:pos x="188" y="10"/>
                </a:cxn>
                <a:cxn ang="0">
                  <a:pos x="192" y="15"/>
                </a:cxn>
                <a:cxn ang="0">
                  <a:pos x="195" y="21"/>
                </a:cxn>
                <a:cxn ang="0">
                  <a:pos x="197" y="27"/>
                </a:cxn>
                <a:cxn ang="0">
                  <a:pos x="198" y="33"/>
                </a:cxn>
                <a:cxn ang="0">
                  <a:pos x="198" y="33"/>
                </a:cxn>
                <a:cxn ang="0">
                  <a:pos x="197" y="40"/>
                </a:cxn>
                <a:cxn ang="0">
                  <a:pos x="195" y="47"/>
                </a:cxn>
                <a:cxn ang="0">
                  <a:pos x="192" y="52"/>
                </a:cxn>
                <a:cxn ang="0">
                  <a:pos x="188" y="57"/>
                </a:cxn>
                <a:cxn ang="0">
                  <a:pos x="184" y="61"/>
                </a:cxn>
                <a:cxn ang="0">
                  <a:pos x="177" y="64"/>
                </a:cxn>
                <a:cxn ang="0">
                  <a:pos x="171" y="66"/>
                </a:cxn>
                <a:cxn ang="0">
                  <a:pos x="165" y="66"/>
                </a:cxn>
                <a:cxn ang="0">
                  <a:pos x="165" y="66"/>
                </a:cxn>
              </a:cxnLst>
              <a:rect l="0" t="0" r="r" b="b"/>
              <a:pathLst>
                <a:path w="198" h="66">
                  <a:moveTo>
                    <a:pt x="165" y="66"/>
                  </a:moveTo>
                  <a:lnTo>
                    <a:pt x="33" y="66"/>
                  </a:lnTo>
                  <a:lnTo>
                    <a:pt x="33" y="66"/>
                  </a:lnTo>
                  <a:lnTo>
                    <a:pt x="26" y="66"/>
                  </a:lnTo>
                  <a:lnTo>
                    <a:pt x="20" y="64"/>
                  </a:lnTo>
                  <a:lnTo>
                    <a:pt x="15" y="61"/>
                  </a:lnTo>
                  <a:lnTo>
                    <a:pt x="9" y="57"/>
                  </a:lnTo>
                  <a:lnTo>
                    <a:pt x="5" y="52"/>
                  </a:lnTo>
                  <a:lnTo>
                    <a:pt x="2" y="47"/>
                  </a:lnTo>
                  <a:lnTo>
                    <a:pt x="0" y="40"/>
                  </a:lnTo>
                  <a:lnTo>
                    <a:pt x="0" y="33"/>
                  </a:lnTo>
                  <a:lnTo>
                    <a:pt x="0" y="33"/>
                  </a:lnTo>
                  <a:lnTo>
                    <a:pt x="0" y="27"/>
                  </a:lnTo>
                  <a:lnTo>
                    <a:pt x="2" y="21"/>
                  </a:lnTo>
                  <a:lnTo>
                    <a:pt x="5" y="15"/>
                  </a:lnTo>
                  <a:lnTo>
                    <a:pt x="9" y="10"/>
                  </a:lnTo>
                  <a:lnTo>
                    <a:pt x="15" y="6"/>
                  </a:lnTo>
                  <a:lnTo>
                    <a:pt x="20" y="3"/>
                  </a:lnTo>
                  <a:lnTo>
                    <a:pt x="26" y="1"/>
                  </a:lnTo>
                  <a:lnTo>
                    <a:pt x="33" y="0"/>
                  </a:lnTo>
                  <a:lnTo>
                    <a:pt x="165" y="0"/>
                  </a:lnTo>
                  <a:lnTo>
                    <a:pt x="165" y="0"/>
                  </a:lnTo>
                  <a:lnTo>
                    <a:pt x="171" y="1"/>
                  </a:lnTo>
                  <a:lnTo>
                    <a:pt x="177" y="3"/>
                  </a:lnTo>
                  <a:lnTo>
                    <a:pt x="184" y="6"/>
                  </a:lnTo>
                  <a:lnTo>
                    <a:pt x="188" y="10"/>
                  </a:lnTo>
                  <a:lnTo>
                    <a:pt x="192" y="15"/>
                  </a:lnTo>
                  <a:lnTo>
                    <a:pt x="195" y="21"/>
                  </a:lnTo>
                  <a:lnTo>
                    <a:pt x="197" y="27"/>
                  </a:lnTo>
                  <a:lnTo>
                    <a:pt x="198" y="33"/>
                  </a:lnTo>
                  <a:lnTo>
                    <a:pt x="198" y="33"/>
                  </a:lnTo>
                  <a:lnTo>
                    <a:pt x="197" y="40"/>
                  </a:lnTo>
                  <a:lnTo>
                    <a:pt x="195" y="47"/>
                  </a:lnTo>
                  <a:lnTo>
                    <a:pt x="192" y="52"/>
                  </a:lnTo>
                  <a:lnTo>
                    <a:pt x="188" y="57"/>
                  </a:lnTo>
                  <a:lnTo>
                    <a:pt x="184" y="61"/>
                  </a:lnTo>
                  <a:lnTo>
                    <a:pt x="177" y="64"/>
                  </a:lnTo>
                  <a:lnTo>
                    <a:pt x="171" y="66"/>
                  </a:lnTo>
                  <a:lnTo>
                    <a:pt x="165" y="66"/>
                  </a:lnTo>
                  <a:lnTo>
                    <a:pt x="165" y="66"/>
                  </a:lnTo>
                  <a:close/>
                </a:path>
              </a:pathLst>
            </a:custGeom>
            <a:solidFill>
              <a:srgbClr val="CCBEA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6" name="Freeform 812">
              <a:extLst>
                <a:ext uri="{FF2B5EF4-FFF2-40B4-BE49-F238E27FC236}">
                  <a16:creationId xmlns:a16="http://schemas.microsoft.com/office/drawing/2014/main" id="{8A0D08C9-D4C4-F0F9-31E0-ADEF12CD71DF}"/>
                </a:ext>
              </a:extLst>
            </p:cNvPr>
            <p:cNvSpPr>
              <a:spLocks/>
            </p:cNvSpPr>
            <p:nvPr/>
          </p:nvSpPr>
          <p:spPr bwMode="auto">
            <a:xfrm>
              <a:off x="4487863" y="4437063"/>
              <a:ext cx="38100" cy="12700"/>
            </a:xfrm>
            <a:custGeom>
              <a:avLst/>
              <a:gdLst/>
              <a:ahLst/>
              <a:cxnLst>
                <a:cxn ang="0">
                  <a:pos x="165" y="66"/>
                </a:cxn>
                <a:cxn ang="0">
                  <a:pos x="33" y="66"/>
                </a:cxn>
                <a:cxn ang="0">
                  <a:pos x="33" y="66"/>
                </a:cxn>
                <a:cxn ang="0">
                  <a:pos x="26" y="66"/>
                </a:cxn>
                <a:cxn ang="0">
                  <a:pos x="20" y="64"/>
                </a:cxn>
                <a:cxn ang="0">
                  <a:pos x="15" y="61"/>
                </a:cxn>
                <a:cxn ang="0">
                  <a:pos x="9" y="57"/>
                </a:cxn>
                <a:cxn ang="0">
                  <a:pos x="5" y="51"/>
                </a:cxn>
                <a:cxn ang="0">
                  <a:pos x="2" y="46"/>
                </a:cxn>
                <a:cxn ang="0">
                  <a:pos x="0" y="40"/>
                </a:cxn>
                <a:cxn ang="0">
                  <a:pos x="0" y="33"/>
                </a:cxn>
                <a:cxn ang="0">
                  <a:pos x="0" y="33"/>
                </a:cxn>
                <a:cxn ang="0">
                  <a:pos x="0" y="27"/>
                </a:cxn>
                <a:cxn ang="0">
                  <a:pos x="2" y="21"/>
                </a:cxn>
                <a:cxn ang="0">
                  <a:pos x="5" y="14"/>
                </a:cxn>
                <a:cxn ang="0">
                  <a:pos x="9" y="10"/>
                </a:cxn>
                <a:cxn ang="0">
                  <a:pos x="15" y="6"/>
                </a:cxn>
                <a:cxn ang="0">
                  <a:pos x="20" y="3"/>
                </a:cxn>
                <a:cxn ang="0">
                  <a:pos x="26" y="1"/>
                </a:cxn>
                <a:cxn ang="0">
                  <a:pos x="33" y="0"/>
                </a:cxn>
                <a:cxn ang="0">
                  <a:pos x="165" y="0"/>
                </a:cxn>
                <a:cxn ang="0">
                  <a:pos x="165" y="0"/>
                </a:cxn>
                <a:cxn ang="0">
                  <a:pos x="171" y="1"/>
                </a:cxn>
                <a:cxn ang="0">
                  <a:pos x="177" y="3"/>
                </a:cxn>
                <a:cxn ang="0">
                  <a:pos x="184" y="6"/>
                </a:cxn>
                <a:cxn ang="0">
                  <a:pos x="188" y="10"/>
                </a:cxn>
                <a:cxn ang="0">
                  <a:pos x="192" y="14"/>
                </a:cxn>
                <a:cxn ang="0">
                  <a:pos x="195" y="21"/>
                </a:cxn>
                <a:cxn ang="0">
                  <a:pos x="197" y="27"/>
                </a:cxn>
                <a:cxn ang="0">
                  <a:pos x="198" y="33"/>
                </a:cxn>
                <a:cxn ang="0">
                  <a:pos x="198" y="33"/>
                </a:cxn>
                <a:cxn ang="0">
                  <a:pos x="197" y="40"/>
                </a:cxn>
                <a:cxn ang="0">
                  <a:pos x="195" y="46"/>
                </a:cxn>
                <a:cxn ang="0">
                  <a:pos x="192" y="51"/>
                </a:cxn>
                <a:cxn ang="0">
                  <a:pos x="188" y="57"/>
                </a:cxn>
                <a:cxn ang="0">
                  <a:pos x="184" y="61"/>
                </a:cxn>
                <a:cxn ang="0">
                  <a:pos x="177" y="64"/>
                </a:cxn>
                <a:cxn ang="0">
                  <a:pos x="171" y="66"/>
                </a:cxn>
                <a:cxn ang="0">
                  <a:pos x="165" y="66"/>
                </a:cxn>
                <a:cxn ang="0">
                  <a:pos x="165" y="66"/>
                </a:cxn>
              </a:cxnLst>
              <a:rect l="0" t="0" r="r" b="b"/>
              <a:pathLst>
                <a:path w="198" h="66">
                  <a:moveTo>
                    <a:pt x="165" y="66"/>
                  </a:moveTo>
                  <a:lnTo>
                    <a:pt x="33" y="66"/>
                  </a:lnTo>
                  <a:lnTo>
                    <a:pt x="33" y="66"/>
                  </a:lnTo>
                  <a:lnTo>
                    <a:pt x="26" y="66"/>
                  </a:lnTo>
                  <a:lnTo>
                    <a:pt x="20" y="64"/>
                  </a:lnTo>
                  <a:lnTo>
                    <a:pt x="15" y="61"/>
                  </a:lnTo>
                  <a:lnTo>
                    <a:pt x="9" y="57"/>
                  </a:lnTo>
                  <a:lnTo>
                    <a:pt x="5" y="51"/>
                  </a:lnTo>
                  <a:lnTo>
                    <a:pt x="2" y="46"/>
                  </a:lnTo>
                  <a:lnTo>
                    <a:pt x="0" y="40"/>
                  </a:lnTo>
                  <a:lnTo>
                    <a:pt x="0" y="33"/>
                  </a:lnTo>
                  <a:lnTo>
                    <a:pt x="0" y="33"/>
                  </a:lnTo>
                  <a:lnTo>
                    <a:pt x="0" y="27"/>
                  </a:lnTo>
                  <a:lnTo>
                    <a:pt x="2" y="21"/>
                  </a:lnTo>
                  <a:lnTo>
                    <a:pt x="5" y="14"/>
                  </a:lnTo>
                  <a:lnTo>
                    <a:pt x="9" y="10"/>
                  </a:lnTo>
                  <a:lnTo>
                    <a:pt x="15" y="6"/>
                  </a:lnTo>
                  <a:lnTo>
                    <a:pt x="20" y="3"/>
                  </a:lnTo>
                  <a:lnTo>
                    <a:pt x="26" y="1"/>
                  </a:lnTo>
                  <a:lnTo>
                    <a:pt x="33" y="0"/>
                  </a:lnTo>
                  <a:lnTo>
                    <a:pt x="165" y="0"/>
                  </a:lnTo>
                  <a:lnTo>
                    <a:pt x="165" y="0"/>
                  </a:lnTo>
                  <a:lnTo>
                    <a:pt x="171" y="1"/>
                  </a:lnTo>
                  <a:lnTo>
                    <a:pt x="177" y="3"/>
                  </a:lnTo>
                  <a:lnTo>
                    <a:pt x="184" y="6"/>
                  </a:lnTo>
                  <a:lnTo>
                    <a:pt x="188" y="10"/>
                  </a:lnTo>
                  <a:lnTo>
                    <a:pt x="192" y="14"/>
                  </a:lnTo>
                  <a:lnTo>
                    <a:pt x="195" y="21"/>
                  </a:lnTo>
                  <a:lnTo>
                    <a:pt x="197" y="27"/>
                  </a:lnTo>
                  <a:lnTo>
                    <a:pt x="198" y="33"/>
                  </a:lnTo>
                  <a:lnTo>
                    <a:pt x="198" y="33"/>
                  </a:lnTo>
                  <a:lnTo>
                    <a:pt x="197" y="40"/>
                  </a:lnTo>
                  <a:lnTo>
                    <a:pt x="195" y="46"/>
                  </a:lnTo>
                  <a:lnTo>
                    <a:pt x="192" y="51"/>
                  </a:lnTo>
                  <a:lnTo>
                    <a:pt x="188" y="57"/>
                  </a:lnTo>
                  <a:lnTo>
                    <a:pt x="184" y="61"/>
                  </a:lnTo>
                  <a:lnTo>
                    <a:pt x="177" y="64"/>
                  </a:lnTo>
                  <a:lnTo>
                    <a:pt x="171" y="66"/>
                  </a:lnTo>
                  <a:lnTo>
                    <a:pt x="165" y="66"/>
                  </a:lnTo>
                  <a:lnTo>
                    <a:pt x="165" y="66"/>
                  </a:lnTo>
                  <a:close/>
                </a:path>
              </a:pathLst>
            </a:custGeom>
            <a:solidFill>
              <a:srgbClr val="CCBEA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7" name="Freeform 813">
              <a:extLst>
                <a:ext uri="{FF2B5EF4-FFF2-40B4-BE49-F238E27FC236}">
                  <a16:creationId xmlns:a16="http://schemas.microsoft.com/office/drawing/2014/main" id="{6241FA1D-2D9C-B68B-BECB-5D69F86A9F0D}"/>
                </a:ext>
              </a:extLst>
            </p:cNvPr>
            <p:cNvSpPr>
              <a:spLocks/>
            </p:cNvSpPr>
            <p:nvPr/>
          </p:nvSpPr>
          <p:spPr bwMode="auto">
            <a:xfrm>
              <a:off x="4487863" y="4489450"/>
              <a:ext cx="38100" cy="12700"/>
            </a:xfrm>
            <a:custGeom>
              <a:avLst/>
              <a:gdLst/>
              <a:ahLst/>
              <a:cxnLst>
                <a:cxn ang="0">
                  <a:pos x="165" y="66"/>
                </a:cxn>
                <a:cxn ang="0">
                  <a:pos x="33" y="66"/>
                </a:cxn>
                <a:cxn ang="0">
                  <a:pos x="33" y="66"/>
                </a:cxn>
                <a:cxn ang="0">
                  <a:pos x="26" y="66"/>
                </a:cxn>
                <a:cxn ang="0">
                  <a:pos x="20" y="63"/>
                </a:cxn>
                <a:cxn ang="0">
                  <a:pos x="15" y="60"/>
                </a:cxn>
                <a:cxn ang="0">
                  <a:pos x="9" y="56"/>
                </a:cxn>
                <a:cxn ang="0">
                  <a:pos x="5" y="51"/>
                </a:cxn>
                <a:cxn ang="0">
                  <a:pos x="2" y="46"/>
                </a:cxn>
                <a:cxn ang="0">
                  <a:pos x="0" y="40"/>
                </a:cxn>
                <a:cxn ang="0">
                  <a:pos x="0" y="33"/>
                </a:cxn>
                <a:cxn ang="0">
                  <a:pos x="0" y="33"/>
                </a:cxn>
                <a:cxn ang="0">
                  <a:pos x="0" y="26"/>
                </a:cxn>
                <a:cxn ang="0">
                  <a:pos x="2" y="20"/>
                </a:cxn>
                <a:cxn ang="0">
                  <a:pos x="5" y="14"/>
                </a:cxn>
                <a:cxn ang="0">
                  <a:pos x="9" y="10"/>
                </a:cxn>
                <a:cxn ang="0">
                  <a:pos x="15" y="6"/>
                </a:cxn>
                <a:cxn ang="0">
                  <a:pos x="20" y="3"/>
                </a:cxn>
                <a:cxn ang="0">
                  <a:pos x="26" y="1"/>
                </a:cxn>
                <a:cxn ang="0">
                  <a:pos x="33" y="0"/>
                </a:cxn>
                <a:cxn ang="0">
                  <a:pos x="165" y="0"/>
                </a:cxn>
                <a:cxn ang="0">
                  <a:pos x="165" y="0"/>
                </a:cxn>
                <a:cxn ang="0">
                  <a:pos x="171" y="1"/>
                </a:cxn>
                <a:cxn ang="0">
                  <a:pos x="177" y="3"/>
                </a:cxn>
                <a:cxn ang="0">
                  <a:pos x="184" y="6"/>
                </a:cxn>
                <a:cxn ang="0">
                  <a:pos x="188" y="10"/>
                </a:cxn>
                <a:cxn ang="0">
                  <a:pos x="192" y="14"/>
                </a:cxn>
                <a:cxn ang="0">
                  <a:pos x="195" y="20"/>
                </a:cxn>
                <a:cxn ang="0">
                  <a:pos x="197" y="26"/>
                </a:cxn>
                <a:cxn ang="0">
                  <a:pos x="198" y="33"/>
                </a:cxn>
                <a:cxn ang="0">
                  <a:pos x="198" y="33"/>
                </a:cxn>
                <a:cxn ang="0">
                  <a:pos x="197" y="40"/>
                </a:cxn>
                <a:cxn ang="0">
                  <a:pos x="195" y="46"/>
                </a:cxn>
                <a:cxn ang="0">
                  <a:pos x="192" y="51"/>
                </a:cxn>
                <a:cxn ang="0">
                  <a:pos x="188" y="56"/>
                </a:cxn>
                <a:cxn ang="0">
                  <a:pos x="184" y="60"/>
                </a:cxn>
                <a:cxn ang="0">
                  <a:pos x="177" y="63"/>
                </a:cxn>
                <a:cxn ang="0">
                  <a:pos x="171" y="66"/>
                </a:cxn>
                <a:cxn ang="0">
                  <a:pos x="165" y="66"/>
                </a:cxn>
                <a:cxn ang="0">
                  <a:pos x="165" y="66"/>
                </a:cxn>
              </a:cxnLst>
              <a:rect l="0" t="0" r="r" b="b"/>
              <a:pathLst>
                <a:path w="198" h="66">
                  <a:moveTo>
                    <a:pt x="165" y="66"/>
                  </a:moveTo>
                  <a:lnTo>
                    <a:pt x="33" y="66"/>
                  </a:lnTo>
                  <a:lnTo>
                    <a:pt x="33" y="66"/>
                  </a:lnTo>
                  <a:lnTo>
                    <a:pt x="26" y="66"/>
                  </a:lnTo>
                  <a:lnTo>
                    <a:pt x="20" y="63"/>
                  </a:lnTo>
                  <a:lnTo>
                    <a:pt x="15" y="60"/>
                  </a:lnTo>
                  <a:lnTo>
                    <a:pt x="9" y="56"/>
                  </a:lnTo>
                  <a:lnTo>
                    <a:pt x="5" y="51"/>
                  </a:lnTo>
                  <a:lnTo>
                    <a:pt x="2" y="46"/>
                  </a:lnTo>
                  <a:lnTo>
                    <a:pt x="0" y="40"/>
                  </a:lnTo>
                  <a:lnTo>
                    <a:pt x="0" y="33"/>
                  </a:lnTo>
                  <a:lnTo>
                    <a:pt x="0" y="33"/>
                  </a:lnTo>
                  <a:lnTo>
                    <a:pt x="0" y="26"/>
                  </a:lnTo>
                  <a:lnTo>
                    <a:pt x="2" y="20"/>
                  </a:lnTo>
                  <a:lnTo>
                    <a:pt x="5" y="14"/>
                  </a:lnTo>
                  <a:lnTo>
                    <a:pt x="9" y="10"/>
                  </a:lnTo>
                  <a:lnTo>
                    <a:pt x="15" y="6"/>
                  </a:lnTo>
                  <a:lnTo>
                    <a:pt x="20" y="3"/>
                  </a:lnTo>
                  <a:lnTo>
                    <a:pt x="26" y="1"/>
                  </a:lnTo>
                  <a:lnTo>
                    <a:pt x="33" y="0"/>
                  </a:lnTo>
                  <a:lnTo>
                    <a:pt x="165" y="0"/>
                  </a:lnTo>
                  <a:lnTo>
                    <a:pt x="165" y="0"/>
                  </a:lnTo>
                  <a:lnTo>
                    <a:pt x="171" y="1"/>
                  </a:lnTo>
                  <a:lnTo>
                    <a:pt x="177" y="3"/>
                  </a:lnTo>
                  <a:lnTo>
                    <a:pt x="184" y="6"/>
                  </a:lnTo>
                  <a:lnTo>
                    <a:pt x="188" y="10"/>
                  </a:lnTo>
                  <a:lnTo>
                    <a:pt x="192" y="14"/>
                  </a:lnTo>
                  <a:lnTo>
                    <a:pt x="195" y="20"/>
                  </a:lnTo>
                  <a:lnTo>
                    <a:pt x="197" y="26"/>
                  </a:lnTo>
                  <a:lnTo>
                    <a:pt x="198" y="33"/>
                  </a:lnTo>
                  <a:lnTo>
                    <a:pt x="198" y="33"/>
                  </a:lnTo>
                  <a:lnTo>
                    <a:pt x="197" y="40"/>
                  </a:lnTo>
                  <a:lnTo>
                    <a:pt x="195" y="46"/>
                  </a:lnTo>
                  <a:lnTo>
                    <a:pt x="192" y="51"/>
                  </a:lnTo>
                  <a:lnTo>
                    <a:pt x="188" y="56"/>
                  </a:lnTo>
                  <a:lnTo>
                    <a:pt x="184" y="60"/>
                  </a:lnTo>
                  <a:lnTo>
                    <a:pt x="177" y="63"/>
                  </a:lnTo>
                  <a:lnTo>
                    <a:pt x="171" y="66"/>
                  </a:lnTo>
                  <a:lnTo>
                    <a:pt x="165" y="66"/>
                  </a:lnTo>
                  <a:lnTo>
                    <a:pt x="165" y="66"/>
                  </a:lnTo>
                  <a:close/>
                </a:path>
              </a:pathLst>
            </a:custGeom>
            <a:solidFill>
              <a:srgbClr val="CCBEA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8" name="Freeform 814">
              <a:extLst>
                <a:ext uri="{FF2B5EF4-FFF2-40B4-BE49-F238E27FC236}">
                  <a16:creationId xmlns:a16="http://schemas.microsoft.com/office/drawing/2014/main" id="{35CDB539-9B50-0EC6-C0D9-4B1E3B30D775}"/>
                </a:ext>
              </a:extLst>
            </p:cNvPr>
            <p:cNvSpPr>
              <a:spLocks/>
            </p:cNvSpPr>
            <p:nvPr/>
          </p:nvSpPr>
          <p:spPr bwMode="auto">
            <a:xfrm>
              <a:off x="4487863" y="4541838"/>
              <a:ext cx="38100" cy="12700"/>
            </a:xfrm>
            <a:custGeom>
              <a:avLst/>
              <a:gdLst/>
              <a:ahLst/>
              <a:cxnLst>
                <a:cxn ang="0">
                  <a:pos x="165" y="66"/>
                </a:cxn>
                <a:cxn ang="0">
                  <a:pos x="33" y="66"/>
                </a:cxn>
                <a:cxn ang="0">
                  <a:pos x="33" y="66"/>
                </a:cxn>
                <a:cxn ang="0">
                  <a:pos x="26" y="66"/>
                </a:cxn>
                <a:cxn ang="0">
                  <a:pos x="20" y="64"/>
                </a:cxn>
                <a:cxn ang="0">
                  <a:pos x="15" y="61"/>
                </a:cxn>
                <a:cxn ang="0">
                  <a:pos x="9" y="57"/>
                </a:cxn>
                <a:cxn ang="0">
                  <a:pos x="5" y="52"/>
                </a:cxn>
                <a:cxn ang="0">
                  <a:pos x="2" y="47"/>
                </a:cxn>
                <a:cxn ang="0">
                  <a:pos x="0" y="41"/>
                </a:cxn>
                <a:cxn ang="0">
                  <a:pos x="0" y="33"/>
                </a:cxn>
                <a:cxn ang="0">
                  <a:pos x="0" y="33"/>
                </a:cxn>
                <a:cxn ang="0">
                  <a:pos x="0" y="27"/>
                </a:cxn>
                <a:cxn ang="0">
                  <a:pos x="2" y="21"/>
                </a:cxn>
                <a:cxn ang="0">
                  <a:pos x="5" y="15"/>
                </a:cxn>
                <a:cxn ang="0">
                  <a:pos x="9" y="11"/>
                </a:cxn>
                <a:cxn ang="0">
                  <a:pos x="15" y="7"/>
                </a:cxn>
                <a:cxn ang="0">
                  <a:pos x="20" y="3"/>
                </a:cxn>
                <a:cxn ang="0">
                  <a:pos x="26" y="1"/>
                </a:cxn>
                <a:cxn ang="0">
                  <a:pos x="33" y="0"/>
                </a:cxn>
                <a:cxn ang="0">
                  <a:pos x="165" y="0"/>
                </a:cxn>
                <a:cxn ang="0">
                  <a:pos x="165" y="0"/>
                </a:cxn>
                <a:cxn ang="0">
                  <a:pos x="171" y="1"/>
                </a:cxn>
                <a:cxn ang="0">
                  <a:pos x="177" y="3"/>
                </a:cxn>
                <a:cxn ang="0">
                  <a:pos x="184" y="7"/>
                </a:cxn>
                <a:cxn ang="0">
                  <a:pos x="188" y="11"/>
                </a:cxn>
                <a:cxn ang="0">
                  <a:pos x="192" y="15"/>
                </a:cxn>
                <a:cxn ang="0">
                  <a:pos x="195" y="21"/>
                </a:cxn>
                <a:cxn ang="0">
                  <a:pos x="197" y="27"/>
                </a:cxn>
                <a:cxn ang="0">
                  <a:pos x="198" y="33"/>
                </a:cxn>
                <a:cxn ang="0">
                  <a:pos x="198" y="33"/>
                </a:cxn>
                <a:cxn ang="0">
                  <a:pos x="197" y="41"/>
                </a:cxn>
                <a:cxn ang="0">
                  <a:pos x="195" y="47"/>
                </a:cxn>
                <a:cxn ang="0">
                  <a:pos x="192" y="52"/>
                </a:cxn>
                <a:cxn ang="0">
                  <a:pos x="188" y="57"/>
                </a:cxn>
                <a:cxn ang="0">
                  <a:pos x="184" y="61"/>
                </a:cxn>
                <a:cxn ang="0">
                  <a:pos x="177" y="64"/>
                </a:cxn>
                <a:cxn ang="0">
                  <a:pos x="171" y="66"/>
                </a:cxn>
                <a:cxn ang="0">
                  <a:pos x="165" y="66"/>
                </a:cxn>
                <a:cxn ang="0">
                  <a:pos x="165" y="66"/>
                </a:cxn>
              </a:cxnLst>
              <a:rect l="0" t="0" r="r" b="b"/>
              <a:pathLst>
                <a:path w="198" h="66">
                  <a:moveTo>
                    <a:pt x="165" y="66"/>
                  </a:moveTo>
                  <a:lnTo>
                    <a:pt x="33" y="66"/>
                  </a:lnTo>
                  <a:lnTo>
                    <a:pt x="33" y="66"/>
                  </a:lnTo>
                  <a:lnTo>
                    <a:pt x="26" y="66"/>
                  </a:lnTo>
                  <a:lnTo>
                    <a:pt x="20" y="64"/>
                  </a:lnTo>
                  <a:lnTo>
                    <a:pt x="15" y="61"/>
                  </a:lnTo>
                  <a:lnTo>
                    <a:pt x="9" y="57"/>
                  </a:lnTo>
                  <a:lnTo>
                    <a:pt x="5" y="52"/>
                  </a:lnTo>
                  <a:lnTo>
                    <a:pt x="2" y="47"/>
                  </a:lnTo>
                  <a:lnTo>
                    <a:pt x="0" y="41"/>
                  </a:lnTo>
                  <a:lnTo>
                    <a:pt x="0" y="33"/>
                  </a:lnTo>
                  <a:lnTo>
                    <a:pt x="0" y="33"/>
                  </a:lnTo>
                  <a:lnTo>
                    <a:pt x="0" y="27"/>
                  </a:lnTo>
                  <a:lnTo>
                    <a:pt x="2" y="21"/>
                  </a:lnTo>
                  <a:lnTo>
                    <a:pt x="5" y="15"/>
                  </a:lnTo>
                  <a:lnTo>
                    <a:pt x="9" y="11"/>
                  </a:lnTo>
                  <a:lnTo>
                    <a:pt x="15" y="7"/>
                  </a:lnTo>
                  <a:lnTo>
                    <a:pt x="20" y="3"/>
                  </a:lnTo>
                  <a:lnTo>
                    <a:pt x="26" y="1"/>
                  </a:lnTo>
                  <a:lnTo>
                    <a:pt x="33" y="0"/>
                  </a:lnTo>
                  <a:lnTo>
                    <a:pt x="165" y="0"/>
                  </a:lnTo>
                  <a:lnTo>
                    <a:pt x="165" y="0"/>
                  </a:lnTo>
                  <a:lnTo>
                    <a:pt x="171" y="1"/>
                  </a:lnTo>
                  <a:lnTo>
                    <a:pt x="177" y="3"/>
                  </a:lnTo>
                  <a:lnTo>
                    <a:pt x="184" y="7"/>
                  </a:lnTo>
                  <a:lnTo>
                    <a:pt x="188" y="11"/>
                  </a:lnTo>
                  <a:lnTo>
                    <a:pt x="192" y="15"/>
                  </a:lnTo>
                  <a:lnTo>
                    <a:pt x="195" y="21"/>
                  </a:lnTo>
                  <a:lnTo>
                    <a:pt x="197" y="27"/>
                  </a:lnTo>
                  <a:lnTo>
                    <a:pt x="198" y="33"/>
                  </a:lnTo>
                  <a:lnTo>
                    <a:pt x="198" y="33"/>
                  </a:lnTo>
                  <a:lnTo>
                    <a:pt x="197" y="41"/>
                  </a:lnTo>
                  <a:lnTo>
                    <a:pt x="195" y="47"/>
                  </a:lnTo>
                  <a:lnTo>
                    <a:pt x="192" y="52"/>
                  </a:lnTo>
                  <a:lnTo>
                    <a:pt x="188" y="57"/>
                  </a:lnTo>
                  <a:lnTo>
                    <a:pt x="184" y="61"/>
                  </a:lnTo>
                  <a:lnTo>
                    <a:pt x="177" y="64"/>
                  </a:lnTo>
                  <a:lnTo>
                    <a:pt x="171" y="66"/>
                  </a:lnTo>
                  <a:lnTo>
                    <a:pt x="165" y="66"/>
                  </a:lnTo>
                  <a:lnTo>
                    <a:pt x="165" y="66"/>
                  </a:lnTo>
                  <a:close/>
                </a:path>
              </a:pathLst>
            </a:custGeom>
            <a:solidFill>
              <a:srgbClr val="CCBEA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9" name="Freeform 815">
              <a:extLst>
                <a:ext uri="{FF2B5EF4-FFF2-40B4-BE49-F238E27FC236}">
                  <a16:creationId xmlns:a16="http://schemas.microsoft.com/office/drawing/2014/main" id="{6B356B5C-BDD1-33CC-3620-96B42464861C}"/>
                </a:ext>
              </a:extLst>
            </p:cNvPr>
            <p:cNvSpPr>
              <a:spLocks/>
            </p:cNvSpPr>
            <p:nvPr/>
          </p:nvSpPr>
          <p:spPr bwMode="auto">
            <a:xfrm>
              <a:off x="4487863" y="4594225"/>
              <a:ext cx="38100" cy="12700"/>
            </a:xfrm>
            <a:custGeom>
              <a:avLst/>
              <a:gdLst/>
              <a:ahLst/>
              <a:cxnLst>
                <a:cxn ang="0">
                  <a:pos x="165" y="66"/>
                </a:cxn>
                <a:cxn ang="0">
                  <a:pos x="33" y="66"/>
                </a:cxn>
                <a:cxn ang="0">
                  <a:pos x="33" y="66"/>
                </a:cxn>
                <a:cxn ang="0">
                  <a:pos x="26" y="66"/>
                </a:cxn>
                <a:cxn ang="0">
                  <a:pos x="20" y="64"/>
                </a:cxn>
                <a:cxn ang="0">
                  <a:pos x="15" y="61"/>
                </a:cxn>
                <a:cxn ang="0">
                  <a:pos x="9" y="57"/>
                </a:cxn>
                <a:cxn ang="0">
                  <a:pos x="5" y="52"/>
                </a:cxn>
                <a:cxn ang="0">
                  <a:pos x="2" y="46"/>
                </a:cxn>
                <a:cxn ang="0">
                  <a:pos x="0" y="40"/>
                </a:cxn>
                <a:cxn ang="0">
                  <a:pos x="0" y="33"/>
                </a:cxn>
                <a:cxn ang="0">
                  <a:pos x="0" y="33"/>
                </a:cxn>
                <a:cxn ang="0">
                  <a:pos x="0" y="27"/>
                </a:cxn>
                <a:cxn ang="0">
                  <a:pos x="2" y="21"/>
                </a:cxn>
                <a:cxn ang="0">
                  <a:pos x="5" y="14"/>
                </a:cxn>
                <a:cxn ang="0">
                  <a:pos x="9" y="10"/>
                </a:cxn>
                <a:cxn ang="0">
                  <a:pos x="15" y="6"/>
                </a:cxn>
                <a:cxn ang="0">
                  <a:pos x="20" y="3"/>
                </a:cxn>
                <a:cxn ang="0">
                  <a:pos x="26" y="1"/>
                </a:cxn>
                <a:cxn ang="0">
                  <a:pos x="33" y="0"/>
                </a:cxn>
                <a:cxn ang="0">
                  <a:pos x="165" y="0"/>
                </a:cxn>
                <a:cxn ang="0">
                  <a:pos x="165" y="0"/>
                </a:cxn>
                <a:cxn ang="0">
                  <a:pos x="171" y="1"/>
                </a:cxn>
                <a:cxn ang="0">
                  <a:pos x="177" y="3"/>
                </a:cxn>
                <a:cxn ang="0">
                  <a:pos x="184" y="6"/>
                </a:cxn>
                <a:cxn ang="0">
                  <a:pos x="188" y="10"/>
                </a:cxn>
                <a:cxn ang="0">
                  <a:pos x="192" y="14"/>
                </a:cxn>
                <a:cxn ang="0">
                  <a:pos x="195" y="21"/>
                </a:cxn>
                <a:cxn ang="0">
                  <a:pos x="197" y="27"/>
                </a:cxn>
                <a:cxn ang="0">
                  <a:pos x="198" y="33"/>
                </a:cxn>
                <a:cxn ang="0">
                  <a:pos x="198" y="33"/>
                </a:cxn>
                <a:cxn ang="0">
                  <a:pos x="197" y="40"/>
                </a:cxn>
                <a:cxn ang="0">
                  <a:pos x="195" y="46"/>
                </a:cxn>
                <a:cxn ang="0">
                  <a:pos x="192" y="52"/>
                </a:cxn>
                <a:cxn ang="0">
                  <a:pos x="188" y="57"/>
                </a:cxn>
                <a:cxn ang="0">
                  <a:pos x="184" y="61"/>
                </a:cxn>
                <a:cxn ang="0">
                  <a:pos x="177" y="64"/>
                </a:cxn>
                <a:cxn ang="0">
                  <a:pos x="171" y="66"/>
                </a:cxn>
                <a:cxn ang="0">
                  <a:pos x="165" y="66"/>
                </a:cxn>
                <a:cxn ang="0">
                  <a:pos x="165" y="66"/>
                </a:cxn>
              </a:cxnLst>
              <a:rect l="0" t="0" r="r" b="b"/>
              <a:pathLst>
                <a:path w="198" h="66">
                  <a:moveTo>
                    <a:pt x="165" y="66"/>
                  </a:moveTo>
                  <a:lnTo>
                    <a:pt x="33" y="66"/>
                  </a:lnTo>
                  <a:lnTo>
                    <a:pt x="33" y="66"/>
                  </a:lnTo>
                  <a:lnTo>
                    <a:pt x="26" y="66"/>
                  </a:lnTo>
                  <a:lnTo>
                    <a:pt x="20" y="64"/>
                  </a:lnTo>
                  <a:lnTo>
                    <a:pt x="15" y="61"/>
                  </a:lnTo>
                  <a:lnTo>
                    <a:pt x="9" y="57"/>
                  </a:lnTo>
                  <a:lnTo>
                    <a:pt x="5" y="52"/>
                  </a:lnTo>
                  <a:lnTo>
                    <a:pt x="2" y="46"/>
                  </a:lnTo>
                  <a:lnTo>
                    <a:pt x="0" y="40"/>
                  </a:lnTo>
                  <a:lnTo>
                    <a:pt x="0" y="33"/>
                  </a:lnTo>
                  <a:lnTo>
                    <a:pt x="0" y="33"/>
                  </a:lnTo>
                  <a:lnTo>
                    <a:pt x="0" y="27"/>
                  </a:lnTo>
                  <a:lnTo>
                    <a:pt x="2" y="21"/>
                  </a:lnTo>
                  <a:lnTo>
                    <a:pt x="5" y="14"/>
                  </a:lnTo>
                  <a:lnTo>
                    <a:pt x="9" y="10"/>
                  </a:lnTo>
                  <a:lnTo>
                    <a:pt x="15" y="6"/>
                  </a:lnTo>
                  <a:lnTo>
                    <a:pt x="20" y="3"/>
                  </a:lnTo>
                  <a:lnTo>
                    <a:pt x="26" y="1"/>
                  </a:lnTo>
                  <a:lnTo>
                    <a:pt x="33" y="0"/>
                  </a:lnTo>
                  <a:lnTo>
                    <a:pt x="165" y="0"/>
                  </a:lnTo>
                  <a:lnTo>
                    <a:pt x="165" y="0"/>
                  </a:lnTo>
                  <a:lnTo>
                    <a:pt x="171" y="1"/>
                  </a:lnTo>
                  <a:lnTo>
                    <a:pt x="177" y="3"/>
                  </a:lnTo>
                  <a:lnTo>
                    <a:pt x="184" y="6"/>
                  </a:lnTo>
                  <a:lnTo>
                    <a:pt x="188" y="10"/>
                  </a:lnTo>
                  <a:lnTo>
                    <a:pt x="192" y="14"/>
                  </a:lnTo>
                  <a:lnTo>
                    <a:pt x="195" y="21"/>
                  </a:lnTo>
                  <a:lnTo>
                    <a:pt x="197" y="27"/>
                  </a:lnTo>
                  <a:lnTo>
                    <a:pt x="198" y="33"/>
                  </a:lnTo>
                  <a:lnTo>
                    <a:pt x="198" y="33"/>
                  </a:lnTo>
                  <a:lnTo>
                    <a:pt x="197" y="40"/>
                  </a:lnTo>
                  <a:lnTo>
                    <a:pt x="195" y="46"/>
                  </a:lnTo>
                  <a:lnTo>
                    <a:pt x="192" y="52"/>
                  </a:lnTo>
                  <a:lnTo>
                    <a:pt x="188" y="57"/>
                  </a:lnTo>
                  <a:lnTo>
                    <a:pt x="184" y="61"/>
                  </a:lnTo>
                  <a:lnTo>
                    <a:pt x="177" y="64"/>
                  </a:lnTo>
                  <a:lnTo>
                    <a:pt x="171" y="66"/>
                  </a:lnTo>
                  <a:lnTo>
                    <a:pt x="165" y="66"/>
                  </a:lnTo>
                  <a:lnTo>
                    <a:pt x="165" y="66"/>
                  </a:lnTo>
                  <a:close/>
                </a:path>
              </a:pathLst>
            </a:custGeom>
            <a:solidFill>
              <a:srgbClr val="CCBEA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0" name="Freeform 816">
              <a:extLst>
                <a:ext uri="{FF2B5EF4-FFF2-40B4-BE49-F238E27FC236}">
                  <a16:creationId xmlns:a16="http://schemas.microsoft.com/office/drawing/2014/main" id="{A48A18D2-680F-5962-7A10-831DF259A182}"/>
                </a:ext>
              </a:extLst>
            </p:cNvPr>
            <p:cNvSpPr>
              <a:spLocks/>
            </p:cNvSpPr>
            <p:nvPr/>
          </p:nvSpPr>
          <p:spPr bwMode="auto">
            <a:xfrm>
              <a:off x="4487863" y="4646613"/>
              <a:ext cx="38100" cy="12700"/>
            </a:xfrm>
            <a:custGeom>
              <a:avLst/>
              <a:gdLst/>
              <a:ahLst/>
              <a:cxnLst>
                <a:cxn ang="0">
                  <a:pos x="165" y="66"/>
                </a:cxn>
                <a:cxn ang="0">
                  <a:pos x="33" y="66"/>
                </a:cxn>
                <a:cxn ang="0">
                  <a:pos x="33" y="66"/>
                </a:cxn>
                <a:cxn ang="0">
                  <a:pos x="26" y="66"/>
                </a:cxn>
                <a:cxn ang="0">
                  <a:pos x="20" y="64"/>
                </a:cxn>
                <a:cxn ang="0">
                  <a:pos x="15" y="61"/>
                </a:cxn>
                <a:cxn ang="0">
                  <a:pos x="9" y="56"/>
                </a:cxn>
                <a:cxn ang="0">
                  <a:pos x="5" y="51"/>
                </a:cxn>
                <a:cxn ang="0">
                  <a:pos x="2" y="46"/>
                </a:cxn>
                <a:cxn ang="0">
                  <a:pos x="0" y="40"/>
                </a:cxn>
                <a:cxn ang="0">
                  <a:pos x="0" y="33"/>
                </a:cxn>
                <a:cxn ang="0">
                  <a:pos x="0" y="33"/>
                </a:cxn>
                <a:cxn ang="0">
                  <a:pos x="0" y="27"/>
                </a:cxn>
                <a:cxn ang="0">
                  <a:pos x="2" y="20"/>
                </a:cxn>
                <a:cxn ang="0">
                  <a:pos x="5" y="14"/>
                </a:cxn>
                <a:cxn ang="0">
                  <a:pos x="9" y="10"/>
                </a:cxn>
                <a:cxn ang="0">
                  <a:pos x="15" y="6"/>
                </a:cxn>
                <a:cxn ang="0">
                  <a:pos x="20" y="3"/>
                </a:cxn>
                <a:cxn ang="0">
                  <a:pos x="26" y="1"/>
                </a:cxn>
                <a:cxn ang="0">
                  <a:pos x="33" y="0"/>
                </a:cxn>
                <a:cxn ang="0">
                  <a:pos x="165" y="0"/>
                </a:cxn>
                <a:cxn ang="0">
                  <a:pos x="165" y="0"/>
                </a:cxn>
                <a:cxn ang="0">
                  <a:pos x="171" y="1"/>
                </a:cxn>
                <a:cxn ang="0">
                  <a:pos x="177" y="3"/>
                </a:cxn>
                <a:cxn ang="0">
                  <a:pos x="184" y="6"/>
                </a:cxn>
                <a:cxn ang="0">
                  <a:pos x="188" y="10"/>
                </a:cxn>
                <a:cxn ang="0">
                  <a:pos x="192" y="14"/>
                </a:cxn>
                <a:cxn ang="0">
                  <a:pos x="195" y="20"/>
                </a:cxn>
                <a:cxn ang="0">
                  <a:pos x="197" y="27"/>
                </a:cxn>
                <a:cxn ang="0">
                  <a:pos x="198" y="33"/>
                </a:cxn>
                <a:cxn ang="0">
                  <a:pos x="198" y="33"/>
                </a:cxn>
                <a:cxn ang="0">
                  <a:pos x="197" y="40"/>
                </a:cxn>
                <a:cxn ang="0">
                  <a:pos x="195" y="46"/>
                </a:cxn>
                <a:cxn ang="0">
                  <a:pos x="192" y="51"/>
                </a:cxn>
                <a:cxn ang="0">
                  <a:pos x="188" y="56"/>
                </a:cxn>
                <a:cxn ang="0">
                  <a:pos x="184" y="61"/>
                </a:cxn>
                <a:cxn ang="0">
                  <a:pos x="177" y="64"/>
                </a:cxn>
                <a:cxn ang="0">
                  <a:pos x="171" y="66"/>
                </a:cxn>
                <a:cxn ang="0">
                  <a:pos x="165" y="66"/>
                </a:cxn>
                <a:cxn ang="0">
                  <a:pos x="165" y="66"/>
                </a:cxn>
              </a:cxnLst>
              <a:rect l="0" t="0" r="r" b="b"/>
              <a:pathLst>
                <a:path w="198" h="66">
                  <a:moveTo>
                    <a:pt x="165" y="66"/>
                  </a:moveTo>
                  <a:lnTo>
                    <a:pt x="33" y="66"/>
                  </a:lnTo>
                  <a:lnTo>
                    <a:pt x="33" y="66"/>
                  </a:lnTo>
                  <a:lnTo>
                    <a:pt x="26" y="66"/>
                  </a:lnTo>
                  <a:lnTo>
                    <a:pt x="20" y="64"/>
                  </a:lnTo>
                  <a:lnTo>
                    <a:pt x="15" y="61"/>
                  </a:lnTo>
                  <a:lnTo>
                    <a:pt x="9" y="56"/>
                  </a:lnTo>
                  <a:lnTo>
                    <a:pt x="5" y="51"/>
                  </a:lnTo>
                  <a:lnTo>
                    <a:pt x="2" y="46"/>
                  </a:lnTo>
                  <a:lnTo>
                    <a:pt x="0" y="40"/>
                  </a:lnTo>
                  <a:lnTo>
                    <a:pt x="0" y="33"/>
                  </a:lnTo>
                  <a:lnTo>
                    <a:pt x="0" y="33"/>
                  </a:lnTo>
                  <a:lnTo>
                    <a:pt x="0" y="27"/>
                  </a:lnTo>
                  <a:lnTo>
                    <a:pt x="2" y="20"/>
                  </a:lnTo>
                  <a:lnTo>
                    <a:pt x="5" y="14"/>
                  </a:lnTo>
                  <a:lnTo>
                    <a:pt x="9" y="10"/>
                  </a:lnTo>
                  <a:lnTo>
                    <a:pt x="15" y="6"/>
                  </a:lnTo>
                  <a:lnTo>
                    <a:pt x="20" y="3"/>
                  </a:lnTo>
                  <a:lnTo>
                    <a:pt x="26" y="1"/>
                  </a:lnTo>
                  <a:lnTo>
                    <a:pt x="33" y="0"/>
                  </a:lnTo>
                  <a:lnTo>
                    <a:pt x="165" y="0"/>
                  </a:lnTo>
                  <a:lnTo>
                    <a:pt x="165" y="0"/>
                  </a:lnTo>
                  <a:lnTo>
                    <a:pt x="171" y="1"/>
                  </a:lnTo>
                  <a:lnTo>
                    <a:pt x="177" y="3"/>
                  </a:lnTo>
                  <a:lnTo>
                    <a:pt x="184" y="6"/>
                  </a:lnTo>
                  <a:lnTo>
                    <a:pt x="188" y="10"/>
                  </a:lnTo>
                  <a:lnTo>
                    <a:pt x="192" y="14"/>
                  </a:lnTo>
                  <a:lnTo>
                    <a:pt x="195" y="20"/>
                  </a:lnTo>
                  <a:lnTo>
                    <a:pt x="197" y="27"/>
                  </a:lnTo>
                  <a:lnTo>
                    <a:pt x="198" y="33"/>
                  </a:lnTo>
                  <a:lnTo>
                    <a:pt x="198" y="33"/>
                  </a:lnTo>
                  <a:lnTo>
                    <a:pt x="197" y="40"/>
                  </a:lnTo>
                  <a:lnTo>
                    <a:pt x="195" y="46"/>
                  </a:lnTo>
                  <a:lnTo>
                    <a:pt x="192" y="51"/>
                  </a:lnTo>
                  <a:lnTo>
                    <a:pt x="188" y="56"/>
                  </a:lnTo>
                  <a:lnTo>
                    <a:pt x="184" y="61"/>
                  </a:lnTo>
                  <a:lnTo>
                    <a:pt x="177" y="64"/>
                  </a:lnTo>
                  <a:lnTo>
                    <a:pt x="171" y="66"/>
                  </a:lnTo>
                  <a:lnTo>
                    <a:pt x="165" y="66"/>
                  </a:lnTo>
                  <a:lnTo>
                    <a:pt x="165" y="66"/>
                  </a:lnTo>
                  <a:close/>
                </a:path>
              </a:pathLst>
            </a:custGeom>
            <a:solidFill>
              <a:srgbClr val="CCBEA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1" name="Freeform 817">
              <a:extLst>
                <a:ext uri="{FF2B5EF4-FFF2-40B4-BE49-F238E27FC236}">
                  <a16:creationId xmlns:a16="http://schemas.microsoft.com/office/drawing/2014/main" id="{CF8CCAD2-AC92-FB88-D88B-F9968572E863}"/>
                </a:ext>
              </a:extLst>
            </p:cNvPr>
            <p:cNvSpPr>
              <a:spLocks/>
            </p:cNvSpPr>
            <p:nvPr/>
          </p:nvSpPr>
          <p:spPr bwMode="auto">
            <a:xfrm>
              <a:off x="4487863" y="4699000"/>
              <a:ext cx="38100" cy="12700"/>
            </a:xfrm>
            <a:custGeom>
              <a:avLst/>
              <a:gdLst/>
              <a:ahLst/>
              <a:cxnLst>
                <a:cxn ang="0">
                  <a:pos x="165" y="65"/>
                </a:cxn>
                <a:cxn ang="0">
                  <a:pos x="33" y="65"/>
                </a:cxn>
                <a:cxn ang="0">
                  <a:pos x="33" y="65"/>
                </a:cxn>
                <a:cxn ang="0">
                  <a:pos x="26" y="65"/>
                </a:cxn>
                <a:cxn ang="0">
                  <a:pos x="20" y="63"/>
                </a:cxn>
                <a:cxn ang="0">
                  <a:pos x="15" y="60"/>
                </a:cxn>
                <a:cxn ang="0">
                  <a:pos x="9" y="56"/>
                </a:cxn>
                <a:cxn ang="0">
                  <a:pos x="5" y="51"/>
                </a:cxn>
                <a:cxn ang="0">
                  <a:pos x="2" y="46"/>
                </a:cxn>
                <a:cxn ang="0">
                  <a:pos x="0" y="40"/>
                </a:cxn>
                <a:cxn ang="0">
                  <a:pos x="0" y="32"/>
                </a:cxn>
                <a:cxn ang="0">
                  <a:pos x="0" y="32"/>
                </a:cxn>
                <a:cxn ang="0">
                  <a:pos x="0" y="26"/>
                </a:cxn>
                <a:cxn ang="0">
                  <a:pos x="2" y="20"/>
                </a:cxn>
                <a:cxn ang="0">
                  <a:pos x="5" y="14"/>
                </a:cxn>
                <a:cxn ang="0">
                  <a:pos x="9" y="10"/>
                </a:cxn>
                <a:cxn ang="0">
                  <a:pos x="15" y="6"/>
                </a:cxn>
                <a:cxn ang="0">
                  <a:pos x="20" y="3"/>
                </a:cxn>
                <a:cxn ang="0">
                  <a:pos x="26" y="1"/>
                </a:cxn>
                <a:cxn ang="0">
                  <a:pos x="33" y="0"/>
                </a:cxn>
                <a:cxn ang="0">
                  <a:pos x="165" y="0"/>
                </a:cxn>
                <a:cxn ang="0">
                  <a:pos x="165" y="0"/>
                </a:cxn>
                <a:cxn ang="0">
                  <a:pos x="171" y="1"/>
                </a:cxn>
                <a:cxn ang="0">
                  <a:pos x="177" y="3"/>
                </a:cxn>
                <a:cxn ang="0">
                  <a:pos x="184" y="6"/>
                </a:cxn>
                <a:cxn ang="0">
                  <a:pos x="188" y="10"/>
                </a:cxn>
                <a:cxn ang="0">
                  <a:pos x="192" y="14"/>
                </a:cxn>
                <a:cxn ang="0">
                  <a:pos x="195" y="20"/>
                </a:cxn>
                <a:cxn ang="0">
                  <a:pos x="197" y="26"/>
                </a:cxn>
                <a:cxn ang="0">
                  <a:pos x="198" y="32"/>
                </a:cxn>
                <a:cxn ang="0">
                  <a:pos x="198" y="32"/>
                </a:cxn>
                <a:cxn ang="0">
                  <a:pos x="197" y="40"/>
                </a:cxn>
                <a:cxn ang="0">
                  <a:pos x="195" y="46"/>
                </a:cxn>
                <a:cxn ang="0">
                  <a:pos x="192" y="51"/>
                </a:cxn>
                <a:cxn ang="0">
                  <a:pos x="188" y="56"/>
                </a:cxn>
                <a:cxn ang="0">
                  <a:pos x="184" y="60"/>
                </a:cxn>
                <a:cxn ang="0">
                  <a:pos x="177" y="63"/>
                </a:cxn>
                <a:cxn ang="0">
                  <a:pos x="171" y="65"/>
                </a:cxn>
                <a:cxn ang="0">
                  <a:pos x="165" y="65"/>
                </a:cxn>
                <a:cxn ang="0">
                  <a:pos x="165" y="65"/>
                </a:cxn>
              </a:cxnLst>
              <a:rect l="0" t="0" r="r" b="b"/>
              <a:pathLst>
                <a:path w="198" h="65">
                  <a:moveTo>
                    <a:pt x="165" y="65"/>
                  </a:moveTo>
                  <a:lnTo>
                    <a:pt x="33" y="65"/>
                  </a:lnTo>
                  <a:lnTo>
                    <a:pt x="33" y="65"/>
                  </a:lnTo>
                  <a:lnTo>
                    <a:pt x="26" y="65"/>
                  </a:lnTo>
                  <a:lnTo>
                    <a:pt x="20" y="63"/>
                  </a:lnTo>
                  <a:lnTo>
                    <a:pt x="15" y="60"/>
                  </a:lnTo>
                  <a:lnTo>
                    <a:pt x="9" y="56"/>
                  </a:lnTo>
                  <a:lnTo>
                    <a:pt x="5" y="51"/>
                  </a:lnTo>
                  <a:lnTo>
                    <a:pt x="2" y="46"/>
                  </a:lnTo>
                  <a:lnTo>
                    <a:pt x="0" y="40"/>
                  </a:lnTo>
                  <a:lnTo>
                    <a:pt x="0" y="32"/>
                  </a:lnTo>
                  <a:lnTo>
                    <a:pt x="0" y="32"/>
                  </a:lnTo>
                  <a:lnTo>
                    <a:pt x="0" y="26"/>
                  </a:lnTo>
                  <a:lnTo>
                    <a:pt x="2" y="20"/>
                  </a:lnTo>
                  <a:lnTo>
                    <a:pt x="5" y="14"/>
                  </a:lnTo>
                  <a:lnTo>
                    <a:pt x="9" y="10"/>
                  </a:lnTo>
                  <a:lnTo>
                    <a:pt x="15" y="6"/>
                  </a:lnTo>
                  <a:lnTo>
                    <a:pt x="20" y="3"/>
                  </a:lnTo>
                  <a:lnTo>
                    <a:pt x="26" y="1"/>
                  </a:lnTo>
                  <a:lnTo>
                    <a:pt x="33" y="0"/>
                  </a:lnTo>
                  <a:lnTo>
                    <a:pt x="165" y="0"/>
                  </a:lnTo>
                  <a:lnTo>
                    <a:pt x="165" y="0"/>
                  </a:lnTo>
                  <a:lnTo>
                    <a:pt x="171" y="1"/>
                  </a:lnTo>
                  <a:lnTo>
                    <a:pt x="177" y="3"/>
                  </a:lnTo>
                  <a:lnTo>
                    <a:pt x="184" y="6"/>
                  </a:lnTo>
                  <a:lnTo>
                    <a:pt x="188" y="10"/>
                  </a:lnTo>
                  <a:lnTo>
                    <a:pt x="192" y="14"/>
                  </a:lnTo>
                  <a:lnTo>
                    <a:pt x="195" y="20"/>
                  </a:lnTo>
                  <a:lnTo>
                    <a:pt x="197" y="26"/>
                  </a:lnTo>
                  <a:lnTo>
                    <a:pt x="198" y="32"/>
                  </a:lnTo>
                  <a:lnTo>
                    <a:pt x="198" y="32"/>
                  </a:lnTo>
                  <a:lnTo>
                    <a:pt x="197" y="40"/>
                  </a:lnTo>
                  <a:lnTo>
                    <a:pt x="195" y="46"/>
                  </a:lnTo>
                  <a:lnTo>
                    <a:pt x="192" y="51"/>
                  </a:lnTo>
                  <a:lnTo>
                    <a:pt x="188" y="56"/>
                  </a:lnTo>
                  <a:lnTo>
                    <a:pt x="184" y="60"/>
                  </a:lnTo>
                  <a:lnTo>
                    <a:pt x="177" y="63"/>
                  </a:lnTo>
                  <a:lnTo>
                    <a:pt x="171" y="65"/>
                  </a:lnTo>
                  <a:lnTo>
                    <a:pt x="165" y="65"/>
                  </a:lnTo>
                  <a:lnTo>
                    <a:pt x="165" y="65"/>
                  </a:lnTo>
                  <a:close/>
                </a:path>
              </a:pathLst>
            </a:custGeom>
            <a:solidFill>
              <a:srgbClr val="CCBEA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2" name="Group 51">
            <a:extLst>
              <a:ext uri="{FF2B5EF4-FFF2-40B4-BE49-F238E27FC236}">
                <a16:creationId xmlns:a16="http://schemas.microsoft.com/office/drawing/2014/main" id="{4EE8A5DF-E8DD-55B4-BFF7-B4E893F6EF96}"/>
              </a:ext>
            </a:extLst>
          </p:cNvPr>
          <p:cNvGrpSpPr/>
          <p:nvPr/>
        </p:nvGrpSpPr>
        <p:grpSpPr>
          <a:xfrm>
            <a:off x="435092" y="4264945"/>
            <a:ext cx="360717" cy="326904"/>
            <a:chOff x="3336926" y="3181350"/>
            <a:chExt cx="839788" cy="839787"/>
          </a:xfrm>
        </p:grpSpPr>
        <p:sp>
          <p:nvSpPr>
            <p:cNvPr id="53" name="Freeform 586">
              <a:extLst>
                <a:ext uri="{FF2B5EF4-FFF2-40B4-BE49-F238E27FC236}">
                  <a16:creationId xmlns:a16="http://schemas.microsoft.com/office/drawing/2014/main" id="{4CD97FA6-8144-FE7E-73C4-625A76651F55}"/>
                </a:ext>
              </a:extLst>
            </p:cNvPr>
            <p:cNvSpPr>
              <a:spLocks/>
            </p:cNvSpPr>
            <p:nvPr/>
          </p:nvSpPr>
          <p:spPr bwMode="auto">
            <a:xfrm>
              <a:off x="3336926" y="3181350"/>
              <a:ext cx="839788" cy="839787"/>
            </a:xfrm>
            <a:custGeom>
              <a:avLst/>
              <a:gdLst/>
              <a:ahLst/>
              <a:cxnLst>
                <a:cxn ang="0">
                  <a:pos x="4223" y="2276"/>
                </a:cxn>
                <a:cxn ang="0">
                  <a:pos x="4186" y="2539"/>
                </a:cxn>
                <a:cxn ang="0">
                  <a:pos x="4118" y="2791"/>
                </a:cxn>
                <a:cxn ang="0">
                  <a:pos x="4021" y="3029"/>
                </a:cxn>
                <a:cxn ang="0">
                  <a:pos x="3896" y="3253"/>
                </a:cxn>
                <a:cxn ang="0">
                  <a:pos x="3747" y="3458"/>
                </a:cxn>
                <a:cxn ang="0">
                  <a:pos x="3574" y="3643"/>
                </a:cxn>
                <a:cxn ang="0">
                  <a:pos x="3380" y="3807"/>
                </a:cxn>
                <a:cxn ang="0">
                  <a:pos x="3167" y="3947"/>
                </a:cxn>
                <a:cxn ang="0">
                  <a:pos x="2938" y="4062"/>
                </a:cxn>
                <a:cxn ang="0">
                  <a:pos x="2694" y="4147"/>
                </a:cxn>
                <a:cxn ang="0">
                  <a:pos x="2437" y="4203"/>
                </a:cxn>
                <a:cxn ang="0">
                  <a:pos x="2169" y="4226"/>
                </a:cxn>
                <a:cxn ang="0">
                  <a:pos x="1952" y="4221"/>
                </a:cxn>
                <a:cxn ang="0">
                  <a:pos x="1689" y="4184"/>
                </a:cxn>
                <a:cxn ang="0">
                  <a:pos x="1436" y="4116"/>
                </a:cxn>
                <a:cxn ang="0">
                  <a:pos x="1197" y="4018"/>
                </a:cxn>
                <a:cxn ang="0">
                  <a:pos x="975" y="3895"/>
                </a:cxn>
                <a:cxn ang="0">
                  <a:pos x="770" y="3744"/>
                </a:cxn>
                <a:cxn ang="0">
                  <a:pos x="584" y="3572"/>
                </a:cxn>
                <a:cxn ang="0">
                  <a:pos x="420" y="3379"/>
                </a:cxn>
                <a:cxn ang="0">
                  <a:pos x="280" y="3165"/>
                </a:cxn>
                <a:cxn ang="0">
                  <a:pos x="166" y="2937"/>
                </a:cxn>
                <a:cxn ang="0">
                  <a:pos x="80" y="2692"/>
                </a:cxn>
                <a:cxn ang="0">
                  <a:pos x="25" y="2435"/>
                </a:cxn>
                <a:cxn ang="0">
                  <a:pos x="1" y="2168"/>
                </a:cxn>
                <a:cxn ang="0">
                  <a:pos x="6" y="1951"/>
                </a:cxn>
                <a:cxn ang="0">
                  <a:pos x="43" y="1687"/>
                </a:cxn>
                <a:cxn ang="0">
                  <a:pos x="111" y="1436"/>
                </a:cxn>
                <a:cxn ang="0">
                  <a:pos x="208" y="1197"/>
                </a:cxn>
                <a:cxn ang="0">
                  <a:pos x="333" y="974"/>
                </a:cxn>
                <a:cxn ang="0">
                  <a:pos x="483" y="769"/>
                </a:cxn>
                <a:cxn ang="0">
                  <a:pos x="655" y="583"/>
                </a:cxn>
                <a:cxn ang="0">
                  <a:pos x="849" y="420"/>
                </a:cxn>
                <a:cxn ang="0">
                  <a:pos x="1062" y="280"/>
                </a:cxn>
                <a:cxn ang="0">
                  <a:pos x="1291" y="165"/>
                </a:cxn>
                <a:cxn ang="0">
                  <a:pos x="1535" y="80"/>
                </a:cxn>
                <a:cxn ang="0">
                  <a:pos x="1793" y="23"/>
                </a:cxn>
                <a:cxn ang="0">
                  <a:pos x="2060" y="1"/>
                </a:cxn>
                <a:cxn ang="0">
                  <a:pos x="2277" y="6"/>
                </a:cxn>
                <a:cxn ang="0">
                  <a:pos x="2541" y="43"/>
                </a:cxn>
                <a:cxn ang="0">
                  <a:pos x="2792" y="111"/>
                </a:cxn>
                <a:cxn ang="0">
                  <a:pos x="3032" y="208"/>
                </a:cxn>
                <a:cxn ang="0">
                  <a:pos x="3254" y="332"/>
                </a:cxn>
                <a:cxn ang="0">
                  <a:pos x="3459" y="482"/>
                </a:cxn>
                <a:cxn ang="0">
                  <a:pos x="3645" y="655"/>
                </a:cxn>
                <a:cxn ang="0">
                  <a:pos x="3809" y="848"/>
                </a:cxn>
                <a:cxn ang="0">
                  <a:pos x="3949" y="1061"/>
                </a:cxn>
                <a:cxn ang="0">
                  <a:pos x="4063" y="1290"/>
                </a:cxn>
                <a:cxn ang="0">
                  <a:pos x="4149" y="1534"/>
                </a:cxn>
                <a:cxn ang="0">
                  <a:pos x="4204" y="1791"/>
                </a:cxn>
                <a:cxn ang="0">
                  <a:pos x="4228" y="2059"/>
                </a:cxn>
              </a:cxnLst>
              <a:rect l="0" t="0" r="r" b="b"/>
              <a:pathLst>
                <a:path w="4229" h="4227">
                  <a:moveTo>
                    <a:pt x="4229" y="2113"/>
                  </a:moveTo>
                  <a:lnTo>
                    <a:pt x="4229" y="2113"/>
                  </a:lnTo>
                  <a:lnTo>
                    <a:pt x="4228" y="2168"/>
                  </a:lnTo>
                  <a:lnTo>
                    <a:pt x="4226" y="2222"/>
                  </a:lnTo>
                  <a:lnTo>
                    <a:pt x="4223" y="2276"/>
                  </a:lnTo>
                  <a:lnTo>
                    <a:pt x="4218" y="2330"/>
                  </a:lnTo>
                  <a:lnTo>
                    <a:pt x="4212" y="2382"/>
                  </a:lnTo>
                  <a:lnTo>
                    <a:pt x="4204" y="2435"/>
                  </a:lnTo>
                  <a:lnTo>
                    <a:pt x="4196" y="2487"/>
                  </a:lnTo>
                  <a:lnTo>
                    <a:pt x="4186" y="2539"/>
                  </a:lnTo>
                  <a:lnTo>
                    <a:pt x="4175" y="2590"/>
                  </a:lnTo>
                  <a:lnTo>
                    <a:pt x="4162" y="2642"/>
                  </a:lnTo>
                  <a:lnTo>
                    <a:pt x="4149" y="2692"/>
                  </a:lnTo>
                  <a:lnTo>
                    <a:pt x="4134" y="2742"/>
                  </a:lnTo>
                  <a:lnTo>
                    <a:pt x="4118" y="2791"/>
                  </a:lnTo>
                  <a:lnTo>
                    <a:pt x="4101" y="2840"/>
                  </a:lnTo>
                  <a:lnTo>
                    <a:pt x="4083" y="2888"/>
                  </a:lnTo>
                  <a:lnTo>
                    <a:pt x="4063" y="2937"/>
                  </a:lnTo>
                  <a:lnTo>
                    <a:pt x="4042" y="2983"/>
                  </a:lnTo>
                  <a:lnTo>
                    <a:pt x="4021" y="3029"/>
                  </a:lnTo>
                  <a:lnTo>
                    <a:pt x="3998" y="3076"/>
                  </a:lnTo>
                  <a:lnTo>
                    <a:pt x="3973" y="3121"/>
                  </a:lnTo>
                  <a:lnTo>
                    <a:pt x="3949" y="3165"/>
                  </a:lnTo>
                  <a:lnTo>
                    <a:pt x="3923" y="3210"/>
                  </a:lnTo>
                  <a:lnTo>
                    <a:pt x="3896" y="3253"/>
                  </a:lnTo>
                  <a:lnTo>
                    <a:pt x="3868" y="3295"/>
                  </a:lnTo>
                  <a:lnTo>
                    <a:pt x="3839" y="3337"/>
                  </a:lnTo>
                  <a:lnTo>
                    <a:pt x="3809" y="3379"/>
                  </a:lnTo>
                  <a:lnTo>
                    <a:pt x="3778" y="3419"/>
                  </a:lnTo>
                  <a:lnTo>
                    <a:pt x="3747" y="3458"/>
                  </a:lnTo>
                  <a:lnTo>
                    <a:pt x="3714" y="3497"/>
                  </a:lnTo>
                  <a:lnTo>
                    <a:pt x="3680" y="3535"/>
                  </a:lnTo>
                  <a:lnTo>
                    <a:pt x="3645" y="3572"/>
                  </a:lnTo>
                  <a:lnTo>
                    <a:pt x="3610" y="3608"/>
                  </a:lnTo>
                  <a:lnTo>
                    <a:pt x="3574" y="3643"/>
                  </a:lnTo>
                  <a:lnTo>
                    <a:pt x="3536" y="3678"/>
                  </a:lnTo>
                  <a:lnTo>
                    <a:pt x="3498" y="3711"/>
                  </a:lnTo>
                  <a:lnTo>
                    <a:pt x="3459" y="3744"/>
                  </a:lnTo>
                  <a:lnTo>
                    <a:pt x="3420" y="3776"/>
                  </a:lnTo>
                  <a:lnTo>
                    <a:pt x="3380" y="3807"/>
                  </a:lnTo>
                  <a:lnTo>
                    <a:pt x="3339" y="3837"/>
                  </a:lnTo>
                  <a:lnTo>
                    <a:pt x="3296" y="3866"/>
                  </a:lnTo>
                  <a:lnTo>
                    <a:pt x="3254" y="3895"/>
                  </a:lnTo>
                  <a:lnTo>
                    <a:pt x="3211" y="3921"/>
                  </a:lnTo>
                  <a:lnTo>
                    <a:pt x="3167" y="3947"/>
                  </a:lnTo>
                  <a:lnTo>
                    <a:pt x="3122" y="3972"/>
                  </a:lnTo>
                  <a:lnTo>
                    <a:pt x="3077" y="3996"/>
                  </a:lnTo>
                  <a:lnTo>
                    <a:pt x="3032" y="4018"/>
                  </a:lnTo>
                  <a:lnTo>
                    <a:pt x="2985" y="4041"/>
                  </a:lnTo>
                  <a:lnTo>
                    <a:pt x="2938" y="4062"/>
                  </a:lnTo>
                  <a:lnTo>
                    <a:pt x="2890" y="4081"/>
                  </a:lnTo>
                  <a:lnTo>
                    <a:pt x="2842" y="4099"/>
                  </a:lnTo>
                  <a:lnTo>
                    <a:pt x="2792" y="4116"/>
                  </a:lnTo>
                  <a:lnTo>
                    <a:pt x="2743" y="4133"/>
                  </a:lnTo>
                  <a:lnTo>
                    <a:pt x="2694" y="4147"/>
                  </a:lnTo>
                  <a:lnTo>
                    <a:pt x="2643" y="4160"/>
                  </a:lnTo>
                  <a:lnTo>
                    <a:pt x="2593" y="4173"/>
                  </a:lnTo>
                  <a:lnTo>
                    <a:pt x="2541" y="4184"/>
                  </a:lnTo>
                  <a:lnTo>
                    <a:pt x="2489" y="4194"/>
                  </a:lnTo>
                  <a:lnTo>
                    <a:pt x="2437" y="4203"/>
                  </a:lnTo>
                  <a:lnTo>
                    <a:pt x="2383" y="4210"/>
                  </a:lnTo>
                  <a:lnTo>
                    <a:pt x="2331" y="4216"/>
                  </a:lnTo>
                  <a:lnTo>
                    <a:pt x="2277" y="4221"/>
                  </a:lnTo>
                  <a:lnTo>
                    <a:pt x="2224" y="4224"/>
                  </a:lnTo>
                  <a:lnTo>
                    <a:pt x="2169" y="4226"/>
                  </a:lnTo>
                  <a:lnTo>
                    <a:pt x="2114" y="4227"/>
                  </a:lnTo>
                  <a:lnTo>
                    <a:pt x="2114" y="4227"/>
                  </a:lnTo>
                  <a:lnTo>
                    <a:pt x="2060" y="4226"/>
                  </a:lnTo>
                  <a:lnTo>
                    <a:pt x="2005" y="4224"/>
                  </a:lnTo>
                  <a:lnTo>
                    <a:pt x="1952" y="4221"/>
                  </a:lnTo>
                  <a:lnTo>
                    <a:pt x="1898" y="4216"/>
                  </a:lnTo>
                  <a:lnTo>
                    <a:pt x="1846" y="4210"/>
                  </a:lnTo>
                  <a:lnTo>
                    <a:pt x="1793" y="4203"/>
                  </a:lnTo>
                  <a:lnTo>
                    <a:pt x="1740" y="4194"/>
                  </a:lnTo>
                  <a:lnTo>
                    <a:pt x="1689" y="4184"/>
                  </a:lnTo>
                  <a:lnTo>
                    <a:pt x="1637" y="4173"/>
                  </a:lnTo>
                  <a:lnTo>
                    <a:pt x="1586" y="4160"/>
                  </a:lnTo>
                  <a:lnTo>
                    <a:pt x="1535" y="4147"/>
                  </a:lnTo>
                  <a:lnTo>
                    <a:pt x="1486" y="4133"/>
                  </a:lnTo>
                  <a:lnTo>
                    <a:pt x="1436" y="4116"/>
                  </a:lnTo>
                  <a:lnTo>
                    <a:pt x="1388" y="4099"/>
                  </a:lnTo>
                  <a:lnTo>
                    <a:pt x="1340" y="4081"/>
                  </a:lnTo>
                  <a:lnTo>
                    <a:pt x="1291" y="4062"/>
                  </a:lnTo>
                  <a:lnTo>
                    <a:pt x="1245" y="4041"/>
                  </a:lnTo>
                  <a:lnTo>
                    <a:pt x="1197" y="4018"/>
                  </a:lnTo>
                  <a:lnTo>
                    <a:pt x="1152" y="3996"/>
                  </a:lnTo>
                  <a:lnTo>
                    <a:pt x="1107" y="3972"/>
                  </a:lnTo>
                  <a:lnTo>
                    <a:pt x="1062" y="3947"/>
                  </a:lnTo>
                  <a:lnTo>
                    <a:pt x="1018" y="3921"/>
                  </a:lnTo>
                  <a:lnTo>
                    <a:pt x="975" y="3895"/>
                  </a:lnTo>
                  <a:lnTo>
                    <a:pt x="933" y="3866"/>
                  </a:lnTo>
                  <a:lnTo>
                    <a:pt x="890" y="3837"/>
                  </a:lnTo>
                  <a:lnTo>
                    <a:pt x="849" y="3807"/>
                  </a:lnTo>
                  <a:lnTo>
                    <a:pt x="809" y="3776"/>
                  </a:lnTo>
                  <a:lnTo>
                    <a:pt x="770" y="3744"/>
                  </a:lnTo>
                  <a:lnTo>
                    <a:pt x="731" y="3711"/>
                  </a:lnTo>
                  <a:lnTo>
                    <a:pt x="692" y="3678"/>
                  </a:lnTo>
                  <a:lnTo>
                    <a:pt x="655" y="3643"/>
                  </a:lnTo>
                  <a:lnTo>
                    <a:pt x="619" y="3608"/>
                  </a:lnTo>
                  <a:lnTo>
                    <a:pt x="584" y="3572"/>
                  </a:lnTo>
                  <a:lnTo>
                    <a:pt x="549" y="3535"/>
                  </a:lnTo>
                  <a:lnTo>
                    <a:pt x="515" y="3497"/>
                  </a:lnTo>
                  <a:lnTo>
                    <a:pt x="483" y="3458"/>
                  </a:lnTo>
                  <a:lnTo>
                    <a:pt x="451" y="3419"/>
                  </a:lnTo>
                  <a:lnTo>
                    <a:pt x="420" y="3379"/>
                  </a:lnTo>
                  <a:lnTo>
                    <a:pt x="391" y="3337"/>
                  </a:lnTo>
                  <a:lnTo>
                    <a:pt x="362" y="3295"/>
                  </a:lnTo>
                  <a:lnTo>
                    <a:pt x="333" y="3253"/>
                  </a:lnTo>
                  <a:lnTo>
                    <a:pt x="306" y="3210"/>
                  </a:lnTo>
                  <a:lnTo>
                    <a:pt x="280" y="3165"/>
                  </a:lnTo>
                  <a:lnTo>
                    <a:pt x="256" y="3121"/>
                  </a:lnTo>
                  <a:lnTo>
                    <a:pt x="232" y="3076"/>
                  </a:lnTo>
                  <a:lnTo>
                    <a:pt x="208" y="3029"/>
                  </a:lnTo>
                  <a:lnTo>
                    <a:pt x="187" y="2983"/>
                  </a:lnTo>
                  <a:lnTo>
                    <a:pt x="166" y="2937"/>
                  </a:lnTo>
                  <a:lnTo>
                    <a:pt x="146" y="2888"/>
                  </a:lnTo>
                  <a:lnTo>
                    <a:pt x="129" y="2840"/>
                  </a:lnTo>
                  <a:lnTo>
                    <a:pt x="111" y="2791"/>
                  </a:lnTo>
                  <a:lnTo>
                    <a:pt x="95" y="2742"/>
                  </a:lnTo>
                  <a:lnTo>
                    <a:pt x="80" y="2692"/>
                  </a:lnTo>
                  <a:lnTo>
                    <a:pt x="67" y="2642"/>
                  </a:lnTo>
                  <a:lnTo>
                    <a:pt x="55" y="2590"/>
                  </a:lnTo>
                  <a:lnTo>
                    <a:pt x="43" y="2539"/>
                  </a:lnTo>
                  <a:lnTo>
                    <a:pt x="33" y="2487"/>
                  </a:lnTo>
                  <a:lnTo>
                    <a:pt x="25" y="2435"/>
                  </a:lnTo>
                  <a:lnTo>
                    <a:pt x="18" y="2382"/>
                  </a:lnTo>
                  <a:lnTo>
                    <a:pt x="11" y="2330"/>
                  </a:lnTo>
                  <a:lnTo>
                    <a:pt x="6" y="2276"/>
                  </a:lnTo>
                  <a:lnTo>
                    <a:pt x="3" y="2222"/>
                  </a:lnTo>
                  <a:lnTo>
                    <a:pt x="1" y="2168"/>
                  </a:lnTo>
                  <a:lnTo>
                    <a:pt x="0" y="2113"/>
                  </a:lnTo>
                  <a:lnTo>
                    <a:pt x="0" y="2113"/>
                  </a:lnTo>
                  <a:lnTo>
                    <a:pt x="1" y="2059"/>
                  </a:lnTo>
                  <a:lnTo>
                    <a:pt x="3" y="2004"/>
                  </a:lnTo>
                  <a:lnTo>
                    <a:pt x="6" y="1951"/>
                  </a:lnTo>
                  <a:lnTo>
                    <a:pt x="11" y="1897"/>
                  </a:lnTo>
                  <a:lnTo>
                    <a:pt x="18" y="1844"/>
                  </a:lnTo>
                  <a:lnTo>
                    <a:pt x="25" y="1791"/>
                  </a:lnTo>
                  <a:lnTo>
                    <a:pt x="33" y="1740"/>
                  </a:lnTo>
                  <a:lnTo>
                    <a:pt x="43" y="1687"/>
                  </a:lnTo>
                  <a:lnTo>
                    <a:pt x="55" y="1635"/>
                  </a:lnTo>
                  <a:lnTo>
                    <a:pt x="67" y="1585"/>
                  </a:lnTo>
                  <a:lnTo>
                    <a:pt x="80" y="1534"/>
                  </a:lnTo>
                  <a:lnTo>
                    <a:pt x="95" y="1485"/>
                  </a:lnTo>
                  <a:lnTo>
                    <a:pt x="111" y="1436"/>
                  </a:lnTo>
                  <a:lnTo>
                    <a:pt x="129" y="1386"/>
                  </a:lnTo>
                  <a:lnTo>
                    <a:pt x="146" y="1338"/>
                  </a:lnTo>
                  <a:lnTo>
                    <a:pt x="166" y="1290"/>
                  </a:lnTo>
                  <a:lnTo>
                    <a:pt x="187" y="1243"/>
                  </a:lnTo>
                  <a:lnTo>
                    <a:pt x="208" y="1197"/>
                  </a:lnTo>
                  <a:lnTo>
                    <a:pt x="232" y="1151"/>
                  </a:lnTo>
                  <a:lnTo>
                    <a:pt x="256" y="1106"/>
                  </a:lnTo>
                  <a:lnTo>
                    <a:pt x="280" y="1061"/>
                  </a:lnTo>
                  <a:lnTo>
                    <a:pt x="306" y="1017"/>
                  </a:lnTo>
                  <a:lnTo>
                    <a:pt x="333" y="974"/>
                  </a:lnTo>
                  <a:lnTo>
                    <a:pt x="362" y="932"/>
                  </a:lnTo>
                  <a:lnTo>
                    <a:pt x="391" y="890"/>
                  </a:lnTo>
                  <a:lnTo>
                    <a:pt x="420" y="848"/>
                  </a:lnTo>
                  <a:lnTo>
                    <a:pt x="451" y="808"/>
                  </a:lnTo>
                  <a:lnTo>
                    <a:pt x="483" y="769"/>
                  </a:lnTo>
                  <a:lnTo>
                    <a:pt x="515" y="730"/>
                  </a:lnTo>
                  <a:lnTo>
                    <a:pt x="549" y="692"/>
                  </a:lnTo>
                  <a:lnTo>
                    <a:pt x="584" y="655"/>
                  </a:lnTo>
                  <a:lnTo>
                    <a:pt x="619" y="619"/>
                  </a:lnTo>
                  <a:lnTo>
                    <a:pt x="655" y="583"/>
                  </a:lnTo>
                  <a:lnTo>
                    <a:pt x="692" y="549"/>
                  </a:lnTo>
                  <a:lnTo>
                    <a:pt x="731" y="515"/>
                  </a:lnTo>
                  <a:lnTo>
                    <a:pt x="770" y="482"/>
                  </a:lnTo>
                  <a:lnTo>
                    <a:pt x="809" y="451"/>
                  </a:lnTo>
                  <a:lnTo>
                    <a:pt x="849" y="420"/>
                  </a:lnTo>
                  <a:lnTo>
                    <a:pt x="890" y="389"/>
                  </a:lnTo>
                  <a:lnTo>
                    <a:pt x="933" y="360"/>
                  </a:lnTo>
                  <a:lnTo>
                    <a:pt x="975" y="332"/>
                  </a:lnTo>
                  <a:lnTo>
                    <a:pt x="1018" y="306"/>
                  </a:lnTo>
                  <a:lnTo>
                    <a:pt x="1062" y="280"/>
                  </a:lnTo>
                  <a:lnTo>
                    <a:pt x="1107" y="255"/>
                  </a:lnTo>
                  <a:lnTo>
                    <a:pt x="1152" y="230"/>
                  </a:lnTo>
                  <a:lnTo>
                    <a:pt x="1197" y="208"/>
                  </a:lnTo>
                  <a:lnTo>
                    <a:pt x="1245" y="186"/>
                  </a:lnTo>
                  <a:lnTo>
                    <a:pt x="1291" y="165"/>
                  </a:lnTo>
                  <a:lnTo>
                    <a:pt x="1340" y="146"/>
                  </a:lnTo>
                  <a:lnTo>
                    <a:pt x="1388" y="127"/>
                  </a:lnTo>
                  <a:lnTo>
                    <a:pt x="1436" y="111"/>
                  </a:lnTo>
                  <a:lnTo>
                    <a:pt x="1486" y="94"/>
                  </a:lnTo>
                  <a:lnTo>
                    <a:pt x="1535" y="80"/>
                  </a:lnTo>
                  <a:lnTo>
                    <a:pt x="1586" y="65"/>
                  </a:lnTo>
                  <a:lnTo>
                    <a:pt x="1637" y="53"/>
                  </a:lnTo>
                  <a:lnTo>
                    <a:pt x="1689" y="43"/>
                  </a:lnTo>
                  <a:lnTo>
                    <a:pt x="1740" y="33"/>
                  </a:lnTo>
                  <a:lnTo>
                    <a:pt x="1793" y="23"/>
                  </a:lnTo>
                  <a:lnTo>
                    <a:pt x="1846" y="16"/>
                  </a:lnTo>
                  <a:lnTo>
                    <a:pt x="1898" y="10"/>
                  </a:lnTo>
                  <a:lnTo>
                    <a:pt x="1952" y="6"/>
                  </a:lnTo>
                  <a:lnTo>
                    <a:pt x="2005" y="3"/>
                  </a:lnTo>
                  <a:lnTo>
                    <a:pt x="2060" y="1"/>
                  </a:lnTo>
                  <a:lnTo>
                    <a:pt x="2114" y="0"/>
                  </a:lnTo>
                  <a:lnTo>
                    <a:pt x="2114" y="0"/>
                  </a:lnTo>
                  <a:lnTo>
                    <a:pt x="2169" y="1"/>
                  </a:lnTo>
                  <a:lnTo>
                    <a:pt x="2224" y="3"/>
                  </a:lnTo>
                  <a:lnTo>
                    <a:pt x="2277" y="6"/>
                  </a:lnTo>
                  <a:lnTo>
                    <a:pt x="2331" y="10"/>
                  </a:lnTo>
                  <a:lnTo>
                    <a:pt x="2383" y="16"/>
                  </a:lnTo>
                  <a:lnTo>
                    <a:pt x="2437" y="23"/>
                  </a:lnTo>
                  <a:lnTo>
                    <a:pt x="2489" y="33"/>
                  </a:lnTo>
                  <a:lnTo>
                    <a:pt x="2541" y="43"/>
                  </a:lnTo>
                  <a:lnTo>
                    <a:pt x="2593" y="53"/>
                  </a:lnTo>
                  <a:lnTo>
                    <a:pt x="2643" y="65"/>
                  </a:lnTo>
                  <a:lnTo>
                    <a:pt x="2694" y="80"/>
                  </a:lnTo>
                  <a:lnTo>
                    <a:pt x="2743" y="94"/>
                  </a:lnTo>
                  <a:lnTo>
                    <a:pt x="2792" y="111"/>
                  </a:lnTo>
                  <a:lnTo>
                    <a:pt x="2842" y="127"/>
                  </a:lnTo>
                  <a:lnTo>
                    <a:pt x="2890" y="146"/>
                  </a:lnTo>
                  <a:lnTo>
                    <a:pt x="2938" y="165"/>
                  </a:lnTo>
                  <a:lnTo>
                    <a:pt x="2985" y="186"/>
                  </a:lnTo>
                  <a:lnTo>
                    <a:pt x="3032" y="208"/>
                  </a:lnTo>
                  <a:lnTo>
                    <a:pt x="3077" y="230"/>
                  </a:lnTo>
                  <a:lnTo>
                    <a:pt x="3122" y="255"/>
                  </a:lnTo>
                  <a:lnTo>
                    <a:pt x="3167" y="280"/>
                  </a:lnTo>
                  <a:lnTo>
                    <a:pt x="3211" y="306"/>
                  </a:lnTo>
                  <a:lnTo>
                    <a:pt x="3254" y="332"/>
                  </a:lnTo>
                  <a:lnTo>
                    <a:pt x="3296" y="360"/>
                  </a:lnTo>
                  <a:lnTo>
                    <a:pt x="3339" y="389"/>
                  </a:lnTo>
                  <a:lnTo>
                    <a:pt x="3380" y="420"/>
                  </a:lnTo>
                  <a:lnTo>
                    <a:pt x="3420" y="451"/>
                  </a:lnTo>
                  <a:lnTo>
                    <a:pt x="3459" y="482"/>
                  </a:lnTo>
                  <a:lnTo>
                    <a:pt x="3498" y="515"/>
                  </a:lnTo>
                  <a:lnTo>
                    <a:pt x="3536" y="549"/>
                  </a:lnTo>
                  <a:lnTo>
                    <a:pt x="3574" y="583"/>
                  </a:lnTo>
                  <a:lnTo>
                    <a:pt x="3610" y="619"/>
                  </a:lnTo>
                  <a:lnTo>
                    <a:pt x="3645" y="655"/>
                  </a:lnTo>
                  <a:lnTo>
                    <a:pt x="3680" y="692"/>
                  </a:lnTo>
                  <a:lnTo>
                    <a:pt x="3714" y="730"/>
                  </a:lnTo>
                  <a:lnTo>
                    <a:pt x="3747" y="769"/>
                  </a:lnTo>
                  <a:lnTo>
                    <a:pt x="3778" y="808"/>
                  </a:lnTo>
                  <a:lnTo>
                    <a:pt x="3809" y="848"/>
                  </a:lnTo>
                  <a:lnTo>
                    <a:pt x="3839" y="890"/>
                  </a:lnTo>
                  <a:lnTo>
                    <a:pt x="3868" y="932"/>
                  </a:lnTo>
                  <a:lnTo>
                    <a:pt x="3896" y="974"/>
                  </a:lnTo>
                  <a:lnTo>
                    <a:pt x="3923" y="1017"/>
                  </a:lnTo>
                  <a:lnTo>
                    <a:pt x="3949" y="1061"/>
                  </a:lnTo>
                  <a:lnTo>
                    <a:pt x="3973" y="1106"/>
                  </a:lnTo>
                  <a:lnTo>
                    <a:pt x="3998" y="1151"/>
                  </a:lnTo>
                  <a:lnTo>
                    <a:pt x="4021" y="1197"/>
                  </a:lnTo>
                  <a:lnTo>
                    <a:pt x="4042" y="1243"/>
                  </a:lnTo>
                  <a:lnTo>
                    <a:pt x="4063" y="1290"/>
                  </a:lnTo>
                  <a:lnTo>
                    <a:pt x="4083" y="1338"/>
                  </a:lnTo>
                  <a:lnTo>
                    <a:pt x="4101" y="1386"/>
                  </a:lnTo>
                  <a:lnTo>
                    <a:pt x="4118" y="1436"/>
                  </a:lnTo>
                  <a:lnTo>
                    <a:pt x="4134" y="1485"/>
                  </a:lnTo>
                  <a:lnTo>
                    <a:pt x="4149" y="1534"/>
                  </a:lnTo>
                  <a:lnTo>
                    <a:pt x="4162" y="1585"/>
                  </a:lnTo>
                  <a:lnTo>
                    <a:pt x="4175" y="1635"/>
                  </a:lnTo>
                  <a:lnTo>
                    <a:pt x="4186" y="1687"/>
                  </a:lnTo>
                  <a:lnTo>
                    <a:pt x="4196" y="1740"/>
                  </a:lnTo>
                  <a:lnTo>
                    <a:pt x="4204" y="1791"/>
                  </a:lnTo>
                  <a:lnTo>
                    <a:pt x="4212" y="1844"/>
                  </a:lnTo>
                  <a:lnTo>
                    <a:pt x="4218" y="1897"/>
                  </a:lnTo>
                  <a:lnTo>
                    <a:pt x="4223" y="1951"/>
                  </a:lnTo>
                  <a:lnTo>
                    <a:pt x="4226" y="2004"/>
                  </a:lnTo>
                  <a:lnTo>
                    <a:pt x="4228" y="2059"/>
                  </a:lnTo>
                  <a:lnTo>
                    <a:pt x="4229" y="2113"/>
                  </a:lnTo>
                  <a:close/>
                </a:path>
              </a:pathLst>
            </a:custGeom>
            <a:solidFill>
              <a:srgbClr val="4CC5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4" name="Freeform 587">
              <a:extLst>
                <a:ext uri="{FF2B5EF4-FFF2-40B4-BE49-F238E27FC236}">
                  <a16:creationId xmlns:a16="http://schemas.microsoft.com/office/drawing/2014/main" id="{237B43D2-F3F3-BF48-71AA-88AFB7E56C3F}"/>
                </a:ext>
              </a:extLst>
            </p:cNvPr>
            <p:cNvSpPr>
              <a:spLocks/>
            </p:cNvSpPr>
            <p:nvPr/>
          </p:nvSpPr>
          <p:spPr bwMode="auto">
            <a:xfrm>
              <a:off x="3336926" y="3181350"/>
              <a:ext cx="839788" cy="839787"/>
            </a:xfrm>
            <a:custGeom>
              <a:avLst/>
              <a:gdLst/>
              <a:ahLst/>
              <a:cxnLst>
                <a:cxn ang="0">
                  <a:pos x="4223" y="2276"/>
                </a:cxn>
                <a:cxn ang="0">
                  <a:pos x="4186" y="2539"/>
                </a:cxn>
                <a:cxn ang="0">
                  <a:pos x="4118" y="2791"/>
                </a:cxn>
                <a:cxn ang="0">
                  <a:pos x="4021" y="3029"/>
                </a:cxn>
                <a:cxn ang="0">
                  <a:pos x="3896" y="3253"/>
                </a:cxn>
                <a:cxn ang="0">
                  <a:pos x="3747" y="3458"/>
                </a:cxn>
                <a:cxn ang="0">
                  <a:pos x="3574" y="3643"/>
                </a:cxn>
                <a:cxn ang="0">
                  <a:pos x="3380" y="3807"/>
                </a:cxn>
                <a:cxn ang="0">
                  <a:pos x="3167" y="3947"/>
                </a:cxn>
                <a:cxn ang="0">
                  <a:pos x="2938" y="4062"/>
                </a:cxn>
                <a:cxn ang="0">
                  <a:pos x="2694" y="4147"/>
                </a:cxn>
                <a:cxn ang="0">
                  <a:pos x="2437" y="4203"/>
                </a:cxn>
                <a:cxn ang="0">
                  <a:pos x="2169" y="4226"/>
                </a:cxn>
                <a:cxn ang="0">
                  <a:pos x="1952" y="4221"/>
                </a:cxn>
                <a:cxn ang="0">
                  <a:pos x="1689" y="4184"/>
                </a:cxn>
                <a:cxn ang="0">
                  <a:pos x="1436" y="4116"/>
                </a:cxn>
                <a:cxn ang="0">
                  <a:pos x="1197" y="4018"/>
                </a:cxn>
                <a:cxn ang="0">
                  <a:pos x="975" y="3895"/>
                </a:cxn>
                <a:cxn ang="0">
                  <a:pos x="770" y="3744"/>
                </a:cxn>
                <a:cxn ang="0">
                  <a:pos x="584" y="3572"/>
                </a:cxn>
                <a:cxn ang="0">
                  <a:pos x="420" y="3379"/>
                </a:cxn>
                <a:cxn ang="0">
                  <a:pos x="280" y="3165"/>
                </a:cxn>
                <a:cxn ang="0">
                  <a:pos x="166" y="2937"/>
                </a:cxn>
                <a:cxn ang="0">
                  <a:pos x="80" y="2692"/>
                </a:cxn>
                <a:cxn ang="0">
                  <a:pos x="25" y="2435"/>
                </a:cxn>
                <a:cxn ang="0">
                  <a:pos x="1" y="2168"/>
                </a:cxn>
                <a:cxn ang="0">
                  <a:pos x="6" y="1951"/>
                </a:cxn>
                <a:cxn ang="0">
                  <a:pos x="43" y="1687"/>
                </a:cxn>
                <a:cxn ang="0">
                  <a:pos x="111" y="1436"/>
                </a:cxn>
                <a:cxn ang="0">
                  <a:pos x="208" y="1197"/>
                </a:cxn>
                <a:cxn ang="0">
                  <a:pos x="333" y="974"/>
                </a:cxn>
                <a:cxn ang="0">
                  <a:pos x="483" y="769"/>
                </a:cxn>
                <a:cxn ang="0">
                  <a:pos x="655" y="583"/>
                </a:cxn>
                <a:cxn ang="0">
                  <a:pos x="849" y="420"/>
                </a:cxn>
                <a:cxn ang="0">
                  <a:pos x="1062" y="280"/>
                </a:cxn>
                <a:cxn ang="0">
                  <a:pos x="1291" y="165"/>
                </a:cxn>
                <a:cxn ang="0">
                  <a:pos x="1535" y="80"/>
                </a:cxn>
                <a:cxn ang="0">
                  <a:pos x="1793" y="23"/>
                </a:cxn>
                <a:cxn ang="0">
                  <a:pos x="2060" y="1"/>
                </a:cxn>
                <a:cxn ang="0">
                  <a:pos x="2277" y="6"/>
                </a:cxn>
                <a:cxn ang="0">
                  <a:pos x="2541" y="43"/>
                </a:cxn>
                <a:cxn ang="0">
                  <a:pos x="2792" y="111"/>
                </a:cxn>
                <a:cxn ang="0">
                  <a:pos x="3032" y="208"/>
                </a:cxn>
                <a:cxn ang="0">
                  <a:pos x="3254" y="332"/>
                </a:cxn>
                <a:cxn ang="0">
                  <a:pos x="3459" y="482"/>
                </a:cxn>
                <a:cxn ang="0">
                  <a:pos x="3645" y="655"/>
                </a:cxn>
                <a:cxn ang="0">
                  <a:pos x="3809" y="848"/>
                </a:cxn>
                <a:cxn ang="0">
                  <a:pos x="3949" y="1061"/>
                </a:cxn>
                <a:cxn ang="0">
                  <a:pos x="4063" y="1290"/>
                </a:cxn>
                <a:cxn ang="0">
                  <a:pos x="4149" y="1534"/>
                </a:cxn>
                <a:cxn ang="0">
                  <a:pos x="4204" y="1791"/>
                </a:cxn>
                <a:cxn ang="0">
                  <a:pos x="4228" y="2059"/>
                </a:cxn>
              </a:cxnLst>
              <a:rect l="0" t="0" r="r" b="b"/>
              <a:pathLst>
                <a:path w="4229" h="4227">
                  <a:moveTo>
                    <a:pt x="4229" y="2113"/>
                  </a:moveTo>
                  <a:lnTo>
                    <a:pt x="4229" y="2113"/>
                  </a:lnTo>
                  <a:lnTo>
                    <a:pt x="4228" y="2168"/>
                  </a:lnTo>
                  <a:lnTo>
                    <a:pt x="4226" y="2222"/>
                  </a:lnTo>
                  <a:lnTo>
                    <a:pt x="4223" y="2276"/>
                  </a:lnTo>
                  <a:lnTo>
                    <a:pt x="4218" y="2330"/>
                  </a:lnTo>
                  <a:lnTo>
                    <a:pt x="4212" y="2382"/>
                  </a:lnTo>
                  <a:lnTo>
                    <a:pt x="4204" y="2435"/>
                  </a:lnTo>
                  <a:lnTo>
                    <a:pt x="4196" y="2487"/>
                  </a:lnTo>
                  <a:lnTo>
                    <a:pt x="4186" y="2539"/>
                  </a:lnTo>
                  <a:lnTo>
                    <a:pt x="4175" y="2590"/>
                  </a:lnTo>
                  <a:lnTo>
                    <a:pt x="4162" y="2642"/>
                  </a:lnTo>
                  <a:lnTo>
                    <a:pt x="4149" y="2692"/>
                  </a:lnTo>
                  <a:lnTo>
                    <a:pt x="4134" y="2742"/>
                  </a:lnTo>
                  <a:lnTo>
                    <a:pt x="4118" y="2791"/>
                  </a:lnTo>
                  <a:lnTo>
                    <a:pt x="4101" y="2840"/>
                  </a:lnTo>
                  <a:lnTo>
                    <a:pt x="4083" y="2888"/>
                  </a:lnTo>
                  <a:lnTo>
                    <a:pt x="4063" y="2937"/>
                  </a:lnTo>
                  <a:lnTo>
                    <a:pt x="4042" y="2983"/>
                  </a:lnTo>
                  <a:lnTo>
                    <a:pt x="4021" y="3029"/>
                  </a:lnTo>
                  <a:lnTo>
                    <a:pt x="3998" y="3076"/>
                  </a:lnTo>
                  <a:lnTo>
                    <a:pt x="3973" y="3121"/>
                  </a:lnTo>
                  <a:lnTo>
                    <a:pt x="3949" y="3165"/>
                  </a:lnTo>
                  <a:lnTo>
                    <a:pt x="3923" y="3210"/>
                  </a:lnTo>
                  <a:lnTo>
                    <a:pt x="3896" y="3253"/>
                  </a:lnTo>
                  <a:lnTo>
                    <a:pt x="3868" y="3295"/>
                  </a:lnTo>
                  <a:lnTo>
                    <a:pt x="3839" y="3337"/>
                  </a:lnTo>
                  <a:lnTo>
                    <a:pt x="3809" y="3379"/>
                  </a:lnTo>
                  <a:lnTo>
                    <a:pt x="3778" y="3419"/>
                  </a:lnTo>
                  <a:lnTo>
                    <a:pt x="3747" y="3458"/>
                  </a:lnTo>
                  <a:lnTo>
                    <a:pt x="3714" y="3497"/>
                  </a:lnTo>
                  <a:lnTo>
                    <a:pt x="3680" y="3535"/>
                  </a:lnTo>
                  <a:lnTo>
                    <a:pt x="3645" y="3572"/>
                  </a:lnTo>
                  <a:lnTo>
                    <a:pt x="3610" y="3608"/>
                  </a:lnTo>
                  <a:lnTo>
                    <a:pt x="3574" y="3643"/>
                  </a:lnTo>
                  <a:lnTo>
                    <a:pt x="3536" y="3678"/>
                  </a:lnTo>
                  <a:lnTo>
                    <a:pt x="3498" y="3711"/>
                  </a:lnTo>
                  <a:lnTo>
                    <a:pt x="3459" y="3744"/>
                  </a:lnTo>
                  <a:lnTo>
                    <a:pt x="3420" y="3776"/>
                  </a:lnTo>
                  <a:lnTo>
                    <a:pt x="3380" y="3807"/>
                  </a:lnTo>
                  <a:lnTo>
                    <a:pt x="3339" y="3837"/>
                  </a:lnTo>
                  <a:lnTo>
                    <a:pt x="3296" y="3866"/>
                  </a:lnTo>
                  <a:lnTo>
                    <a:pt x="3254" y="3895"/>
                  </a:lnTo>
                  <a:lnTo>
                    <a:pt x="3211" y="3921"/>
                  </a:lnTo>
                  <a:lnTo>
                    <a:pt x="3167" y="3947"/>
                  </a:lnTo>
                  <a:lnTo>
                    <a:pt x="3122" y="3972"/>
                  </a:lnTo>
                  <a:lnTo>
                    <a:pt x="3077" y="3996"/>
                  </a:lnTo>
                  <a:lnTo>
                    <a:pt x="3032" y="4018"/>
                  </a:lnTo>
                  <a:lnTo>
                    <a:pt x="2985" y="4041"/>
                  </a:lnTo>
                  <a:lnTo>
                    <a:pt x="2938" y="4062"/>
                  </a:lnTo>
                  <a:lnTo>
                    <a:pt x="2890" y="4081"/>
                  </a:lnTo>
                  <a:lnTo>
                    <a:pt x="2842" y="4099"/>
                  </a:lnTo>
                  <a:lnTo>
                    <a:pt x="2792" y="4116"/>
                  </a:lnTo>
                  <a:lnTo>
                    <a:pt x="2743" y="4133"/>
                  </a:lnTo>
                  <a:lnTo>
                    <a:pt x="2694" y="4147"/>
                  </a:lnTo>
                  <a:lnTo>
                    <a:pt x="2643" y="4160"/>
                  </a:lnTo>
                  <a:lnTo>
                    <a:pt x="2593" y="4173"/>
                  </a:lnTo>
                  <a:lnTo>
                    <a:pt x="2541" y="4184"/>
                  </a:lnTo>
                  <a:lnTo>
                    <a:pt x="2489" y="4194"/>
                  </a:lnTo>
                  <a:lnTo>
                    <a:pt x="2437" y="4203"/>
                  </a:lnTo>
                  <a:lnTo>
                    <a:pt x="2383" y="4210"/>
                  </a:lnTo>
                  <a:lnTo>
                    <a:pt x="2331" y="4216"/>
                  </a:lnTo>
                  <a:lnTo>
                    <a:pt x="2277" y="4221"/>
                  </a:lnTo>
                  <a:lnTo>
                    <a:pt x="2224" y="4224"/>
                  </a:lnTo>
                  <a:lnTo>
                    <a:pt x="2169" y="4226"/>
                  </a:lnTo>
                  <a:lnTo>
                    <a:pt x="2114" y="4227"/>
                  </a:lnTo>
                  <a:lnTo>
                    <a:pt x="2114" y="4227"/>
                  </a:lnTo>
                  <a:lnTo>
                    <a:pt x="2060" y="4226"/>
                  </a:lnTo>
                  <a:lnTo>
                    <a:pt x="2005" y="4224"/>
                  </a:lnTo>
                  <a:lnTo>
                    <a:pt x="1952" y="4221"/>
                  </a:lnTo>
                  <a:lnTo>
                    <a:pt x="1898" y="4216"/>
                  </a:lnTo>
                  <a:lnTo>
                    <a:pt x="1846" y="4210"/>
                  </a:lnTo>
                  <a:lnTo>
                    <a:pt x="1793" y="4203"/>
                  </a:lnTo>
                  <a:lnTo>
                    <a:pt x="1740" y="4194"/>
                  </a:lnTo>
                  <a:lnTo>
                    <a:pt x="1689" y="4184"/>
                  </a:lnTo>
                  <a:lnTo>
                    <a:pt x="1637" y="4173"/>
                  </a:lnTo>
                  <a:lnTo>
                    <a:pt x="1586" y="4160"/>
                  </a:lnTo>
                  <a:lnTo>
                    <a:pt x="1535" y="4147"/>
                  </a:lnTo>
                  <a:lnTo>
                    <a:pt x="1486" y="4133"/>
                  </a:lnTo>
                  <a:lnTo>
                    <a:pt x="1436" y="4116"/>
                  </a:lnTo>
                  <a:lnTo>
                    <a:pt x="1388" y="4099"/>
                  </a:lnTo>
                  <a:lnTo>
                    <a:pt x="1340" y="4081"/>
                  </a:lnTo>
                  <a:lnTo>
                    <a:pt x="1291" y="4062"/>
                  </a:lnTo>
                  <a:lnTo>
                    <a:pt x="1245" y="4041"/>
                  </a:lnTo>
                  <a:lnTo>
                    <a:pt x="1197" y="4018"/>
                  </a:lnTo>
                  <a:lnTo>
                    <a:pt x="1152" y="3996"/>
                  </a:lnTo>
                  <a:lnTo>
                    <a:pt x="1107" y="3972"/>
                  </a:lnTo>
                  <a:lnTo>
                    <a:pt x="1062" y="3947"/>
                  </a:lnTo>
                  <a:lnTo>
                    <a:pt x="1018" y="3921"/>
                  </a:lnTo>
                  <a:lnTo>
                    <a:pt x="975" y="3895"/>
                  </a:lnTo>
                  <a:lnTo>
                    <a:pt x="933" y="3866"/>
                  </a:lnTo>
                  <a:lnTo>
                    <a:pt x="890" y="3837"/>
                  </a:lnTo>
                  <a:lnTo>
                    <a:pt x="849" y="3807"/>
                  </a:lnTo>
                  <a:lnTo>
                    <a:pt x="809" y="3776"/>
                  </a:lnTo>
                  <a:lnTo>
                    <a:pt x="770" y="3744"/>
                  </a:lnTo>
                  <a:lnTo>
                    <a:pt x="731" y="3711"/>
                  </a:lnTo>
                  <a:lnTo>
                    <a:pt x="692" y="3678"/>
                  </a:lnTo>
                  <a:lnTo>
                    <a:pt x="655" y="3643"/>
                  </a:lnTo>
                  <a:lnTo>
                    <a:pt x="619" y="3608"/>
                  </a:lnTo>
                  <a:lnTo>
                    <a:pt x="584" y="3572"/>
                  </a:lnTo>
                  <a:lnTo>
                    <a:pt x="549" y="3535"/>
                  </a:lnTo>
                  <a:lnTo>
                    <a:pt x="515" y="3497"/>
                  </a:lnTo>
                  <a:lnTo>
                    <a:pt x="483" y="3458"/>
                  </a:lnTo>
                  <a:lnTo>
                    <a:pt x="451" y="3419"/>
                  </a:lnTo>
                  <a:lnTo>
                    <a:pt x="420" y="3379"/>
                  </a:lnTo>
                  <a:lnTo>
                    <a:pt x="391" y="3337"/>
                  </a:lnTo>
                  <a:lnTo>
                    <a:pt x="362" y="3295"/>
                  </a:lnTo>
                  <a:lnTo>
                    <a:pt x="333" y="3253"/>
                  </a:lnTo>
                  <a:lnTo>
                    <a:pt x="306" y="3210"/>
                  </a:lnTo>
                  <a:lnTo>
                    <a:pt x="280" y="3165"/>
                  </a:lnTo>
                  <a:lnTo>
                    <a:pt x="256" y="3121"/>
                  </a:lnTo>
                  <a:lnTo>
                    <a:pt x="232" y="3076"/>
                  </a:lnTo>
                  <a:lnTo>
                    <a:pt x="208" y="3029"/>
                  </a:lnTo>
                  <a:lnTo>
                    <a:pt x="187" y="2983"/>
                  </a:lnTo>
                  <a:lnTo>
                    <a:pt x="166" y="2937"/>
                  </a:lnTo>
                  <a:lnTo>
                    <a:pt x="146" y="2888"/>
                  </a:lnTo>
                  <a:lnTo>
                    <a:pt x="129" y="2840"/>
                  </a:lnTo>
                  <a:lnTo>
                    <a:pt x="111" y="2791"/>
                  </a:lnTo>
                  <a:lnTo>
                    <a:pt x="95" y="2742"/>
                  </a:lnTo>
                  <a:lnTo>
                    <a:pt x="80" y="2692"/>
                  </a:lnTo>
                  <a:lnTo>
                    <a:pt x="67" y="2642"/>
                  </a:lnTo>
                  <a:lnTo>
                    <a:pt x="55" y="2590"/>
                  </a:lnTo>
                  <a:lnTo>
                    <a:pt x="43" y="2539"/>
                  </a:lnTo>
                  <a:lnTo>
                    <a:pt x="33" y="2487"/>
                  </a:lnTo>
                  <a:lnTo>
                    <a:pt x="25" y="2435"/>
                  </a:lnTo>
                  <a:lnTo>
                    <a:pt x="18" y="2382"/>
                  </a:lnTo>
                  <a:lnTo>
                    <a:pt x="11" y="2330"/>
                  </a:lnTo>
                  <a:lnTo>
                    <a:pt x="6" y="2276"/>
                  </a:lnTo>
                  <a:lnTo>
                    <a:pt x="3" y="2222"/>
                  </a:lnTo>
                  <a:lnTo>
                    <a:pt x="1" y="2168"/>
                  </a:lnTo>
                  <a:lnTo>
                    <a:pt x="0" y="2113"/>
                  </a:lnTo>
                  <a:lnTo>
                    <a:pt x="0" y="2113"/>
                  </a:lnTo>
                  <a:lnTo>
                    <a:pt x="1" y="2059"/>
                  </a:lnTo>
                  <a:lnTo>
                    <a:pt x="3" y="2004"/>
                  </a:lnTo>
                  <a:lnTo>
                    <a:pt x="6" y="1951"/>
                  </a:lnTo>
                  <a:lnTo>
                    <a:pt x="11" y="1897"/>
                  </a:lnTo>
                  <a:lnTo>
                    <a:pt x="18" y="1844"/>
                  </a:lnTo>
                  <a:lnTo>
                    <a:pt x="25" y="1791"/>
                  </a:lnTo>
                  <a:lnTo>
                    <a:pt x="33" y="1740"/>
                  </a:lnTo>
                  <a:lnTo>
                    <a:pt x="43" y="1687"/>
                  </a:lnTo>
                  <a:lnTo>
                    <a:pt x="55" y="1635"/>
                  </a:lnTo>
                  <a:lnTo>
                    <a:pt x="67" y="1585"/>
                  </a:lnTo>
                  <a:lnTo>
                    <a:pt x="80" y="1534"/>
                  </a:lnTo>
                  <a:lnTo>
                    <a:pt x="95" y="1485"/>
                  </a:lnTo>
                  <a:lnTo>
                    <a:pt x="111" y="1436"/>
                  </a:lnTo>
                  <a:lnTo>
                    <a:pt x="129" y="1386"/>
                  </a:lnTo>
                  <a:lnTo>
                    <a:pt x="146" y="1338"/>
                  </a:lnTo>
                  <a:lnTo>
                    <a:pt x="166" y="1290"/>
                  </a:lnTo>
                  <a:lnTo>
                    <a:pt x="187" y="1243"/>
                  </a:lnTo>
                  <a:lnTo>
                    <a:pt x="208" y="1197"/>
                  </a:lnTo>
                  <a:lnTo>
                    <a:pt x="232" y="1151"/>
                  </a:lnTo>
                  <a:lnTo>
                    <a:pt x="256" y="1106"/>
                  </a:lnTo>
                  <a:lnTo>
                    <a:pt x="280" y="1061"/>
                  </a:lnTo>
                  <a:lnTo>
                    <a:pt x="306" y="1017"/>
                  </a:lnTo>
                  <a:lnTo>
                    <a:pt x="333" y="974"/>
                  </a:lnTo>
                  <a:lnTo>
                    <a:pt x="362" y="932"/>
                  </a:lnTo>
                  <a:lnTo>
                    <a:pt x="391" y="890"/>
                  </a:lnTo>
                  <a:lnTo>
                    <a:pt x="420" y="848"/>
                  </a:lnTo>
                  <a:lnTo>
                    <a:pt x="451" y="808"/>
                  </a:lnTo>
                  <a:lnTo>
                    <a:pt x="483" y="769"/>
                  </a:lnTo>
                  <a:lnTo>
                    <a:pt x="515" y="730"/>
                  </a:lnTo>
                  <a:lnTo>
                    <a:pt x="549" y="692"/>
                  </a:lnTo>
                  <a:lnTo>
                    <a:pt x="584" y="655"/>
                  </a:lnTo>
                  <a:lnTo>
                    <a:pt x="619" y="619"/>
                  </a:lnTo>
                  <a:lnTo>
                    <a:pt x="655" y="583"/>
                  </a:lnTo>
                  <a:lnTo>
                    <a:pt x="692" y="549"/>
                  </a:lnTo>
                  <a:lnTo>
                    <a:pt x="731" y="515"/>
                  </a:lnTo>
                  <a:lnTo>
                    <a:pt x="770" y="482"/>
                  </a:lnTo>
                  <a:lnTo>
                    <a:pt x="809" y="451"/>
                  </a:lnTo>
                  <a:lnTo>
                    <a:pt x="849" y="420"/>
                  </a:lnTo>
                  <a:lnTo>
                    <a:pt x="890" y="389"/>
                  </a:lnTo>
                  <a:lnTo>
                    <a:pt x="933" y="360"/>
                  </a:lnTo>
                  <a:lnTo>
                    <a:pt x="975" y="332"/>
                  </a:lnTo>
                  <a:lnTo>
                    <a:pt x="1018" y="306"/>
                  </a:lnTo>
                  <a:lnTo>
                    <a:pt x="1062" y="280"/>
                  </a:lnTo>
                  <a:lnTo>
                    <a:pt x="1107" y="255"/>
                  </a:lnTo>
                  <a:lnTo>
                    <a:pt x="1152" y="230"/>
                  </a:lnTo>
                  <a:lnTo>
                    <a:pt x="1197" y="208"/>
                  </a:lnTo>
                  <a:lnTo>
                    <a:pt x="1245" y="186"/>
                  </a:lnTo>
                  <a:lnTo>
                    <a:pt x="1291" y="165"/>
                  </a:lnTo>
                  <a:lnTo>
                    <a:pt x="1340" y="146"/>
                  </a:lnTo>
                  <a:lnTo>
                    <a:pt x="1388" y="127"/>
                  </a:lnTo>
                  <a:lnTo>
                    <a:pt x="1436" y="111"/>
                  </a:lnTo>
                  <a:lnTo>
                    <a:pt x="1486" y="94"/>
                  </a:lnTo>
                  <a:lnTo>
                    <a:pt x="1535" y="80"/>
                  </a:lnTo>
                  <a:lnTo>
                    <a:pt x="1586" y="65"/>
                  </a:lnTo>
                  <a:lnTo>
                    <a:pt x="1637" y="53"/>
                  </a:lnTo>
                  <a:lnTo>
                    <a:pt x="1689" y="43"/>
                  </a:lnTo>
                  <a:lnTo>
                    <a:pt x="1740" y="33"/>
                  </a:lnTo>
                  <a:lnTo>
                    <a:pt x="1793" y="23"/>
                  </a:lnTo>
                  <a:lnTo>
                    <a:pt x="1846" y="16"/>
                  </a:lnTo>
                  <a:lnTo>
                    <a:pt x="1898" y="10"/>
                  </a:lnTo>
                  <a:lnTo>
                    <a:pt x="1952" y="6"/>
                  </a:lnTo>
                  <a:lnTo>
                    <a:pt x="2005" y="3"/>
                  </a:lnTo>
                  <a:lnTo>
                    <a:pt x="2060" y="1"/>
                  </a:lnTo>
                  <a:lnTo>
                    <a:pt x="2114" y="0"/>
                  </a:lnTo>
                  <a:lnTo>
                    <a:pt x="2114" y="0"/>
                  </a:lnTo>
                  <a:lnTo>
                    <a:pt x="2169" y="1"/>
                  </a:lnTo>
                  <a:lnTo>
                    <a:pt x="2224" y="3"/>
                  </a:lnTo>
                  <a:lnTo>
                    <a:pt x="2277" y="6"/>
                  </a:lnTo>
                  <a:lnTo>
                    <a:pt x="2331" y="10"/>
                  </a:lnTo>
                  <a:lnTo>
                    <a:pt x="2383" y="16"/>
                  </a:lnTo>
                  <a:lnTo>
                    <a:pt x="2437" y="23"/>
                  </a:lnTo>
                  <a:lnTo>
                    <a:pt x="2489" y="33"/>
                  </a:lnTo>
                  <a:lnTo>
                    <a:pt x="2541" y="43"/>
                  </a:lnTo>
                  <a:lnTo>
                    <a:pt x="2593" y="53"/>
                  </a:lnTo>
                  <a:lnTo>
                    <a:pt x="2643" y="65"/>
                  </a:lnTo>
                  <a:lnTo>
                    <a:pt x="2694" y="80"/>
                  </a:lnTo>
                  <a:lnTo>
                    <a:pt x="2743" y="94"/>
                  </a:lnTo>
                  <a:lnTo>
                    <a:pt x="2792" y="111"/>
                  </a:lnTo>
                  <a:lnTo>
                    <a:pt x="2842" y="127"/>
                  </a:lnTo>
                  <a:lnTo>
                    <a:pt x="2890" y="146"/>
                  </a:lnTo>
                  <a:lnTo>
                    <a:pt x="2938" y="165"/>
                  </a:lnTo>
                  <a:lnTo>
                    <a:pt x="2985" y="186"/>
                  </a:lnTo>
                  <a:lnTo>
                    <a:pt x="3032" y="208"/>
                  </a:lnTo>
                  <a:lnTo>
                    <a:pt x="3077" y="230"/>
                  </a:lnTo>
                  <a:lnTo>
                    <a:pt x="3122" y="255"/>
                  </a:lnTo>
                  <a:lnTo>
                    <a:pt x="3167" y="280"/>
                  </a:lnTo>
                  <a:lnTo>
                    <a:pt x="3211" y="306"/>
                  </a:lnTo>
                  <a:lnTo>
                    <a:pt x="3254" y="332"/>
                  </a:lnTo>
                  <a:lnTo>
                    <a:pt x="3296" y="360"/>
                  </a:lnTo>
                  <a:lnTo>
                    <a:pt x="3339" y="389"/>
                  </a:lnTo>
                  <a:lnTo>
                    <a:pt x="3380" y="420"/>
                  </a:lnTo>
                  <a:lnTo>
                    <a:pt x="3420" y="451"/>
                  </a:lnTo>
                  <a:lnTo>
                    <a:pt x="3459" y="482"/>
                  </a:lnTo>
                  <a:lnTo>
                    <a:pt x="3498" y="515"/>
                  </a:lnTo>
                  <a:lnTo>
                    <a:pt x="3536" y="549"/>
                  </a:lnTo>
                  <a:lnTo>
                    <a:pt x="3574" y="583"/>
                  </a:lnTo>
                  <a:lnTo>
                    <a:pt x="3610" y="619"/>
                  </a:lnTo>
                  <a:lnTo>
                    <a:pt x="3645" y="655"/>
                  </a:lnTo>
                  <a:lnTo>
                    <a:pt x="3680" y="692"/>
                  </a:lnTo>
                  <a:lnTo>
                    <a:pt x="3714" y="730"/>
                  </a:lnTo>
                  <a:lnTo>
                    <a:pt x="3747" y="769"/>
                  </a:lnTo>
                  <a:lnTo>
                    <a:pt x="3778" y="808"/>
                  </a:lnTo>
                  <a:lnTo>
                    <a:pt x="3809" y="848"/>
                  </a:lnTo>
                  <a:lnTo>
                    <a:pt x="3839" y="890"/>
                  </a:lnTo>
                  <a:lnTo>
                    <a:pt x="3868" y="932"/>
                  </a:lnTo>
                  <a:lnTo>
                    <a:pt x="3896" y="974"/>
                  </a:lnTo>
                  <a:lnTo>
                    <a:pt x="3923" y="1017"/>
                  </a:lnTo>
                  <a:lnTo>
                    <a:pt x="3949" y="1061"/>
                  </a:lnTo>
                  <a:lnTo>
                    <a:pt x="3973" y="1106"/>
                  </a:lnTo>
                  <a:lnTo>
                    <a:pt x="3998" y="1151"/>
                  </a:lnTo>
                  <a:lnTo>
                    <a:pt x="4021" y="1197"/>
                  </a:lnTo>
                  <a:lnTo>
                    <a:pt x="4042" y="1243"/>
                  </a:lnTo>
                  <a:lnTo>
                    <a:pt x="4063" y="1290"/>
                  </a:lnTo>
                  <a:lnTo>
                    <a:pt x="4083" y="1338"/>
                  </a:lnTo>
                  <a:lnTo>
                    <a:pt x="4101" y="1386"/>
                  </a:lnTo>
                  <a:lnTo>
                    <a:pt x="4118" y="1436"/>
                  </a:lnTo>
                  <a:lnTo>
                    <a:pt x="4134" y="1485"/>
                  </a:lnTo>
                  <a:lnTo>
                    <a:pt x="4149" y="1534"/>
                  </a:lnTo>
                  <a:lnTo>
                    <a:pt x="4162" y="1585"/>
                  </a:lnTo>
                  <a:lnTo>
                    <a:pt x="4175" y="1635"/>
                  </a:lnTo>
                  <a:lnTo>
                    <a:pt x="4186" y="1687"/>
                  </a:lnTo>
                  <a:lnTo>
                    <a:pt x="4196" y="1740"/>
                  </a:lnTo>
                  <a:lnTo>
                    <a:pt x="4204" y="1791"/>
                  </a:lnTo>
                  <a:lnTo>
                    <a:pt x="4212" y="1844"/>
                  </a:lnTo>
                  <a:lnTo>
                    <a:pt x="4218" y="1897"/>
                  </a:lnTo>
                  <a:lnTo>
                    <a:pt x="4223" y="1951"/>
                  </a:lnTo>
                  <a:lnTo>
                    <a:pt x="4226" y="2004"/>
                  </a:lnTo>
                  <a:lnTo>
                    <a:pt x="4228" y="2059"/>
                  </a:lnTo>
                  <a:lnTo>
                    <a:pt x="4229" y="2113"/>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5" name="Freeform 588">
              <a:extLst>
                <a:ext uri="{FF2B5EF4-FFF2-40B4-BE49-F238E27FC236}">
                  <a16:creationId xmlns:a16="http://schemas.microsoft.com/office/drawing/2014/main" id="{BBD3F140-591E-07C0-11F8-92B35C253C20}"/>
                </a:ext>
              </a:extLst>
            </p:cNvPr>
            <p:cNvSpPr>
              <a:spLocks/>
            </p:cNvSpPr>
            <p:nvPr/>
          </p:nvSpPr>
          <p:spPr bwMode="auto">
            <a:xfrm>
              <a:off x="3521076" y="3365500"/>
              <a:ext cx="471488" cy="471487"/>
            </a:xfrm>
            <a:custGeom>
              <a:avLst/>
              <a:gdLst/>
              <a:ahLst/>
              <a:cxnLst>
                <a:cxn ang="0">
                  <a:pos x="2371" y="1277"/>
                </a:cxn>
                <a:cxn ang="0">
                  <a:pos x="2351" y="1425"/>
                </a:cxn>
                <a:cxn ang="0">
                  <a:pos x="2313" y="1567"/>
                </a:cxn>
                <a:cxn ang="0">
                  <a:pos x="2257" y="1701"/>
                </a:cxn>
                <a:cxn ang="0">
                  <a:pos x="2188" y="1826"/>
                </a:cxn>
                <a:cxn ang="0">
                  <a:pos x="2104" y="1942"/>
                </a:cxn>
                <a:cxn ang="0">
                  <a:pos x="2007" y="2046"/>
                </a:cxn>
                <a:cxn ang="0">
                  <a:pos x="1897" y="2137"/>
                </a:cxn>
                <a:cxn ang="0">
                  <a:pos x="1779" y="2216"/>
                </a:cxn>
                <a:cxn ang="0">
                  <a:pos x="1650" y="2279"/>
                </a:cxn>
                <a:cxn ang="0">
                  <a:pos x="1512" y="2328"/>
                </a:cxn>
                <a:cxn ang="0">
                  <a:pos x="1369" y="2360"/>
                </a:cxn>
                <a:cxn ang="0">
                  <a:pos x="1218" y="2372"/>
                </a:cxn>
                <a:cxn ang="0">
                  <a:pos x="1096" y="2369"/>
                </a:cxn>
                <a:cxn ang="0">
                  <a:pos x="948" y="2348"/>
                </a:cxn>
                <a:cxn ang="0">
                  <a:pos x="807" y="2310"/>
                </a:cxn>
                <a:cxn ang="0">
                  <a:pos x="673" y="2256"/>
                </a:cxn>
                <a:cxn ang="0">
                  <a:pos x="548" y="2186"/>
                </a:cxn>
                <a:cxn ang="0">
                  <a:pos x="432" y="2102"/>
                </a:cxn>
                <a:cxn ang="0">
                  <a:pos x="328" y="2005"/>
                </a:cxn>
                <a:cxn ang="0">
                  <a:pos x="236" y="1896"/>
                </a:cxn>
                <a:cxn ang="0">
                  <a:pos x="158" y="1777"/>
                </a:cxn>
                <a:cxn ang="0">
                  <a:pos x="94" y="1648"/>
                </a:cxn>
                <a:cxn ang="0">
                  <a:pos x="46" y="1511"/>
                </a:cxn>
                <a:cxn ang="0">
                  <a:pos x="14" y="1367"/>
                </a:cxn>
                <a:cxn ang="0">
                  <a:pos x="0" y="1217"/>
                </a:cxn>
                <a:cxn ang="0">
                  <a:pos x="3" y="1095"/>
                </a:cxn>
                <a:cxn ang="0">
                  <a:pos x="24" y="947"/>
                </a:cxn>
                <a:cxn ang="0">
                  <a:pos x="63" y="805"/>
                </a:cxn>
                <a:cxn ang="0">
                  <a:pos x="118" y="671"/>
                </a:cxn>
                <a:cxn ang="0">
                  <a:pos x="188" y="547"/>
                </a:cxn>
                <a:cxn ang="0">
                  <a:pos x="271" y="431"/>
                </a:cxn>
                <a:cxn ang="0">
                  <a:pos x="368" y="327"/>
                </a:cxn>
                <a:cxn ang="0">
                  <a:pos x="477" y="236"/>
                </a:cxn>
                <a:cxn ang="0">
                  <a:pos x="597" y="156"/>
                </a:cxn>
                <a:cxn ang="0">
                  <a:pos x="726" y="92"/>
                </a:cxn>
                <a:cxn ang="0">
                  <a:pos x="863" y="45"/>
                </a:cxn>
                <a:cxn ang="0">
                  <a:pos x="1007" y="13"/>
                </a:cxn>
                <a:cxn ang="0">
                  <a:pos x="1157" y="0"/>
                </a:cxn>
                <a:cxn ang="0">
                  <a:pos x="1279" y="3"/>
                </a:cxn>
                <a:cxn ang="0">
                  <a:pos x="1427" y="23"/>
                </a:cxn>
                <a:cxn ang="0">
                  <a:pos x="1569" y="62"/>
                </a:cxn>
                <a:cxn ang="0">
                  <a:pos x="1703" y="116"/>
                </a:cxn>
                <a:cxn ang="0">
                  <a:pos x="1827" y="186"/>
                </a:cxn>
                <a:cxn ang="0">
                  <a:pos x="1943" y="271"/>
                </a:cxn>
                <a:cxn ang="0">
                  <a:pos x="2047" y="367"/>
                </a:cxn>
                <a:cxn ang="0">
                  <a:pos x="2139" y="477"/>
                </a:cxn>
                <a:cxn ang="0">
                  <a:pos x="2217" y="595"/>
                </a:cxn>
                <a:cxn ang="0">
                  <a:pos x="2282" y="724"/>
                </a:cxn>
                <a:cxn ang="0">
                  <a:pos x="2329" y="861"/>
                </a:cxn>
                <a:cxn ang="0">
                  <a:pos x="2361" y="1005"/>
                </a:cxn>
                <a:cxn ang="0">
                  <a:pos x="2375" y="1156"/>
                </a:cxn>
              </a:cxnLst>
              <a:rect l="0" t="0" r="r" b="b"/>
              <a:pathLst>
                <a:path w="2375" h="2373">
                  <a:moveTo>
                    <a:pt x="2375" y="1186"/>
                  </a:moveTo>
                  <a:lnTo>
                    <a:pt x="2375" y="1186"/>
                  </a:lnTo>
                  <a:lnTo>
                    <a:pt x="2375" y="1217"/>
                  </a:lnTo>
                  <a:lnTo>
                    <a:pt x="2373" y="1247"/>
                  </a:lnTo>
                  <a:lnTo>
                    <a:pt x="2371" y="1277"/>
                  </a:lnTo>
                  <a:lnTo>
                    <a:pt x="2368" y="1308"/>
                  </a:lnTo>
                  <a:lnTo>
                    <a:pt x="2365" y="1338"/>
                  </a:lnTo>
                  <a:lnTo>
                    <a:pt x="2361" y="1367"/>
                  </a:lnTo>
                  <a:lnTo>
                    <a:pt x="2356" y="1397"/>
                  </a:lnTo>
                  <a:lnTo>
                    <a:pt x="2351" y="1425"/>
                  </a:lnTo>
                  <a:lnTo>
                    <a:pt x="2345" y="1454"/>
                  </a:lnTo>
                  <a:lnTo>
                    <a:pt x="2337" y="1483"/>
                  </a:lnTo>
                  <a:lnTo>
                    <a:pt x="2329" y="1511"/>
                  </a:lnTo>
                  <a:lnTo>
                    <a:pt x="2321" y="1539"/>
                  </a:lnTo>
                  <a:lnTo>
                    <a:pt x="2313" y="1567"/>
                  </a:lnTo>
                  <a:lnTo>
                    <a:pt x="2302" y="1594"/>
                  </a:lnTo>
                  <a:lnTo>
                    <a:pt x="2292" y="1621"/>
                  </a:lnTo>
                  <a:lnTo>
                    <a:pt x="2282" y="1648"/>
                  </a:lnTo>
                  <a:lnTo>
                    <a:pt x="2269" y="1675"/>
                  </a:lnTo>
                  <a:lnTo>
                    <a:pt x="2257" y="1701"/>
                  </a:lnTo>
                  <a:lnTo>
                    <a:pt x="2245" y="1726"/>
                  </a:lnTo>
                  <a:lnTo>
                    <a:pt x="2231" y="1752"/>
                  </a:lnTo>
                  <a:lnTo>
                    <a:pt x="2217" y="1777"/>
                  </a:lnTo>
                  <a:lnTo>
                    <a:pt x="2202" y="1801"/>
                  </a:lnTo>
                  <a:lnTo>
                    <a:pt x="2188" y="1826"/>
                  </a:lnTo>
                  <a:lnTo>
                    <a:pt x="2172" y="1850"/>
                  </a:lnTo>
                  <a:lnTo>
                    <a:pt x="2156" y="1874"/>
                  </a:lnTo>
                  <a:lnTo>
                    <a:pt x="2139" y="1896"/>
                  </a:lnTo>
                  <a:lnTo>
                    <a:pt x="2121" y="1919"/>
                  </a:lnTo>
                  <a:lnTo>
                    <a:pt x="2104" y="1942"/>
                  </a:lnTo>
                  <a:lnTo>
                    <a:pt x="2085" y="1963"/>
                  </a:lnTo>
                  <a:lnTo>
                    <a:pt x="2066" y="1984"/>
                  </a:lnTo>
                  <a:lnTo>
                    <a:pt x="2047" y="2005"/>
                  </a:lnTo>
                  <a:lnTo>
                    <a:pt x="2027" y="2025"/>
                  </a:lnTo>
                  <a:lnTo>
                    <a:pt x="2007" y="2046"/>
                  </a:lnTo>
                  <a:lnTo>
                    <a:pt x="1986" y="2065"/>
                  </a:lnTo>
                  <a:lnTo>
                    <a:pt x="1964" y="2084"/>
                  </a:lnTo>
                  <a:lnTo>
                    <a:pt x="1943" y="2102"/>
                  </a:lnTo>
                  <a:lnTo>
                    <a:pt x="1920" y="2120"/>
                  </a:lnTo>
                  <a:lnTo>
                    <a:pt x="1897" y="2137"/>
                  </a:lnTo>
                  <a:lnTo>
                    <a:pt x="1875" y="2154"/>
                  </a:lnTo>
                  <a:lnTo>
                    <a:pt x="1851" y="2170"/>
                  </a:lnTo>
                  <a:lnTo>
                    <a:pt x="1827" y="2186"/>
                  </a:lnTo>
                  <a:lnTo>
                    <a:pt x="1803" y="2201"/>
                  </a:lnTo>
                  <a:lnTo>
                    <a:pt x="1779" y="2216"/>
                  </a:lnTo>
                  <a:lnTo>
                    <a:pt x="1753" y="2230"/>
                  </a:lnTo>
                  <a:lnTo>
                    <a:pt x="1728" y="2243"/>
                  </a:lnTo>
                  <a:lnTo>
                    <a:pt x="1703" y="2256"/>
                  </a:lnTo>
                  <a:lnTo>
                    <a:pt x="1676" y="2268"/>
                  </a:lnTo>
                  <a:lnTo>
                    <a:pt x="1650" y="2279"/>
                  </a:lnTo>
                  <a:lnTo>
                    <a:pt x="1623" y="2291"/>
                  </a:lnTo>
                  <a:lnTo>
                    <a:pt x="1596" y="2301"/>
                  </a:lnTo>
                  <a:lnTo>
                    <a:pt x="1569" y="2310"/>
                  </a:lnTo>
                  <a:lnTo>
                    <a:pt x="1541" y="2320"/>
                  </a:lnTo>
                  <a:lnTo>
                    <a:pt x="1512" y="2328"/>
                  </a:lnTo>
                  <a:lnTo>
                    <a:pt x="1484" y="2336"/>
                  </a:lnTo>
                  <a:lnTo>
                    <a:pt x="1455" y="2342"/>
                  </a:lnTo>
                  <a:lnTo>
                    <a:pt x="1427" y="2348"/>
                  </a:lnTo>
                  <a:lnTo>
                    <a:pt x="1398" y="2355"/>
                  </a:lnTo>
                  <a:lnTo>
                    <a:pt x="1369" y="2360"/>
                  </a:lnTo>
                  <a:lnTo>
                    <a:pt x="1339" y="2364"/>
                  </a:lnTo>
                  <a:lnTo>
                    <a:pt x="1309" y="2367"/>
                  </a:lnTo>
                  <a:lnTo>
                    <a:pt x="1279" y="2369"/>
                  </a:lnTo>
                  <a:lnTo>
                    <a:pt x="1248" y="2371"/>
                  </a:lnTo>
                  <a:lnTo>
                    <a:pt x="1218" y="2372"/>
                  </a:lnTo>
                  <a:lnTo>
                    <a:pt x="1187" y="2373"/>
                  </a:lnTo>
                  <a:lnTo>
                    <a:pt x="1187" y="2373"/>
                  </a:lnTo>
                  <a:lnTo>
                    <a:pt x="1157" y="2372"/>
                  </a:lnTo>
                  <a:lnTo>
                    <a:pt x="1127" y="2371"/>
                  </a:lnTo>
                  <a:lnTo>
                    <a:pt x="1096" y="2369"/>
                  </a:lnTo>
                  <a:lnTo>
                    <a:pt x="1066" y="2367"/>
                  </a:lnTo>
                  <a:lnTo>
                    <a:pt x="1036" y="2364"/>
                  </a:lnTo>
                  <a:lnTo>
                    <a:pt x="1007" y="2360"/>
                  </a:lnTo>
                  <a:lnTo>
                    <a:pt x="977" y="2355"/>
                  </a:lnTo>
                  <a:lnTo>
                    <a:pt x="948" y="2348"/>
                  </a:lnTo>
                  <a:lnTo>
                    <a:pt x="920" y="2342"/>
                  </a:lnTo>
                  <a:lnTo>
                    <a:pt x="891" y="2336"/>
                  </a:lnTo>
                  <a:lnTo>
                    <a:pt x="863" y="2328"/>
                  </a:lnTo>
                  <a:lnTo>
                    <a:pt x="835" y="2320"/>
                  </a:lnTo>
                  <a:lnTo>
                    <a:pt x="807" y="2310"/>
                  </a:lnTo>
                  <a:lnTo>
                    <a:pt x="779" y="2301"/>
                  </a:lnTo>
                  <a:lnTo>
                    <a:pt x="753" y="2291"/>
                  </a:lnTo>
                  <a:lnTo>
                    <a:pt x="726" y="2279"/>
                  </a:lnTo>
                  <a:lnTo>
                    <a:pt x="699" y="2268"/>
                  </a:lnTo>
                  <a:lnTo>
                    <a:pt x="673" y="2256"/>
                  </a:lnTo>
                  <a:lnTo>
                    <a:pt x="648" y="2243"/>
                  </a:lnTo>
                  <a:lnTo>
                    <a:pt x="622" y="2230"/>
                  </a:lnTo>
                  <a:lnTo>
                    <a:pt x="597" y="2216"/>
                  </a:lnTo>
                  <a:lnTo>
                    <a:pt x="572" y="2201"/>
                  </a:lnTo>
                  <a:lnTo>
                    <a:pt x="548" y="2186"/>
                  </a:lnTo>
                  <a:lnTo>
                    <a:pt x="524" y="2170"/>
                  </a:lnTo>
                  <a:lnTo>
                    <a:pt x="500" y="2154"/>
                  </a:lnTo>
                  <a:lnTo>
                    <a:pt x="477" y="2137"/>
                  </a:lnTo>
                  <a:lnTo>
                    <a:pt x="455" y="2120"/>
                  </a:lnTo>
                  <a:lnTo>
                    <a:pt x="432" y="2102"/>
                  </a:lnTo>
                  <a:lnTo>
                    <a:pt x="411" y="2084"/>
                  </a:lnTo>
                  <a:lnTo>
                    <a:pt x="390" y="2065"/>
                  </a:lnTo>
                  <a:lnTo>
                    <a:pt x="368" y="2046"/>
                  </a:lnTo>
                  <a:lnTo>
                    <a:pt x="349" y="2025"/>
                  </a:lnTo>
                  <a:lnTo>
                    <a:pt x="328" y="2005"/>
                  </a:lnTo>
                  <a:lnTo>
                    <a:pt x="308" y="1984"/>
                  </a:lnTo>
                  <a:lnTo>
                    <a:pt x="290" y="1963"/>
                  </a:lnTo>
                  <a:lnTo>
                    <a:pt x="271" y="1942"/>
                  </a:lnTo>
                  <a:lnTo>
                    <a:pt x="254" y="1919"/>
                  </a:lnTo>
                  <a:lnTo>
                    <a:pt x="236" y="1896"/>
                  </a:lnTo>
                  <a:lnTo>
                    <a:pt x="220" y="1874"/>
                  </a:lnTo>
                  <a:lnTo>
                    <a:pt x="203" y="1850"/>
                  </a:lnTo>
                  <a:lnTo>
                    <a:pt x="188" y="1826"/>
                  </a:lnTo>
                  <a:lnTo>
                    <a:pt x="172" y="1801"/>
                  </a:lnTo>
                  <a:lnTo>
                    <a:pt x="158" y="1777"/>
                  </a:lnTo>
                  <a:lnTo>
                    <a:pt x="144" y="1752"/>
                  </a:lnTo>
                  <a:lnTo>
                    <a:pt x="130" y="1726"/>
                  </a:lnTo>
                  <a:lnTo>
                    <a:pt x="118" y="1701"/>
                  </a:lnTo>
                  <a:lnTo>
                    <a:pt x="105" y="1675"/>
                  </a:lnTo>
                  <a:lnTo>
                    <a:pt x="94" y="1648"/>
                  </a:lnTo>
                  <a:lnTo>
                    <a:pt x="83" y="1621"/>
                  </a:lnTo>
                  <a:lnTo>
                    <a:pt x="73" y="1594"/>
                  </a:lnTo>
                  <a:lnTo>
                    <a:pt x="63" y="1567"/>
                  </a:lnTo>
                  <a:lnTo>
                    <a:pt x="54" y="1539"/>
                  </a:lnTo>
                  <a:lnTo>
                    <a:pt x="46" y="1511"/>
                  </a:lnTo>
                  <a:lnTo>
                    <a:pt x="37" y="1483"/>
                  </a:lnTo>
                  <a:lnTo>
                    <a:pt x="31" y="1454"/>
                  </a:lnTo>
                  <a:lnTo>
                    <a:pt x="24" y="1425"/>
                  </a:lnTo>
                  <a:lnTo>
                    <a:pt x="19" y="1397"/>
                  </a:lnTo>
                  <a:lnTo>
                    <a:pt x="14" y="1367"/>
                  </a:lnTo>
                  <a:lnTo>
                    <a:pt x="10" y="1338"/>
                  </a:lnTo>
                  <a:lnTo>
                    <a:pt x="7" y="1308"/>
                  </a:lnTo>
                  <a:lnTo>
                    <a:pt x="3" y="1277"/>
                  </a:lnTo>
                  <a:lnTo>
                    <a:pt x="2" y="1247"/>
                  </a:lnTo>
                  <a:lnTo>
                    <a:pt x="0" y="1217"/>
                  </a:lnTo>
                  <a:lnTo>
                    <a:pt x="0" y="1186"/>
                  </a:lnTo>
                  <a:lnTo>
                    <a:pt x="0" y="1186"/>
                  </a:lnTo>
                  <a:lnTo>
                    <a:pt x="0" y="1156"/>
                  </a:lnTo>
                  <a:lnTo>
                    <a:pt x="2" y="1126"/>
                  </a:lnTo>
                  <a:lnTo>
                    <a:pt x="3" y="1095"/>
                  </a:lnTo>
                  <a:lnTo>
                    <a:pt x="7" y="1065"/>
                  </a:lnTo>
                  <a:lnTo>
                    <a:pt x="10" y="1035"/>
                  </a:lnTo>
                  <a:lnTo>
                    <a:pt x="14" y="1005"/>
                  </a:lnTo>
                  <a:lnTo>
                    <a:pt x="19" y="976"/>
                  </a:lnTo>
                  <a:lnTo>
                    <a:pt x="24" y="947"/>
                  </a:lnTo>
                  <a:lnTo>
                    <a:pt x="31" y="919"/>
                  </a:lnTo>
                  <a:lnTo>
                    <a:pt x="37" y="890"/>
                  </a:lnTo>
                  <a:lnTo>
                    <a:pt x="46" y="861"/>
                  </a:lnTo>
                  <a:lnTo>
                    <a:pt x="54" y="833"/>
                  </a:lnTo>
                  <a:lnTo>
                    <a:pt x="63" y="805"/>
                  </a:lnTo>
                  <a:lnTo>
                    <a:pt x="73" y="779"/>
                  </a:lnTo>
                  <a:lnTo>
                    <a:pt x="83" y="751"/>
                  </a:lnTo>
                  <a:lnTo>
                    <a:pt x="94" y="724"/>
                  </a:lnTo>
                  <a:lnTo>
                    <a:pt x="105" y="698"/>
                  </a:lnTo>
                  <a:lnTo>
                    <a:pt x="118" y="671"/>
                  </a:lnTo>
                  <a:lnTo>
                    <a:pt x="130" y="646"/>
                  </a:lnTo>
                  <a:lnTo>
                    <a:pt x="144" y="621"/>
                  </a:lnTo>
                  <a:lnTo>
                    <a:pt x="158" y="595"/>
                  </a:lnTo>
                  <a:lnTo>
                    <a:pt x="172" y="570"/>
                  </a:lnTo>
                  <a:lnTo>
                    <a:pt x="188" y="547"/>
                  </a:lnTo>
                  <a:lnTo>
                    <a:pt x="203" y="523"/>
                  </a:lnTo>
                  <a:lnTo>
                    <a:pt x="220" y="499"/>
                  </a:lnTo>
                  <a:lnTo>
                    <a:pt x="236" y="477"/>
                  </a:lnTo>
                  <a:lnTo>
                    <a:pt x="254" y="454"/>
                  </a:lnTo>
                  <a:lnTo>
                    <a:pt x="271" y="431"/>
                  </a:lnTo>
                  <a:lnTo>
                    <a:pt x="290" y="410"/>
                  </a:lnTo>
                  <a:lnTo>
                    <a:pt x="308" y="388"/>
                  </a:lnTo>
                  <a:lnTo>
                    <a:pt x="328" y="367"/>
                  </a:lnTo>
                  <a:lnTo>
                    <a:pt x="349" y="347"/>
                  </a:lnTo>
                  <a:lnTo>
                    <a:pt x="368" y="327"/>
                  </a:lnTo>
                  <a:lnTo>
                    <a:pt x="390" y="308"/>
                  </a:lnTo>
                  <a:lnTo>
                    <a:pt x="411" y="289"/>
                  </a:lnTo>
                  <a:lnTo>
                    <a:pt x="432" y="271"/>
                  </a:lnTo>
                  <a:lnTo>
                    <a:pt x="455" y="253"/>
                  </a:lnTo>
                  <a:lnTo>
                    <a:pt x="477" y="236"/>
                  </a:lnTo>
                  <a:lnTo>
                    <a:pt x="500" y="218"/>
                  </a:lnTo>
                  <a:lnTo>
                    <a:pt x="524" y="203"/>
                  </a:lnTo>
                  <a:lnTo>
                    <a:pt x="548" y="186"/>
                  </a:lnTo>
                  <a:lnTo>
                    <a:pt x="572" y="172"/>
                  </a:lnTo>
                  <a:lnTo>
                    <a:pt x="597" y="156"/>
                  </a:lnTo>
                  <a:lnTo>
                    <a:pt x="622" y="143"/>
                  </a:lnTo>
                  <a:lnTo>
                    <a:pt x="648" y="130"/>
                  </a:lnTo>
                  <a:lnTo>
                    <a:pt x="673" y="116"/>
                  </a:lnTo>
                  <a:lnTo>
                    <a:pt x="699" y="105"/>
                  </a:lnTo>
                  <a:lnTo>
                    <a:pt x="726" y="92"/>
                  </a:lnTo>
                  <a:lnTo>
                    <a:pt x="753" y="82"/>
                  </a:lnTo>
                  <a:lnTo>
                    <a:pt x="779" y="72"/>
                  </a:lnTo>
                  <a:lnTo>
                    <a:pt x="807" y="62"/>
                  </a:lnTo>
                  <a:lnTo>
                    <a:pt x="835" y="53"/>
                  </a:lnTo>
                  <a:lnTo>
                    <a:pt x="863" y="45"/>
                  </a:lnTo>
                  <a:lnTo>
                    <a:pt x="891" y="37"/>
                  </a:lnTo>
                  <a:lnTo>
                    <a:pt x="920" y="30"/>
                  </a:lnTo>
                  <a:lnTo>
                    <a:pt x="948" y="23"/>
                  </a:lnTo>
                  <a:lnTo>
                    <a:pt x="977" y="18"/>
                  </a:lnTo>
                  <a:lnTo>
                    <a:pt x="1007" y="13"/>
                  </a:lnTo>
                  <a:lnTo>
                    <a:pt x="1036" y="9"/>
                  </a:lnTo>
                  <a:lnTo>
                    <a:pt x="1066" y="6"/>
                  </a:lnTo>
                  <a:lnTo>
                    <a:pt x="1096" y="3"/>
                  </a:lnTo>
                  <a:lnTo>
                    <a:pt x="1127" y="1"/>
                  </a:lnTo>
                  <a:lnTo>
                    <a:pt x="1157" y="0"/>
                  </a:lnTo>
                  <a:lnTo>
                    <a:pt x="1187" y="0"/>
                  </a:lnTo>
                  <a:lnTo>
                    <a:pt x="1187" y="0"/>
                  </a:lnTo>
                  <a:lnTo>
                    <a:pt x="1218" y="0"/>
                  </a:lnTo>
                  <a:lnTo>
                    <a:pt x="1248" y="1"/>
                  </a:lnTo>
                  <a:lnTo>
                    <a:pt x="1279" y="3"/>
                  </a:lnTo>
                  <a:lnTo>
                    <a:pt x="1309" y="6"/>
                  </a:lnTo>
                  <a:lnTo>
                    <a:pt x="1339" y="9"/>
                  </a:lnTo>
                  <a:lnTo>
                    <a:pt x="1369" y="13"/>
                  </a:lnTo>
                  <a:lnTo>
                    <a:pt x="1398" y="18"/>
                  </a:lnTo>
                  <a:lnTo>
                    <a:pt x="1427" y="23"/>
                  </a:lnTo>
                  <a:lnTo>
                    <a:pt x="1455" y="30"/>
                  </a:lnTo>
                  <a:lnTo>
                    <a:pt x="1484" y="37"/>
                  </a:lnTo>
                  <a:lnTo>
                    <a:pt x="1512" y="45"/>
                  </a:lnTo>
                  <a:lnTo>
                    <a:pt x="1541" y="53"/>
                  </a:lnTo>
                  <a:lnTo>
                    <a:pt x="1569" y="62"/>
                  </a:lnTo>
                  <a:lnTo>
                    <a:pt x="1596" y="72"/>
                  </a:lnTo>
                  <a:lnTo>
                    <a:pt x="1623" y="82"/>
                  </a:lnTo>
                  <a:lnTo>
                    <a:pt x="1650" y="92"/>
                  </a:lnTo>
                  <a:lnTo>
                    <a:pt x="1676" y="105"/>
                  </a:lnTo>
                  <a:lnTo>
                    <a:pt x="1703" y="116"/>
                  </a:lnTo>
                  <a:lnTo>
                    <a:pt x="1728" y="130"/>
                  </a:lnTo>
                  <a:lnTo>
                    <a:pt x="1753" y="143"/>
                  </a:lnTo>
                  <a:lnTo>
                    <a:pt x="1779" y="156"/>
                  </a:lnTo>
                  <a:lnTo>
                    <a:pt x="1803" y="172"/>
                  </a:lnTo>
                  <a:lnTo>
                    <a:pt x="1827" y="186"/>
                  </a:lnTo>
                  <a:lnTo>
                    <a:pt x="1851" y="203"/>
                  </a:lnTo>
                  <a:lnTo>
                    <a:pt x="1875" y="218"/>
                  </a:lnTo>
                  <a:lnTo>
                    <a:pt x="1897" y="236"/>
                  </a:lnTo>
                  <a:lnTo>
                    <a:pt x="1920" y="253"/>
                  </a:lnTo>
                  <a:lnTo>
                    <a:pt x="1943" y="271"/>
                  </a:lnTo>
                  <a:lnTo>
                    <a:pt x="1964" y="289"/>
                  </a:lnTo>
                  <a:lnTo>
                    <a:pt x="1986" y="308"/>
                  </a:lnTo>
                  <a:lnTo>
                    <a:pt x="2007" y="327"/>
                  </a:lnTo>
                  <a:lnTo>
                    <a:pt x="2027" y="347"/>
                  </a:lnTo>
                  <a:lnTo>
                    <a:pt x="2047" y="367"/>
                  </a:lnTo>
                  <a:lnTo>
                    <a:pt x="2066" y="388"/>
                  </a:lnTo>
                  <a:lnTo>
                    <a:pt x="2085" y="410"/>
                  </a:lnTo>
                  <a:lnTo>
                    <a:pt x="2104" y="431"/>
                  </a:lnTo>
                  <a:lnTo>
                    <a:pt x="2121" y="454"/>
                  </a:lnTo>
                  <a:lnTo>
                    <a:pt x="2139" y="477"/>
                  </a:lnTo>
                  <a:lnTo>
                    <a:pt x="2156" y="499"/>
                  </a:lnTo>
                  <a:lnTo>
                    <a:pt x="2172" y="523"/>
                  </a:lnTo>
                  <a:lnTo>
                    <a:pt x="2188" y="547"/>
                  </a:lnTo>
                  <a:lnTo>
                    <a:pt x="2202" y="570"/>
                  </a:lnTo>
                  <a:lnTo>
                    <a:pt x="2217" y="595"/>
                  </a:lnTo>
                  <a:lnTo>
                    <a:pt x="2231" y="621"/>
                  </a:lnTo>
                  <a:lnTo>
                    <a:pt x="2245" y="646"/>
                  </a:lnTo>
                  <a:lnTo>
                    <a:pt x="2257" y="671"/>
                  </a:lnTo>
                  <a:lnTo>
                    <a:pt x="2269" y="698"/>
                  </a:lnTo>
                  <a:lnTo>
                    <a:pt x="2282" y="724"/>
                  </a:lnTo>
                  <a:lnTo>
                    <a:pt x="2292" y="751"/>
                  </a:lnTo>
                  <a:lnTo>
                    <a:pt x="2302" y="779"/>
                  </a:lnTo>
                  <a:lnTo>
                    <a:pt x="2313" y="805"/>
                  </a:lnTo>
                  <a:lnTo>
                    <a:pt x="2321" y="833"/>
                  </a:lnTo>
                  <a:lnTo>
                    <a:pt x="2329" y="861"/>
                  </a:lnTo>
                  <a:lnTo>
                    <a:pt x="2337" y="890"/>
                  </a:lnTo>
                  <a:lnTo>
                    <a:pt x="2345" y="919"/>
                  </a:lnTo>
                  <a:lnTo>
                    <a:pt x="2351" y="947"/>
                  </a:lnTo>
                  <a:lnTo>
                    <a:pt x="2356" y="976"/>
                  </a:lnTo>
                  <a:lnTo>
                    <a:pt x="2361" y="1005"/>
                  </a:lnTo>
                  <a:lnTo>
                    <a:pt x="2365" y="1035"/>
                  </a:lnTo>
                  <a:lnTo>
                    <a:pt x="2368" y="1065"/>
                  </a:lnTo>
                  <a:lnTo>
                    <a:pt x="2371" y="1095"/>
                  </a:lnTo>
                  <a:lnTo>
                    <a:pt x="2373" y="1126"/>
                  </a:lnTo>
                  <a:lnTo>
                    <a:pt x="2375" y="1156"/>
                  </a:lnTo>
                  <a:lnTo>
                    <a:pt x="2375" y="1186"/>
                  </a:lnTo>
                  <a:close/>
                </a:path>
              </a:pathLst>
            </a:custGeom>
            <a:solidFill>
              <a:srgbClr val="FAAB1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 name="Freeform 589">
              <a:extLst>
                <a:ext uri="{FF2B5EF4-FFF2-40B4-BE49-F238E27FC236}">
                  <a16:creationId xmlns:a16="http://schemas.microsoft.com/office/drawing/2014/main" id="{EC2155B8-9B21-D690-E44F-B3B337AC64EE}"/>
                </a:ext>
              </a:extLst>
            </p:cNvPr>
            <p:cNvSpPr>
              <a:spLocks/>
            </p:cNvSpPr>
            <p:nvPr/>
          </p:nvSpPr>
          <p:spPr bwMode="auto">
            <a:xfrm>
              <a:off x="3521076" y="3365500"/>
              <a:ext cx="471488" cy="471487"/>
            </a:xfrm>
            <a:custGeom>
              <a:avLst/>
              <a:gdLst/>
              <a:ahLst/>
              <a:cxnLst>
                <a:cxn ang="0">
                  <a:pos x="2371" y="1277"/>
                </a:cxn>
                <a:cxn ang="0">
                  <a:pos x="2351" y="1425"/>
                </a:cxn>
                <a:cxn ang="0">
                  <a:pos x="2313" y="1567"/>
                </a:cxn>
                <a:cxn ang="0">
                  <a:pos x="2257" y="1701"/>
                </a:cxn>
                <a:cxn ang="0">
                  <a:pos x="2188" y="1826"/>
                </a:cxn>
                <a:cxn ang="0">
                  <a:pos x="2104" y="1942"/>
                </a:cxn>
                <a:cxn ang="0">
                  <a:pos x="2007" y="2046"/>
                </a:cxn>
                <a:cxn ang="0">
                  <a:pos x="1897" y="2137"/>
                </a:cxn>
                <a:cxn ang="0">
                  <a:pos x="1779" y="2216"/>
                </a:cxn>
                <a:cxn ang="0">
                  <a:pos x="1650" y="2279"/>
                </a:cxn>
                <a:cxn ang="0">
                  <a:pos x="1512" y="2328"/>
                </a:cxn>
                <a:cxn ang="0">
                  <a:pos x="1369" y="2360"/>
                </a:cxn>
                <a:cxn ang="0">
                  <a:pos x="1218" y="2372"/>
                </a:cxn>
                <a:cxn ang="0">
                  <a:pos x="1096" y="2369"/>
                </a:cxn>
                <a:cxn ang="0">
                  <a:pos x="948" y="2348"/>
                </a:cxn>
                <a:cxn ang="0">
                  <a:pos x="807" y="2310"/>
                </a:cxn>
                <a:cxn ang="0">
                  <a:pos x="673" y="2256"/>
                </a:cxn>
                <a:cxn ang="0">
                  <a:pos x="548" y="2186"/>
                </a:cxn>
                <a:cxn ang="0">
                  <a:pos x="432" y="2102"/>
                </a:cxn>
                <a:cxn ang="0">
                  <a:pos x="328" y="2005"/>
                </a:cxn>
                <a:cxn ang="0">
                  <a:pos x="236" y="1896"/>
                </a:cxn>
                <a:cxn ang="0">
                  <a:pos x="158" y="1777"/>
                </a:cxn>
                <a:cxn ang="0">
                  <a:pos x="94" y="1648"/>
                </a:cxn>
                <a:cxn ang="0">
                  <a:pos x="46" y="1511"/>
                </a:cxn>
                <a:cxn ang="0">
                  <a:pos x="14" y="1367"/>
                </a:cxn>
                <a:cxn ang="0">
                  <a:pos x="0" y="1217"/>
                </a:cxn>
                <a:cxn ang="0">
                  <a:pos x="3" y="1095"/>
                </a:cxn>
                <a:cxn ang="0">
                  <a:pos x="24" y="947"/>
                </a:cxn>
                <a:cxn ang="0">
                  <a:pos x="63" y="805"/>
                </a:cxn>
                <a:cxn ang="0">
                  <a:pos x="118" y="671"/>
                </a:cxn>
                <a:cxn ang="0">
                  <a:pos x="188" y="547"/>
                </a:cxn>
                <a:cxn ang="0">
                  <a:pos x="271" y="431"/>
                </a:cxn>
                <a:cxn ang="0">
                  <a:pos x="368" y="327"/>
                </a:cxn>
                <a:cxn ang="0">
                  <a:pos x="477" y="236"/>
                </a:cxn>
                <a:cxn ang="0">
                  <a:pos x="597" y="156"/>
                </a:cxn>
                <a:cxn ang="0">
                  <a:pos x="726" y="92"/>
                </a:cxn>
                <a:cxn ang="0">
                  <a:pos x="863" y="45"/>
                </a:cxn>
                <a:cxn ang="0">
                  <a:pos x="1007" y="13"/>
                </a:cxn>
                <a:cxn ang="0">
                  <a:pos x="1157" y="0"/>
                </a:cxn>
                <a:cxn ang="0">
                  <a:pos x="1279" y="3"/>
                </a:cxn>
                <a:cxn ang="0">
                  <a:pos x="1427" y="23"/>
                </a:cxn>
                <a:cxn ang="0">
                  <a:pos x="1569" y="62"/>
                </a:cxn>
                <a:cxn ang="0">
                  <a:pos x="1703" y="116"/>
                </a:cxn>
                <a:cxn ang="0">
                  <a:pos x="1827" y="186"/>
                </a:cxn>
                <a:cxn ang="0">
                  <a:pos x="1943" y="271"/>
                </a:cxn>
                <a:cxn ang="0">
                  <a:pos x="2047" y="367"/>
                </a:cxn>
                <a:cxn ang="0">
                  <a:pos x="2139" y="477"/>
                </a:cxn>
                <a:cxn ang="0">
                  <a:pos x="2217" y="595"/>
                </a:cxn>
                <a:cxn ang="0">
                  <a:pos x="2282" y="724"/>
                </a:cxn>
                <a:cxn ang="0">
                  <a:pos x="2329" y="861"/>
                </a:cxn>
                <a:cxn ang="0">
                  <a:pos x="2361" y="1005"/>
                </a:cxn>
                <a:cxn ang="0">
                  <a:pos x="2375" y="1156"/>
                </a:cxn>
              </a:cxnLst>
              <a:rect l="0" t="0" r="r" b="b"/>
              <a:pathLst>
                <a:path w="2375" h="2373">
                  <a:moveTo>
                    <a:pt x="2375" y="1186"/>
                  </a:moveTo>
                  <a:lnTo>
                    <a:pt x="2375" y="1186"/>
                  </a:lnTo>
                  <a:lnTo>
                    <a:pt x="2375" y="1217"/>
                  </a:lnTo>
                  <a:lnTo>
                    <a:pt x="2373" y="1247"/>
                  </a:lnTo>
                  <a:lnTo>
                    <a:pt x="2371" y="1277"/>
                  </a:lnTo>
                  <a:lnTo>
                    <a:pt x="2368" y="1308"/>
                  </a:lnTo>
                  <a:lnTo>
                    <a:pt x="2365" y="1338"/>
                  </a:lnTo>
                  <a:lnTo>
                    <a:pt x="2361" y="1367"/>
                  </a:lnTo>
                  <a:lnTo>
                    <a:pt x="2356" y="1397"/>
                  </a:lnTo>
                  <a:lnTo>
                    <a:pt x="2351" y="1425"/>
                  </a:lnTo>
                  <a:lnTo>
                    <a:pt x="2345" y="1454"/>
                  </a:lnTo>
                  <a:lnTo>
                    <a:pt x="2337" y="1483"/>
                  </a:lnTo>
                  <a:lnTo>
                    <a:pt x="2329" y="1511"/>
                  </a:lnTo>
                  <a:lnTo>
                    <a:pt x="2321" y="1539"/>
                  </a:lnTo>
                  <a:lnTo>
                    <a:pt x="2313" y="1567"/>
                  </a:lnTo>
                  <a:lnTo>
                    <a:pt x="2302" y="1594"/>
                  </a:lnTo>
                  <a:lnTo>
                    <a:pt x="2292" y="1621"/>
                  </a:lnTo>
                  <a:lnTo>
                    <a:pt x="2282" y="1648"/>
                  </a:lnTo>
                  <a:lnTo>
                    <a:pt x="2269" y="1675"/>
                  </a:lnTo>
                  <a:lnTo>
                    <a:pt x="2257" y="1701"/>
                  </a:lnTo>
                  <a:lnTo>
                    <a:pt x="2245" y="1726"/>
                  </a:lnTo>
                  <a:lnTo>
                    <a:pt x="2231" y="1752"/>
                  </a:lnTo>
                  <a:lnTo>
                    <a:pt x="2217" y="1777"/>
                  </a:lnTo>
                  <a:lnTo>
                    <a:pt x="2202" y="1801"/>
                  </a:lnTo>
                  <a:lnTo>
                    <a:pt x="2188" y="1826"/>
                  </a:lnTo>
                  <a:lnTo>
                    <a:pt x="2172" y="1850"/>
                  </a:lnTo>
                  <a:lnTo>
                    <a:pt x="2156" y="1874"/>
                  </a:lnTo>
                  <a:lnTo>
                    <a:pt x="2139" y="1896"/>
                  </a:lnTo>
                  <a:lnTo>
                    <a:pt x="2121" y="1919"/>
                  </a:lnTo>
                  <a:lnTo>
                    <a:pt x="2104" y="1942"/>
                  </a:lnTo>
                  <a:lnTo>
                    <a:pt x="2085" y="1963"/>
                  </a:lnTo>
                  <a:lnTo>
                    <a:pt x="2066" y="1984"/>
                  </a:lnTo>
                  <a:lnTo>
                    <a:pt x="2047" y="2005"/>
                  </a:lnTo>
                  <a:lnTo>
                    <a:pt x="2027" y="2025"/>
                  </a:lnTo>
                  <a:lnTo>
                    <a:pt x="2007" y="2046"/>
                  </a:lnTo>
                  <a:lnTo>
                    <a:pt x="1986" y="2065"/>
                  </a:lnTo>
                  <a:lnTo>
                    <a:pt x="1964" y="2084"/>
                  </a:lnTo>
                  <a:lnTo>
                    <a:pt x="1943" y="2102"/>
                  </a:lnTo>
                  <a:lnTo>
                    <a:pt x="1920" y="2120"/>
                  </a:lnTo>
                  <a:lnTo>
                    <a:pt x="1897" y="2137"/>
                  </a:lnTo>
                  <a:lnTo>
                    <a:pt x="1875" y="2154"/>
                  </a:lnTo>
                  <a:lnTo>
                    <a:pt x="1851" y="2170"/>
                  </a:lnTo>
                  <a:lnTo>
                    <a:pt x="1827" y="2186"/>
                  </a:lnTo>
                  <a:lnTo>
                    <a:pt x="1803" y="2201"/>
                  </a:lnTo>
                  <a:lnTo>
                    <a:pt x="1779" y="2216"/>
                  </a:lnTo>
                  <a:lnTo>
                    <a:pt x="1753" y="2230"/>
                  </a:lnTo>
                  <a:lnTo>
                    <a:pt x="1728" y="2243"/>
                  </a:lnTo>
                  <a:lnTo>
                    <a:pt x="1703" y="2256"/>
                  </a:lnTo>
                  <a:lnTo>
                    <a:pt x="1676" y="2268"/>
                  </a:lnTo>
                  <a:lnTo>
                    <a:pt x="1650" y="2279"/>
                  </a:lnTo>
                  <a:lnTo>
                    <a:pt x="1623" y="2291"/>
                  </a:lnTo>
                  <a:lnTo>
                    <a:pt x="1596" y="2301"/>
                  </a:lnTo>
                  <a:lnTo>
                    <a:pt x="1569" y="2310"/>
                  </a:lnTo>
                  <a:lnTo>
                    <a:pt x="1541" y="2320"/>
                  </a:lnTo>
                  <a:lnTo>
                    <a:pt x="1512" y="2328"/>
                  </a:lnTo>
                  <a:lnTo>
                    <a:pt x="1484" y="2336"/>
                  </a:lnTo>
                  <a:lnTo>
                    <a:pt x="1455" y="2342"/>
                  </a:lnTo>
                  <a:lnTo>
                    <a:pt x="1427" y="2348"/>
                  </a:lnTo>
                  <a:lnTo>
                    <a:pt x="1398" y="2355"/>
                  </a:lnTo>
                  <a:lnTo>
                    <a:pt x="1369" y="2360"/>
                  </a:lnTo>
                  <a:lnTo>
                    <a:pt x="1339" y="2364"/>
                  </a:lnTo>
                  <a:lnTo>
                    <a:pt x="1309" y="2367"/>
                  </a:lnTo>
                  <a:lnTo>
                    <a:pt x="1279" y="2369"/>
                  </a:lnTo>
                  <a:lnTo>
                    <a:pt x="1248" y="2371"/>
                  </a:lnTo>
                  <a:lnTo>
                    <a:pt x="1218" y="2372"/>
                  </a:lnTo>
                  <a:lnTo>
                    <a:pt x="1187" y="2373"/>
                  </a:lnTo>
                  <a:lnTo>
                    <a:pt x="1187" y="2373"/>
                  </a:lnTo>
                  <a:lnTo>
                    <a:pt x="1157" y="2372"/>
                  </a:lnTo>
                  <a:lnTo>
                    <a:pt x="1127" y="2371"/>
                  </a:lnTo>
                  <a:lnTo>
                    <a:pt x="1096" y="2369"/>
                  </a:lnTo>
                  <a:lnTo>
                    <a:pt x="1066" y="2367"/>
                  </a:lnTo>
                  <a:lnTo>
                    <a:pt x="1036" y="2364"/>
                  </a:lnTo>
                  <a:lnTo>
                    <a:pt x="1007" y="2360"/>
                  </a:lnTo>
                  <a:lnTo>
                    <a:pt x="977" y="2355"/>
                  </a:lnTo>
                  <a:lnTo>
                    <a:pt x="948" y="2348"/>
                  </a:lnTo>
                  <a:lnTo>
                    <a:pt x="920" y="2342"/>
                  </a:lnTo>
                  <a:lnTo>
                    <a:pt x="891" y="2336"/>
                  </a:lnTo>
                  <a:lnTo>
                    <a:pt x="863" y="2328"/>
                  </a:lnTo>
                  <a:lnTo>
                    <a:pt x="835" y="2320"/>
                  </a:lnTo>
                  <a:lnTo>
                    <a:pt x="807" y="2310"/>
                  </a:lnTo>
                  <a:lnTo>
                    <a:pt x="779" y="2301"/>
                  </a:lnTo>
                  <a:lnTo>
                    <a:pt x="753" y="2291"/>
                  </a:lnTo>
                  <a:lnTo>
                    <a:pt x="726" y="2279"/>
                  </a:lnTo>
                  <a:lnTo>
                    <a:pt x="699" y="2268"/>
                  </a:lnTo>
                  <a:lnTo>
                    <a:pt x="673" y="2256"/>
                  </a:lnTo>
                  <a:lnTo>
                    <a:pt x="648" y="2243"/>
                  </a:lnTo>
                  <a:lnTo>
                    <a:pt x="622" y="2230"/>
                  </a:lnTo>
                  <a:lnTo>
                    <a:pt x="597" y="2216"/>
                  </a:lnTo>
                  <a:lnTo>
                    <a:pt x="572" y="2201"/>
                  </a:lnTo>
                  <a:lnTo>
                    <a:pt x="548" y="2186"/>
                  </a:lnTo>
                  <a:lnTo>
                    <a:pt x="524" y="2170"/>
                  </a:lnTo>
                  <a:lnTo>
                    <a:pt x="500" y="2154"/>
                  </a:lnTo>
                  <a:lnTo>
                    <a:pt x="477" y="2137"/>
                  </a:lnTo>
                  <a:lnTo>
                    <a:pt x="455" y="2120"/>
                  </a:lnTo>
                  <a:lnTo>
                    <a:pt x="432" y="2102"/>
                  </a:lnTo>
                  <a:lnTo>
                    <a:pt x="411" y="2084"/>
                  </a:lnTo>
                  <a:lnTo>
                    <a:pt x="390" y="2065"/>
                  </a:lnTo>
                  <a:lnTo>
                    <a:pt x="368" y="2046"/>
                  </a:lnTo>
                  <a:lnTo>
                    <a:pt x="349" y="2025"/>
                  </a:lnTo>
                  <a:lnTo>
                    <a:pt x="328" y="2005"/>
                  </a:lnTo>
                  <a:lnTo>
                    <a:pt x="308" y="1984"/>
                  </a:lnTo>
                  <a:lnTo>
                    <a:pt x="290" y="1963"/>
                  </a:lnTo>
                  <a:lnTo>
                    <a:pt x="271" y="1942"/>
                  </a:lnTo>
                  <a:lnTo>
                    <a:pt x="254" y="1919"/>
                  </a:lnTo>
                  <a:lnTo>
                    <a:pt x="236" y="1896"/>
                  </a:lnTo>
                  <a:lnTo>
                    <a:pt x="220" y="1874"/>
                  </a:lnTo>
                  <a:lnTo>
                    <a:pt x="203" y="1850"/>
                  </a:lnTo>
                  <a:lnTo>
                    <a:pt x="188" y="1826"/>
                  </a:lnTo>
                  <a:lnTo>
                    <a:pt x="172" y="1801"/>
                  </a:lnTo>
                  <a:lnTo>
                    <a:pt x="158" y="1777"/>
                  </a:lnTo>
                  <a:lnTo>
                    <a:pt x="144" y="1752"/>
                  </a:lnTo>
                  <a:lnTo>
                    <a:pt x="130" y="1726"/>
                  </a:lnTo>
                  <a:lnTo>
                    <a:pt x="118" y="1701"/>
                  </a:lnTo>
                  <a:lnTo>
                    <a:pt x="105" y="1675"/>
                  </a:lnTo>
                  <a:lnTo>
                    <a:pt x="94" y="1648"/>
                  </a:lnTo>
                  <a:lnTo>
                    <a:pt x="83" y="1621"/>
                  </a:lnTo>
                  <a:lnTo>
                    <a:pt x="73" y="1594"/>
                  </a:lnTo>
                  <a:lnTo>
                    <a:pt x="63" y="1567"/>
                  </a:lnTo>
                  <a:lnTo>
                    <a:pt x="54" y="1539"/>
                  </a:lnTo>
                  <a:lnTo>
                    <a:pt x="46" y="1511"/>
                  </a:lnTo>
                  <a:lnTo>
                    <a:pt x="37" y="1483"/>
                  </a:lnTo>
                  <a:lnTo>
                    <a:pt x="31" y="1454"/>
                  </a:lnTo>
                  <a:lnTo>
                    <a:pt x="24" y="1425"/>
                  </a:lnTo>
                  <a:lnTo>
                    <a:pt x="19" y="1397"/>
                  </a:lnTo>
                  <a:lnTo>
                    <a:pt x="14" y="1367"/>
                  </a:lnTo>
                  <a:lnTo>
                    <a:pt x="10" y="1338"/>
                  </a:lnTo>
                  <a:lnTo>
                    <a:pt x="7" y="1308"/>
                  </a:lnTo>
                  <a:lnTo>
                    <a:pt x="3" y="1277"/>
                  </a:lnTo>
                  <a:lnTo>
                    <a:pt x="2" y="1247"/>
                  </a:lnTo>
                  <a:lnTo>
                    <a:pt x="0" y="1217"/>
                  </a:lnTo>
                  <a:lnTo>
                    <a:pt x="0" y="1186"/>
                  </a:lnTo>
                  <a:lnTo>
                    <a:pt x="0" y="1186"/>
                  </a:lnTo>
                  <a:lnTo>
                    <a:pt x="0" y="1156"/>
                  </a:lnTo>
                  <a:lnTo>
                    <a:pt x="2" y="1126"/>
                  </a:lnTo>
                  <a:lnTo>
                    <a:pt x="3" y="1095"/>
                  </a:lnTo>
                  <a:lnTo>
                    <a:pt x="7" y="1065"/>
                  </a:lnTo>
                  <a:lnTo>
                    <a:pt x="10" y="1035"/>
                  </a:lnTo>
                  <a:lnTo>
                    <a:pt x="14" y="1005"/>
                  </a:lnTo>
                  <a:lnTo>
                    <a:pt x="19" y="976"/>
                  </a:lnTo>
                  <a:lnTo>
                    <a:pt x="24" y="947"/>
                  </a:lnTo>
                  <a:lnTo>
                    <a:pt x="31" y="919"/>
                  </a:lnTo>
                  <a:lnTo>
                    <a:pt x="37" y="890"/>
                  </a:lnTo>
                  <a:lnTo>
                    <a:pt x="46" y="861"/>
                  </a:lnTo>
                  <a:lnTo>
                    <a:pt x="54" y="833"/>
                  </a:lnTo>
                  <a:lnTo>
                    <a:pt x="63" y="805"/>
                  </a:lnTo>
                  <a:lnTo>
                    <a:pt x="73" y="779"/>
                  </a:lnTo>
                  <a:lnTo>
                    <a:pt x="83" y="751"/>
                  </a:lnTo>
                  <a:lnTo>
                    <a:pt x="94" y="724"/>
                  </a:lnTo>
                  <a:lnTo>
                    <a:pt x="105" y="698"/>
                  </a:lnTo>
                  <a:lnTo>
                    <a:pt x="118" y="671"/>
                  </a:lnTo>
                  <a:lnTo>
                    <a:pt x="130" y="646"/>
                  </a:lnTo>
                  <a:lnTo>
                    <a:pt x="144" y="621"/>
                  </a:lnTo>
                  <a:lnTo>
                    <a:pt x="158" y="595"/>
                  </a:lnTo>
                  <a:lnTo>
                    <a:pt x="172" y="570"/>
                  </a:lnTo>
                  <a:lnTo>
                    <a:pt x="188" y="547"/>
                  </a:lnTo>
                  <a:lnTo>
                    <a:pt x="203" y="523"/>
                  </a:lnTo>
                  <a:lnTo>
                    <a:pt x="220" y="499"/>
                  </a:lnTo>
                  <a:lnTo>
                    <a:pt x="236" y="477"/>
                  </a:lnTo>
                  <a:lnTo>
                    <a:pt x="254" y="454"/>
                  </a:lnTo>
                  <a:lnTo>
                    <a:pt x="271" y="431"/>
                  </a:lnTo>
                  <a:lnTo>
                    <a:pt x="290" y="410"/>
                  </a:lnTo>
                  <a:lnTo>
                    <a:pt x="308" y="388"/>
                  </a:lnTo>
                  <a:lnTo>
                    <a:pt x="328" y="367"/>
                  </a:lnTo>
                  <a:lnTo>
                    <a:pt x="349" y="347"/>
                  </a:lnTo>
                  <a:lnTo>
                    <a:pt x="368" y="327"/>
                  </a:lnTo>
                  <a:lnTo>
                    <a:pt x="390" y="308"/>
                  </a:lnTo>
                  <a:lnTo>
                    <a:pt x="411" y="289"/>
                  </a:lnTo>
                  <a:lnTo>
                    <a:pt x="432" y="271"/>
                  </a:lnTo>
                  <a:lnTo>
                    <a:pt x="455" y="253"/>
                  </a:lnTo>
                  <a:lnTo>
                    <a:pt x="477" y="236"/>
                  </a:lnTo>
                  <a:lnTo>
                    <a:pt x="500" y="218"/>
                  </a:lnTo>
                  <a:lnTo>
                    <a:pt x="524" y="203"/>
                  </a:lnTo>
                  <a:lnTo>
                    <a:pt x="548" y="186"/>
                  </a:lnTo>
                  <a:lnTo>
                    <a:pt x="572" y="172"/>
                  </a:lnTo>
                  <a:lnTo>
                    <a:pt x="597" y="156"/>
                  </a:lnTo>
                  <a:lnTo>
                    <a:pt x="622" y="143"/>
                  </a:lnTo>
                  <a:lnTo>
                    <a:pt x="648" y="130"/>
                  </a:lnTo>
                  <a:lnTo>
                    <a:pt x="673" y="116"/>
                  </a:lnTo>
                  <a:lnTo>
                    <a:pt x="699" y="105"/>
                  </a:lnTo>
                  <a:lnTo>
                    <a:pt x="726" y="92"/>
                  </a:lnTo>
                  <a:lnTo>
                    <a:pt x="753" y="82"/>
                  </a:lnTo>
                  <a:lnTo>
                    <a:pt x="779" y="72"/>
                  </a:lnTo>
                  <a:lnTo>
                    <a:pt x="807" y="62"/>
                  </a:lnTo>
                  <a:lnTo>
                    <a:pt x="835" y="53"/>
                  </a:lnTo>
                  <a:lnTo>
                    <a:pt x="863" y="45"/>
                  </a:lnTo>
                  <a:lnTo>
                    <a:pt x="891" y="37"/>
                  </a:lnTo>
                  <a:lnTo>
                    <a:pt x="920" y="30"/>
                  </a:lnTo>
                  <a:lnTo>
                    <a:pt x="948" y="23"/>
                  </a:lnTo>
                  <a:lnTo>
                    <a:pt x="977" y="18"/>
                  </a:lnTo>
                  <a:lnTo>
                    <a:pt x="1007" y="13"/>
                  </a:lnTo>
                  <a:lnTo>
                    <a:pt x="1036" y="9"/>
                  </a:lnTo>
                  <a:lnTo>
                    <a:pt x="1066" y="6"/>
                  </a:lnTo>
                  <a:lnTo>
                    <a:pt x="1096" y="3"/>
                  </a:lnTo>
                  <a:lnTo>
                    <a:pt x="1127" y="1"/>
                  </a:lnTo>
                  <a:lnTo>
                    <a:pt x="1157" y="0"/>
                  </a:lnTo>
                  <a:lnTo>
                    <a:pt x="1187" y="0"/>
                  </a:lnTo>
                  <a:lnTo>
                    <a:pt x="1187" y="0"/>
                  </a:lnTo>
                  <a:lnTo>
                    <a:pt x="1218" y="0"/>
                  </a:lnTo>
                  <a:lnTo>
                    <a:pt x="1248" y="1"/>
                  </a:lnTo>
                  <a:lnTo>
                    <a:pt x="1279" y="3"/>
                  </a:lnTo>
                  <a:lnTo>
                    <a:pt x="1309" y="6"/>
                  </a:lnTo>
                  <a:lnTo>
                    <a:pt x="1339" y="9"/>
                  </a:lnTo>
                  <a:lnTo>
                    <a:pt x="1369" y="13"/>
                  </a:lnTo>
                  <a:lnTo>
                    <a:pt x="1398" y="18"/>
                  </a:lnTo>
                  <a:lnTo>
                    <a:pt x="1427" y="23"/>
                  </a:lnTo>
                  <a:lnTo>
                    <a:pt x="1455" y="30"/>
                  </a:lnTo>
                  <a:lnTo>
                    <a:pt x="1484" y="37"/>
                  </a:lnTo>
                  <a:lnTo>
                    <a:pt x="1512" y="45"/>
                  </a:lnTo>
                  <a:lnTo>
                    <a:pt x="1541" y="53"/>
                  </a:lnTo>
                  <a:lnTo>
                    <a:pt x="1569" y="62"/>
                  </a:lnTo>
                  <a:lnTo>
                    <a:pt x="1596" y="72"/>
                  </a:lnTo>
                  <a:lnTo>
                    <a:pt x="1623" y="82"/>
                  </a:lnTo>
                  <a:lnTo>
                    <a:pt x="1650" y="92"/>
                  </a:lnTo>
                  <a:lnTo>
                    <a:pt x="1676" y="105"/>
                  </a:lnTo>
                  <a:lnTo>
                    <a:pt x="1703" y="116"/>
                  </a:lnTo>
                  <a:lnTo>
                    <a:pt x="1728" y="130"/>
                  </a:lnTo>
                  <a:lnTo>
                    <a:pt x="1753" y="143"/>
                  </a:lnTo>
                  <a:lnTo>
                    <a:pt x="1779" y="156"/>
                  </a:lnTo>
                  <a:lnTo>
                    <a:pt x="1803" y="172"/>
                  </a:lnTo>
                  <a:lnTo>
                    <a:pt x="1827" y="186"/>
                  </a:lnTo>
                  <a:lnTo>
                    <a:pt x="1851" y="203"/>
                  </a:lnTo>
                  <a:lnTo>
                    <a:pt x="1875" y="218"/>
                  </a:lnTo>
                  <a:lnTo>
                    <a:pt x="1897" y="236"/>
                  </a:lnTo>
                  <a:lnTo>
                    <a:pt x="1920" y="253"/>
                  </a:lnTo>
                  <a:lnTo>
                    <a:pt x="1943" y="271"/>
                  </a:lnTo>
                  <a:lnTo>
                    <a:pt x="1964" y="289"/>
                  </a:lnTo>
                  <a:lnTo>
                    <a:pt x="1986" y="308"/>
                  </a:lnTo>
                  <a:lnTo>
                    <a:pt x="2007" y="327"/>
                  </a:lnTo>
                  <a:lnTo>
                    <a:pt x="2027" y="347"/>
                  </a:lnTo>
                  <a:lnTo>
                    <a:pt x="2047" y="367"/>
                  </a:lnTo>
                  <a:lnTo>
                    <a:pt x="2066" y="388"/>
                  </a:lnTo>
                  <a:lnTo>
                    <a:pt x="2085" y="410"/>
                  </a:lnTo>
                  <a:lnTo>
                    <a:pt x="2104" y="431"/>
                  </a:lnTo>
                  <a:lnTo>
                    <a:pt x="2121" y="454"/>
                  </a:lnTo>
                  <a:lnTo>
                    <a:pt x="2139" y="477"/>
                  </a:lnTo>
                  <a:lnTo>
                    <a:pt x="2156" y="499"/>
                  </a:lnTo>
                  <a:lnTo>
                    <a:pt x="2172" y="523"/>
                  </a:lnTo>
                  <a:lnTo>
                    <a:pt x="2188" y="547"/>
                  </a:lnTo>
                  <a:lnTo>
                    <a:pt x="2202" y="570"/>
                  </a:lnTo>
                  <a:lnTo>
                    <a:pt x="2217" y="595"/>
                  </a:lnTo>
                  <a:lnTo>
                    <a:pt x="2231" y="621"/>
                  </a:lnTo>
                  <a:lnTo>
                    <a:pt x="2245" y="646"/>
                  </a:lnTo>
                  <a:lnTo>
                    <a:pt x="2257" y="671"/>
                  </a:lnTo>
                  <a:lnTo>
                    <a:pt x="2269" y="698"/>
                  </a:lnTo>
                  <a:lnTo>
                    <a:pt x="2282" y="724"/>
                  </a:lnTo>
                  <a:lnTo>
                    <a:pt x="2292" y="751"/>
                  </a:lnTo>
                  <a:lnTo>
                    <a:pt x="2302" y="779"/>
                  </a:lnTo>
                  <a:lnTo>
                    <a:pt x="2313" y="805"/>
                  </a:lnTo>
                  <a:lnTo>
                    <a:pt x="2321" y="833"/>
                  </a:lnTo>
                  <a:lnTo>
                    <a:pt x="2329" y="861"/>
                  </a:lnTo>
                  <a:lnTo>
                    <a:pt x="2337" y="890"/>
                  </a:lnTo>
                  <a:lnTo>
                    <a:pt x="2345" y="919"/>
                  </a:lnTo>
                  <a:lnTo>
                    <a:pt x="2351" y="947"/>
                  </a:lnTo>
                  <a:lnTo>
                    <a:pt x="2356" y="976"/>
                  </a:lnTo>
                  <a:lnTo>
                    <a:pt x="2361" y="1005"/>
                  </a:lnTo>
                  <a:lnTo>
                    <a:pt x="2365" y="1035"/>
                  </a:lnTo>
                  <a:lnTo>
                    <a:pt x="2368" y="1065"/>
                  </a:lnTo>
                  <a:lnTo>
                    <a:pt x="2371" y="1095"/>
                  </a:lnTo>
                  <a:lnTo>
                    <a:pt x="2373" y="1126"/>
                  </a:lnTo>
                  <a:lnTo>
                    <a:pt x="2375" y="1156"/>
                  </a:lnTo>
                  <a:lnTo>
                    <a:pt x="2375" y="1186"/>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 name="Freeform 590">
              <a:extLst>
                <a:ext uri="{FF2B5EF4-FFF2-40B4-BE49-F238E27FC236}">
                  <a16:creationId xmlns:a16="http://schemas.microsoft.com/office/drawing/2014/main" id="{005A8970-4CA7-2B5E-3C2D-D49BD1D9137D}"/>
                </a:ext>
              </a:extLst>
            </p:cNvPr>
            <p:cNvSpPr>
              <a:spLocks noEditPoints="1"/>
            </p:cNvSpPr>
            <p:nvPr/>
          </p:nvSpPr>
          <p:spPr bwMode="auto">
            <a:xfrm>
              <a:off x="3521076" y="3365500"/>
              <a:ext cx="471488" cy="471487"/>
            </a:xfrm>
            <a:custGeom>
              <a:avLst/>
              <a:gdLst/>
              <a:ahLst/>
              <a:cxnLst>
                <a:cxn ang="0">
                  <a:pos x="1346" y="143"/>
                </a:cxn>
                <a:cxn ang="0">
                  <a:pos x="1549" y="194"/>
                </a:cxn>
                <a:cxn ang="0">
                  <a:pos x="1818" y="341"/>
                </a:cxn>
                <a:cxn ang="0">
                  <a:pos x="2063" y="597"/>
                </a:cxn>
                <a:cxn ang="0">
                  <a:pos x="2188" y="850"/>
                </a:cxn>
                <a:cxn ang="0">
                  <a:pos x="2234" y="1055"/>
                </a:cxn>
                <a:cxn ang="0">
                  <a:pos x="2242" y="1240"/>
                </a:cxn>
                <a:cxn ang="0">
                  <a:pos x="2211" y="1447"/>
                </a:cxn>
                <a:cxn ang="0">
                  <a:pos x="2139" y="1644"/>
                </a:cxn>
                <a:cxn ang="0">
                  <a:pos x="1934" y="1932"/>
                </a:cxn>
                <a:cxn ang="0">
                  <a:pos x="1599" y="2158"/>
                </a:cxn>
                <a:cxn ang="0">
                  <a:pos x="1423" y="2215"/>
                </a:cxn>
                <a:cxn ang="0">
                  <a:pos x="1214" y="2241"/>
                </a:cxn>
                <a:cxn ang="0">
                  <a:pos x="1029" y="2229"/>
                </a:cxn>
                <a:cxn ang="0">
                  <a:pos x="826" y="2177"/>
                </a:cxn>
                <a:cxn ang="0">
                  <a:pos x="557" y="2032"/>
                </a:cxn>
                <a:cxn ang="0">
                  <a:pos x="312" y="1776"/>
                </a:cxn>
                <a:cxn ang="0">
                  <a:pos x="187" y="1523"/>
                </a:cxn>
                <a:cxn ang="0">
                  <a:pos x="141" y="1318"/>
                </a:cxn>
                <a:cxn ang="0">
                  <a:pos x="133" y="1133"/>
                </a:cxn>
                <a:cxn ang="0">
                  <a:pos x="165" y="925"/>
                </a:cxn>
                <a:cxn ang="0">
                  <a:pos x="236" y="729"/>
                </a:cxn>
                <a:cxn ang="0">
                  <a:pos x="441" y="441"/>
                </a:cxn>
                <a:cxn ang="0">
                  <a:pos x="777" y="214"/>
                </a:cxn>
                <a:cxn ang="0">
                  <a:pos x="951" y="157"/>
                </a:cxn>
                <a:cxn ang="0">
                  <a:pos x="1161" y="132"/>
                </a:cxn>
                <a:cxn ang="0">
                  <a:pos x="1036" y="9"/>
                </a:cxn>
                <a:cxn ang="0">
                  <a:pos x="807" y="62"/>
                </a:cxn>
                <a:cxn ang="0">
                  <a:pos x="597" y="156"/>
                </a:cxn>
                <a:cxn ang="0">
                  <a:pos x="411" y="289"/>
                </a:cxn>
                <a:cxn ang="0">
                  <a:pos x="254" y="454"/>
                </a:cxn>
                <a:cxn ang="0">
                  <a:pos x="130" y="646"/>
                </a:cxn>
                <a:cxn ang="0">
                  <a:pos x="46" y="861"/>
                </a:cxn>
                <a:cxn ang="0">
                  <a:pos x="3" y="1095"/>
                </a:cxn>
                <a:cxn ang="0">
                  <a:pos x="7" y="1308"/>
                </a:cxn>
                <a:cxn ang="0">
                  <a:pos x="54" y="1539"/>
                </a:cxn>
                <a:cxn ang="0">
                  <a:pos x="144" y="1752"/>
                </a:cxn>
                <a:cxn ang="0">
                  <a:pos x="271" y="1942"/>
                </a:cxn>
                <a:cxn ang="0">
                  <a:pos x="432" y="2102"/>
                </a:cxn>
                <a:cxn ang="0">
                  <a:pos x="622" y="2230"/>
                </a:cxn>
                <a:cxn ang="0">
                  <a:pos x="835" y="2320"/>
                </a:cxn>
                <a:cxn ang="0">
                  <a:pos x="1066" y="2367"/>
                </a:cxn>
                <a:cxn ang="0">
                  <a:pos x="1279" y="2369"/>
                </a:cxn>
                <a:cxn ang="0">
                  <a:pos x="1512" y="2328"/>
                </a:cxn>
                <a:cxn ang="0">
                  <a:pos x="1728" y="2243"/>
                </a:cxn>
                <a:cxn ang="0">
                  <a:pos x="1920" y="2120"/>
                </a:cxn>
                <a:cxn ang="0">
                  <a:pos x="2085" y="1963"/>
                </a:cxn>
                <a:cxn ang="0">
                  <a:pos x="2217" y="1777"/>
                </a:cxn>
                <a:cxn ang="0">
                  <a:pos x="2313" y="1567"/>
                </a:cxn>
                <a:cxn ang="0">
                  <a:pos x="2365" y="1338"/>
                </a:cxn>
                <a:cxn ang="0">
                  <a:pos x="2373" y="1126"/>
                </a:cxn>
                <a:cxn ang="0">
                  <a:pos x="2337" y="890"/>
                </a:cxn>
                <a:cxn ang="0">
                  <a:pos x="2257" y="671"/>
                </a:cxn>
                <a:cxn ang="0">
                  <a:pos x="2139" y="477"/>
                </a:cxn>
                <a:cxn ang="0">
                  <a:pos x="1986" y="308"/>
                </a:cxn>
                <a:cxn ang="0">
                  <a:pos x="1803" y="172"/>
                </a:cxn>
                <a:cxn ang="0">
                  <a:pos x="1596" y="72"/>
                </a:cxn>
                <a:cxn ang="0">
                  <a:pos x="1369" y="13"/>
                </a:cxn>
              </a:cxnLst>
              <a:rect l="0" t="0" r="r" b="b"/>
              <a:pathLst>
                <a:path w="2375" h="2373">
                  <a:moveTo>
                    <a:pt x="1187" y="132"/>
                  </a:moveTo>
                  <a:lnTo>
                    <a:pt x="1187" y="132"/>
                  </a:lnTo>
                  <a:lnTo>
                    <a:pt x="1214" y="132"/>
                  </a:lnTo>
                  <a:lnTo>
                    <a:pt x="1241" y="133"/>
                  </a:lnTo>
                  <a:lnTo>
                    <a:pt x="1267" y="135"/>
                  </a:lnTo>
                  <a:lnTo>
                    <a:pt x="1294" y="137"/>
                  </a:lnTo>
                  <a:lnTo>
                    <a:pt x="1319" y="140"/>
                  </a:lnTo>
                  <a:lnTo>
                    <a:pt x="1346" y="143"/>
                  </a:lnTo>
                  <a:lnTo>
                    <a:pt x="1372" y="147"/>
                  </a:lnTo>
                  <a:lnTo>
                    <a:pt x="1398" y="152"/>
                  </a:lnTo>
                  <a:lnTo>
                    <a:pt x="1423" y="157"/>
                  </a:lnTo>
                  <a:lnTo>
                    <a:pt x="1449" y="163"/>
                  </a:lnTo>
                  <a:lnTo>
                    <a:pt x="1474" y="171"/>
                  </a:lnTo>
                  <a:lnTo>
                    <a:pt x="1500" y="178"/>
                  </a:lnTo>
                  <a:lnTo>
                    <a:pt x="1524" y="186"/>
                  </a:lnTo>
                  <a:lnTo>
                    <a:pt x="1549" y="194"/>
                  </a:lnTo>
                  <a:lnTo>
                    <a:pt x="1574" y="205"/>
                  </a:lnTo>
                  <a:lnTo>
                    <a:pt x="1599" y="214"/>
                  </a:lnTo>
                  <a:lnTo>
                    <a:pt x="1599" y="214"/>
                  </a:lnTo>
                  <a:lnTo>
                    <a:pt x="1645" y="236"/>
                  </a:lnTo>
                  <a:lnTo>
                    <a:pt x="1690" y="258"/>
                  </a:lnTo>
                  <a:lnTo>
                    <a:pt x="1734" y="284"/>
                  </a:lnTo>
                  <a:lnTo>
                    <a:pt x="1777" y="311"/>
                  </a:lnTo>
                  <a:lnTo>
                    <a:pt x="1818" y="341"/>
                  </a:lnTo>
                  <a:lnTo>
                    <a:pt x="1858" y="372"/>
                  </a:lnTo>
                  <a:lnTo>
                    <a:pt x="1896" y="405"/>
                  </a:lnTo>
                  <a:lnTo>
                    <a:pt x="1934" y="441"/>
                  </a:lnTo>
                  <a:lnTo>
                    <a:pt x="1934" y="441"/>
                  </a:lnTo>
                  <a:lnTo>
                    <a:pt x="1970" y="478"/>
                  </a:lnTo>
                  <a:lnTo>
                    <a:pt x="2003" y="516"/>
                  </a:lnTo>
                  <a:lnTo>
                    <a:pt x="2033" y="556"/>
                  </a:lnTo>
                  <a:lnTo>
                    <a:pt x="2063" y="597"/>
                  </a:lnTo>
                  <a:lnTo>
                    <a:pt x="2090" y="640"/>
                  </a:lnTo>
                  <a:lnTo>
                    <a:pt x="2116" y="684"/>
                  </a:lnTo>
                  <a:lnTo>
                    <a:pt x="2139" y="729"/>
                  </a:lnTo>
                  <a:lnTo>
                    <a:pt x="2160" y="775"/>
                  </a:lnTo>
                  <a:lnTo>
                    <a:pt x="2160" y="775"/>
                  </a:lnTo>
                  <a:lnTo>
                    <a:pt x="2169" y="800"/>
                  </a:lnTo>
                  <a:lnTo>
                    <a:pt x="2179" y="825"/>
                  </a:lnTo>
                  <a:lnTo>
                    <a:pt x="2188" y="850"/>
                  </a:lnTo>
                  <a:lnTo>
                    <a:pt x="2196" y="874"/>
                  </a:lnTo>
                  <a:lnTo>
                    <a:pt x="2203" y="900"/>
                  </a:lnTo>
                  <a:lnTo>
                    <a:pt x="2211" y="925"/>
                  </a:lnTo>
                  <a:lnTo>
                    <a:pt x="2217" y="951"/>
                  </a:lnTo>
                  <a:lnTo>
                    <a:pt x="2222" y="976"/>
                  </a:lnTo>
                  <a:lnTo>
                    <a:pt x="2227" y="1002"/>
                  </a:lnTo>
                  <a:lnTo>
                    <a:pt x="2231" y="1028"/>
                  </a:lnTo>
                  <a:lnTo>
                    <a:pt x="2234" y="1055"/>
                  </a:lnTo>
                  <a:lnTo>
                    <a:pt x="2237" y="1080"/>
                  </a:lnTo>
                  <a:lnTo>
                    <a:pt x="2240" y="1107"/>
                  </a:lnTo>
                  <a:lnTo>
                    <a:pt x="2242" y="1133"/>
                  </a:lnTo>
                  <a:lnTo>
                    <a:pt x="2243" y="1160"/>
                  </a:lnTo>
                  <a:lnTo>
                    <a:pt x="2243" y="1186"/>
                  </a:lnTo>
                  <a:lnTo>
                    <a:pt x="2243" y="1186"/>
                  </a:lnTo>
                  <a:lnTo>
                    <a:pt x="2243" y="1213"/>
                  </a:lnTo>
                  <a:lnTo>
                    <a:pt x="2242" y="1240"/>
                  </a:lnTo>
                  <a:lnTo>
                    <a:pt x="2240" y="1266"/>
                  </a:lnTo>
                  <a:lnTo>
                    <a:pt x="2237" y="1293"/>
                  </a:lnTo>
                  <a:lnTo>
                    <a:pt x="2234" y="1318"/>
                  </a:lnTo>
                  <a:lnTo>
                    <a:pt x="2231" y="1344"/>
                  </a:lnTo>
                  <a:lnTo>
                    <a:pt x="2227" y="1371"/>
                  </a:lnTo>
                  <a:lnTo>
                    <a:pt x="2222" y="1397"/>
                  </a:lnTo>
                  <a:lnTo>
                    <a:pt x="2217" y="1422"/>
                  </a:lnTo>
                  <a:lnTo>
                    <a:pt x="2211" y="1447"/>
                  </a:lnTo>
                  <a:lnTo>
                    <a:pt x="2203" y="1473"/>
                  </a:lnTo>
                  <a:lnTo>
                    <a:pt x="2196" y="1498"/>
                  </a:lnTo>
                  <a:lnTo>
                    <a:pt x="2188" y="1523"/>
                  </a:lnTo>
                  <a:lnTo>
                    <a:pt x="2179" y="1548"/>
                  </a:lnTo>
                  <a:lnTo>
                    <a:pt x="2169" y="1573"/>
                  </a:lnTo>
                  <a:lnTo>
                    <a:pt x="2160" y="1596"/>
                  </a:lnTo>
                  <a:lnTo>
                    <a:pt x="2160" y="1596"/>
                  </a:lnTo>
                  <a:lnTo>
                    <a:pt x="2139" y="1644"/>
                  </a:lnTo>
                  <a:lnTo>
                    <a:pt x="2116" y="1688"/>
                  </a:lnTo>
                  <a:lnTo>
                    <a:pt x="2090" y="1732"/>
                  </a:lnTo>
                  <a:lnTo>
                    <a:pt x="2063" y="1776"/>
                  </a:lnTo>
                  <a:lnTo>
                    <a:pt x="2033" y="1817"/>
                  </a:lnTo>
                  <a:lnTo>
                    <a:pt x="2003" y="1857"/>
                  </a:lnTo>
                  <a:lnTo>
                    <a:pt x="1970" y="1895"/>
                  </a:lnTo>
                  <a:lnTo>
                    <a:pt x="1934" y="1932"/>
                  </a:lnTo>
                  <a:lnTo>
                    <a:pt x="1934" y="1932"/>
                  </a:lnTo>
                  <a:lnTo>
                    <a:pt x="1896" y="1967"/>
                  </a:lnTo>
                  <a:lnTo>
                    <a:pt x="1858" y="2001"/>
                  </a:lnTo>
                  <a:lnTo>
                    <a:pt x="1818" y="2032"/>
                  </a:lnTo>
                  <a:lnTo>
                    <a:pt x="1777" y="2062"/>
                  </a:lnTo>
                  <a:lnTo>
                    <a:pt x="1734" y="2089"/>
                  </a:lnTo>
                  <a:lnTo>
                    <a:pt x="1690" y="2115"/>
                  </a:lnTo>
                  <a:lnTo>
                    <a:pt x="1645" y="2137"/>
                  </a:lnTo>
                  <a:lnTo>
                    <a:pt x="1599" y="2158"/>
                  </a:lnTo>
                  <a:lnTo>
                    <a:pt x="1599" y="2158"/>
                  </a:lnTo>
                  <a:lnTo>
                    <a:pt x="1574" y="2168"/>
                  </a:lnTo>
                  <a:lnTo>
                    <a:pt x="1549" y="2177"/>
                  </a:lnTo>
                  <a:lnTo>
                    <a:pt x="1524" y="2187"/>
                  </a:lnTo>
                  <a:lnTo>
                    <a:pt x="1500" y="2195"/>
                  </a:lnTo>
                  <a:lnTo>
                    <a:pt x="1474" y="2202"/>
                  </a:lnTo>
                  <a:lnTo>
                    <a:pt x="1449" y="2208"/>
                  </a:lnTo>
                  <a:lnTo>
                    <a:pt x="1423" y="2215"/>
                  </a:lnTo>
                  <a:lnTo>
                    <a:pt x="1398" y="2221"/>
                  </a:lnTo>
                  <a:lnTo>
                    <a:pt x="1372" y="2225"/>
                  </a:lnTo>
                  <a:lnTo>
                    <a:pt x="1346" y="2229"/>
                  </a:lnTo>
                  <a:lnTo>
                    <a:pt x="1319" y="2233"/>
                  </a:lnTo>
                  <a:lnTo>
                    <a:pt x="1294" y="2236"/>
                  </a:lnTo>
                  <a:lnTo>
                    <a:pt x="1267" y="2238"/>
                  </a:lnTo>
                  <a:lnTo>
                    <a:pt x="1241" y="2240"/>
                  </a:lnTo>
                  <a:lnTo>
                    <a:pt x="1214" y="2241"/>
                  </a:lnTo>
                  <a:lnTo>
                    <a:pt x="1187" y="2241"/>
                  </a:lnTo>
                  <a:lnTo>
                    <a:pt x="1187" y="2241"/>
                  </a:lnTo>
                  <a:lnTo>
                    <a:pt x="1161" y="2241"/>
                  </a:lnTo>
                  <a:lnTo>
                    <a:pt x="1134" y="2240"/>
                  </a:lnTo>
                  <a:lnTo>
                    <a:pt x="1108" y="2238"/>
                  </a:lnTo>
                  <a:lnTo>
                    <a:pt x="1081" y="2236"/>
                  </a:lnTo>
                  <a:lnTo>
                    <a:pt x="1056" y="2233"/>
                  </a:lnTo>
                  <a:lnTo>
                    <a:pt x="1029" y="2229"/>
                  </a:lnTo>
                  <a:lnTo>
                    <a:pt x="1003" y="2225"/>
                  </a:lnTo>
                  <a:lnTo>
                    <a:pt x="977" y="2221"/>
                  </a:lnTo>
                  <a:lnTo>
                    <a:pt x="951" y="2215"/>
                  </a:lnTo>
                  <a:lnTo>
                    <a:pt x="927" y="2208"/>
                  </a:lnTo>
                  <a:lnTo>
                    <a:pt x="901" y="2202"/>
                  </a:lnTo>
                  <a:lnTo>
                    <a:pt x="876" y="2195"/>
                  </a:lnTo>
                  <a:lnTo>
                    <a:pt x="851" y="2187"/>
                  </a:lnTo>
                  <a:lnTo>
                    <a:pt x="826" y="2177"/>
                  </a:lnTo>
                  <a:lnTo>
                    <a:pt x="801" y="2168"/>
                  </a:lnTo>
                  <a:lnTo>
                    <a:pt x="777" y="2158"/>
                  </a:lnTo>
                  <a:lnTo>
                    <a:pt x="777" y="2158"/>
                  </a:lnTo>
                  <a:lnTo>
                    <a:pt x="730" y="2137"/>
                  </a:lnTo>
                  <a:lnTo>
                    <a:pt x="685" y="2115"/>
                  </a:lnTo>
                  <a:lnTo>
                    <a:pt x="641" y="2089"/>
                  </a:lnTo>
                  <a:lnTo>
                    <a:pt x="598" y="2062"/>
                  </a:lnTo>
                  <a:lnTo>
                    <a:pt x="557" y="2032"/>
                  </a:lnTo>
                  <a:lnTo>
                    <a:pt x="517" y="2001"/>
                  </a:lnTo>
                  <a:lnTo>
                    <a:pt x="479" y="1967"/>
                  </a:lnTo>
                  <a:lnTo>
                    <a:pt x="441" y="1932"/>
                  </a:lnTo>
                  <a:lnTo>
                    <a:pt x="441" y="1932"/>
                  </a:lnTo>
                  <a:lnTo>
                    <a:pt x="406" y="1895"/>
                  </a:lnTo>
                  <a:lnTo>
                    <a:pt x="372" y="1857"/>
                  </a:lnTo>
                  <a:lnTo>
                    <a:pt x="341" y="1817"/>
                  </a:lnTo>
                  <a:lnTo>
                    <a:pt x="312" y="1776"/>
                  </a:lnTo>
                  <a:lnTo>
                    <a:pt x="285" y="1732"/>
                  </a:lnTo>
                  <a:lnTo>
                    <a:pt x="259" y="1688"/>
                  </a:lnTo>
                  <a:lnTo>
                    <a:pt x="236" y="1644"/>
                  </a:lnTo>
                  <a:lnTo>
                    <a:pt x="216" y="1596"/>
                  </a:lnTo>
                  <a:lnTo>
                    <a:pt x="216" y="1596"/>
                  </a:lnTo>
                  <a:lnTo>
                    <a:pt x="205" y="1573"/>
                  </a:lnTo>
                  <a:lnTo>
                    <a:pt x="196" y="1548"/>
                  </a:lnTo>
                  <a:lnTo>
                    <a:pt x="187" y="1523"/>
                  </a:lnTo>
                  <a:lnTo>
                    <a:pt x="179" y="1498"/>
                  </a:lnTo>
                  <a:lnTo>
                    <a:pt x="171" y="1473"/>
                  </a:lnTo>
                  <a:lnTo>
                    <a:pt x="165" y="1447"/>
                  </a:lnTo>
                  <a:lnTo>
                    <a:pt x="159" y="1422"/>
                  </a:lnTo>
                  <a:lnTo>
                    <a:pt x="153" y="1397"/>
                  </a:lnTo>
                  <a:lnTo>
                    <a:pt x="149" y="1371"/>
                  </a:lnTo>
                  <a:lnTo>
                    <a:pt x="144" y="1344"/>
                  </a:lnTo>
                  <a:lnTo>
                    <a:pt x="141" y="1318"/>
                  </a:lnTo>
                  <a:lnTo>
                    <a:pt x="137" y="1293"/>
                  </a:lnTo>
                  <a:lnTo>
                    <a:pt x="135" y="1266"/>
                  </a:lnTo>
                  <a:lnTo>
                    <a:pt x="133" y="1240"/>
                  </a:lnTo>
                  <a:lnTo>
                    <a:pt x="132" y="1213"/>
                  </a:lnTo>
                  <a:lnTo>
                    <a:pt x="132" y="1186"/>
                  </a:lnTo>
                  <a:lnTo>
                    <a:pt x="132" y="1186"/>
                  </a:lnTo>
                  <a:lnTo>
                    <a:pt x="132" y="1160"/>
                  </a:lnTo>
                  <a:lnTo>
                    <a:pt x="133" y="1133"/>
                  </a:lnTo>
                  <a:lnTo>
                    <a:pt x="135" y="1107"/>
                  </a:lnTo>
                  <a:lnTo>
                    <a:pt x="137" y="1080"/>
                  </a:lnTo>
                  <a:lnTo>
                    <a:pt x="141" y="1055"/>
                  </a:lnTo>
                  <a:lnTo>
                    <a:pt x="144" y="1028"/>
                  </a:lnTo>
                  <a:lnTo>
                    <a:pt x="149" y="1002"/>
                  </a:lnTo>
                  <a:lnTo>
                    <a:pt x="153" y="976"/>
                  </a:lnTo>
                  <a:lnTo>
                    <a:pt x="159" y="951"/>
                  </a:lnTo>
                  <a:lnTo>
                    <a:pt x="165" y="925"/>
                  </a:lnTo>
                  <a:lnTo>
                    <a:pt x="171" y="900"/>
                  </a:lnTo>
                  <a:lnTo>
                    <a:pt x="179" y="874"/>
                  </a:lnTo>
                  <a:lnTo>
                    <a:pt x="187" y="850"/>
                  </a:lnTo>
                  <a:lnTo>
                    <a:pt x="196" y="825"/>
                  </a:lnTo>
                  <a:lnTo>
                    <a:pt x="205" y="800"/>
                  </a:lnTo>
                  <a:lnTo>
                    <a:pt x="216" y="775"/>
                  </a:lnTo>
                  <a:lnTo>
                    <a:pt x="216" y="775"/>
                  </a:lnTo>
                  <a:lnTo>
                    <a:pt x="236" y="729"/>
                  </a:lnTo>
                  <a:lnTo>
                    <a:pt x="259" y="684"/>
                  </a:lnTo>
                  <a:lnTo>
                    <a:pt x="285" y="640"/>
                  </a:lnTo>
                  <a:lnTo>
                    <a:pt x="312" y="597"/>
                  </a:lnTo>
                  <a:lnTo>
                    <a:pt x="341" y="556"/>
                  </a:lnTo>
                  <a:lnTo>
                    <a:pt x="372" y="516"/>
                  </a:lnTo>
                  <a:lnTo>
                    <a:pt x="406" y="478"/>
                  </a:lnTo>
                  <a:lnTo>
                    <a:pt x="441" y="441"/>
                  </a:lnTo>
                  <a:lnTo>
                    <a:pt x="441" y="441"/>
                  </a:lnTo>
                  <a:lnTo>
                    <a:pt x="479" y="405"/>
                  </a:lnTo>
                  <a:lnTo>
                    <a:pt x="517" y="372"/>
                  </a:lnTo>
                  <a:lnTo>
                    <a:pt x="557" y="341"/>
                  </a:lnTo>
                  <a:lnTo>
                    <a:pt x="598" y="311"/>
                  </a:lnTo>
                  <a:lnTo>
                    <a:pt x="641" y="284"/>
                  </a:lnTo>
                  <a:lnTo>
                    <a:pt x="685" y="258"/>
                  </a:lnTo>
                  <a:lnTo>
                    <a:pt x="730" y="236"/>
                  </a:lnTo>
                  <a:lnTo>
                    <a:pt x="777" y="214"/>
                  </a:lnTo>
                  <a:lnTo>
                    <a:pt x="777" y="214"/>
                  </a:lnTo>
                  <a:lnTo>
                    <a:pt x="801" y="205"/>
                  </a:lnTo>
                  <a:lnTo>
                    <a:pt x="826" y="194"/>
                  </a:lnTo>
                  <a:lnTo>
                    <a:pt x="851" y="186"/>
                  </a:lnTo>
                  <a:lnTo>
                    <a:pt x="876" y="178"/>
                  </a:lnTo>
                  <a:lnTo>
                    <a:pt x="901" y="171"/>
                  </a:lnTo>
                  <a:lnTo>
                    <a:pt x="927" y="163"/>
                  </a:lnTo>
                  <a:lnTo>
                    <a:pt x="951" y="157"/>
                  </a:lnTo>
                  <a:lnTo>
                    <a:pt x="977" y="152"/>
                  </a:lnTo>
                  <a:lnTo>
                    <a:pt x="1003" y="147"/>
                  </a:lnTo>
                  <a:lnTo>
                    <a:pt x="1029" y="143"/>
                  </a:lnTo>
                  <a:lnTo>
                    <a:pt x="1056" y="140"/>
                  </a:lnTo>
                  <a:lnTo>
                    <a:pt x="1081" y="137"/>
                  </a:lnTo>
                  <a:lnTo>
                    <a:pt x="1108" y="135"/>
                  </a:lnTo>
                  <a:lnTo>
                    <a:pt x="1134" y="133"/>
                  </a:lnTo>
                  <a:lnTo>
                    <a:pt x="1161" y="132"/>
                  </a:lnTo>
                  <a:lnTo>
                    <a:pt x="1187" y="132"/>
                  </a:lnTo>
                  <a:close/>
                  <a:moveTo>
                    <a:pt x="1187" y="0"/>
                  </a:moveTo>
                  <a:lnTo>
                    <a:pt x="1187" y="0"/>
                  </a:lnTo>
                  <a:lnTo>
                    <a:pt x="1157" y="0"/>
                  </a:lnTo>
                  <a:lnTo>
                    <a:pt x="1127" y="1"/>
                  </a:lnTo>
                  <a:lnTo>
                    <a:pt x="1096" y="3"/>
                  </a:lnTo>
                  <a:lnTo>
                    <a:pt x="1066" y="6"/>
                  </a:lnTo>
                  <a:lnTo>
                    <a:pt x="1036" y="9"/>
                  </a:lnTo>
                  <a:lnTo>
                    <a:pt x="1007" y="13"/>
                  </a:lnTo>
                  <a:lnTo>
                    <a:pt x="977" y="18"/>
                  </a:lnTo>
                  <a:lnTo>
                    <a:pt x="948" y="23"/>
                  </a:lnTo>
                  <a:lnTo>
                    <a:pt x="920" y="30"/>
                  </a:lnTo>
                  <a:lnTo>
                    <a:pt x="891" y="37"/>
                  </a:lnTo>
                  <a:lnTo>
                    <a:pt x="863" y="45"/>
                  </a:lnTo>
                  <a:lnTo>
                    <a:pt x="835" y="53"/>
                  </a:lnTo>
                  <a:lnTo>
                    <a:pt x="807" y="62"/>
                  </a:lnTo>
                  <a:lnTo>
                    <a:pt x="779" y="72"/>
                  </a:lnTo>
                  <a:lnTo>
                    <a:pt x="753" y="82"/>
                  </a:lnTo>
                  <a:lnTo>
                    <a:pt x="726" y="92"/>
                  </a:lnTo>
                  <a:lnTo>
                    <a:pt x="699" y="105"/>
                  </a:lnTo>
                  <a:lnTo>
                    <a:pt x="673" y="116"/>
                  </a:lnTo>
                  <a:lnTo>
                    <a:pt x="648" y="130"/>
                  </a:lnTo>
                  <a:lnTo>
                    <a:pt x="622" y="143"/>
                  </a:lnTo>
                  <a:lnTo>
                    <a:pt x="597" y="156"/>
                  </a:lnTo>
                  <a:lnTo>
                    <a:pt x="572" y="172"/>
                  </a:lnTo>
                  <a:lnTo>
                    <a:pt x="548" y="186"/>
                  </a:lnTo>
                  <a:lnTo>
                    <a:pt x="524" y="203"/>
                  </a:lnTo>
                  <a:lnTo>
                    <a:pt x="500" y="218"/>
                  </a:lnTo>
                  <a:lnTo>
                    <a:pt x="477" y="236"/>
                  </a:lnTo>
                  <a:lnTo>
                    <a:pt x="455" y="253"/>
                  </a:lnTo>
                  <a:lnTo>
                    <a:pt x="432" y="271"/>
                  </a:lnTo>
                  <a:lnTo>
                    <a:pt x="411" y="289"/>
                  </a:lnTo>
                  <a:lnTo>
                    <a:pt x="390" y="308"/>
                  </a:lnTo>
                  <a:lnTo>
                    <a:pt x="368" y="327"/>
                  </a:lnTo>
                  <a:lnTo>
                    <a:pt x="349" y="347"/>
                  </a:lnTo>
                  <a:lnTo>
                    <a:pt x="328" y="367"/>
                  </a:lnTo>
                  <a:lnTo>
                    <a:pt x="308" y="388"/>
                  </a:lnTo>
                  <a:lnTo>
                    <a:pt x="290" y="410"/>
                  </a:lnTo>
                  <a:lnTo>
                    <a:pt x="271" y="431"/>
                  </a:lnTo>
                  <a:lnTo>
                    <a:pt x="254" y="454"/>
                  </a:lnTo>
                  <a:lnTo>
                    <a:pt x="236" y="477"/>
                  </a:lnTo>
                  <a:lnTo>
                    <a:pt x="220" y="499"/>
                  </a:lnTo>
                  <a:lnTo>
                    <a:pt x="203" y="523"/>
                  </a:lnTo>
                  <a:lnTo>
                    <a:pt x="188" y="547"/>
                  </a:lnTo>
                  <a:lnTo>
                    <a:pt x="172" y="570"/>
                  </a:lnTo>
                  <a:lnTo>
                    <a:pt x="158" y="595"/>
                  </a:lnTo>
                  <a:lnTo>
                    <a:pt x="144" y="621"/>
                  </a:lnTo>
                  <a:lnTo>
                    <a:pt x="130" y="646"/>
                  </a:lnTo>
                  <a:lnTo>
                    <a:pt x="118" y="671"/>
                  </a:lnTo>
                  <a:lnTo>
                    <a:pt x="105" y="698"/>
                  </a:lnTo>
                  <a:lnTo>
                    <a:pt x="94" y="724"/>
                  </a:lnTo>
                  <a:lnTo>
                    <a:pt x="83" y="751"/>
                  </a:lnTo>
                  <a:lnTo>
                    <a:pt x="73" y="779"/>
                  </a:lnTo>
                  <a:lnTo>
                    <a:pt x="63" y="805"/>
                  </a:lnTo>
                  <a:lnTo>
                    <a:pt x="54" y="833"/>
                  </a:lnTo>
                  <a:lnTo>
                    <a:pt x="46" y="861"/>
                  </a:lnTo>
                  <a:lnTo>
                    <a:pt x="37" y="890"/>
                  </a:lnTo>
                  <a:lnTo>
                    <a:pt x="31" y="919"/>
                  </a:lnTo>
                  <a:lnTo>
                    <a:pt x="24" y="947"/>
                  </a:lnTo>
                  <a:lnTo>
                    <a:pt x="19" y="976"/>
                  </a:lnTo>
                  <a:lnTo>
                    <a:pt x="14" y="1005"/>
                  </a:lnTo>
                  <a:lnTo>
                    <a:pt x="10" y="1035"/>
                  </a:lnTo>
                  <a:lnTo>
                    <a:pt x="7" y="1065"/>
                  </a:lnTo>
                  <a:lnTo>
                    <a:pt x="3" y="1095"/>
                  </a:lnTo>
                  <a:lnTo>
                    <a:pt x="2" y="1126"/>
                  </a:lnTo>
                  <a:lnTo>
                    <a:pt x="0" y="1156"/>
                  </a:lnTo>
                  <a:lnTo>
                    <a:pt x="0" y="1186"/>
                  </a:lnTo>
                  <a:lnTo>
                    <a:pt x="0" y="1186"/>
                  </a:lnTo>
                  <a:lnTo>
                    <a:pt x="0" y="1217"/>
                  </a:lnTo>
                  <a:lnTo>
                    <a:pt x="2" y="1247"/>
                  </a:lnTo>
                  <a:lnTo>
                    <a:pt x="3" y="1277"/>
                  </a:lnTo>
                  <a:lnTo>
                    <a:pt x="7" y="1308"/>
                  </a:lnTo>
                  <a:lnTo>
                    <a:pt x="10" y="1338"/>
                  </a:lnTo>
                  <a:lnTo>
                    <a:pt x="14" y="1367"/>
                  </a:lnTo>
                  <a:lnTo>
                    <a:pt x="19" y="1397"/>
                  </a:lnTo>
                  <a:lnTo>
                    <a:pt x="24" y="1425"/>
                  </a:lnTo>
                  <a:lnTo>
                    <a:pt x="31" y="1454"/>
                  </a:lnTo>
                  <a:lnTo>
                    <a:pt x="37" y="1483"/>
                  </a:lnTo>
                  <a:lnTo>
                    <a:pt x="46" y="1511"/>
                  </a:lnTo>
                  <a:lnTo>
                    <a:pt x="54" y="1539"/>
                  </a:lnTo>
                  <a:lnTo>
                    <a:pt x="63" y="1567"/>
                  </a:lnTo>
                  <a:lnTo>
                    <a:pt x="73" y="1594"/>
                  </a:lnTo>
                  <a:lnTo>
                    <a:pt x="83" y="1621"/>
                  </a:lnTo>
                  <a:lnTo>
                    <a:pt x="94" y="1648"/>
                  </a:lnTo>
                  <a:lnTo>
                    <a:pt x="105" y="1675"/>
                  </a:lnTo>
                  <a:lnTo>
                    <a:pt x="118" y="1701"/>
                  </a:lnTo>
                  <a:lnTo>
                    <a:pt x="130" y="1726"/>
                  </a:lnTo>
                  <a:lnTo>
                    <a:pt x="144" y="1752"/>
                  </a:lnTo>
                  <a:lnTo>
                    <a:pt x="158" y="1777"/>
                  </a:lnTo>
                  <a:lnTo>
                    <a:pt x="172" y="1801"/>
                  </a:lnTo>
                  <a:lnTo>
                    <a:pt x="188" y="1826"/>
                  </a:lnTo>
                  <a:lnTo>
                    <a:pt x="203" y="1850"/>
                  </a:lnTo>
                  <a:lnTo>
                    <a:pt x="220" y="1874"/>
                  </a:lnTo>
                  <a:lnTo>
                    <a:pt x="236" y="1896"/>
                  </a:lnTo>
                  <a:lnTo>
                    <a:pt x="254" y="1919"/>
                  </a:lnTo>
                  <a:lnTo>
                    <a:pt x="271" y="1942"/>
                  </a:lnTo>
                  <a:lnTo>
                    <a:pt x="290" y="1963"/>
                  </a:lnTo>
                  <a:lnTo>
                    <a:pt x="308" y="1984"/>
                  </a:lnTo>
                  <a:lnTo>
                    <a:pt x="328" y="2005"/>
                  </a:lnTo>
                  <a:lnTo>
                    <a:pt x="349" y="2025"/>
                  </a:lnTo>
                  <a:lnTo>
                    <a:pt x="368" y="2046"/>
                  </a:lnTo>
                  <a:lnTo>
                    <a:pt x="390" y="2065"/>
                  </a:lnTo>
                  <a:lnTo>
                    <a:pt x="411" y="2084"/>
                  </a:lnTo>
                  <a:lnTo>
                    <a:pt x="432" y="2102"/>
                  </a:lnTo>
                  <a:lnTo>
                    <a:pt x="455" y="2120"/>
                  </a:lnTo>
                  <a:lnTo>
                    <a:pt x="477" y="2137"/>
                  </a:lnTo>
                  <a:lnTo>
                    <a:pt x="500" y="2154"/>
                  </a:lnTo>
                  <a:lnTo>
                    <a:pt x="524" y="2170"/>
                  </a:lnTo>
                  <a:lnTo>
                    <a:pt x="548" y="2186"/>
                  </a:lnTo>
                  <a:lnTo>
                    <a:pt x="572" y="2201"/>
                  </a:lnTo>
                  <a:lnTo>
                    <a:pt x="597" y="2216"/>
                  </a:lnTo>
                  <a:lnTo>
                    <a:pt x="622" y="2230"/>
                  </a:lnTo>
                  <a:lnTo>
                    <a:pt x="648" y="2243"/>
                  </a:lnTo>
                  <a:lnTo>
                    <a:pt x="673" y="2256"/>
                  </a:lnTo>
                  <a:lnTo>
                    <a:pt x="699" y="2268"/>
                  </a:lnTo>
                  <a:lnTo>
                    <a:pt x="726" y="2279"/>
                  </a:lnTo>
                  <a:lnTo>
                    <a:pt x="753" y="2291"/>
                  </a:lnTo>
                  <a:lnTo>
                    <a:pt x="779" y="2301"/>
                  </a:lnTo>
                  <a:lnTo>
                    <a:pt x="807" y="2310"/>
                  </a:lnTo>
                  <a:lnTo>
                    <a:pt x="835" y="2320"/>
                  </a:lnTo>
                  <a:lnTo>
                    <a:pt x="863" y="2328"/>
                  </a:lnTo>
                  <a:lnTo>
                    <a:pt x="891" y="2336"/>
                  </a:lnTo>
                  <a:lnTo>
                    <a:pt x="920" y="2342"/>
                  </a:lnTo>
                  <a:lnTo>
                    <a:pt x="948" y="2348"/>
                  </a:lnTo>
                  <a:lnTo>
                    <a:pt x="977" y="2355"/>
                  </a:lnTo>
                  <a:lnTo>
                    <a:pt x="1007" y="2360"/>
                  </a:lnTo>
                  <a:lnTo>
                    <a:pt x="1036" y="2364"/>
                  </a:lnTo>
                  <a:lnTo>
                    <a:pt x="1066" y="2367"/>
                  </a:lnTo>
                  <a:lnTo>
                    <a:pt x="1096" y="2369"/>
                  </a:lnTo>
                  <a:lnTo>
                    <a:pt x="1127" y="2371"/>
                  </a:lnTo>
                  <a:lnTo>
                    <a:pt x="1157" y="2372"/>
                  </a:lnTo>
                  <a:lnTo>
                    <a:pt x="1187" y="2373"/>
                  </a:lnTo>
                  <a:lnTo>
                    <a:pt x="1187" y="2373"/>
                  </a:lnTo>
                  <a:lnTo>
                    <a:pt x="1218" y="2372"/>
                  </a:lnTo>
                  <a:lnTo>
                    <a:pt x="1248" y="2371"/>
                  </a:lnTo>
                  <a:lnTo>
                    <a:pt x="1279" y="2369"/>
                  </a:lnTo>
                  <a:lnTo>
                    <a:pt x="1309" y="2367"/>
                  </a:lnTo>
                  <a:lnTo>
                    <a:pt x="1339" y="2364"/>
                  </a:lnTo>
                  <a:lnTo>
                    <a:pt x="1369" y="2360"/>
                  </a:lnTo>
                  <a:lnTo>
                    <a:pt x="1398" y="2355"/>
                  </a:lnTo>
                  <a:lnTo>
                    <a:pt x="1427" y="2348"/>
                  </a:lnTo>
                  <a:lnTo>
                    <a:pt x="1455" y="2342"/>
                  </a:lnTo>
                  <a:lnTo>
                    <a:pt x="1484" y="2336"/>
                  </a:lnTo>
                  <a:lnTo>
                    <a:pt x="1512" y="2328"/>
                  </a:lnTo>
                  <a:lnTo>
                    <a:pt x="1541" y="2320"/>
                  </a:lnTo>
                  <a:lnTo>
                    <a:pt x="1569" y="2310"/>
                  </a:lnTo>
                  <a:lnTo>
                    <a:pt x="1596" y="2301"/>
                  </a:lnTo>
                  <a:lnTo>
                    <a:pt x="1623" y="2291"/>
                  </a:lnTo>
                  <a:lnTo>
                    <a:pt x="1650" y="2279"/>
                  </a:lnTo>
                  <a:lnTo>
                    <a:pt x="1676" y="2268"/>
                  </a:lnTo>
                  <a:lnTo>
                    <a:pt x="1703" y="2256"/>
                  </a:lnTo>
                  <a:lnTo>
                    <a:pt x="1728" y="2243"/>
                  </a:lnTo>
                  <a:lnTo>
                    <a:pt x="1753" y="2230"/>
                  </a:lnTo>
                  <a:lnTo>
                    <a:pt x="1779" y="2216"/>
                  </a:lnTo>
                  <a:lnTo>
                    <a:pt x="1803" y="2201"/>
                  </a:lnTo>
                  <a:lnTo>
                    <a:pt x="1827" y="2186"/>
                  </a:lnTo>
                  <a:lnTo>
                    <a:pt x="1851" y="2170"/>
                  </a:lnTo>
                  <a:lnTo>
                    <a:pt x="1875" y="2154"/>
                  </a:lnTo>
                  <a:lnTo>
                    <a:pt x="1897" y="2137"/>
                  </a:lnTo>
                  <a:lnTo>
                    <a:pt x="1920" y="2120"/>
                  </a:lnTo>
                  <a:lnTo>
                    <a:pt x="1943" y="2102"/>
                  </a:lnTo>
                  <a:lnTo>
                    <a:pt x="1964" y="2084"/>
                  </a:lnTo>
                  <a:lnTo>
                    <a:pt x="1986" y="2065"/>
                  </a:lnTo>
                  <a:lnTo>
                    <a:pt x="2007" y="2046"/>
                  </a:lnTo>
                  <a:lnTo>
                    <a:pt x="2027" y="2025"/>
                  </a:lnTo>
                  <a:lnTo>
                    <a:pt x="2047" y="2005"/>
                  </a:lnTo>
                  <a:lnTo>
                    <a:pt x="2066" y="1984"/>
                  </a:lnTo>
                  <a:lnTo>
                    <a:pt x="2085" y="1963"/>
                  </a:lnTo>
                  <a:lnTo>
                    <a:pt x="2104" y="1942"/>
                  </a:lnTo>
                  <a:lnTo>
                    <a:pt x="2121" y="1919"/>
                  </a:lnTo>
                  <a:lnTo>
                    <a:pt x="2139" y="1896"/>
                  </a:lnTo>
                  <a:lnTo>
                    <a:pt x="2156" y="1874"/>
                  </a:lnTo>
                  <a:lnTo>
                    <a:pt x="2172" y="1850"/>
                  </a:lnTo>
                  <a:lnTo>
                    <a:pt x="2188" y="1826"/>
                  </a:lnTo>
                  <a:lnTo>
                    <a:pt x="2202" y="1801"/>
                  </a:lnTo>
                  <a:lnTo>
                    <a:pt x="2217" y="1777"/>
                  </a:lnTo>
                  <a:lnTo>
                    <a:pt x="2231" y="1752"/>
                  </a:lnTo>
                  <a:lnTo>
                    <a:pt x="2245" y="1726"/>
                  </a:lnTo>
                  <a:lnTo>
                    <a:pt x="2257" y="1701"/>
                  </a:lnTo>
                  <a:lnTo>
                    <a:pt x="2269" y="1675"/>
                  </a:lnTo>
                  <a:lnTo>
                    <a:pt x="2282" y="1648"/>
                  </a:lnTo>
                  <a:lnTo>
                    <a:pt x="2292" y="1621"/>
                  </a:lnTo>
                  <a:lnTo>
                    <a:pt x="2302" y="1594"/>
                  </a:lnTo>
                  <a:lnTo>
                    <a:pt x="2313" y="1567"/>
                  </a:lnTo>
                  <a:lnTo>
                    <a:pt x="2321" y="1539"/>
                  </a:lnTo>
                  <a:lnTo>
                    <a:pt x="2329" y="1511"/>
                  </a:lnTo>
                  <a:lnTo>
                    <a:pt x="2337" y="1483"/>
                  </a:lnTo>
                  <a:lnTo>
                    <a:pt x="2345" y="1454"/>
                  </a:lnTo>
                  <a:lnTo>
                    <a:pt x="2351" y="1425"/>
                  </a:lnTo>
                  <a:lnTo>
                    <a:pt x="2356" y="1397"/>
                  </a:lnTo>
                  <a:lnTo>
                    <a:pt x="2361" y="1367"/>
                  </a:lnTo>
                  <a:lnTo>
                    <a:pt x="2365" y="1338"/>
                  </a:lnTo>
                  <a:lnTo>
                    <a:pt x="2368" y="1308"/>
                  </a:lnTo>
                  <a:lnTo>
                    <a:pt x="2371" y="1277"/>
                  </a:lnTo>
                  <a:lnTo>
                    <a:pt x="2373" y="1247"/>
                  </a:lnTo>
                  <a:lnTo>
                    <a:pt x="2375" y="1217"/>
                  </a:lnTo>
                  <a:lnTo>
                    <a:pt x="2375" y="1186"/>
                  </a:lnTo>
                  <a:lnTo>
                    <a:pt x="2375" y="1186"/>
                  </a:lnTo>
                  <a:lnTo>
                    <a:pt x="2375" y="1156"/>
                  </a:lnTo>
                  <a:lnTo>
                    <a:pt x="2373" y="1126"/>
                  </a:lnTo>
                  <a:lnTo>
                    <a:pt x="2371" y="1095"/>
                  </a:lnTo>
                  <a:lnTo>
                    <a:pt x="2368" y="1065"/>
                  </a:lnTo>
                  <a:lnTo>
                    <a:pt x="2365" y="1035"/>
                  </a:lnTo>
                  <a:lnTo>
                    <a:pt x="2361" y="1005"/>
                  </a:lnTo>
                  <a:lnTo>
                    <a:pt x="2356" y="976"/>
                  </a:lnTo>
                  <a:lnTo>
                    <a:pt x="2351" y="947"/>
                  </a:lnTo>
                  <a:lnTo>
                    <a:pt x="2345" y="919"/>
                  </a:lnTo>
                  <a:lnTo>
                    <a:pt x="2337" y="890"/>
                  </a:lnTo>
                  <a:lnTo>
                    <a:pt x="2329" y="861"/>
                  </a:lnTo>
                  <a:lnTo>
                    <a:pt x="2321" y="833"/>
                  </a:lnTo>
                  <a:lnTo>
                    <a:pt x="2313" y="805"/>
                  </a:lnTo>
                  <a:lnTo>
                    <a:pt x="2302" y="779"/>
                  </a:lnTo>
                  <a:lnTo>
                    <a:pt x="2292" y="751"/>
                  </a:lnTo>
                  <a:lnTo>
                    <a:pt x="2282" y="724"/>
                  </a:lnTo>
                  <a:lnTo>
                    <a:pt x="2269" y="698"/>
                  </a:lnTo>
                  <a:lnTo>
                    <a:pt x="2257" y="671"/>
                  </a:lnTo>
                  <a:lnTo>
                    <a:pt x="2245" y="646"/>
                  </a:lnTo>
                  <a:lnTo>
                    <a:pt x="2231" y="621"/>
                  </a:lnTo>
                  <a:lnTo>
                    <a:pt x="2217" y="595"/>
                  </a:lnTo>
                  <a:lnTo>
                    <a:pt x="2202" y="570"/>
                  </a:lnTo>
                  <a:lnTo>
                    <a:pt x="2188" y="547"/>
                  </a:lnTo>
                  <a:lnTo>
                    <a:pt x="2172" y="523"/>
                  </a:lnTo>
                  <a:lnTo>
                    <a:pt x="2156" y="499"/>
                  </a:lnTo>
                  <a:lnTo>
                    <a:pt x="2139" y="477"/>
                  </a:lnTo>
                  <a:lnTo>
                    <a:pt x="2121" y="454"/>
                  </a:lnTo>
                  <a:lnTo>
                    <a:pt x="2104" y="431"/>
                  </a:lnTo>
                  <a:lnTo>
                    <a:pt x="2085" y="410"/>
                  </a:lnTo>
                  <a:lnTo>
                    <a:pt x="2066" y="388"/>
                  </a:lnTo>
                  <a:lnTo>
                    <a:pt x="2047" y="367"/>
                  </a:lnTo>
                  <a:lnTo>
                    <a:pt x="2027" y="347"/>
                  </a:lnTo>
                  <a:lnTo>
                    <a:pt x="2007" y="327"/>
                  </a:lnTo>
                  <a:lnTo>
                    <a:pt x="1986" y="308"/>
                  </a:lnTo>
                  <a:lnTo>
                    <a:pt x="1964" y="289"/>
                  </a:lnTo>
                  <a:lnTo>
                    <a:pt x="1943" y="271"/>
                  </a:lnTo>
                  <a:lnTo>
                    <a:pt x="1920" y="253"/>
                  </a:lnTo>
                  <a:lnTo>
                    <a:pt x="1897" y="236"/>
                  </a:lnTo>
                  <a:lnTo>
                    <a:pt x="1875" y="218"/>
                  </a:lnTo>
                  <a:lnTo>
                    <a:pt x="1851" y="203"/>
                  </a:lnTo>
                  <a:lnTo>
                    <a:pt x="1827" y="186"/>
                  </a:lnTo>
                  <a:lnTo>
                    <a:pt x="1803" y="172"/>
                  </a:lnTo>
                  <a:lnTo>
                    <a:pt x="1779" y="156"/>
                  </a:lnTo>
                  <a:lnTo>
                    <a:pt x="1753" y="143"/>
                  </a:lnTo>
                  <a:lnTo>
                    <a:pt x="1728" y="130"/>
                  </a:lnTo>
                  <a:lnTo>
                    <a:pt x="1703" y="116"/>
                  </a:lnTo>
                  <a:lnTo>
                    <a:pt x="1676" y="105"/>
                  </a:lnTo>
                  <a:lnTo>
                    <a:pt x="1650" y="92"/>
                  </a:lnTo>
                  <a:lnTo>
                    <a:pt x="1623" y="82"/>
                  </a:lnTo>
                  <a:lnTo>
                    <a:pt x="1596" y="72"/>
                  </a:lnTo>
                  <a:lnTo>
                    <a:pt x="1569" y="62"/>
                  </a:lnTo>
                  <a:lnTo>
                    <a:pt x="1541" y="53"/>
                  </a:lnTo>
                  <a:lnTo>
                    <a:pt x="1512" y="45"/>
                  </a:lnTo>
                  <a:lnTo>
                    <a:pt x="1484" y="37"/>
                  </a:lnTo>
                  <a:lnTo>
                    <a:pt x="1455" y="30"/>
                  </a:lnTo>
                  <a:lnTo>
                    <a:pt x="1427" y="23"/>
                  </a:lnTo>
                  <a:lnTo>
                    <a:pt x="1398" y="18"/>
                  </a:lnTo>
                  <a:lnTo>
                    <a:pt x="1369" y="13"/>
                  </a:lnTo>
                  <a:lnTo>
                    <a:pt x="1339" y="9"/>
                  </a:lnTo>
                  <a:lnTo>
                    <a:pt x="1309" y="6"/>
                  </a:lnTo>
                  <a:lnTo>
                    <a:pt x="1279" y="3"/>
                  </a:lnTo>
                  <a:lnTo>
                    <a:pt x="1248" y="1"/>
                  </a:lnTo>
                  <a:lnTo>
                    <a:pt x="1218" y="0"/>
                  </a:lnTo>
                  <a:lnTo>
                    <a:pt x="1187" y="0"/>
                  </a:lnTo>
                  <a:close/>
                </a:path>
              </a:pathLst>
            </a:custGeom>
            <a:solidFill>
              <a:srgbClr val="475059"/>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 name="Freeform 591">
              <a:extLst>
                <a:ext uri="{FF2B5EF4-FFF2-40B4-BE49-F238E27FC236}">
                  <a16:creationId xmlns:a16="http://schemas.microsoft.com/office/drawing/2014/main" id="{877105FC-08A0-D3AD-B93E-B41118345EB1}"/>
                </a:ext>
              </a:extLst>
            </p:cNvPr>
            <p:cNvSpPr>
              <a:spLocks/>
            </p:cNvSpPr>
            <p:nvPr/>
          </p:nvSpPr>
          <p:spPr bwMode="auto">
            <a:xfrm>
              <a:off x="3548063" y="3390900"/>
              <a:ext cx="419100" cy="419100"/>
            </a:xfrm>
            <a:custGeom>
              <a:avLst/>
              <a:gdLst/>
              <a:ahLst/>
              <a:cxnLst>
                <a:cxn ang="0">
                  <a:pos x="1109" y="1"/>
                </a:cxn>
                <a:cxn ang="0">
                  <a:pos x="1214" y="11"/>
                </a:cxn>
                <a:cxn ang="0">
                  <a:pos x="1317" y="31"/>
                </a:cxn>
                <a:cxn ang="0">
                  <a:pos x="1417" y="62"/>
                </a:cxn>
                <a:cxn ang="0">
                  <a:pos x="1513" y="104"/>
                </a:cxn>
                <a:cxn ang="0">
                  <a:pos x="1686" y="209"/>
                </a:cxn>
                <a:cxn ang="0">
                  <a:pos x="1802" y="309"/>
                </a:cxn>
                <a:cxn ang="0">
                  <a:pos x="1931" y="465"/>
                </a:cxn>
                <a:cxn ang="0">
                  <a:pos x="2028" y="643"/>
                </a:cxn>
                <a:cxn ang="0">
                  <a:pos x="2056" y="718"/>
                </a:cxn>
                <a:cxn ang="0">
                  <a:pos x="2085" y="819"/>
                </a:cxn>
                <a:cxn ang="0">
                  <a:pos x="2102" y="923"/>
                </a:cxn>
                <a:cxn ang="0">
                  <a:pos x="2111" y="1028"/>
                </a:cxn>
                <a:cxn ang="0">
                  <a:pos x="2110" y="1108"/>
                </a:cxn>
                <a:cxn ang="0">
                  <a:pos x="2099" y="1212"/>
                </a:cxn>
                <a:cxn ang="0">
                  <a:pos x="2079" y="1315"/>
                </a:cxn>
                <a:cxn ang="0">
                  <a:pos x="2047" y="1416"/>
                </a:cxn>
                <a:cxn ang="0">
                  <a:pos x="2007" y="1512"/>
                </a:cxn>
                <a:cxn ang="0">
                  <a:pos x="1901" y="1685"/>
                </a:cxn>
                <a:cxn ang="0">
                  <a:pos x="1802" y="1800"/>
                </a:cxn>
                <a:cxn ang="0">
                  <a:pos x="1645" y="1930"/>
                </a:cxn>
                <a:cxn ang="0">
                  <a:pos x="1467" y="2026"/>
                </a:cxn>
                <a:cxn ang="0">
                  <a:pos x="1392" y="2055"/>
                </a:cxn>
                <a:cxn ang="0">
                  <a:pos x="1291" y="2083"/>
                </a:cxn>
                <a:cxn ang="0">
                  <a:pos x="1187" y="2101"/>
                </a:cxn>
                <a:cxn ang="0">
                  <a:pos x="1082" y="2109"/>
                </a:cxn>
                <a:cxn ang="0">
                  <a:pos x="1002" y="2108"/>
                </a:cxn>
                <a:cxn ang="0">
                  <a:pos x="897" y="2097"/>
                </a:cxn>
                <a:cxn ang="0">
                  <a:pos x="795" y="2076"/>
                </a:cxn>
                <a:cxn ang="0">
                  <a:pos x="694" y="2045"/>
                </a:cxn>
                <a:cxn ang="0">
                  <a:pos x="598" y="2005"/>
                </a:cxn>
                <a:cxn ang="0">
                  <a:pos x="425" y="1900"/>
                </a:cxn>
                <a:cxn ang="0">
                  <a:pos x="309" y="1800"/>
                </a:cxn>
                <a:cxn ang="0">
                  <a:pos x="180" y="1644"/>
                </a:cxn>
                <a:cxn ang="0">
                  <a:pos x="84" y="1464"/>
                </a:cxn>
                <a:cxn ang="0">
                  <a:pos x="55" y="1391"/>
                </a:cxn>
                <a:cxn ang="0">
                  <a:pos x="27" y="1290"/>
                </a:cxn>
                <a:cxn ang="0">
                  <a:pos x="9" y="1186"/>
                </a:cxn>
                <a:cxn ang="0">
                  <a:pos x="0" y="1081"/>
                </a:cxn>
                <a:cxn ang="0">
                  <a:pos x="1" y="1001"/>
                </a:cxn>
                <a:cxn ang="0">
                  <a:pos x="12" y="896"/>
                </a:cxn>
                <a:cxn ang="0">
                  <a:pos x="33" y="793"/>
                </a:cxn>
                <a:cxn ang="0">
                  <a:pos x="64" y="693"/>
                </a:cxn>
                <a:cxn ang="0">
                  <a:pos x="104" y="597"/>
                </a:cxn>
                <a:cxn ang="0">
                  <a:pos x="209" y="424"/>
                </a:cxn>
                <a:cxn ang="0">
                  <a:pos x="309" y="309"/>
                </a:cxn>
                <a:cxn ang="0">
                  <a:pos x="466" y="179"/>
                </a:cxn>
                <a:cxn ang="0">
                  <a:pos x="645" y="82"/>
                </a:cxn>
                <a:cxn ang="0">
                  <a:pos x="719" y="54"/>
                </a:cxn>
                <a:cxn ang="0">
                  <a:pos x="819" y="25"/>
                </a:cxn>
                <a:cxn ang="0">
                  <a:pos x="924" y="8"/>
                </a:cxn>
                <a:cxn ang="0">
                  <a:pos x="1029" y="0"/>
                </a:cxn>
              </a:cxnLst>
              <a:rect l="0" t="0" r="r" b="b"/>
              <a:pathLst>
                <a:path w="2111" h="2109">
                  <a:moveTo>
                    <a:pt x="1055" y="0"/>
                  </a:moveTo>
                  <a:lnTo>
                    <a:pt x="1055" y="0"/>
                  </a:lnTo>
                  <a:lnTo>
                    <a:pt x="1082" y="0"/>
                  </a:lnTo>
                  <a:lnTo>
                    <a:pt x="1109" y="1"/>
                  </a:lnTo>
                  <a:lnTo>
                    <a:pt x="1135" y="3"/>
                  </a:lnTo>
                  <a:lnTo>
                    <a:pt x="1162" y="5"/>
                  </a:lnTo>
                  <a:lnTo>
                    <a:pt x="1187" y="8"/>
                  </a:lnTo>
                  <a:lnTo>
                    <a:pt x="1214" y="11"/>
                  </a:lnTo>
                  <a:lnTo>
                    <a:pt x="1240" y="15"/>
                  </a:lnTo>
                  <a:lnTo>
                    <a:pt x="1266" y="20"/>
                  </a:lnTo>
                  <a:lnTo>
                    <a:pt x="1291" y="25"/>
                  </a:lnTo>
                  <a:lnTo>
                    <a:pt x="1317" y="31"/>
                  </a:lnTo>
                  <a:lnTo>
                    <a:pt x="1342" y="39"/>
                  </a:lnTo>
                  <a:lnTo>
                    <a:pt x="1368" y="46"/>
                  </a:lnTo>
                  <a:lnTo>
                    <a:pt x="1392" y="54"/>
                  </a:lnTo>
                  <a:lnTo>
                    <a:pt x="1417" y="62"/>
                  </a:lnTo>
                  <a:lnTo>
                    <a:pt x="1442" y="73"/>
                  </a:lnTo>
                  <a:lnTo>
                    <a:pt x="1467" y="82"/>
                  </a:lnTo>
                  <a:lnTo>
                    <a:pt x="1467" y="82"/>
                  </a:lnTo>
                  <a:lnTo>
                    <a:pt x="1513" y="104"/>
                  </a:lnTo>
                  <a:lnTo>
                    <a:pt x="1558" y="126"/>
                  </a:lnTo>
                  <a:lnTo>
                    <a:pt x="1602" y="152"/>
                  </a:lnTo>
                  <a:lnTo>
                    <a:pt x="1645" y="179"/>
                  </a:lnTo>
                  <a:lnTo>
                    <a:pt x="1686" y="209"/>
                  </a:lnTo>
                  <a:lnTo>
                    <a:pt x="1726" y="240"/>
                  </a:lnTo>
                  <a:lnTo>
                    <a:pt x="1764" y="273"/>
                  </a:lnTo>
                  <a:lnTo>
                    <a:pt x="1802" y="309"/>
                  </a:lnTo>
                  <a:lnTo>
                    <a:pt x="1802" y="309"/>
                  </a:lnTo>
                  <a:lnTo>
                    <a:pt x="1838" y="346"/>
                  </a:lnTo>
                  <a:lnTo>
                    <a:pt x="1871" y="384"/>
                  </a:lnTo>
                  <a:lnTo>
                    <a:pt x="1901" y="424"/>
                  </a:lnTo>
                  <a:lnTo>
                    <a:pt x="1931" y="465"/>
                  </a:lnTo>
                  <a:lnTo>
                    <a:pt x="1958" y="508"/>
                  </a:lnTo>
                  <a:lnTo>
                    <a:pt x="1984" y="552"/>
                  </a:lnTo>
                  <a:lnTo>
                    <a:pt x="2007" y="597"/>
                  </a:lnTo>
                  <a:lnTo>
                    <a:pt x="2028" y="643"/>
                  </a:lnTo>
                  <a:lnTo>
                    <a:pt x="2028" y="643"/>
                  </a:lnTo>
                  <a:lnTo>
                    <a:pt x="2037" y="668"/>
                  </a:lnTo>
                  <a:lnTo>
                    <a:pt x="2047" y="693"/>
                  </a:lnTo>
                  <a:lnTo>
                    <a:pt x="2056" y="718"/>
                  </a:lnTo>
                  <a:lnTo>
                    <a:pt x="2064" y="742"/>
                  </a:lnTo>
                  <a:lnTo>
                    <a:pt x="2071" y="768"/>
                  </a:lnTo>
                  <a:lnTo>
                    <a:pt x="2079" y="793"/>
                  </a:lnTo>
                  <a:lnTo>
                    <a:pt x="2085" y="819"/>
                  </a:lnTo>
                  <a:lnTo>
                    <a:pt x="2090" y="844"/>
                  </a:lnTo>
                  <a:lnTo>
                    <a:pt x="2095" y="870"/>
                  </a:lnTo>
                  <a:lnTo>
                    <a:pt x="2099" y="896"/>
                  </a:lnTo>
                  <a:lnTo>
                    <a:pt x="2102" y="923"/>
                  </a:lnTo>
                  <a:lnTo>
                    <a:pt x="2105" y="948"/>
                  </a:lnTo>
                  <a:lnTo>
                    <a:pt x="2108" y="975"/>
                  </a:lnTo>
                  <a:lnTo>
                    <a:pt x="2110" y="1001"/>
                  </a:lnTo>
                  <a:lnTo>
                    <a:pt x="2111" y="1028"/>
                  </a:lnTo>
                  <a:lnTo>
                    <a:pt x="2111" y="1054"/>
                  </a:lnTo>
                  <a:lnTo>
                    <a:pt x="2111" y="1054"/>
                  </a:lnTo>
                  <a:lnTo>
                    <a:pt x="2111" y="1081"/>
                  </a:lnTo>
                  <a:lnTo>
                    <a:pt x="2110" y="1108"/>
                  </a:lnTo>
                  <a:lnTo>
                    <a:pt x="2108" y="1134"/>
                  </a:lnTo>
                  <a:lnTo>
                    <a:pt x="2105" y="1161"/>
                  </a:lnTo>
                  <a:lnTo>
                    <a:pt x="2102" y="1186"/>
                  </a:lnTo>
                  <a:lnTo>
                    <a:pt x="2099" y="1212"/>
                  </a:lnTo>
                  <a:lnTo>
                    <a:pt x="2095" y="1239"/>
                  </a:lnTo>
                  <a:lnTo>
                    <a:pt x="2090" y="1265"/>
                  </a:lnTo>
                  <a:lnTo>
                    <a:pt x="2085" y="1290"/>
                  </a:lnTo>
                  <a:lnTo>
                    <a:pt x="2079" y="1315"/>
                  </a:lnTo>
                  <a:lnTo>
                    <a:pt x="2071" y="1341"/>
                  </a:lnTo>
                  <a:lnTo>
                    <a:pt x="2064" y="1366"/>
                  </a:lnTo>
                  <a:lnTo>
                    <a:pt x="2056" y="1391"/>
                  </a:lnTo>
                  <a:lnTo>
                    <a:pt x="2047" y="1416"/>
                  </a:lnTo>
                  <a:lnTo>
                    <a:pt x="2037" y="1441"/>
                  </a:lnTo>
                  <a:lnTo>
                    <a:pt x="2028" y="1464"/>
                  </a:lnTo>
                  <a:lnTo>
                    <a:pt x="2028" y="1464"/>
                  </a:lnTo>
                  <a:lnTo>
                    <a:pt x="2007" y="1512"/>
                  </a:lnTo>
                  <a:lnTo>
                    <a:pt x="1984" y="1556"/>
                  </a:lnTo>
                  <a:lnTo>
                    <a:pt x="1958" y="1600"/>
                  </a:lnTo>
                  <a:lnTo>
                    <a:pt x="1931" y="1644"/>
                  </a:lnTo>
                  <a:lnTo>
                    <a:pt x="1901" y="1685"/>
                  </a:lnTo>
                  <a:lnTo>
                    <a:pt x="1871" y="1725"/>
                  </a:lnTo>
                  <a:lnTo>
                    <a:pt x="1838" y="1763"/>
                  </a:lnTo>
                  <a:lnTo>
                    <a:pt x="1802" y="1800"/>
                  </a:lnTo>
                  <a:lnTo>
                    <a:pt x="1802" y="1800"/>
                  </a:lnTo>
                  <a:lnTo>
                    <a:pt x="1764" y="1835"/>
                  </a:lnTo>
                  <a:lnTo>
                    <a:pt x="1726" y="1869"/>
                  </a:lnTo>
                  <a:lnTo>
                    <a:pt x="1686" y="1900"/>
                  </a:lnTo>
                  <a:lnTo>
                    <a:pt x="1645" y="1930"/>
                  </a:lnTo>
                  <a:lnTo>
                    <a:pt x="1602" y="1957"/>
                  </a:lnTo>
                  <a:lnTo>
                    <a:pt x="1558" y="1983"/>
                  </a:lnTo>
                  <a:lnTo>
                    <a:pt x="1513" y="2005"/>
                  </a:lnTo>
                  <a:lnTo>
                    <a:pt x="1467" y="2026"/>
                  </a:lnTo>
                  <a:lnTo>
                    <a:pt x="1467" y="2026"/>
                  </a:lnTo>
                  <a:lnTo>
                    <a:pt x="1442" y="2036"/>
                  </a:lnTo>
                  <a:lnTo>
                    <a:pt x="1417" y="2045"/>
                  </a:lnTo>
                  <a:lnTo>
                    <a:pt x="1392" y="2055"/>
                  </a:lnTo>
                  <a:lnTo>
                    <a:pt x="1368" y="2063"/>
                  </a:lnTo>
                  <a:lnTo>
                    <a:pt x="1342" y="2070"/>
                  </a:lnTo>
                  <a:lnTo>
                    <a:pt x="1317" y="2076"/>
                  </a:lnTo>
                  <a:lnTo>
                    <a:pt x="1291" y="2083"/>
                  </a:lnTo>
                  <a:lnTo>
                    <a:pt x="1266" y="2089"/>
                  </a:lnTo>
                  <a:lnTo>
                    <a:pt x="1240" y="2093"/>
                  </a:lnTo>
                  <a:lnTo>
                    <a:pt x="1214" y="2097"/>
                  </a:lnTo>
                  <a:lnTo>
                    <a:pt x="1187" y="2101"/>
                  </a:lnTo>
                  <a:lnTo>
                    <a:pt x="1162" y="2104"/>
                  </a:lnTo>
                  <a:lnTo>
                    <a:pt x="1135" y="2106"/>
                  </a:lnTo>
                  <a:lnTo>
                    <a:pt x="1109" y="2108"/>
                  </a:lnTo>
                  <a:lnTo>
                    <a:pt x="1082" y="2109"/>
                  </a:lnTo>
                  <a:lnTo>
                    <a:pt x="1055" y="2109"/>
                  </a:lnTo>
                  <a:lnTo>
                    <a:pt x="1055" y="2109"/>
                  </a:lnTo>
                  <a:lnTo>
                    <a:pt x="1029" y="2109"/>
                  </a:lnTo>
                  <a:lnTo>
                    <a:pt x="1002" y="2108"/>
                  </a:lnTo>
                  <a:lnTo>
                    <a:pt x="976" y="2106"/>
                  </a:lnTo>
                  <a:lnTo>
                    <a:pt x="949" y="2104"/>
                  </a:lnTo>
                  <a:lnTo>
                    <a:pt x="924" y="2101"/>
                  </a:lnTo>
                  <a:lnTo>
                    <a:pt x="897" y="2097"/>
                  </a:lnTo>
                  <a:lnTo>
                    <a:pt x="871" y="2093"/>
                  </a:lnTo>
                  <a:lnTo>
                    <a:pt x="845" y="2089"/>
                  </a:lnTo>
                  <a:lnTo>
                    <a:pt x="819" y="2083"/>
                  </a:lnTo>
                  <a:lnTo>
                    <a:pt x="795" y="2076"/>
                  </a:lnTo>
                  <a:lnTo>
                    <a:pt x="769" y="2070"/>
                  </a:lnTo>
                  <a:lnTo>
                    <a:pt x="744" y="2063"/>
                  </a:lnTo>
                  <a:lnTo>
                    <a:pt x="719" y="2055"/>
                  </a:lnTo>
                  <a:lnTo>
                    <a:pt x="694" y="2045"/>
                  </a:lnTo>
                  <a:lnTo>
                    <a:pt x="669" y="2036"/>
                  </a:lnTo>
                  <a:lnTo>
                    <a:pt x="645" y="2026"/>
                  </a:lnTo>
                  <a:lnTo>
                    <a:pt x="645" y="2026"/>
                  </a:lnTo>
                  <a:lnTo>
                    <a:pt x="598" y="2005"/>
                  </a:lnTo>
                  <a:lnTo>
                    <a:pt x="553" y="1983"/>
                  </a:lnTo>
                  <a:lnTo>
                    <a:pt x="509" y="1957"/>
                  </a:lnTo>
                  <a:lnTo>
                    <a:pt x="466" y="1930"/>
                  </a:lnTo>
                  <a:lnTo>
                    <a:pt x="425" y="1900"/>
                  </a:lnTo>
                  <a:lnTo>
                    <a:pt x="385" y="1869"/>
                  </a:lnTo>
                  <a:lnTo>
                    <a:pt x="347" y="1835"/>
                  </a:lnTo>
                  <a:lnTo>
                    <a:pt x="309" y="1800"/>
                  </a:lnTo>
                  <a:lnTo>
                    <a:pt x="309" y="1800"/>
                  </a:lnTo>
                  <a:lnTo>
                    <a:pt x="274" y="1763"/>
                  </a:lnTo>
                  <a:lnTo>
                    <a:pt x="240" y="1725"/>
                  </a:lnTo>
                  <a:lnTo>
                    <a:pt x="209" y="1685"/>
                  </a:lnTo>
                  <a:lnTo>
                    <a:pt x="180" y="1644"/>
                  </a:lnTo>
                  <a:lnTo>
                    <a:pt x="153" y="1600"/>
                  </a:lnTo>
                  <a:lnTo>
                    <a:pt x="127" y="1556"/>
                  </a:lnTo>
                  <a:lnTo>
                    <a:pt x="104" y="1512"/>
                  </a:lnTo>
                  <a:lnTo>
                    <a:pt x="84" y="1464"/>
                  </a:lnTo>
                  <a:lnTo>
                    <a:pt x="84" y="1464"/>
                  </a:lnTo>
                  <a:lnTo>
                    <a:pt x="73" y="1441"/>
                  </a:lnTo>
                  <a:lnTo>
                    <a:pt x="64" y="1416"/>
                  </a:lnTo>
                  <a:lnTo>
                    <a:pt x="55" y="1391"/>
                  </a:lnTo>
                  <a:lnTo>
                    <a:pt x="47" y="1366"/>
                  </a:lnTo>
                  <a:lnTo>
                    <a:pt x="39" y="1341"/>
                  </a:lnTo>
                  <a:lnTo>
                    <a:pt x="33" y="1315"/>
                  </a:lnTo>
                  <a:lnTo>
                    <a:pt x="27" y="1290"/>
                  </a:lnTo>
                  <a:lnTo>
                    <a:pt x="21" y="1265"/>
                  </a:lnTo>
                  <a:lnTo>
                    <a:pt x="17" y="1239"/>
                  </a:lnTo>
                  <a:lnTo>
                    <a:pt x="12" y="1212"/>
                  </a:lnTo>
                  <a:lnTo>
                    <a:pt x="9" y="1186"/>
                  </a:lnTo>
                  <a:lnTo>
                    <a:pt x="5" y="1161"/>
                  </a:lnTo>
                  <a:lnTo>
                    <a:pt x="3" y="1134"/>
                  </a:lnTo>
                  <a:lnTo>
                    <a:pt x="1" y="1108"/>
                  </a:lnTo>
                  <a:lnTo>
                    <a:pt x="0" y="1081"/>
                  </a:lnTo>
                  <a:lnTo>
                    <a:pt x="0" y="1054"/>
                  </a:lnTo>
                  <a:lnTo>
                    <a:pt x="0" y="1054"/>
                  </a:lnTo>
                  <a:lnTo>
                    <a:pt x="0" y="1028"/>
                  </a:lnTo>
                  <a:lnTo>
                    <a:pt x="1" y="1001"/>
                  </a:lnTo>
                  <a:lnTo>
                    <a:pt x="3" y="975"/>
                  </a:lnTo>
                  <a:lnTo>
                    <a:pt x="5" y="948"/>
                  </a:lnTo>
                  <a:lnTo>
                    <a:pt x="9" y="923"/>
                  </a:lnTo>
                  <a:lnTo>
                    <a:pt x="12" y="896"/>
                  </a:lnTo>
                  <a:lnTo>
                    <a:pt x="17" y="870"/>
                  </a:lnTo>
                  <a:lnTo>
                    <a:pt x="21" y="844"/>
                  </a:lnTo>
                  <a:lnTo>
                    <a:pt x="27" y="819"/>
                  </a:lnTo>
                  <a:lnTo>
                    <a:pt x="33" y="793"/>
                  </a:lnTo>
                  <a:lnTo>
                    <a:pt x="39" y="768"/>
                  </a:lnTo>
                  <a:lnTo>
                    <a:pt x="47" y="742"/>
                  </a:lnTo>
                  <a:lnTo>
                    <a:pt x="55" y="718"/>
                  </a:lnTo>
                  <a:lnTo>
                    <a:pt x="64" y="693"/>
                  </a:lnTo>
                  <a:lnTo>
                    <a:pt x="73" y="668"/>
                  </a:lnTo>
                  <a:lnTo>
                    <a:pt x="84" y="643"/>
                  </a:lnTo>
                  <a:lnTo>
                    <a:pt x="84" y="643"/>
                  </a:lnTo>
                  <a:lnTo>
                    <a:pt x="104" y="597"/>
                  </a:lnTo>
                  <a:lnTo>
                    <a:pt x="127" y="552"/>
                  </a:lnTo>
                  <a:lnTo>
                    <a:pt x="153" y="508"/>
                  </a:lnTo>
                  <a:lnTo>
                    <a:pt x="180" y="465"/>
                  </a:lnTo>
                  <a:lnTo>
                    <a:pt x="209" y="424"/>
                  </a:lnTo>
                  <a:lnTo>
                    <a:pt x="240" y="384"/>
                  </a:lnTo>
                  <a:lnTo>
                    <a:pt x="274" y="346"/>
                  </a:lnTo>
                  <a:lnTo>
                    <a:pt x="309" y="309"/>
                  </a:lnTo>
                  <a:lnTo>
                    <a:pt x="309" y="309"/>
                  </a:lnTo>
                  <a:lnTo>
                    <a:pt x="347" y="273"/>
                  </a:lnTo>
                  <a:lnTo>
                    <a:pt x="385" y="240"/>
                  </a:lnTo>
                  <a:lnTo>
                    <a:pt x="425" y="209"/>
                  </a:lnTo>
                  <a:lnTo>
                    <a:pt x="466" y="179"/>
                  </a:lnTo>
                  <a:lnTo>
                    <a:pt x="509" y="152"/>
                  </a:lnTo>
                  <a:lnTo>
                    <a:pt x="553" y="126"/>
                  </a:lnTo>
                  <a:lnTo>
                    <a:pt x="598" y="104"/>
                  </a:lnTo>
                  <a:lnTo>
                    <a:pt x="645" y="82"/>
                  </a:lnTo>
                  <a:lnTo>
                    <a:pt x="645" y="82"/>
                  </a:lnTo>
                  <a:lnTo>
                    <a:pt x="669" y="73"/>
                  </a:lnTo>
                  <a:lnTo>
                    <a:pt x="694" y="62"/>
                  </a:lnTo>
                  <a:lnTo>
                    <a:pt x="719" y="54"/>
                  </a:lnTo>
                  <a:lnTo>
                    <a:pt x="744" y="46"/>
                  </a:lnTo>
                  <a:lnTo>
                    <a:pt x="769" y="39"/>
                  </a:lnTo>
                  <a:lnTo>
                    <a:pt x="795" y="31"/>
                  </a:lnTo>
                  <a:lnTo>
                    <a:pt x="819" y="25"/>
                  </a:lnTo>
                  <a:lnTo>
                    <a:pt x="845" y="20"/>
                  </a:lnTo>
                  <a:lnTo>
                    <a:pt x="871" y="15"/>
                  </a:lnTo>
                  <a:lnTo>
                    <a:pt x="897" y="11"/>
                  </a:lnTo>
                  <a:lnTo>
                    <a:pt x="924" y="8"/>
                  </a:lnTo>
                  <a:lnTo>
                    <a:pt x="949" y="5"/>
                  </a:lnTo>
                  <a:lnTo>
                    <a:pt x="976" y="3"/>
                  </a:lnTo>
                  <a:lnTo>
                    <a:pt x="1002" y="1"/>
                  </a:lnTo>
                  <a:lnTo>
                    <a:pt x="1029" y="0"/>
                  </a:lnTo>
                  <a:lnTo>
                    <a:pt x="1055"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9" name="Freeform 592">
              <a:extLst>
                <a:ext uri="{FF2B5EF4-FFF2-40B4-BE49-F238E27FC236}">
                  <a16:creationId xmlns:a16="http://schemas.microsoft.com/office/drawing/2014/main" id="{9220E815-585F-70A1-5C14-808AA84C4309}"/>
                </a:ext>
              </a:extLst>
            </p:cNvPr>
            <p:cNvSpPr>
              <a:spLocks/>
            </p:cNvSpPr>
            <p:nvPr/>
          </p:nvSpPr>
          <p:spPr bwMode="auto">
            <a:xfrm>
              <a:off x="3521076" y="3365500"/>
              <a:ext cx="471488" cy="471487"/>
            </a:xfrm>
            <a:custGeom>
              <a:avLst/>
              <a:gdLst/>
              <a:ahLst/>
              <a:cxnLst>
                <a:cxn ang="0">
                  <a:pos x="1096" y="3"/>
                </a:cxn>
                <a:cxn ang="0">
                  <a:pos x="948" y="23"/>
                </a:cxn>
                <a:cxn ang="0">
                  <a:pos x="807" y="62"/>
                </a:cxn>
                <a:cxn ang="0">
                  <a:pos x="673" y="116"/>
                </a:cxn>
                <a:cxn ang="0">
                  <a:pos x="548" y="186"/>
                </a:cxn>
                <a:cxn ang="0">
                  <a:pos x="432" y="271"/>
                </a:cxn>
                <a:cxn ang="0">
                  <a:pos x="328" y="367"/>
                </a:cxn>
                <a:cxn ang="0">
                  <a:pos x="236" y="477"/>
                </a:cxn>
                <a:cxn ang="0">
                  <a:pos x="158" y="595"/>
                </a:cxn>
                <a:cxn ang="0">
                  <a:pos x="94" y="724"/>
                </a:cxn>
                <a:cxn ang="0">
                  <a:pos x="46" y="861"/>
                </a:cxn>
                <a:cxn ang="0">
                  <a:pos x="14" y="1005"/>
                </a:cxn>
                <a:cxn ang="0">
                  <a:pos x="0" y="1156"/>
                </a:cxn>
                <a:cxn ang="0">
                  <a:pos x="3" y="1277"/>
                </a:cxn>
                <a:cxn ang="0">
                  <a:pos x="24" y="1425"/>
                </a:cxn>
                <a:cxn ang="0">
                  <a:pos x="63" y="1567"/>
                </a:cxn>
                <a:cxn ang="0">
                  <a:pos x="118" y="1701"/>
                </a:cxn>
                <a:cxn ang="0">
                  <a:pos x="188" y="1826"/>
                </a:cxn>
                <a:cxn ang="0">
                  <a:pos x="271" y="1942"/>
                </a:cxn>
                <a:cxn ang="0">
                  <a:pos x="368" y="2046"/>
                </a:cxn>
                <a:cxn ang="0">
                  <a:pos x="477" y="2137"/>
                </a:cxn>
                <a:cxn ang="0">
                  <a:pos x="597" y="2216"/>
                </a:cxn>
                <a:cxn ang="0">
                  <a:pos x="726" y="2279"/>
                </a:cxn>
                <a:cxn ang="0">
                  <a:pos x="863" y="2328"/>
                </a:cxn>
                <a:cxn ang="0">
                  <a:pos x="1007" y="2360"/>
                </a:cxn>
                <a:cxn ang="0">
                  <a:pos x="1157" y="2372"/>
                </a:cxn>
                <a:cxn ang="0">
                  <a:pos x="1279" y="2369"/>
                </a:cxn>
                <a:cxn ang="0">
                  <a:pos x="1427" y="2348"/>
                </a:cxn>
                <a:cxn ang="0">
                  <a:pos x="1569" y="2310"/>
                </a:cxn>
                <a:cxn ang="0">
                  <a:pos x="1703" y="2256"/>
                </a:cxn>
                <a:cxn ang="0">
                  <a:pos x="1827" y="2186"/>
                </a:cxn>
                <a:cxn ang="0">
                  <a:pos x="1943" y="2102"/>
                </a:cxn>
                <a:cxn ang="0">
                  <a:pos x="2047" y="2005"/>
                </a:cxn>
                <a:cxn ang="0">
                  <a:pos x="2139" y="1896"/>
                </a:cxn>
                <a:cxn ang="0">
                  <a:pos x="2217" y="1777"/>
                </a:cxn>
                <a:cxn ang="0">
                  <a:pos x="2282" y="1648"/>
                </a:cxn>
                <a:cxn ang="0">
                  <a:pos x="2329" y="1511"/>
                </a:cxn>
                <a:cxn ang="0">
                  <a:pos x="2361" y="1367"/>
                </a:cxn>
                <a:cxn ang="0">
                  <a:pos x="2375" y="1217"/>
                </a:cxn>
                <a:cxn ang="0">
                  <a:pos x="2371" y="1095"/>
                </a:cxn>
                <a:cxn ang="0">
                  <a:pos x="2351" y="947"/>
                </a:cxn>
                <a:cxn ang="0">
                  <a:pos x="2313" y="805"/>
                </a:cxn>
                <a:cxn ang="0">
                  <a:pos x="2257" y="671"/>
                </a:cxn>
                <a:cxn ang="0">
                  <a:pos x="2188" y="547"/>
                </a:cxn>
                <a:cxn ang="0">
                  <a:pos x="2104" y="431"/>
                </a:cxn>
                <a:cxn ang="0">
                  <a:pos x="2007" y="327"/>
                </a:cxn>
                <a:cxn ang="0">
                  <a:pos x="1897" y="236"/>
                </a:cxn>
                <a:cxn ang="0">
                  <a:pos x="1779" y="156"/>
                </a:cxn>
                <a:cxn ang="0">
                  <a:pos x="1650" y="92"/>
                </a:cxn>
                <a:cxn ang="0">
                  <a:pos x="1512" y="45"/>
                </a:cxn>
                <a:cxn ang="0">
                  <a:pos x="1369" y="13"/>
                </a:cxn>
                <a:cxn ang="0">
                  <a:pos x="1218" y="0"/>
                </a:cxn>
              </a:cxnLst>
              <a:rect l="0" t="0" r="r" b="b"/>
              <a:pathLst>
                <a:path w="2375" h="2373">
                  <a:moveTo>
                    <a:pt x="1187" y="0"/>
                  </a:moveTo>
                  <a:lnTo>
                    <a:pt x="1187" y="0"/>
                  </a:lnTo>
                  <a:lnTo>
                    <a:pt x="1157" y="0"/>
                  </a:lnTo>
                  <a:lnTo>
                    <a:pt x="1127" y="1"/>
                  </a:lnTo>
                  <a:lnTo>
                    <a:pt x="1096" y="3"/>
                  </a:lnTo>
                  <a:lnTo>
                    <a:pt x="1066" y="6"/>
                  </a:lnTo>
                  <a:lnTo>
                    <a:pt x="1036" y="9"/>
                  </a:lnTo>
                  <a:lnTo>
                    <a:pt x="1007" y="13"/>
                  </a:lnTo>
                  <a:lnTo>
                    <a:pt x="977" y="18"/>
                  </a:lnTo>
                  <a:lnTo>
                    <a:pt x="948" y="23"/>
                  </a:lnTo>
                  <a:lnTo>
                    <a:pt x="920" y="30"/>
                  </a:lnTo>
                  <a:lnTo>
                    <a:pt x="891" y="37"/>
                  </a:lnTo>
                  <a:lnTo>
                    <a:pt x="863" y="45"/>
                  </a:lnTo>
                  <a:lnTo>
                    <a:pt x="835" y="53"/>
                  </a:lnTo>
                  <a:lnTo>
                    <a:pt x="807" y="62"/>
                  </a:lnTo>
                  <a:lnTo>
                    <a:pt x="779" y="72"/>
                  </a:lnTo>
                  <a:lnTo>
                    <a:pt x="753" y="82"/>
                  </a:lnTo>
                  <a:lnTo>
                    <a:pt x="726" y="92"/>
                  </a:lnTo>
                  <a:lnTo>
                    <a:pt x="699" y="105"/>
                  </a:lnTo>
                  <a:lnTo>
                    <a:pt x="673" y="116"/>
                  </a:lnTo>
                  <a:lnTo>
                    <a:pt x="648" y="130"/>
                  </a:lnTo>
                  <a:lnTo>
                    <a:pt x="622" y="143"/>
                  </a:lnTo>
                  <a:lnTo>
                    <a:pt x="597" y="156"/>
                  </a:lnTo>
                  <a:lnTo>
                    <a:pt x="572" y="172"/>
                  </a:lnTo>
                  <a:lnTo>
                    <a:pt x="548" y="186"/>
                  </a:lnTo>
                  <a:lnTo>
                    <a:pt x="524" y="203"/>
                  </a:lnTo>
                  <a:lnTo>
                    <a:pt x="500" y="218"/>
                  </a:lnTo>
                  <a:lnTo>
                    <a:pt x="477" y="236"/>
                  </a:lnTo>
                  <a:lnTo>
                    <a:pt x="455" y="253"/>
                  </a:lnTo>
                  <a:lnTo>
                    <a:pt x="432" y="271"/>
                  </a:lnTo>
                  <a:lnTo>
                    <a:pt x="411" y="289"/>
                  </a:lnTo>
                  <a:lnTo>
                    <a:pt x="390" y="308"/>
                  </a:lnTo>
                  <a:lnTo>
                    <a:pt x="368" y="327"/>
                  </a:lnTo>
                  <a:lnTo>
                    <a:pt x="349" y="347"/>
                  </a:lnTo>
                  <a:lnTo>
                    <a:pt x="328" y="367"/>
                  </a:lnTo>
                  <a:lnTo>
                    <a:pt x="308" y="388"/>
                  </a:lnTo>
                  <a:lnTo>
                    <a:pt x="290" y="410"/>
                  </a:lnTo>
                  <a:lnTo>
                    <a:pt x="271" y="431"/>
                  </a:lnTo>
                  <a:lnTo>
                    <a:pt x="254" y="454"/>
                  </a:lnTo>
                  <a:lnTo>
                    <a:pt x="236" y="477"/>
                  </a:lnTo>
                  <a:lnTo>
                    <a:pt x="220" y="499"/>
                  </a:lnTo>
                  <a:lnTo>
                    <a:pt x="203" y="523"/>
                  </a:lnTo>
                  <a:lnTo>
                    <a:pt x="188" y="547"/>
                  </a:lnTo>
                  <a:lnTo>
                    <a:pt x="172" y="570"/>
                  </a:lnTo>
                  <a:lnTo>
                    <a:pt x="158" y="595"/>
                  </a:lnTo>
                  <a:lnTo>
                    <a:pt x="144" y="621"/>
                  </a:lnTo>
                  <a:lnTo>
                    <a:pt x="130" y="646"/>
                  </a:lnTo>
                  <a:lnTo>
                    <a:pt x="118" y="671"/>
                  </a:lnTo>
                  <a:lnTo>
                    <a:pt x="105" y="698"/>
                  </a:lnTo>
                  <a:lnTo>
                    <a:pt x="94" y="724"/>
                  </a:lnTo>
                  <a:lnTo>
                    <a:pt x="83" y="751"/>
                  </a:lnTo>
                  <a:lnTo>
                    <a:pt x="73" y="779"/>
                  </a:lnTo>
                  <a:lnTo>
                    <a:pt x="63" y="805"/>
                  </a:lnTo>
                  <a:lnTo>
                    <a:pt x="54" y="833"/>
                  </a:lnTo>
                  <a:lnTo>
                    <a:pt x="46" y="861"/>
                  </a:lnTo>
                  <a:lnTo>
                    <a:pt x="37" y="890"/>
                  </a:lnTo>
                  <a:lnTo>
                    <a:pt x="31" y="919"/>
                  </a:lnTo>
                  <a:lnTo>
                    <a:pt x="24" y="947"/>
                  </a:lnTo>
                  <a:lnTo>
                    <a:pt x="19" y="976"/>
                  </a:lnTo>
                  <a:lnTo>
                    <a:pt x="14" y="1005"/>
                  </a:lnTo>
                  <a:lnTo>
                    <a:pt x="10" y="1035"/>
                  </a:lnTo>
                  <a:lnTo>
                    <a:pt x="7" y="1065"/>
                  </a:lnTo>
                  <a:lnTo>
                    <a:pt x="3" y="1095"/>
                  </a:lnTo>
                  <a:lnTo>
                    <a:pt x="2" y="1126"/>
                  </a:lnTo>
                  <a:lnTo>
                    <a:pt x="0" y="1156"/>
                  </a:lnTo>
                  <a:lnTo>
                    <a:pt x="0" y="1186"/>
                  </a:lnTo>
                  <a:lnTo>
                    <a:pt x="0" y="1186"/>
                  </a:lnTo>
                  <a:lnTo>
                    <a:pt x="0" y="1217"/>
                  </a:lnTo>
                  <a:lnTo>
                    <a:pt x="2" y="1247"/>
                  </a:lnTo>
                  <a:lnTo>
                    <a:pt x="3" y="1277"/>
                  </a:lnTo>
                  <a:lnTo>
                    <a:pt x="7" y="1308"/>
                  </a:lnTo>
                  <a:lnTo>
                    <a:pt x="10" y="1338"/>
                  </a:lnTo>
                  <a:lnTo>
                    <a:pt x="14" y="1367"/>
                  </a:lnTo>
                  <a:lnTo>
                    <a:pt x="19" y="1397"/>
                  </a:lnTo>
                  <a:lnTo>
                    <a:pt x="24" y="1425"/>
                  </a:lnTo>
                  <a:lnTo>
                    <a:pt x="31" y="1454"/>
                  </a:lnTo>
                  <a:lnTo>
                    <a:pt x="37" y="1483"/>
                  </a:lnTo>
                  <a:lnTo>
                    <a:pt x="46" y="1511"/>
                  </a:lnTo>
                  <a:lnTo>
                    <a:pt x="54" y="1539"/>
                  </a:lnTo>
                  <a:lnTo>
                    <a:pt x="63" y="1567"/>
                  </a:lnTo>
                  <a:lnTo>
                    <a:pt x="73" y="1594"/>
                  </a:lnTo>
                  <a:lnTo>
                    <a:pt x="83" y="1621"/>
                  </a:lnTo>
                  <a:lnTo>
                    <a:pt x="94" y="1648"/>
                  </a:lnTo>
                  <a:lnTo>
                    <a:pt x="105" y="1675"/>
                  </a:lnTo>
                  <a:lnTo>
                    <a:pt x="118" y="1701"/>
                  </a:lnTo>
                  <a:lnTo>
                    <a:pt x="130" y="1726"/>
                  </a:lnTo>
                  <a:lnTo>
                    <a:pt x="144" y="1752"/>
                  </a:lnTo>
                  <a:lnTo>
                    <a:pt x="158" y="1777"/>
                  </a:lnTo>
                  <a:lnTo>
                    <a:pt x="172" y="1801"/>
                  </a:lnTo>
                  <a:lnTo>
                    <a:pt x="188" y="1826"/>
                  </a:lnTo>
                  <a:lnTo>
                    <a:pt x="203" y="1850"/>
                  </a:lnTo>
                  <a:lnTo>
                    <a:pt x="220" y="1874"/>
                  </a:lnTo>
                  <a:lnTo>
                    <a:pt x="236" y="1896"/>
                  </a:lnTo>
                  <a:lnTo>
                    <a:pt x="254" y="1919"/>
                  </a:lnTo>
                  <a:lnTo>
                    <a:pt x="271" y="1942"/>
                  </a:lnTo>
                  <a:lnTo>
                    <a:pt x="290" y="1963"/>
                  </a:lnTo>
                  <a:lnTo>
                    <a:pt x="308" y="1984"/>
                  </a:lnTo>
                  <a:lnTo>
                    <a:pt x="328" y="2005"/>
                  </a:lnTo>
                  <a:lnTo>
                    <a:pt x="349" y="2025"/>
                  </a:lnTo>
                  <a:lnTo>
                    <a:pt x="368" y="2046"/>
                  </a:lnTo>
                  <a:lnTo>
                    <a:pt x="390" y="2065"/>
                  </a:lnTo>
                  <a:lnTo>
                    <a:pt x="411" y="2084"/>
                  </a:lnTo>
                  <a:lnTo>
                    <a:pt x="432" y="2102"/>
                  </a:lnTo>
                  <a:lnTo>
                    <a:pt x="455" y="2120"/>
                  </a:lnTo>
                  <a:lnTo>
                    <a:pt x="477" y="2137"/>
                  </a:lnTo>
                  <a:lnTo>
                    <a:pt x="500" y="2154"/>
                  </a:lnTo>
                  <a:lnTo>
                    <a:pt x="524" y="2170"/>
                  </a:lnTo>
                  <a:lnTo>
                    <a:pt x="548" y="2186"/>
                  </a:lnTo>
                  <a:lnTo>
                    <a:pt x="572" y="2201"/>
                  </a:lnTo>
                  <a:lnTo>
                    <a:pt x="597" y="2216"/>
                  </a:lnTo>
                  <a:lnTo>
                    <a:pt x="622" y="2230"/>
                  </a:lnTo>
                  <a:lnTo>
                    <a:pt x="648" y="2243"/>
                  </a:lnTo>
                  <a:lnTo>
                    <a:pt x="673" y="2256"/>
                  </a:lnTo>
                  <a:lnTo>
                    <a:pt x="699" y="2268"/>
                  </a:lnTo>
                  <a:lnTo>
                    <a:pt x="726" y="2279"/>
                  </a:lnTo>
                  <a:lnTo>
                    <a:pt x="753" y="2291"/>
                  </a:lnTo>
                  <a:lnTo>
                    <a:pt x="779" y="2301"/>
                  </a:lnTo>
                  <a:lnTo>
                    <a:pt x="807" y="2310"/>
                  </a:lnTo>
                  <a:lnTo>
                    <a:pt x="835" y="2320"/>
                  </a:lnTo>
                  <a:lnTo>
                    <a:pt x="863" y="2328"/>
                  </a:lnTo>
                  <a:lnTo>
                    <a:pt x="891" y="2336"/>
                  </a:lnTo>
                  <a:lnTo>
                    <a:pt x="920" y="2342"/>
                  </a:lnTo>
                  <a:lnTo>
                    <a:pt x="948" y="2348"/>
                  </a:lnTo>
                  <a:lnTo>
                    <a:pt x="977" y="2355"/>
                  </a:lnTo>
                  <a:lnTo>
                    <a:pt x="1007" y="2360"/>
                  </a:lnTo>
                  <a:lnTo>
                    <a:pt x="1036" y="2364"/>
                  </a:lnTo>
                  <a:lnTo>
                    <a:pt x="1066" y="2367"/>
                  </a:lnTo>
                  <a:lnTo>
                    <a:pt x="1096" y="2369"/>
                  </a:lnTo>
                  <a:lnTo>
                    <a:pt x="1127" y="2371"/>
                  </a:lnTo>
                  <a:lnTo>
                    <a:pt x="1157" y="2372"/>
                  </a:lnTo>
                  <a:lnTo>
                    <a:pt x="1187" y="2373"/>
                  </a:lnTo>
                  <a:lnTo>
                    <a:pt x="1187" y="2373"/>
                  </a:lnTo>
                  <a:lnTo>
                    <a:pt x="1218" y="2372"/>
                  </a:lnTo>
                  <a:lnTo>
                    <a:pt x="1248" y="2371"/>
                  </a:lnTo>
                  <a:lnTo>
                    <a:pt x="1279" y="2369"/>
                  </a:lnTo>
                  <a:lnTo>
                    <a:pt x="1309" y="2367"/>
                  </a:lnTo>
                  <a:lnTo>
                    <a:pt x="1339" y="2364"/>
                  </a:lnTo>
                  <a:lnTo>
                    <a:pt x="1369" y="2360"/>
                  </a:lnTo>
                  <a:lnTo>
                    <a:pt x="1398" y="2355"/>
                  </a:lnTo>
                  <a:lnTo>
                    <a:pt x="1427" y="2348"/>
                  </a:lnTo>
                  <a:lnTo>
                    <a:pt x="1455" y="2342"/>
                  </a:lnTo>
                  <a:lnTo>
                    <a:pt x="1484" y="2336"/>
                  </a:lnTo>
                  <a:lnTo>
                    <a:pt x="1512" y="2328"/>
                  </a:lnTo>
                  <a:lnTo>
                    <a:pt x="1541" y="2320"/>
                  </a:lnTo>
                  <a:lnTo>
                    <a:pt x="1569" y="2310"/>
                  </a:lnTo>
                  <a:lnTo>
                    <a:pt x="1596" y="2301"/>
                  </a:lnTo>
                  <a:lnTo>
                    <a:pt x="1623" y="2291"/>
                  </a:lnTo>
                  <a:lnTo>
                    <a:pt x="1650" y="2279"/>
                  </a:lnTo>
                  <a:lnTo>
                    <a:pt x="1676" y="2268"/>
                  </a:lnTo>
                  <a:lnTo>
                    <a:pt x="1703" y="2256"/>
                  </a:lnTo>
                  <a:lnTo>
                    <a:pt x="1728" y="2243"/>
                  </a:lnTo>
                  <a:lnTo>
                    <a:pt x="1753" y="2230"/>
                  </a:lnTo>
                  <a:lnTo>
                    <a:pt x="1779" y="2216"/>
                  </a:lnTo>
                  <a:lnTo>
                    <a:pt x="1803" y="2201"/>
                  </a:lnTo>
                  <a:lnTo>
                    <a:pt x="1827" y="2186"/>
                  </a:lnTo>
                  <a:lnTo>
                    <a:pt x="1851" y="2170"/>
                  </a:lnTo>
                  <a:lnTo>
                    <a:pt x="1875" y="2154"/>
                  </a:lnTo>
                  <a:lnTo>
                    <a:pt x="1897" y="2137"/>
                  </a:lnTo>
                  <a:lnTo>
                    <a:pt x="1920" y="2120"/>
                  </a:lnTo>
                  <a:lnTo>
                    <a:pt x="1943" y="2102"/>
                  </a:lnTo>
                  <a:lnTo>
                    <a:pt x="1964" y="2084"/>
                  </a:lnTo>
                  <a:lnTo>
                    <a:pt x="1986" y="2065"/>
                  </a:lnTo>
                  <a:lnTo>
                    <a:pt x="2007" y="2046"/>
                  </a:lnTo>
                  <a:lnTo>
                    <a:pt x="2027" y="2025"/>
                  </a:lnTo>
                  <a:lnTo>
                    <a:pt x="2047" y="2005"/>
                  </a:lnTo>
                  <a:lnTo>
                    <a:pt x="2066" y="1984"/>
                  </a:lnTo>
                  <a:lnTo>
                    <a:pt x="2085" y="1963"/>
                  </a:lnTo>
                  <a:lnTo>
                    <a:pt x="2104" y="1942"/>
                  </a:lnTo>
                  <a:lnTo>
                    <a:pt x="2121" y="1919"/>
                  </a:lnTo>
                  <a:lnTo>
                    <a:pt x="2139" y="1896"/>
                  </a:lnTo>
                  <a:lnTo>
                    <a:pt x="2156" y="1874"/>
                  </a:lnTo>
                  <a:lnTo>
                    <a:pt x="2172" y="1850"/>
                  </a:lnTo>
                  <a:lnTo>
                    <a:pt x="2188" y="1826"/>
                  </a:lnTo>
                  <a:lnTo>
                    <a:pt x="2202" y="1801"/>
                  </a:lnTo>
                  <a:lnTo>
                    <a:pt x="2217" y="1777"/>
                  </a:lnTo>
                  <a:lnTo>
                    <a:pt x="2231" y="1752"/>
                  </a:lnTo>
                  <a:lnTo>
                    <a:pt x="2245" y="1726"/>
                  </a:lnTo>
                  <a:lnTo>
                    <a:pt x="2257" y="1701"/>
                  </a:lnTo>
                  <a:lnTo>
                    <a:pt x="2269" y="1675"/>
                  </a:lnTo>
                  <a:lnTo>
                    <a:pt x="2282" y="1648"/>
                  </a:lnTo>
                  <a:lnTo>
                    <a:pt x="2292" y="1621"/>
                  </a:lnTo>
                  <a:lnTo>
                    <a:pt x="2302" y="1594"/>
                  </a:lnTo>
                  <a:lnTo>
                    <a:pt x="2313" y="1567"/>
                  </a:lnTo>
                  <a:lnTo>
                    <a:pt x="2321" y="1539"/>
                  </a:lnTo>
                  <a:lnTo>
                    <a:pt x="2329" y="1511"/>
                  </a:lnTo>
                  <a:lnTo>
                    <a:pt x="2337" y="1483"/>
                  </a:lnTo>
                  <a:lnTo>
                    <a:pt x="2345" y="1454"/>
                  </a:lnTo>
                  <a:lnTo>
                    <a:pt x="2351" y="1425"/>
                  </a:lnTo>
                  <a:lnTo>
                    <a:pt x="2356" y="1397"/>
                  </a:lnTo>
                  <a:lnTo>
                    <a:pt x="2361" y="1367"/>
                  </a:lnTo>
                  <a:lnTo>
                    <a:pt x="2365" y="1338"/>
                  </a:lnTo>
                  <a:lnTo>
                    <a:pt x="2368" y="1308"/>
                  </a:lnTo>
                  <a:lnTo>
                    <a:pt x="2371" y="1277"/>
                  </a:lnTo>
                  <a:lnTo>
                    <a:pt x="2373" y="1247"/>
                  </a:lnTo>
                  <a:lnTo>
                    <a:pt x="2375" y="1217"/>
                  </a:lnTo>
                  <a:lnTo>
                    <a:pt x="2375" y="1186"/>
                  </a:lnTo>
                  <a:lnTo>
                    <a:pt x="2375" y="1186"/>
                  </a:lnTo>
                  <a:lnTo>
                    <a:pt x="2375" y="1156"/>
                  </a:lnTo>
                  <a:lnTo>
                    <a:pt x="2373" y="1126"/>
                  </a:lnTo>
                  <a:lnTo>
                    <a:pt x="2371" y="1095"/>
                  </a:lnTo>
                  <a:lnTo>
                    <a:pt x="2368" y="1065"/>
                  </a:lnTo>
                  <a:lnTo>
                    <a:pt x="2365" y="1035"/>
                  </a:lnTo>
                  <a:lnTo>
                    <a:pt x="2361" y="1005"/>
                  </a:lnTo>
                  <a:lnTo>
                    <a:pt x="2356" y="976"/>
                  </a:lnTo>
                  <a:lnTo>
                    <a:pt x="2351" y="947"/>
                  </a:lnTo>
                  <a:lnTo>
                    <a:pt x="2345" y="919"/>
                  </a:lnTo>
                  <a:lnTo>
                    <a:pt x="2337" y="890"/>
                  </a:lnTo>
                  <a:lnTo>
                    <a:pt x="2329" y="861"/>
                  </a:lnTo>
                  <a:lnTo>
                    <a:pt x="2321" y="833"/>
                  </a:lnTo>
                  <a:lnTo>
                    <a:pt x="2313" y="805"/>
                  </a:lnTo>
                  <a:lnTo>
                    <a:pt x="2302" y="779"/>
                  </a:lnTo>
                  <a:lnTo>
                    <a:pt x="2292" y="751"/>
                  </a:lnTo>
                  <a:lnTo>
                    <a:pt x="2282" y="724"/>
                  </a:lnTo>
                  <a:lnTo>
                    <a:pt x="2269" y="698"/>
                  </a:lnTo>
                  <a:lnTo>
                    <a:pt x="2257" y="671"/>
                  </a:lnTo>
                  <a:lnTo>
                    <a:pt x="2245" y="646"/>
                  </a:lnTo>
                  <a:lnTo>
                    <a:pt x="2231" y="621"/>
                  </a:lnTo>
                  <a:lnTo>
                    <a:pt x="2217" y="595"/>
                  </a:lnTo>
                  <a:lnTo>
                    <a:pt x="2202" y="570"/>
                  </a:lnTo>
                  <a:lnTo>
                    <a:pt x="2188" y="547"/>
                  </a:lnTo>
                  <a:lnTo>
                    <a:pt x="2172" y="523"/>
                  </a:lnTo>
                  <a:lnTo>
                    <a:pt x="2156" y="499"/>
                  </a:lnTo>
                  <a:lnTo>
                    <a:pt x="2139" y="477"/>
                  </a:lnTo>
                  <a:lnTo>
                    <a:pt x="2121" y="454"/>
                  </a:lnTo>
                  <a:lnTo>
                    <a:pt x="2104" y="431"/>
                  </a:lnTo>
                  <a:lnTo>
                    <a:pt x="2085" y="410"/>
                  </a:lnTo>
                  <a:lnTo>
                    <a:pt x="2066" y="388"/>
                  </a:lnTo>
                  <a:lnTo>
                    <a:pt x="2047" y="367"/>
                  </a:lnTo>
                  <a:lnTo>
                    <a:pt x="2027" y="347"/>
                  </a:lnTo>
                  <a:lnTo>
                    <a:pt x="2007" y="327"/>
                  </a:lnTo>
                  <a:lnTo>
                    <a:pt x="1986" y="308"/>
                  </a:lnTo>
                  <a:lnTo>
                    <a:pt x="1964" y="289"/>
                  </a:lnTo>
                  <a:lnTo>
                    <a:pt x="1943" y="271"/>
                  </a:lnTo>
                  <a:lnTo>
                    <a:pt x="1920" y="253"/>
                  </a:lnTo>
                  <a:lnTo>
                    <a:pt x="1897" y="236"/>
                  </a:lnTo>
                  <a:lnTo>
                    <a:pt x="1875" y="218"/>
                  </a:lnTo>
                  <a:lnTo>
                    <a:pt x="1851" y="203"/>
                  </a:lnTo>
                  <a:lnTo>
                    <a:pt x="1827" y="186"/>
                  </a:lnTo>
                  <a:lnTo>
                    <a:pt x="1803" y="172"/>
                  </a:lnTo>
                  <a:lnTo>
                    <a:pt x="1779" y="156"/>
                  </a:lnTo>
                  <a:lnTo>
                    <a:pt x="1753" y="143"/>
                  </a:lnTo>
                  <a:lnTo>
                    <a:pt x="1728" y="130"/>
                  </a:lnTo>
                  <a:lnTo>
                    <a:pt x="1703" y="116"/>
                  </a:lnTo>
                  <a:lnTo>
                    <a:pt x="1676" y="105"/>
                  </a:lnTo>
                  <a:lnTo>
                    <a:pt x="1650" y="92"/>
                  </a:lnTo>
                  <a:lnTo>
                    <a:pt x="1623" y="82"/>
                  </a:lnTo>
                  <a:lnTo>
                    <a:pt x="1596" y="72"/>
                  </a:lnTo>
                  <a:lnTo>
                    <a:pt x="1569" y="62"/>
                  </a:lnTo>
                  <a:lnTo>
                    <a:pt x="1541" y="53"/>
                  </a:lnTo>
                  <a:lnTo>
                    <a:pt x="1512" y="45"/>
                  </a:lnTo>
                  <a:lnTo>
                    <a:pt x="1484" y="37"/>
                  </a:lnTo>
                  <a:lnTo>
                    <a:pt x="1455" y="30"/>
                  </a:lnTo>
                  <a:lnTo>
                    <a:pt x="1427" y="23"/>
                  </a:lnTo>
                  <a:lnTo>
                    <a:pt x="1398" y="18"/>
                  </a:lnTo>
                  <a:lnTo>
                    <a:pt x="1369" y="13"/>
                  </a:lnTo>
                  <a:lnTo>
                    <a:pt x="1339" y="9"/>
                  </a:lnTo>
                  <a:lnTo>
                    <a:pt x="1309" y="6"/>
                  </a:lnTo>
                  <a:lnTo>
                    <a:pt x="1279" y="3"/>
                  </a:lnTo>
                  <a:lnTo>
                    <a:pt x="1248" y="1"/>
                  </a:lnTo>
                  <a:lnTo>
                    <a:pt x="1218" y="0"/>
                  </a:lnTo>
                  <a:lnTo>
                    <a:pt x="1187"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0" name="Freeform 593">
              <a:extLst>
                <a:ext uri="{FF2B5EF4-FFF2-40B4-BE49-F238E27FC236}">
                  <a16:creationId xmlns:a16="http://schemas.microsoft.com/office/drawing/2014/main" id="{AB55C83C-78E9-BAA6-AE71-C6A972159543}"/>
                </a:ext>
              </a:extLst>
            </p:cNvPr>
            <p:cNvSpPr>
              <a:spLocks/>
            </p:cNvSpPr>
            <p:nvPr/>
          </p:nvSpPr>
          <p:spPr bwMode="auto">
            <a:xfrm>
              <a:off x="3925888" y="3589337"/>
              <a:ext cx="22225" cy="22225"/>
            </a:xfrm>
            <a:custGeom>
              <a:avLst/>
              <a:gdLst/>
              <a:ahLst/>
              <a:cxnLst>
                <a:cxn ang="0">
                  <a:pos x="113" y="56"/>
                </a:cxn>
                <a:cxn ang="0">
                  <a:pos x="113" y="56"/>
                </a:cxn>
                <a:cxn ang="0">
                  <a:pos x="112" y="68"/>
                </a:cxn>
                <a:cxn ang="0">
                  <a:pos x="109" y="78"/>
                </a:cxn>
                <a:cxn ang="0">
                  <a:pos x="104" y="88"/>
                </a:cxn>
                <a:cxn ang="0">
                  <a:pos x="96" y="97"/>
                </a:cxn>
                <a:cxn ang="0">
                  <a:pos x="88" y="103"/>
                </a:cxn>
                <a:cxn ang="0">
                  <a:pos x="79" y="108"/>
                </a:cxn>
                <a:cxn ang="0">
                  <a:pos x="68" y="112"/>
                </a:cxn>
                <a:cxn ang="0">
                  <a:pos x="56" y="113"/>
                </a:cxn>
                <a:cxn ang="0">
                  <a:pos x="56" y="113"/>
                </a:cxn>
                <a:cxn ang="0">
                  <a:pos x="45" y="112"/>
                </a:cxn>
                <a:cxn ang="0">
                  <a:pos x="35" y="108"/>
                </a:cxn>
                <a:cxn ang="0">
                  <a:pos x="24" y="103"/>
                </a:cxn>
                <a:cxn ang="0">
                  <a:pos x="16" y="97"/>
                </a:cxn>
                <a:cxn ang="0">
                  <a:pos x="10" y="88"/>
                </a:cxn>
                <a:cxn ang="0">
                  <a:pos x="5" y="78"/>
                </a:cxn>
                <a:cxn ang="0">
                  <a:pos x="1" y="68"/>
                </a:cxn>
                <a:cxn ang="0">
                  <a:pos x="0" y="56"/>
                </a:cxn>
                <a:cxn ang="0">
                  <a:pos x="0" y="56"/>
                </a:cxn>
                <a:cxn ang="0">
                  <a:pos x="1" y="45"/>
                </a:cxn>
                <a:cxn ang="0">
                  <a:pos x="5" y="34"/>
                </a:cxn>
                <a:cxn ang="0">
                  <a:pos x="10" y="25"/>
                </a:cxn>
                <a:cxn ang="0">
                  <a:pos x="16" y="16"/>
                </a:cxn>
                <a:cxn ang="0">
                  <a:pos x="24" y="9"/>
                </a:cxn>
                <a:cxn ang="0">
                  <a:pos x="35" y="4"/>
                </a:cxn>
                <a:cxn ang="0">
                  <a:pos x="45" y="1"/>
                </a:cxn>
                <a:cxn ang="0">
                  <a:pos x="56" y="0"/>
                </a:cxn>
                <a:cxn ang="0">
                  <a:pos x="56" y="0"/>
                </a:cxn>
                <a:cxn ang="0">
                  <a:pos x="68" y="1"/>
                </a:cxn>
                <a:cxn ang="0">
                  <a:pos x="79" y="4"/>
                </a:cxn>
                <a:cxn ang="0">
                  <a:pos x="88" y="9"/>
                </a:cxn>
                <a:cxn ang="0">
                  <a:pos x="96" y="16"/>
                </a:cxn>
                <a:cxn ang="0">
                  <a:pos x="104" y="25"/>
                </a:cxn>
                <a:cxn ang="0">
                  <a:pos x="109" y="34"/>
                </a:cxn>
                <a:cxn ang="0">
                  <a:pos x="112" y="45"/>
                </a:cxn>
                <a:cxn ang="0">
                  <a:pos x="113" y="56"/>
                </a:cxn>
                <a:cxn ang="0">
                  <a:pos x="113" y="56"/>
                </a:cxn>
              </a:cxnLst>
              <a:rect l="0" t="0" r="r" b="b"/>
              <a:pathLst>
                <a:path w="113" h="113">
                  <a:moveTo>
                    <a:pt x="113" y="56"/>
                  </a:moveTo>
                  <a:lnTo>
                    <a:pt x="113" y="56"/>
                  </a:lnTo>
                  <a:lnTo>
                    <a:pt x="112" y="68"/>
                  </a:lnTo>
                  <a:lnTo>
                    <a:pt x="109" y="78"/>
                  </a:lnTo>
                  <a:lnTo>
                    <a:pt x="104" y="88"/>
                  </a:lnTo>
                  <a:lnTo>
                    <a:pt x="96" y="97"/>
                  </a:lnTo>
                  <a:lnTo>
                    <a:pt x="88" y="103"/>
                  </a:lnTo>
                  <a:lnTo>
                    <a:pt x="79" y="108"/>
                  </a:lnTo>
                  <a:lnTo>
                    <a:pt x="68" y="112"/>
                  </a:lnTo>
                  <a:lnTo>
                    <a:pt x="56" y="113"/>
                  </a:lnTo>
                  <a:lnTo>
                    <a:pt x="56" y="113"/>
                  </a:lnTo>
                  <a:lnTo>
                    <a:pt x="45" y="112"/>
                  </a:lnTo>
                  <a:lnTo>
                    <a:pt x="35" y="108"/>
                  </a:lnTo>
                  <a:lnTo>
                    <a:pt x="24" y="103"/>
                  </a:lnTo>
                  <a:lnTo>
                    <a:pt x="16" y="97"/>
                  </a:lnTo>
                  <a:lnTo>
                    <a:pt x="10" y="88"/>
                  </a:lnTo>
                  <a:lnTo>
                    <a:pt x="5" y="78"/>
                  </a:lnTo>
                  <a:lnTo>
                    <a:pt x="1" y="68"/>
                  </a:lnTo>
                  <a:lnTo>
                    <a:pt x="0" y="56"/>
                  </a:lnTo>
                  <a:lnTo>
                    <a:pt x="0" y="56"/>
                  </a:lnTo>
                  <a:lnTo>
                    <a:pt x="1" y="45"/>
                  </a:lnTo>
                  <a:lnTo>
                    <a:pt x="5" y="34"/>
                  </a:lnTo>
                  <a:lnTo>
                    <a:pt x="10" y="25"/>
                  </a:lnTo>
                  <a:lnTo>
                    <a:pt x="16" y="16"/>
                  </a:lnTo>
                  <a:lnTo>
                    <a:pt x="24" y="9"/>
                  </a:lnTo>
                  <a:lnTo>
                    <a:pt x="35" y="4"/>
                  </a:lnTo>
                  <a:lnTo>
                    <a:pt x="45" y="1"/>
                  </a:lnTo>
                  <a:lnTo>
                    <a:pt x="56" y="0"/>
                  </a:lnTo>
                  <a:lnTo>
                    <a:pt x="56" y="0"/>
                  </a:lnTo>
                  <a:lnTo>
                    <a:pt x="68" y="1"/>
                  </a:lnTo>
                  <a:lnTo>
                    <a:pt x="79" y="4"/>
                  </a:lnTo>
                  <a:lnTo>
                    <a:pt x="88" y="9"/>
                  </a:lnTo>
                  <a:lnTo>
                    <a:pt x="96" y="16"/>
                  </a:lnTo>
                  <a:lnTo>
                    <a:pt x="104" y="25"/>
                  </a:lnTo>
                  <a:lnTo>
                    <a:pt x="109" y="34"/>
                  </a:lnTo>
                  <a:lnTo>
                    <a:pt x="112" y="45"/>
                  </a:lnTo>
                  <a:lnTo>
                    <a:pt x="113" y="56"/>
                  </a:lnTo>
                  <a:lnTo>
                    <a:pt x="113" y="56"/>
                  </a:lnTo>
                  <a:close/>
                </a:path>
              </a:pathLst>
            </a:custGeom>
            <a:solidFill>
              <a:srgbClr val="FFEED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2" name="Freeform 594">
              <a:extLst>
                <a:ext uri="{FF2B5EF4-FFF2-40B4-BE49-F238E27FC236}">
                  <a16:creationId xmlns:a16="http://schemas.microsoft.com/office/drawing/2014/main" id="{F8FBC2EB-59B9-80AF-741A-CE316271F557}"/>
                </a:ext>
              </a:extLst>
            </p:cNvPr>
            <p:cNvSpPr>
              <a:spLocks/>
            </p:cNvSpPr>
            <p:nvPr/>
          </p:nvSpPr>
          <p:spPr bwMode="auto">
            <a:xfrm>
              <a:off x="3567113" y="3589337"/>
              <a:ext cx="22225" cy="22225"/>
            </a:xfrm>
            <a:custGeom>
              <a:avLst/>
              <a:gdLst/>
              <a:ahLst/>
              <a:cxnLst>
                <a:cxn ang="0">
                  <a:pos x="113" y="56"/>
                </a:cxn>
                <a:cxn ang="0">
                  <a:pos x="113" y="56"/>
                </a:cxn>
                <a:cxn ang="0">
                  <a:pos x="112" y="68"/>
                </a:cxn>
                <a:cxn ang="0">
                  <a:pos x="109" y="78"/>
                </a:cxn>
                <a:cxn ang="0">
                  <a:pos x="104" y="88"/>
                </a:cxn>
                <a:cxn ang="0">
                  <a:pos x="97" y="97"/>
                </a:cxn>
                <a:cxn ang="0">
                  <a:pos x="89" y="103"/>
                </a:cxn>
                <a:cxn ang="0">
                  <a:pos x="79" y="108"/>
                </a:cxn>
                <a:cxn ang="0">
                  <a:pos x="68" y="112"/>
                </a:cxn>
                <a:cxn ang="0">
                  <a:pos x="57" y="113"/>
                </a:cxn>
                <a:cxn ang="0">
                  <a:pos x="57" y="113"/>
                </a:cxn>
                <a:cxn ang="0">
                  <a:pos x="45" y="112"/>
                </a:cxn>
                <a:cxn ang="0">
                  <a:pos x="35" y="108"/>
                </a:cxn>
                <a:cxn ang="0">
                  <a:pos x="25" y="103"/>
                </a:cxn>
                <a:cxn ang="0">
                  <a:pos x="17" y="97"/>
                </a:cxn>
                <a:cxn ang="0">
                  <a:pos x="10" y="88"/>
                </a:cxn>
                <a:cxn ang="0">
                  <a:pos x="5" y="78"/>
                </a:cxn>
                <a:cxn ang="0">
                  <a:pos x="1" y="68"/>
                </a:cxn>
                <a:cxn ang="0">
                  <a:pos x="0" y="56"/>
                </a:cxn>
                <a:cxn ang="0">
                  <a:pos x="0" y="56"/>
                </a:cxn>
                <a:cxn ang="0">
                  <a:pos x="1" y="45"/>
                </a:cxn>
                <a:cxn ang="0">
                  <a:pos x="5" y="34"/>
                </a:cxn>
                <a:cxn ang="0">
                  <a:pos x="10" y="25"/>
                </a:cxn>
                <a:cxn ang="0">
                  <a:pos x="17" y="16"/>
                </a:cxn>
                <a:cxn ang="0">
                  <a:pos x="25" y="9"/>
                </a:cxn>
                <a:cxn ang="0">
                  <a:pos x="35" y="4"/>
                </a:cxn>
                <a:cxn ang="0">
                  <a:pos x="45" y="1"/>
                </a:cxn>
                <a:cxn ang="0">
                  <a:pos x="57" y="0"/>
                </a:cxn>
                <a:cxn ang="0">
                  <a:pos x="57" y="0"/>
                </a:cxn>
                <a:cxn ang="0">
                  <a:pos x="68" y="1"/>
                </a:cxn>
                <a:cxn ang="0">
                  <a:pos x="79" y="4"/>
                </a:cxn>
                <a:cxn ang="0">
                  <a:pos x="89" y="9"/>
                </a:cxn>
                <a:cxn ang="0">
                  <a:pos x="97" y="16"/>
                </a:cxn>
                <a:cxn ang="0">
                  <a:pos x="104" y="25"/>
                </a:cxn>
                <a:cxn ang="0">
                  <a:pos x="109" y="34"/>
                </a:cxn>
                <a:cxn ang="0">
                  <a:pos x="112" y="45"/>
                </a:cxn>
                <a:cxn ang="0">
                  <a:pos x="113" y="56"/>
                </a:cxn>
              </a:cxnLst>
              <a:rect l="0" t="0" r="r" b="b"/>
              <a:pathLst>
                <a:path w="113" h="113">
                  <a:moveTo>
                    <a:pt x="113" y="56"/>
                  </a:moveTo>
                  <a:lnTo>
                    <a:pt x="113" y="56"/>
                  </a:lnTo>
                  <a:lnTo>
                    <a:pt x="112" y="68"/>
                  </a:lnTo>
                  <a:lnTo>
                    <a:pt x="109" y="78"/>
                  </a:lnTo>
                  <a:lnTo>
                    <a:pt x="104" y="88"/>
                  </a:lnTo>
                  <a:lnTo>
                    <a:pt x="97" y="97"/>
                  </a:lnTo>
                  <a:lnTo>
                    <a:pt x="89" y="103"/>
                  </a:lnTo>
                  <a:lnTo>
                    <a:pt x="79" y="108"/>
                  </a:lnTo>
                  <a:lnTo>
                    <a:pt x="68" y="112"/>
                  </a:lnTo>
                  <a:lnTo>
                    <a:pt x="57" y="113"/>
                  </a:lnTo>
                  <a:lnTo>
                    <a:pt x="57" y="113"/>
                  </a:lnTo>
                  <a:lnTo>
                    <a:pt x="45" y="112"/>
                  </a:lnTo>
                  <a:lnTo>
                    <a:pt x="35" y="108"/>
                  </a:lnTo>
                  <a:lnTo>
                    <a:pt x="25" y="103"/>
                  </a:lnTo>
                  <a:lnTo>
                    <a:pt x="17" y="97"/>
                  </a:lnTo>
                  <a:lnTo>
                    <a:pt x="10" y="88"/>
                  </a:lnTo>
                  <a:lnTo>
                    <a:pt x="5" y="78"/>
                  </a:lnTo>
                  <a:lnTo>
                    <a:pt x="1" y="68"/>
                  </a:lnTo>
                  <a:lnTo>
                    <a:pt x="0" y="56"/>
                  </a:lnTo>
                  <a:lnTo>
                    <a:pt x="0" y="56"/>
                  </a:lnTo>
                  <a:lnTo>
                    <a:pt x="1" y="45"/>
                  </a:lnTo>
                  <a:lnTo>
                    <a:pt x="5" y="34"/>
                  </a:lnTo>
                  <a:lnTo>
                    <a:pt x="10" y="25"/>
                  </a:lnTo>
                  <a:lnTo>
                    <a:pt x="17" y="16"/>
                  </a:lnTo>
                  <a:lnTo>
                    <a:pt x="25" y="9"/>
                  </a:lnTo>
                  <a:lnTo>
                    <a:pt x="35" y="4"/>
                  </a:lnTo>
                  <a:lnTo>
                    <a:pt x="45" y="1"/>
                  </a:lnTo>
                  <a:lnTo>
                    <a:pt x="57" y="0"/>
                  </a:lnTo>
                  <a:lnTo>
                    <a:pt x="57" y="0"/>
                  </a:lnTo>
                  <a:lnTo>
                    <a:pt x="68" y="1"/>
                  </a:lnTo>
                  <a:lnTo>
                    <a:pt x="79" y="4"/>
                  </a:lnTo>
                  <a:lnTo>
                    <a:pt x="89" y="9"/>
                  </a:lnTo>
                  <a:lnTo>
                    <a:pt x="97" y="16"/>
                  </a:lnTo>
                  <a:lnTo>
                    <a:pt x="104" y="25"/>
                  </a:lnTo>
                  <a:lnTo>
                    <a:pt x="109" y="34"/>
                  </a:lnTo>
                  <a:lnTo>
                    <a:pt x="112" y="45"/>
                  </a:lnTo>
                  <a:lnTo>
                    <a:pt x="113" y="56"/>
                  </a:lnTo>
                  <a:close/>
                </a:path>
              </a:pathLst>
            </a:custGeom>
            <a:solidFill>
              <a:srgbClr val="FFEED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3" name="Freeform 595">
              <a:extLst>
                <a:ext uri="{FF2B5EF4-FFF2-40B4-BE49-F238E27FC236}">
                  <a16:creationId xmlns:a16="http://schemas.microsoft.com/office/drawing/2014/main" id="{9FF8536D-DF75-8E5F-6133-0045D4417C4E}"/>
                </a:ext>
              </a:extLst>
            </p:cNvPr>
            <p:cNvSpPr>
              <a:spLocks/>
            </p:cNvSpPr>
            <p:nvPr/>
          </p:nvSpPr>
          <p:spPr bwMode="auto">
            <a:xfrm>
              <a:off x="3567113" y="3589337"/>
              <a:ext cx="22225" cy="22225"/>
            </a:xfrm>
            <a:custGeom>
              <a:avLst/>
              <a:gdLst/>
              <a:ahLst/>
              <a:cxnLst>
                <a:cxn ang="0">
                  <a:pos x="113" y="56"/>
                </a:cxn>
                <a:cxn ang="0">
                  <a:pos x="113" y="56"/>
                </a:cxn>
                <a:cxn ang="0">
                  <a:pos x="112" y="68"/>
                </a:cxn>
                <a:cxn ang="0">
                  <a:pos x="109" y="78"/>
                </a:cxn>
                <a:cxn ang="0">
                  <a:pos x="104" y="88"/>
                </a:cxn>
                <a:cxn ang="0">
                  <a:pos x="97" y="97"/>
                </a:cxn>
                <a:cxn ang="0">
                  <a:pos x="89" y="103"/>
                </a:cxn>
                <a:cxn ang="0">
                  <a:pos x="79" y="108"/>
                </a:cxn>
                <a:cxn ang="0">
                  <a:pos x="68" y="112"/>
                </a:cxn>
                <a:cxn ang="0">
                  <a:pos x="57" y="113"/>
                </a:cxn>
                <a:cxn ang="0">
                  <a:pos x="57" y="113"/>
                </a:cxn>
                <a:cxn ang="0">
                  <a:pos x="45" y="112"/>
                </a:cxn>
                <a:cxn ang="0">
                  <a:pos x="35" y="108"/>
                </a:cxn>
                <a:cxn ang="0">
                  <a:pos x="25" y="103"/>
                </a:cxn>
                <a:cxn ang="0">
                  <a:pos x="17" y="97"/>
                </a:cxn>
                <a:cxn ang="0">
                  <a:pos x="10" y="88"/>
                </a:cxn>
                <a:cxn ang="0">
                  <a:pos x="5" y="78"/>
                </a:cxn>
                <a:cxn ang="0">
                  <a:pos x="1" y="68"/>
                </a:cxn>
                <a:cxn ang="0">
                  <a:pos x="0" y="56"/>
                </a:cxn>
                <a:cxn ang="0">
                  <a:pos x="0" y="56"/>
                </a:cxn>
                <a:cxn ang="0">
                  <a:pos x="1" y="45"/>
                </a:cxn>
                <a:cxn ang="0">
                  <a:pos x="5" y="34"/>
                </a:cxn>
                <a:cxn ang="0">
                  <a:pos x="10" y="25"/>
                </a:cxn>
                <a:cxn ang="0">
                  <a:pos x="17" y="16"/>
                </a:cxn>
                <a:cxn ang="0">
                  <a:pos x="25" y="9"/>
                </a:cxn>
                <a:cxn ang="0">
                  <a:pos x="35" y="4"/>
                </a:cxn>
                <a:cxn ang="0">
                  <a:pos x="45" y="1"/>
                </a:cxn>
                <a:cxn ang="0">
                  <a:pos x="57" y="0"/>
                </a:cxn>
                <a:cxn ang="0">
                  <a:pos x="57" y="0"/>
                </a:cxn>
                <a:cxn ang="0">
                  <a:pos x="68" y="1"/>
                </a:cxn>
                <a:cxn ang="0">
                  <a:pos x="79" y="4"/>
                </a:cxn>
                <a:cxn ang="0">
                  <a:pos x="89" y="9"/>
                </a:cxn>
                <a:cxn ang="0">
                  <a:pos x="97" y="16"/>
                </a:cxn>
                <a:cxn ang="0">
                  <a:pos x="104" y="25"/>
                </a:cxn>
                <a:cxn ang="0">
                  <a:pos x="109" y="34"/>
                </a:cxn>
                <a:cxn ang="0">
                  <a:pos x="112" y="45"/>
                </a:cxn>
                <a:cxn ang="0">
                  <a:pos x="113" y="56"/>
                </a:cxn>
              </a:cxnLst>
              <a:rect l="0" t="0" r="r" b="b"/>
              <a:pathLst>
                <a:path w="113" h="113">
                  <a:moveTo>
                    <a:pt x="113" y="56"/>
                  </a:moveTo>
                  <a:lnTo>
                    <a:pt x="113" y="56"/>
                  </a:lnTo>
                  <a:lnTo>
                    <a:pt x="112" y="68"/>
                  </a:lnTo>
                  <a:lnTo>
                    <a:pt x="109" y="78"/>
                  </a:lnTo>
                  <a:lnTo>
                    <a:pt x="104" y="88"/>
                  </a:lnTo>
                  <a:lnTo>
                    <a:pt x="97" y="97"/>
                  </a:lnTo>
                  <a:lnTo>
                    <a:pt x="89" y="103"/>
                  </a:lnTo>
                  <a:lnTo>
                    <a:pt x="79" y="108"/>
                  </a:lnTo>
                  <a:lnTo>
                    <a:pt x="68" y="112"/>
                  </a:lnTo>
                  <a:lnTo>
                    <a:pt x="57" y="113"/>
                  </a:lnTo>
                  <a:lnTo>
                    <a:pt x="57" y="113"/>
                  </a:lnTo>
                  <a:lnTo>
                    <a:pt x="45" y="112"/>
                  </a:lnTo>
                  <a:lnTo>
                    <a:pt x="35" y="108"/>
                  </a:lnTo>
                  <a:lnTo>
                    <a:pt x="25" y="103"/>
                  </a:lnTo>
                  <a:lnTo>
                    <a:pt x="17" y="97"/>
                  </a:lnTo>
                  <a:lnTo>
                    <a:pt x="10" y="88"/>
                  </a:lnTo>
                  <a:lnTo>
                    <a:pt x="5" y="78"/>
                  </a:lnTo>
                  <a:lnTo>
                    <a:pt x="1" y="68"/>
                  </a:lnTo>
                  <a:lnTo>
                    <a:pt x="0" y="56"/>
                  </a:lnTo>
                  <a:lnTo>
                    <a:pt x="0" y="56"/>
                  </a:lnTo>
                  <a:lnTo>
                    <a:pt x="1" y="45"/>
                  </a:lnTo>
                  <a:lnTo>
                    <a:pt x="5" y="34"/>
                  </a:lnTo>
                  <a:lnTo>
                    <a:pt x="10" y="25"/>
                  </a:lnTo>
                  <a:lnTo>
                    <a:pt x="17" y="16"/>
                  </a:lnTo>
                  <a:lnTo>
                    <a:pt x="25" y="9"/>
                  </a:lnTo>
                  <a:lnTo>
                    <a:pt x="35" y="4"/>
                  </a:lnTo>
                  <a:lnTo>
                    <a:pt x="45" y="1"/>
                  </a:lnTo>
                  <a:lnTo>
                    <a:pt x="57" y="0"/>
                  </a:lnTo>
                  <a:lnTo>
                    <a:pt x="57" y="0"/>
                  </a:lnTo>
                  <a:lnTo>
                    <a:pt x="68" y="1"/>
                  </a:lnTo>
                  <a:lnTo>
                    <a:pt x="79" y="4"/>
                  </a:lnTo>
                  <a:lnTo>
                    <a:pt x="89" y="9"/>
                  </a:lnTo>
                  <a:lnTo>
                    <a:pt x="97" y="16"/>
                  </a:lnTo>
                  <a:lnTo>
                    <a:pt x="104" y="25"/>
                  </a:lnTo>
                  <a:lnTo>
                    <a:pt x="109" y="34"/>
                  </a:lnTo>
                  <a:lnTo>
                    <a:pt x="112" y="45"/>
                  </a:lnTo>
                  <a:lnTo>
                    <a:pt x="113" y="56"/>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4" name="Freeform 596">
              <a:extLst>
                <a:ext uri="{FF2B5EF4-FFF2-40B4-BE49-F238E27FC236}">
                  <a16:creationId xmlns:a16="http://schemas.microsoft.com/office/drawing/2014/main" id="{C6B1826F-CC9D-9E65-B7C8-D6E5C0BCCB1A}"/>
                </a:ext>
              </a:extLst>
            </p:cNvPr>
            <p:cNvSpPr>
              <a:spLocks/>
            </p:cNvSpPr>
            <p:nvPr/>
          </p:nvSpPr>
          <p:spPr bwMode="auto">
            <a:xfrm>
              <a:off x="3746501" y="3409950"/>
              <a:ext cx="22225" cy="22225"/>
            </a:xfrm>
            <a:custGeom>
              <a:avLst/>
              <a:gdLst/>
              <a:ahLst/>
              <a:cxnLst>
                <a:cxn ang="0">
                  <a:pos x="113" y="56"/>
                </a:cxn>
                <a:cxn ang="0">
                  <a:pos x="113" y="56"/>
                </a:cxn>
                <a:cxn ang="0">
                  <a:pos x="111" y="67"/>
                </a:cxn>
                <a:cxn ang="0">
                  <a:pos x="108" y="79"/>
                </a:cxn>
                <a:cxn ang="0">
                  <a:pos x="103" y="88"/>
                </a:cxn>
                <a:cxn ang="0">
                  <a:pos x="96" y="96"/>
                </a:cxn>
                <a:cxn ang="0">
                  <a:pos x="87" y="103"/>
                </a:cxn>
                <a:cxn ang="0">
                  <a:pos x="78" y="108"/>
                </a:cxn>
                <a:cxn ang="0">
                  <a:pos x="68" y="112"/>
                </a:cxn>
                <a:cxn ang="0">
                  <a:pos x="57" y="113"/>
                </a:cxn>
                <a:cxn ang="0">
                  <a:pos x="57" y="113"/>
                </a:cxn>
                <a:cxn ang="0">
                  <a:pos x="45" y="112"/>
                </a:cxn>
                <a:cxn ang="0">
                  <a:pos x="34" y="108"/>
                </a:cxn>
                <a:cxn ang="0">
                  <a:pos x="25" y="103"/>
                </a:cxn>
                <a:cxn ang="0">
                  <a:pos x="16" y="96"/>
                </a:cxn>
                <a:cxn ang="0">
                  <a:pos x="9" y="88"/>
                </a:cxn>
                <a:cxn ang="0">
                  <a:pos x="4" y="79"/>
                </a:cxn>
                <a:cxn ang="0">
                  <a:pos x="1" y="67"/>
                </a:cxn>
                <a:cxn ang="0">
                  <a:pos x="0" y="56"/>
                </a:cxn>
                <a:cxn ang="0">
                  <a:pos x="0" y="56"/>
                </a:cxn>
                <a:cxn ang="0">
                  <a:pos x="1" y="45"/>
                </a:cxn>
                <a:cxn ang="0">
                  <a:pos x="4" y="34"/>
                </a:cxn>
                <a:cxn ang="0">
                  <a:pos x="9" y="25"/>
                </a:cxn>
                <a:cxn ang="0">
                  <a:pos x="16" y="17"/>
                </a:cxn>
                <a:cxn ang="0">
                  <a:pos x="25" y="10"/>
                </a:cxn>
                <a:cxn ang="0">
                  <a:pos x="34" y="4"/>
                </a:cxn>
                <a:cxn ang="0">
                  <a:pos x="45" y="1"/>
                </a:cxn>
                <a:cxn ang="0">
                  <a:pos x="57" y="0"/>
                </a:cxn>
                <a:cxn ang="0">
                  <a:pos x="57" y="0"/>
                </a:cxn>
                <a:cxn ang="0">
                  <a:pos x="68" y="1"/>
                </a:cxn>
                <a:cxn ang="0">
                  <a:pos x="78" y="4"/>
                </a:cxn>
                <a:cxn ang="0">
                  <a:pos x="87" y="10"/>
                </a:cxn>
                <a:cxn ang="0">
                  <a:pos x="96" y="17"/>
                </a:cxn>
                <a:cxn ang="0">
                  <a:pos x="103" y="25"/>
                </a:cxn>
                <a:cxn ang="0">
                  <a:pos x="108" y="34"/>
                </a:cxn>
                <a:cxn ang="0">
                  <a:pos x="111" y="45"/>
                </a:cxn>
                <a:cxn ang="0">
                  <a:pos x="113" y="56"/>
                </a:cxn>
              </a:cxnLst>
              <a:rect l="0" t="0" r="r" b="b"/>
              <a:pathLst>
                <a:path w="113" h="113">
                  <a:moveTo>
                    <a:pt x="113" y="56"/>
                  </a:moveTo>
                  <a:lnTo>
                    <a:pt x="113" y="56"/>
                  </a:lnTo>
                  <a:lnTo>
                    <a:pt x="111" y="67"/>
                  </a:lnTo>
                  <a:lnTo>
                    <a:pt x="108" y="79"/>
                  </a:lnTo>
                  <a:lnTo>
                    <a:pt x="103" y="88"/>
                  </a:lnTo>
                  <a:lnTo>
                    <a:pt x="96" y="96"/>
                  </a:lnTo>
                  <a:lnTo>
                    <a:pt x="87" y="103"/>
                  </a:lnTo>
                  <a:lnTo>
                    <a:pt x="78" y="108"/>
                  </a:lnTo>
                  <a:lnTo>
                    <a:pt x="68" y="112"/>
                  </a:lnTo>
                  <a:lnTo>
                    <a:pt x="57" y="113"/>
                  </a:lnTo>
                  <a:lnTo>
                    <a:pt x="57" y="113"/>
                  </a:lnTo>
                  <a:lnTo>
                    <a:pt x="45" y="112"/>
                  </a:lnTo>
                  <a:lnTo>
                    <a:pt x="34" y="108"/>
                  </a:lnTo>
                  <a:lnTo>
                    <a:pt x="25" y="103"/>
                  </a:lnTo>
                  <a:lnTo>
                    <a:pt x="16" y="96"/>
                  </a:lnTo>
                  <a:lnTo>
                    <a:pt x="9" y="88"/>
                  </a:lnTo>
                  <a:lnTo>
                    <a:pt x="4" y="79"/>
                  </a:lnTo>
                  <a:lnTo>
                    <a:pt x="1" y="67"/>
                  </a:lnTo>
                  <a:lnTo>
                    <a:pt x="0" y="56"/>
                  </a:lnTo>
                  <a:lnTo>
                    <a:pt x="0" y="56"/>
                  </a:lnTo>
                  <a:lnTo>
                    <a:pt x="1" y="45"/>
                  </a:lnTo>
                  <a:lnTo>
                    <a:pt x="4" y="34"/>
                  </a:lnTo>
                  <a:lnTo>
                    <a:pt x="9" y="25"/>
                  </a:lnTo>
                  <a:lnTo>
                    <a:pt x="16" y="17"/>
                  </a:lnTo>
                  <a:lnTo>
                    <a:pt x="25" y="10"/>
                  </a:lnTo>
                  <a:lnTo>
                    <a:pt x="34" y="4"/>
                  </a:lnTo>
                  <a:lnTo>
                    <a:pt x="45" y="1"/>
                  </a:lnTo>
                  <a:lnTo>
                    <a:pt x="57" y="0"/>
                  </a:lnTo>
                  <a:lnTo>
                    <a:pt x="57" y="0"/>
                  </a:lnTo>
                  <a:lnTo>
                    <a:pt x="68" y="1"/>
                  </a:lnTo>
                  <a:lnTo>
                    <a:pt x="78" y="4"/>
                  </a:lnTo>
                  <a:lnTo>
                    <a:pt x="87" y="10"/>
                  </a:lnTo>
                  <a:lnTo>
                    <a:pt x="96" y="17"/>
                  </a:lnTo>
                  <a:lnTo>
                    <a:pt x="103" y="25"/>
                  </a:lnTo>
                  <a:lnTo>
                    <a:pt x="108" y="34"/>
                  </a:lnTo>
                  <a:lnTo>
                    <a:pt x="111" y="45"/>
                  </a:lnTo>
                  <a:lnTo>
                    <a:pt x="113" y="56"/>
                  </a:lnTo>
                  <a:close/>
                </a:path>
              </a:pathLst>
            </a:custGeom>
            <a:solidFill>
              <a:srgbClr val="FFEED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5" name="Freeform 597">
              <a:extLst>
                <a:ext uri="{FF2B5EF4-FFF2-40B4-BE49-F238E27FC236}">
                  <a16:creationId xmlns:a16="http://schemas.microsoft.com/office/drawing/2014/main" id="{07F7CC42-363A-C717-7FE8-23C598D35243}"/>
                </a:ext>
              </a:extLst>
            </p:cNvPr>
            <p:cNvSpPr>
              <a:spLocks/>
            </p:cNvSpPr>
            <p:nvPr/>
          </p:nvSpPr>
          <p:spPr bwMode="auto">
            <a:xfrm>
              <a:off x="3746501" y="3409950"/>
              <a:ext cx="22225" cy="22225"/>
            </a:xfrm>
            <a:custGeom>
              <a:avLst/>
              <a:gdLst/>
              <a:ahLst/>
              <a:cxnLst>
                <a:cxn ang="0">
                  <a:pos x="113" y="56"/>
                </a:cxn>
                <a:cxn ang="0">
                  <a:pos x="113" y="56"/>
                </a:cxn>
                <a:cxn ang="0">
                  <a:pos x="111" y="67"/>
                </a:cxn>
                <a:cxn ang="0">
                  <a:pos x="108" y="79"/>
                </a:cxn>
                <a:cxn ang="0">
                  <a:pos x="103" y="88"/>
                </a:cxn>
                <a:cxn ang="0">
                  <a:pos x="96" y="96"/>
                </a:cxn>
                <a:cxn ang="0">
                  <a:pos x="87" y="103"/>
                </a:cxn>
                <a:cxn ang="0">
                  <a:pos x="78" y="108"/>
                </a:cxn>
                <a:cxn ang="0">
                  <a:pos x="68" y="112"/>
                </a:cxn>
                <a:cxn ang="0">
                  <a:pos x="57" y="113"/>
                </a:cxn>
                <a:cxn ang="0">
                  <a:pos x="57" y="113"/>
                </a:cxn>
                <a:cxn ang="0">
                  <a:pos x="45" y="112"/>
                </a:cxn>
                <a:cxn ang="0">
                  <a:pos x="34" y="108"/>
                </a:cxn>
                <a:cxn ang="0">
                  <a:pos x="25" y="103"/>
                </a:cxn>
                <a:cxn ang="0">
                  <a:pos x="16" y="96"/>
                </a:cxn>
                <a:cxn ang="0">
                  <a:pos x="9" y="88"/>
                </a:cxn>
                <a:cxn ang="0">
                  <a:pos x="4" y="79"/>
                </a:cxn>
                <a:cxn ang="0">
                  <a:pos x="1" y="67"/>
                </a:cxn>
                <a:cxn ang="0">
                  <a:pos x="0" y="56"/>
                </a:cxn>
                <a:cxn ang="0">
                  <a:pos x="0" y="56"/>
                </a:cxn>
                <a:cxn ang="0">
                  <a:pos x="1" y="45"/>
                </a:cxn>
                <a:cxn ang="0">
                  <a:pos x="4" y="34"/>
                </a:cxn>
                <a:cxn ang="0">
                  <a:pos x="9" y="25"/>
                </a:cxn>
                <a:cxn ang="0">
                  <a:pos x="16" y="17"/>
                </a:cxn>
                <a:cxn ang="0">
                  <a:pos x="25" y="10"/>
                </a:cxn>
                <a:cxn ang="0">
                  <a:pos x="34" y="4"/>
                </a:cxn>
                <a:cxn ang="0">
                  <a:pos x="45" y="1"/>
                </a:cxn>
                <a:cxn ang="0">
                  <a:pos x="57" y="0"/>
                </a:cxn>
                <a:cxn ang="0">
                  <a:pos x="57" y="0"/>
                </a:cxn>
                <a:cxn ang="0">
                  <a:pos x="68" y="1"/>
                </a:cxn>
                <a:cxn ang="0">
                  <a:pos x="78" y="4"/>
                </a:cxn>
                <a:cxn ang="0">
                  <a:pos x="87" y="10"/>
                </a:cxn>
                <a:cxn ang="0">
                  <a:pos x="96" y="17"/>
                </a:cxn>
                <a:cxn ang="0">
                  <a:pos x="103" y="25"/>
                </a:cxn>
                <a:cxn ang="0">
                  <a:pos x="108" y="34"/>
                </a:cxn>
                <a:cxn ang="0">
                  <a:pos x="111" y="45"/>
                </a:cxn>
                <a:cxn ang="0">
                  <a:pos x="113" y="56"/>
                </a:cxn>
              </a:cxnLst>
              <a:rect l="0" t="0" r="r" b="b"/>
              <a:pathLst>
                <a:path w="113" h="113">
                  <a:moveTo>
                    <a:pt x="113" y="56"/>
                  </a:moveTo>
                  <a:lnTo>
                    <a:pt x="113" y="56"/>
                  </a:lnTo>
                  <a:lnTo>
                    <a:pt x="111" y="67"/>
                  </a:lnTo>
                  <a:lnTo>
                    <a:pt x="108" y="79"/>
                  </a:lnTo>
                  <a:lnTo>
                    <a:pt x="103" y="88"/>
                  </a:lnTo>
                  <a:lnTo>
                    <a:pt x="96" y="96"/>
                  </a:lnTo>
                  <a:lnTo>
                    <a:pt x="87" y="103"/>
                  </a:lnTo>
                  <a:lnTo>
                    <a:pt x="78" y="108"/>
                  </a:lnTo>
                  <a:lnTo>
                    <a:pt x="68" y="112"/>
                  </a:lnTo>
                  <a:lnTo>
                    <a:pt x="57" y="113"/>
                  </a:lnTo>
                  <a:lnTo>
                    <a:pt x="57" y="113"/>
                  </a:lnTo>
                  <a:lnTo>
                    <a:pt x="45" y="112"/>
                  </a:lnTo>
                  <a:lnTo>
                    <a:pt x="34" y="108"/>
                  </a:lnTo>
                  <a:lnTo>
                    <a:pt x="25" y="103"/>
                  </a:lnTo>
                  <a:lnTo>
                    <a:pt x="16" y="96"/>
                  </a:lnTo>
                  <a:lnTo>
                    <a:pt x="9" y="88"/>
                  </a:lnTo>
                  <a:lnTo>
                    <a:pt x="4" y="79"/>
                  </a:lnTo>
                  <a:lnTo>
                    <a:pt x="1" y="67"/>
                  </a:lnTo>
                  <a:lnTo>
                    <a:pt x="0" y="56"/>
                  </a:lnTo>
                  <a:lnTo>
                    <a:pt x="0" y="56"/>
                  </a:lnTo>
                  <a:lnTo>
                    <a:pt x="1" y="45"/>
                  </a:lnTo>
                  <a:lnTo>
                    <a:pt x="4" y="34"/>
                  </a:lnTo>
                  <a:lnTo>
                    <a:pt x="9" y="25"/>
                  </a:lnTo>
                  <a:lnTo>
                    <a:pt x="16" y="17"/>
                  </a:lnTo>
                  <a:lnTo>
                    <a:pt x="25" y="10"/>
                  </a:lnTo>
                  <a:lnTo>
                    <a:pt x="34" y="4"/>
                  </a:lnTo>
                  <a:lnTo>
                    <a:pt x="45" y="1"/>
                  </a:lnTo>
                  <a:lnTo>
                    <a:pt x="57" y="0"/>
                  </a:lnTo>
                  <a:lnTo>
                    <a:pt x="57" y="0"/>
                  </a:lnTo>
                  <a:lnTo>
                    <a:pt x="68" y="1"/>
                  </a:lnTo>
                  <a:lnTo>
                    <a:pt x="78" y="4"/>
                  </a:lnTo>
                  <a:lnTo>
                    <a:pt x="87" y="10"/>
                  </a:lnTo>
                  <a:lnTo>
                    <a:pt x="96" y="17"/>
                  </a:lnTo>
                  <a:lnTo>
                    <a:pt x="103" y="25"/>
                  </a:lnTo>
                  <a:lnTo>
                    <a:pt x="108" y="34"/>
                  </a:lnTo>
                  <a:lnTo>
                    <a:pt x="111" y="45"/>
                  </a:lnTo>
                  <a:lnTo>
                    <a:pt x="113" y="56"/>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6" name="Freeform 598">
              <a:extLst>
                <a:ext uri="{FF2B5EF4-FFF2-40B4-BE49-F238E27FC236}">
                  <a16:creationId xmlns:a16="http://schemas.microsoft.com/office/drawing/2014/main" id="{A50158C2-9153-A52F-110E-A9A85DE06FC0}"/>
                </a:ext>
              </a:extLst>
            </p:cNvPr>
            <p:cNvSpPr>
              <a:spLocks/>
            </p:cNvSpPr>
            <p:nvPr/>
          </p:nvSpPr>
          <p:spPr bwMode="auto">
            <a:xfrm>
              <a:off x="3746501" y="3768725"/>
              <a:ext cx="22225" cy="22225"/>
            </a:xfrm>
            <a:custGeom>
              <a:avLst/>
              <a:gdLst/>
              <a:ahLst/>
              <a:cxnLst>
                <a:cxn ang="0">
                  <a:pos x="113" y="57"/>
                </a:cxn>
                <a:cxn ang="0">
                  <a:pos x="113" y="57"/>
                </a:cxn>
                <a:cxn ang="0">
                  <a:pos x="111" y="68"/>
                </a:cxn>
                <a:cxn ang="0">
                  <a:pos x="108" y="80"/>
                </a:cxn>
                <a:cxn ang="0">
                  <a:pos x="103" y="89"/>
                </a:cxn>
                <a:cxn ang="0">
                  <a:pos x="96" y="97"/>
                </a:cxn>
                <a:cxn ang="0">
                  <a:pos x="87" y="104"/>
                </a:cxn>
                <a:cxn ang="0">
                  <a:pos x="78" y="109"/>
                </a:cxn>
                <a:cxn ang="0">
                  <a:pos x="68" y="113"/>
                </a:cxn>
                <a:cxn ang="0">
                  <a:pos x="57" y="114"/>
                </a:cxn>
                <a:cxn ang="0">
                  <a:pos x="57" y="114"/>
                </a:cxn>
                <a:cxn ang="0">
                  <a:pos x="45" y="113"/>
                </a:cxn>
                <a:cxn ang="0">
                  <a:pos x="34" y="109"/>
                </a:cxn>
                <a:cxn ang="0">
                  <a:pos x="25" y="104"/>
                </a:cxn>
                <a:cxn ang="0">
                  <a:pos x="16" y="97"/>
                </a:cxn>
                <a:cxn ang="0">
                  <a:pos x="9" y="89"/>
                </a:cxn>
                <a:cxn ang="0">
                  <a:pos x="4" y="80"/>
                </a:cxn>
                <a:cxn ang="0">
                  <a:pos x="1" y="68"/>
                </a:cxn>
                <a:cxn ang="0">
                  <a:pos x="0" y="57"/>
                </a:cxn>
                <a:cxn ang="0">
                  <a:pos x="0" y="57"/>
                </a:cxn>
                <a:cxn ang="0">
                  <a:pos x="1" y="46"/>
                </a:cxn>
                <a:cxn ang="0">
                  <a:pos x="4" y="35"/>
                </a:cxn>
                <a:cxn ang="0">
                  <a:pos x="9" y="26"/>
                </a:cxn>
                <a:cxn ang="0">
                  <a:pos x="16" y="17"/>
                </a:cxn>
                <a:cxn ang="0">
                  <a:pos x="25" y="11"/>
                </a:cxn>
                <a:cxn ang="0">
                  <a:pos x="34" y="5"/>
                </a:cxn>
                <a:cxn ang="0">
                  <a:pos x="45" y="1"/>
                </a:cxn>
                <a:cxn ang="0">
                  <a:pos x="57" y="0"/>
                </a:cxn>
                <a:cxn ang="0">
                  <a:pos x="57" y="0"/>
                </a:cxn>
                <a:cxn ang="0">
                  <a:pos x="68" y="1"/>
                </a:cxn>
                <a:cxn ang="0">
                  <a:pos x="78" y="5"/>
                </a:cxn>
                <a:cxn ang="0">
                  <a:pos x="87" y="11"/>
                </a:cxn>
                <a:cxn ang="0">
                  <a:pos x="96" y="17"/>
                </a:cxn>
                <a:cxn ang="0">
                  <a:pos x="103" y="26"/>
                </a:cxn>
                <a:cxn ang="0">
                  <a:pos x="108" y="35"/>
                </a:cxn>
                <a:cxn ang="0">
                  <a:pos x="111" y="46"/>
                </a:cxn>
                <a:cxn ang="0">
                  <a:pos x="113" y="57"/>
                </a:cxn>
              </a:cxnLst>
              <a:rect l="0" t="0" r="r" b="b"/>
              <a:pathLst>
                <a:path w="113" h="114">
                  <a:moveTo>
                    <a:pt x="113" y="57"/>
                  </a:moveTo>
                  <a:lnTo>
                    <a:pt x="113" y="57"/>
                  </a:lnTo>
                  <a:lnTo>
                    <a:pt x="111" y="68"/>
                  </a:lnTo>
                  <a:lnTo>
                    <a:pt x="108" y="80"/>
                  </a:lnTo>
                  <a:lnTo>
                    <a:pt x="103" y="89"/>
                  </a:lnTo>
                  <a:lnTo>
                    <a:pt x="96" y="97"/>
                  </a:lnTo>
                  <a:lnTo>
                    <a:pt x="87" y="104"/>
                  </a:lnTo>
                  <a:lnTo>
                    <a:pt x="78" y="109"/>
                  </a:lnTo>
                  <a:lnTo>
                    <a:pt x="68" y="113"/>
                  </a:lnTo>
                  <a:lnTo>
                    <a:pt x="57" y="114"/>
                  </a:lnTo>
                  <a:lnTo>
                    <a:pt x="57" y="114"/>
                  </a:lnTo>
                  <a:lnTo>
                    <a:pt x="45" y="113"/>
                  </a:lnTo>
                  <a:lnTo>
                    <a:pt x="34" y="109"/>
                  </a:lnTo>
                  <a:lnTo>
                    <a:pt x="25" y="104"/>
                  </a:lnTo>
                  <a:lnTo>
                    <a:pt x="16" y="97"/>
                  </a:lnTo>
                  <a:lnTo>
                    <a:pt x="9" y="89"/>
                  </a:lnTo>
                  <a:lnTo>
                    <a:pt x="4" y="80"/>
                  </a:lnTo>
                  <a:lnTo>
                    <a:pt x="1" y="68"/>
                  </a:lnTo>
                  <a:lnTo>
                    <a:pt x="0" y="57"/>
                  </a:lnTo>
                  <a:lnTo>
                    <a:pt x="0" y="57"/>
                  </a:lnTo>
                  <a:lnTo>
                    <a:pt x="1" y="46"/>
                  </a:lnTo>
                  <a:lnTo>
                    <a:pt x="4" y="35"/>
                  </a:lnTo>
                  <a:lnTo>
                    <a:pt x="9" y="26"/>
                  </a:lnTo>
                  <a:lnTo>
                    <a:pt x="16" y="17"/>
                  </a:lnTo>
                  <a:lnTo>
                    <a:pt x="25" y="11"/>
                  </a:lnTo>
                  <a:lnTo>
                    <a:pt x="34" y="5"/>
                  </a:lnTo>
                  <a:lnTo>
                    <a:pt x="45" y="1"/>
                  </a:lnTo>
                  <a:lnTo>
                    <a:pt x="57" y="0"/>
                  </a:lnTo>
                  <a:lnTo>
                    <a:pt x="57" y="0"/>
                  </a:lnTo>
                  <a:lnTo>
                    <a:pt x="68" y="1"/>
                  </a:lnTo>
                  <a:lnTo>
                    <a:pt x="78" y="5"/>
                  </a:lnTo>
                  <a:lnTo>
                    <a:pt x="87" y="11"/>
                  </a:lnTo>
                  <a:lnTo>
                    <a:pt x="96" y="17"/>
                  </a:lnTo>
                  <a:lnTo>
                    <a:pt x="103" y="26"/>
                  </a:lnTo>
                  <a:lnTo>
                    <a:pt x="108" y="35"/>
                  </a:lnTo>
                  <a:lnTo>
                    <a:pt x="111" y="46"/>
                  </a:lnTo>
                  <a:lnTo>
                    <a:pt x="113" y="57"/>
                  </a:lnTo>
                  <a:close/>
                </a:path>
              </a:pathLst>
            </a:custGeom>
            <a:solidFill>
              <a:srgbClr val="FFEED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7" name="Freeform 599">
              <a:extLst>
                <a:ext uri="{FF2B5EF4-FFF2-40B4-BE49-F238E27FC236}">
                  <a16:creationId xmlns:a16="http://schemas.microsoft.com/office/drawing/2014/main" id="{F0DDEDDD-F67A-F47A-6184-D0F6EDFA5350}"/>
                </a:ext>
              </a:extLst>
            </p:cNvPr>
            <p:cNvSpPr>
              <a:spLocks/>
            </p:cNvSpPr>
            <p:nvPr/>
          </p:nvSpPr>
          <p:spPr bwMode="auto">
            <a:xfrm>
              <a:off x="3746501" y="3768725"/>
              <a:ext cx="22225" cy="22225"/>
            </a:xfrm>
            <a:custGeom>
              <a:avLst/>
              <a:gdLst/>
              <a:ahLst/>
              <a:cxnLst>
                <a:cxn ang="0">
                  <a:pos x="113" y="57"/>
                </a:cxn>
                <a:cxn ang="0">
                  <a:pos x="113" y="57"/>
                </a:cxn>
                <a:cxn ang="0">
                  <a:pos x="111" y="68"/>
                </a:cxn>
                <a:cxn ang="0">
                  <a:pos x="108" y="80"/>
                </a:cxn>
                <a:cxn ang="0">
                  <a:pos x="103" y="89"/>
                </a:cxn>
                <a:cxn ang="0">
                  <a:pos x="96" y="97"/>
                </a:cxn>
                <a:cxn ang="0">
                  <a:pos x="87" y="104"/>
                </a:cxn>
                <a:cxn ang="0">
                  <a:pos x="78" y="109"/>
                </a:cxn>
                <a:cxn ang="0">
                  <a:pos x="68" y="113"/>
                </a:cxn>
                <a:cxn ang="0">
                  <a:pos x="57" y="114"/>
                </a:cxn>
                <a:cxn ang="0">
                  <a:pos x="57" y="114"/>
                </a:cxn>
                <a:cxn ang="0">
                  <a:pos x="45" y="113"/>
                </a:cxn>
                <a:cxn ang="0">
                  <a:pos x="34" y="109"/>
                </a:cxn>
                <a:cxn ang="0">
                  <a:pos x="25" y="104"/>
                </a:cxn>
                <a:cxn ang="0">
                  <a:pos x="16" y="97"/>
                </a:cxn>
                <a:cxn ang="0">
                  <a:pos x="9" y="89"/>
                </a:cxn>
                <a:cxn ang="0">
                  <a:pos x="4" y="80"/>
                </a:cxn>
                <a:cxn ang="0">
                  <a:pos x="1" y="68"/>
                </a:cxn>
                <a:cxn ang="0">
                  <a:pos x="0" y="57"/>
                </a:cxn>
                <a:cxn ang="0">
                  <a:pos x="0" y="57"/>
                </a:cxn>
                <a:cxn ang="0">
                  <a:pos x="1" y="46"/>
                </a:cxn>
                <a:cxn ang="0">
                  <a:pos x="4" y="35"/>
                </a:cxn>
                <a:cxn ang="0">
                  <a:pos x="9" y="26"/>
                </a:cxn>
                <a:cxn ang="0">
                  <a:pos x="16" y="17"/>
                </a:cxn>
                <a:cxn ang="0">
                  <a:pos x="25" y="11"/>
                </a:cxn>
                <a:cxn ang="0">
                  <a:pos x="34" y="5"/>
                </a:cxn>
                <a:cxn ang="0">
                  <a:pos x="45" y="1"/>
                </a:cxn>
                <a:cxn ang="0">
                  <a:pos x="57" y="0"/>
                </a:cxn>
                <a:cxn ang="0">
                  <a:pos x="57" y="0"/>
                </a:cxn>
                <a:cxn ang="0">
                  <a:pos x="68" y="1"/>
                </a:cxn>
                <a:cxn ang="0">
                  <a:pos x="78" y="5"/>
                </a:cxn>
                <a:cxn ang="0">
                  <a:pos x="87" y="11"/>
                </a:cxn>
                <a:cxn ang="0">
                  <a:pos x="96" y="17"/>
                </a:cxn>
                <a:cxn ang="0">
                  <a:pos x="103" y="26"/>
                </a:cxn>
                <a:cxn ang="0">
                  <a:pos x="108" y="35"/>
                </a:cxn>
                <a:cxn ang="0">
                  <a:pos x="111" y="46"/>
                </a:cxn>
                <a:cxn ang="0">
                  <a:pos x="113" y="57"/>
                </a:cxn>
              </a:cxnLst>
              <a:rect l="0" t="0" r="r" b="b"/>
              <a:pathLst>
                <a:path w="113" h="114">
                  <a:moveTo>
                    <a:pt x="113" y="57"/>
                  </a:moveTo>
                  <a:lnTo>
                    <a:pt x="113" y="57"/>
                  </a:lnTo>
                  <a:lnTo>
                    <a:pt x="111" y="68"/>
                  </a:lnTo>
                  <a:lnTo>
                    <a:pt x="108" y="80"/>
                  </a:lnTo>
                  <a:lnTo>
                    <a:pt x="103" y="89"/>
                  </a:lnTo>
                  <a:lnTo>
                    <a:pt x="96" y="97"/>
                  </a:lnTo>
                  <a:lnTo>
                    <a:pt x="87" y="104"/>
                  </a:lnTo>
                  <a:lnTo>
                    <a:pt x="78" y="109"/>
                  </a:lnTo>
                  <a:lnTo>
                    <a:pt x="68" y="113"/>
                  </a:lnTo>
                  <a:lnTo>
                    <a:pt x="57" y="114"/>
                  </a:lnTo>
                  <a:lnTo>
                    <a:pt x="57" y="114"/>
                  </a:lnTo>
                  <a:lnTo>
                    <a:pt x="45" y="113"/>
                  </a:lnTo>
                  <a:lnTo>
                    <a:pt x="34" y="109"/>
                  </a:lnTo>
                  <a:lnTo>
                    <a:pt x="25" y="104"/>
                  </a:lnTo>
                  <a:lnTo>
                    <a:pt x="16" y="97"/>
                  </a:lnTo>
                  <a:lnTo>
                    <a:pt x="9" y="89"/>
                  </a:lnTo>
                  <a:lnTo>
                    <a:pt x="4" y="80"/>
                  </a:lnTo>
                  <a:lnTo>
                    <a:pt x="1" y="68"/>
                  </a:lnTo>
                  <a:lnTo>
                    <a:pt x="0" y="57"/>
                  </a:lnTo>
                  <a:lnTo>
                    <a:pt x="0" y="57"/>
                  </a:lnTo>
                  <a:lnTo>
                    <a:pt x="1" y="46"/>
                  </a:lnTo>
                  <a:lnTo>
                    <a:pt x="4" y="35"/>
                  </a:lnTo>
                  <a:lnTo>
                    <a:pt x="9" y="26"/>
                  </a:lnTo>
                  <a:lnTo>
                    <a:pt x="16" y="17"/>
                  </a:lnTo>
                  <a:lnTo>
                    <a:pt x="25" y="11"/>
                  </a:lnTo>
                  <a:lnTo>
                    <a:pt x="34" y="5"/>
                  </a:lnTo>
                  <a:lnTo>
                    <a:pt x="45" y="1"/>
                  </a:lnTo>
                  <a:lnTo>
                    <a:pt x="57" y="0"/>
                  </a:lnTo>
                  <a:lnTo>
                    <a:pt x="57" y="0"/>
                  </a:lnTo>
                  <a:lnTo>
                    <a:pt x="68" y="1"/>
                  </a:lnTo>
                  <a:lnTo>
                    <a:pt x="78" y="5"/>
                  </a:lnTo>
                  <a:lnTo>
                    <a:pt x="87" y="11"/>
                  </a:lnTo>
                  <a:lnTo>
                    <a:pt x="96" y="17"/>
                  </a:lnTo>
                  <a:lnTo>
                    <a:pt x="103" y="26"/>
                  </a:lnTo>
                  <a:lnTo>
                    <a:pt x="108" y="35"/>
                  </a:lnTo>
                  <a:lnTo>
                    <a:pt x="111" y="46"/>
                  </a:lnTo>
                  <a:lnTo>
                    <a:pt x="113" y="57"/>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8" name="Freeform 600">
              <a:extLst>
                <a:ext uri="{FF2B5EF4-FFF2-40B4-BE49-F238E27FC236}">
                  <a16:creationId xmlns:a16="http://schemas.microsoft.com/office/drawing/2014/main" id="{B6C86DF7-CDEF-42E7-C279-3721B547CF75}"/>
                </a:ext>
              </a:extLst>
            </p:cNvPr>
            <p:cNvSpPr>
              <a:spLocks/>
            </p:cNvSpPr>
            <p:nvPr/>
          </p:nvSpPr>
          <p:spPr bwMode="auto">
            <a:xfrm>
              <a:off x="3906838" y="3684587"/>
              <a:ext cx="11113" cy="11112"/>
            </a:xfrm>
            <a:custGeom>
              <a:avLst/>
              <a:gdLst/>
              <a:ahLst/>
              <a:cxnLst>
                <a:cxn ang="0">
                  <a:pos x="52" y="42"/>
                </a:cxn>
                <a:cxn ang="0">
                  <a:pos x="52" y="42"/>
                </a:cxn>
                <a:cxn ang="0">
                  <a:pos x="49" y="47"/>
                </a:cxn>
                <a:cxn ang="0">
                  <a:pos x="45" y="50"/>
                </a:cxn>
                <a:cxn ang="0">
                  <a:pos x="41" y="53"/>
                </a:cxn>
                <a:cxn ang="0">
                  <a:pos x="36" y="55"/>
                </a:cxn>
                <a:cxn ang="0">
                  <a:pos x="31" y="57"/>
                </a:cxn>
                <a:cxn ang="0">
                  <a:pos x="25" y="57"/>
                </a:cxn>
                <a:cxn ang="0">
                  <a:pos x="19" y="54"/>
                </a:cxn>
                <a:cxn ang="0">
                  <a:pos x="14" y="52"/>
                </a:cxn>
                <a:cxn ang="0">
                  <a:pos x="14" y="52"/>
                </a:cxn>
                <a:cxn ang="0">
                  <a:pos x="9" y="49"/>
                </a:cxn>
                <a:cxn ang="0">
                  <a:pos x="6" y="45"/>
                </a:cxn>
                <a:cxn ang="0">
                  <a:pos x="3" y="40"/>
                </a:cxn>
                <a:cxn ang="0">
                  <a:pos x="1" y="35"/>
                </a:cxn>
                <a:cxn ang="0">
                  <a:pos x="0" y="30"/>
                </a:cxn>
                <a:cxn ang="0">
                  <a:pos x="0" y="25"/>
                </a:cxn>
                <a:cxn ang="0">
                  <a:pos x="2" y="19"/>
                </a:cxn>
                <a:cxn ang="0">
                  <a:pos x="4" y="14"/>
                </a:cxn>
                <a:cxn ang="0">
                  <a:pos x="4" y="14"/>
                </a:cxn>
                <a:cxn ang="0">
                  <a:pos x="7" y="9"/>
                </a:cxn>
                <a:cxn ang="0">
                  <a:pos x="11" y="5"/>
                </a:cxn>
                <a:cxn ang="0">
                  <a:pos x="16" y="3"/>
                </a:cxn>
                <a:cxn ang="0">
                  <a:pos x="21" y="1"/>
                </a:cxn>
                <a:cxn ang="0">
                  <a:pos x="27" y="0"/>
                </a:cxn>
                <a:cxn ang="0">
                  <a:pos x="32" y="0"/>
                </a:cxn>
                <a:cxn ang="0">
                  <a:pos x="37" y="1"/>
                </a:cxn>
                <a:cxn ang="0">
                  <a:pos x="42" y="4"/>
                </a:cxn>
                <a:cxn ang="0">
                  <a:pos x="42" y="4"/>
                </a:cxn>
                <a:cxn ang="0">
                  <a:pos x="47" y="7"/>
                </a:cxn>
                <a:cxn ang="0">
                  <a:pos x="51" y="11"/>
                </a:cxn>
                <a:cxn ang="0">
                  <a:pos x="53" y="15"/>
                </a:cxn>
                <a:cxn ang="0">
                  <a:pos x="55" y="20"/>
                </a:cxn>
                <a:cxn ang="0">
                  <a:pos x="56" y="26"/>
                </a:cxn>
                <a:cxn ang="0">
                  <a:pos x="56" y="32"/>
                </a:cxn>
                <a:cxn ang="0">
                  <a:pos x="55" y="37"/>
                </a:cxn>
                <a:cxn ang="0">
                  <a:pos x="52" y="42"/>
                </a:cxn>
                <a:cxn ang="0">
                  <a:pos x="52" y="42"/>
                </a:cxn>
              </a:cxnLst>
              <a:rect l="0" t="0" r="r" b="b"/>
              <a:pathLst>
                <a:path w="56" h="57">
                  <a:moveTo>
                    <a:pt x="52" y="42"/>
                  </a:moveTo>
                  <a:lnTo>
                    <a:pt x="52" y="42"/>
                  </a:lnTo>
                  <a:lnTo>
                    <a:pt x="49" y="47"/>
                  </a:lnTo>
                  <a:lnTo>
                    <a:pt x="45" y="50"/>
                  </a:lnTo>
                  <a:lnTo>
                    <a:pt x="41" y="53"/>
                  </a:lnTo>
                  <a:lnTo>
                    <a:pt x="36" y="55"/>
                  </a:lnTo>
                  <a:lnTo>
                    <a:pt x="31" y="57"/>
                  </a:lnTo>
                  <a:lnTo>
                    <a:pt x="25" y="57"/>
                  </a:lnTo>
                  <a:lnTo>
                    <a:pt x="19" y="54"/>
                  </a:lnTo>
                  <a:lnTo>
                    <a:pt x="14" y="52"/>
                  </a:lnTo>
                  <a:lnTo>
                    <a:pt x="14" y="52"/>
                  </a:lnTo>
                  <a:lnTo>
                    <a:pt x="9" y="49"/>
                  </a:lnTo>
                  <a:lnTo>
                    <a:pt x="6" y="45"/>
                  </a:lnTo>
                  <a:lnTo>
                    <a:pt x="3" y="40"/>
                  </a:lnTo>
                  <a:lnTo>
                    <a:pt x="1" y="35"/>
                  </a:lnTo>
                  <a:lnTo>
                    <a:pt x="0" y="30"/>
                  </a:lnTo>
                  <a:lnTo>
                    <a:pt x="0" y="25"/>
                  </a:lnTo>
                  <a:lnTo>
                    <a:pt x="2" y="19"/>
                  </a:lnTo>
                  <a:lnTo>
                    <a:pt x="4" y="14"/>
                  </a:lnTo>
                  <a:lnTo>
                    <a:pt x="4" y="14"/>
                  </a:lnTo>
                  <a:lnTo>
                    <a:pt x="7" y="9"/>
                  </a:lnTo>
                  <a:lnTo>
                    <a:pt x="11" y="5"/>
                  </a:lnTo>
                  <a:lnTo>
                    <a:pt x="16" y="3"/>
                  </a:lnTo>
                  <a:lnTo>
                    <a:pt x="21" y="1"/>
                  </a:lnTo>
                  <a:lnTo>
                    <a:pt x="27" y="0"/>
                  </a:lnTo>
                  <a:lnTo>
                    <a:pt x="32" y="0"/>
                  </a:lnTo>
                  <a:lnTo>
                    <a:pt x="37" y="1"/>
                  </a:lnTo>
                  <a:lnTo>
                    <a:pt x="42" y="4"/>
                  </a:lnTo>
                  <a:lnTo>
                    <a:pt x="42" y="4"/>
                  </a:lnTo>
                  <a:lnTo>
                    <a:pt x="47" y="7"/>
                  </a:lnTo>
                  <a:lnTo>
                    <a:pt x="51" y="11"/>
                  </a:lnTo>
                  <a:lnTo>
                    <a:pt x="53" y="15"/>
                  </a:lnTo>
                  <a:lnTo>
                    <a:pt x="55" y="20"/>
                  </a:lnTo>
                  <a:lnTo>
                    <a:pt x="56" y="26"/>
                  </a:lnTo>
                  <a:lnTo>
                    <a:pt x="56" y="32"/>
                  </a:lnTo>
                  <a:lnTo>
                    <a:pt x="55" y="37"/>
                  </a:lnTo>
                  <a:lnTo>
                    <a:pt x="52" y="42"/>
                  </a:lnTo>
                  <a:lnTo>
                    <a:pt x="52" y="42"/>
                  </a:lnTo>
                  <a:close/>
                </a:path>
              </a:pathLst>
            </a:custGeom>
            <a:solidFill>
              <a:srgbClr val="FFEED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9" name="Freeform 601">
              <a:extLst>
                <a:ext uri="{FF2B5EF4-FFF2-40B4-BE49-F238E27FC236}">
                  <a16:creationId xmlns:a16="http://schemas.microsoft.com/office/drawing/2014/main" id="{CE51E0DB-2465-DE41-30B2-DF3AB5ECC52F}"/>
                </a:ext>
              </a:extLst>
            </p:cNvPr>
            <p:cNvSpPr>
              <a:spLocks/>
            </p:cNvSpPr>
            <p:nvPr/>
          </p:nvSpPr>
          <p:spPr bwMode="auto">
            <a:xfrm>
              <a:off x="3595688" y="3505200"/>
              <a:ext cx="12700" cy="11112"/>
            </a:xfrm>
            <a:custGeom>
              <a:avLst/>
              <a:gdLst/>
              <a:ahLst/>
              <a:cxnLst>
                <a:cxn ang="0">
                  <a:pos x="52" y="43"/>
                </a:cxn>
                <a:cxn ang="0">
                  <a:pos x="52" y="43"/>
                </a:cxn>
                <a:cxn ang="0">
                  <a:pos x="49" y="48"/>
                </a:cxn>
                <a:cxn ang="0">
                  <a:pos x="45" y="51"/>
                </a:cxn>
                <a:cxn ang="0">
                  <a:pos x="41" y="54"/>
                </a:cxn>
                <a:cxn ang="0">
                  <a:pos x="36" y="56"/>
                </a:cxn>
                <a:cxn ang="0">
                  <a:pos x="30" y="57"/>
                </a:cxn>
                <a:cxn ang="0">
                  <a:pos x="24" y="57"/>
                </a:cxn>
                <a:cxn ang="0">
                  <a:pos x="19" y="55"/>
                </a:cxn>
                <a:cxn ang="0">
                  <a:pos x="14" y="53"/>
                </a:cxn>
                <a:cxn ang="0">
                  <a:pos x="14" y="53"/>
                </a:cxn>
                <a:cxn ang="0">
                  <a:pos x="9" y="50"/>
                </a:cxn>
                <a:cxn ang="0">
                  <a:pos x="6" y="46"/>
                </a:cxn>
                <a:cxn ang="0">
                  <a:pos x="3" y="41"/>
                </a:cxn>
                <a:cxn ang="0">
                  <a:pos x="1" y="35"/>
                </a:cxn>
                <a:cxn ang="0">
                  <a:pos x="0" y="30"/>
                </a:cxn>
                <a:cxn ang="0">
                  <a:pos x="0" y="25"/>
                </a:cxn>
                <a:cxn ang="0">
                  <a:pos x="2" y="20"/>
                </a:cxn>
                <a:cxn ang="0">
                  <a:pos x="4" y="15"/>
                </a:cxn>
                <a:cxn ang="0">
                  <a:pos x="4" y="15"/>
                </a:cxn>
                <a:cxn ang="0">
                  <a:pos x="7" y="10"/>
                </a:cxn>
                <a:cxn ang="0">
                  <a:pos x="11" y="6"/>
                </a:cxn>
                <a:cxn ang="0">
                  <a:pos x="16" y="3"/>
                </a:cxn>
                <a:cxn ang="0">
                  <a:pos x="21" y="1"/>
                </a:cxn>
                <a:cxn ang="0">
                  <a:pos x="26" y="0"/>
                </a:cxn>
                <a:cxn ang="0">
                  <a:pos x="31" y="0"/>
                </a:cxn>
                <a:cxn ang="0">
                  <a:pos x="37" y="1"/>
                </a:cxn>
                <a:cxn ang="0">
                  <a:pos x="42" y="5"/>
                </a:cxn>
                <a:cxn ang="0">
                  <a:pos x="42" y="5"/>
                </a:cxn>
                <a:cxn ang="0">
                  <a:pos x="47" y="8"/>
                </a:cxn>
                <a:cxn ang="0">
                  <a:pos x="51" y="12"/>
                </a:cxn>
                <a:cxn ang="0">
                  <a:pos x="53" y="16"/>
                </a:cxn>
                <a:cxn ang="0">
                  <a:pos x="55" y="21"/>
                </a:cxn>
                <a:cxn ang="0">
                  <a:pos x="56" y="26"/>
                </a:cxn>
                <a:cxn ang="0">
                  <a:pos x="56" y="32"/>
                </a:cxn>
                <a:cxn ang="0">
                  <a:pos x="55" y="37"/>
                </a:cxn>
                <a:cxn ang="0">
                  <a:pos x="52" y="43"/>
                </a:cxn>
              </a:cxnLst>
              <a:rect l="0" t="0" r="r" b="b"/>
              <a:pathLst>
                <a:path w="56" h="57">
                  <a:moveTo>
                    <a:pt x="52" y="43"/>
                  </a:moveTo>
                  <a:lnTo>
                    <a:pt x="52" y="43"/>
                  </a:lnTo>
                  <a:lnTo>
                    <a:pt x="49" y="48"/>
                  </a:lnTo>
                  <a:lnTo>
                    <a:pt x="45" y="51"/>
                  </a:lnTo>
                  <a:lnTo>
                    <a:pt x="41" y="54"/>
                  </a:lnTo>
                  <a:lnTo>
                    <a:pt x="36" y="56"/>
                  </a:lnTo>
                  <a:lnTo>
                    <a:pt x="30" y="57"/>
                  </a:lnTo>
                  <a:lnTo>
                    <a:pt x="24" y="57"/>
                  </a:lnTo>
                  <a:lnTo>
                    <a:pt x="19" y="55"/>
                  </a:lnTo>
                  <a:lnTo>
                    <a:pt x="14" y="53"/>
                  </a:lnTo>
                  <a:lnTo>
                    <a:pt x="14" y="53"/>
                  </a:lnTo>
                  <a:lnTo>
                    <a:pt x="9" y="50"/>
                  </a:lnTo>
                  <a:lnTo>
                    <a:pt x="6" y="46"/>
                  </a:lnTo>
                  <a:lnTo>
                    <a:pt x="3" y="41"/>
                  </a:lnTo>
                  <a:lnTo>
                    <a:pt x="1" y="35"/>
                  </a:lnTo>
                  <a:lnTo>
                    <a:pt x="0" y="30"/>
                  </a:lnTo>
                  <a:lnTo>
                    <a:pt x="0" y="25"/>
                  </a:lnTo>
                  <a:lnTo>
                    <a:pt x="2" y="20"/>
                  </a:lnTo>
                  <a:lnTo>
                    <a:pt x="4" y="15"/>
                  </a:lnTo>
                  <a:lnTo>
                    <a:pt x="4" y="15"/>
                  </a:lnTo>
                  <a:lnTo>
                    <a:pt x="7" y="10"/>
                  </a:lnTo>
                  <a:lnTo>
                    <a:pt x="11" y="6"/>
                  </a:lnTo>
                  <a:lnTo>
                    <a:pt x="16" y="3"/>
                  </a:lnTo>
                  <a:lnTo>
                    <a:pt x="21" y="1"/>
                  </a:lnTo>
                  <a:lnTo>
                    <a:pt x="26" y="0"/>
                  </a:lnTo>
                  <a:lnTo>
                    <a:pt x="31" y="0"/>
                  </a:lnTo>
                  <a:lnTo>
                    <a:pt x="37" y="1"/>
                  </a:lnTo>
                  <a:lnTo>
                    <a:pt x="42" y="5"/>
                  </a:lnTo>
                  <a:lnTo>
                    <a:pt x="42" y="5"/>
                  </a:lnTo>
                  <a:lnTo>
                    <a:pt x="47" y="8"/>
                  </a:lnTo>
                  <a:lnTo>
                    <a:pt x="51" y="12"/>
                  </a:lnTo>
                  <a:lnTo>
                    <a:pt x="53" y="16"/>
                  </a:lnTo>
                  <a:lnTo>
                    <a:pt x="55" y="21"/>
                  </a:lnTo>
                  <a:lnTo>
                    <a:pt x="56" y="26"/>
                  </a:lnTo>
                  <a:lnTo>
                    <a:pt x="56" y="32"/>
                  </a:lnTo>
                  <a:lnTo>
                    <a:pt x="55" y="37"/>
                  </a:lnTo>
                  <a:lnTo>
                    <a:pt x="52" y="43"/>
                  </a:lnTo>
                  <a:close/>
                </a:path>
              </a:pathLst>
            </a:custGeom>
            <a:solidFill>
              <a:srgbClr val="FFEED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0" name="Freeform 602">
              <a:extLst>
                <a:ext uri="{FF2B5EF4-FFF2-40B4-BE49-F238E27FC236}">
                  <a16:creationId xmlns:a16="http://schemas.microsoft.com/office/drawing/2014/main" id="{620A4306-DF75-D998-6BD5-A64656E35E94}"/>
                </a:ext>
              </a:extLst>
            </p:cNvPr>
            <p:cNvSpPr>
              <a:spLocks/>
            </p:cNvSpPr>
            <p:nvPr/>
          </p:nvSpPr>
          <p:spPr bwMode="auto">
            <a:xfrm>
              <a:off x="3595688" y="3505200"/>
              <a:ext cx="12700" cy="11112"/>
            </a:xfrm>
            <a:custGeom>
              <a:avLst/>
              <a:gdLst/>
              <a:ahLst/>
              <a:cxnLst>
                <a:cxn ang="0">
                  <a:pos x="52" y="43"/>
                </a:cxn>
                <a:cxn ang="0">
                  <a:pos x="52" y="43"/>
                </a:cxn>
                <a:cxn ang="0">
                  <a:pos x="49" y="48"/>
                </a:cxn>
                <a:cxn ang="0">
                  <a:pos x="45" y="51"/>
                </a:cxn>
                <a:cxn ang="0">
                  <a:pos x="41" y="54"/>
                </a:cxn>
                <a:cxn ang="0">
                  <a:pos x="36" y="56"/>
                </a:cxn>
                <a:cxn ang="0">
                  <a:pos x="30" y="57"/>
                </a:cxn>
                <a:cxn ang="0">
                  <a:pos x="24" y="57"/>
                </a:cxn>
                <a:cxn ang="0">
                  <a:pos x="19" y="55"/>
                </a:cxn>
                <a:cxn ang="0">
                  <a:pos x="14" y="53"/>
                </a:cxn>
                <a:cxn ang="0">
                  <a:pos x="14" y="53"/>
                </a:cxn>
                <a:cxn ang="0">
                  <a:pos x="9" y="50"/>
                </a:cxn>
                <a:cxn ang="0">
                  <a:pos x="6" y="46"/>
                </a:cxn>
                <a:cxn ang="0">
                  <a:pos x="3" y="41"/>
                </a:cxn>
                <a:cxn ang="0">
                  <a:pos x="1" y="35"/>
                </a:cxn>
                <a:cxn ang="0">
                  <a:pos x="0" y="30"/>
                </a:cxn>
                <a:cxn ang="0">
                  <a:pos x="0" y="25"/>
                </a:cxn>
                <a:cxn ang="0">
                  <a:pos x="2" y="20"/>
                </a:cxn>
                <a:cxn ang="0">
                  <a:pos x="4" y="15"/>
                </a:cxn>
                <a:cxn ang="0">
                  <a:pos x="4" y="15"/>
                </a:cxn>
                <a:cxn ang="0">
                  <a:pos x="7" y="10"/>
                </a:cxn>
                <a:cxn ang="0">
                  <a:pos x="11" y="6"/>
                </a:cxn>
                <a:cxn ang="0">
                  <a:pos x="16" y="3"/>
                </a:cxn>
                <a:cxn ang="0">
                  <a:pos x="21" y="1"/>
                </a:cxn>
                <a:cxn ang="0">
                  <a:pos x="26" y="0"/>
                </a:cxn>
                <a:cxn ang="0">
                  <a:pos x="31" y="0"/>
                </a:cxn>
                <a:cxn ang="0">
                  <a:pos x="37" y="1"/>
                </a:cxn>
                <a:cxn ang="0">
                  <a:pos x="42" y="5"/>
                </a:cxn>
                <a:cxn ang="0">
                  <a:pos x="42" y="5"/>
                </a:cxn>
                <a:cxn ang="0">
                  <a:pos x="47" y="8"/>
                </a:cxn>
                <a:cxn ang="0">
                  <a:pos x="51" y="12"/>
                </a:cxn>
                <a:cxn ang="0">
                  <a:pos x="53" y="16"/>
                </a:cxn>
                <a:cxn ang="0">
                  <a:pos x="55" y="21"/>
                </a:cxn>
                <a:cxn ang="0">
                  <a:pos x="56" y="26"/>
                </a:cxn>
                <a:cxn ang="0">
                  <a:pos x="56" y="32"/>
                </a:cxn>
                <a:cxn ang="0">
                  <a:pos x="55" y="37"/>
                </a:cxn>
                <a:cxn ang="0">
                  <a:pos x="52" y="43"/>
                </a:cxn>
              </a:cxnLst>
              <a:rect l="0" t="0" r="r" b="b"/>
              <a:pathLst>
                <a:path w="56" h="57">
                  <a:moveTo>
                    <a:pt x="52" y="43"/>
                  </a:moveTo>
                  <a:lnTo>
                    <a:pt x="52" y="43"/>
                  </a:lnTo>
                  <a:lnTo>
                    <a:pt x="49" y="48"/>
                  </a:lnTo>
                  <a:lnTo>
                    <a:pt x="45" y="51"/>
                  </a:lnTo>
                  <a:lnTo>
                    <a:pt x="41" y="54"/>
                  </a:lnTo>
                  <a:lnTo>
                    <a:pt x="36" y="56"/>
                  </a:lnTo>
                  <a:lnTo>
                    <a:pt x="30" y="57"/>
                  </a:lnTo>
                  <a:lnTo>
                    <a:pt x="24" y="57"/>
                  </a:lnTo>
                  <a:lnTo>
                    <a:pt x="19" y="55"/>
                  </a:lnTo>
                  <a:lnTo>
                    <a:pt x="14" y="53"/>
                  </a:lnTo>
                  <a:lnTo>
                    <a:pt x="14" y="53"/>
                  </a:lnTo>
                  <a:lnTo>
                    <a:pt x="9" y="50"/>
                  </a:lnTo>
                  <a:lnTo>
                    <a:pt x="6" y="46"/>
                  </a:lnTo>
                  <a:lnTo>
                    <a:pt x="3" y="41"/>
                  </a:lnTo>
                  <a:lnTo>
                    <a:pt x="1" y="35"/>
                  </a:lnTo>
                  <a:lnTo>
                    <a:pt x="0" y="30"/>
                  </a:lnTo>
                  <a:lnTo>
                    <a:pt x="0" y="25"/>
                  </a:lnTo>
                  <a:lnTo>
                    <a:pt x="2" y="20"/>
                  </a:lnTo>
                  <a:lnTo>
                    <a:pt x="4" y="15"/>
                  </a:lnTo>
                  <a:lnTo>
                    <a:pt x="4" y="15"/>
                  </a:lnTo>
                  <a:lnTo>
                    <a:pt x="7" y="10"/>
                  </a:lnTo>
                  <a:lnTo>
                    <a:pt x="11" y="6"/>
                  </a:lnTo>
                  <a:lnTo>
                    <a:pt x="16" y="3"/>
                  </a:lnTo>
                  <a:lnTo>
                    <a:pt x="21" y="1"/>
                  </a:lnTo>
                  <a:lnTo>
                    <a:pt x="26" y="0"/>
                  </a:lnTo>
                  <a:lnTo>
                    <a:pt x="31" y="0"/>
                  </a:lnTo>
                  <a:lnTo>
                    <a:pt x="37" y="1"/>
                  </a:lnTo>
                  <a:lnTo>
                    <a:pt x="42" y="5"/>
                  </a:lnTo>
                  <a:lnTo>
                    <a:pt x="42" y="5"/>
                  </a:lnTo>
                  <a:lnTo>
                    <a:pt x="47" y="8"/>
                  </a:lnTo>
                  <a:lnTo>
                    <a:pt x="51" y="12"/>
                  </a:lnTo>
                  <a:lnTo>
                    <a:pt x="53" y="16"/>
                  </a:lnTo>
                  <a:lnTo>
                    <a:pt x="55" y="21"/>
                  </a:lnTo>
                  <a:lnTo>
                    <a:pt x="56" y="26"/>
                  </a:lnTo>
                  <a:lnTo>
                    <a:pt x="56" y="32"/>
                  </a:lnTo>
                  <a:lnTo>
                    <a:pt x="55" y="37"/>
                  </a:lnTo>
                  <a:lnTo>
                    <a:pt x="52" y="43"/>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 name="Freeform 603">
              <a:extLst>
                <a:ext uri="{FF2B5EF4-FFF2-40B4-BE49-F238E27FC236}">
                  <a16:creationId xmlns:a16="http://schemas.microsoft.com/office/drawing/2014/main" id="{1E4127E9-54A3-7C31-8913-9A80826F2A36}"/>
                </a:ext>
              </a:extLst>
            </p:cNvPr>
            <p:cNvSpPr>
              <a:spLocks/>
            </p:cNvSpPr>
            <p:nvPr/>
          </p:nvSpPr>
          <p:spPr bwMode="auto">
            <a:xfrm>
              <a:off x="3841751" y="3440112"/>
              <a:ext cx="11113" cy="11112"/>
            </a:xfrm>
            <a:custGeom>
              <a:avLst/>
              <a:gdLst/>
              <a:ahLst/>
              <a:cxnLst>
                <a:cxn ang="0">
                  <a:pos x="53" y="43"/>
                </a:cxn>
                <a:cxn ang="0">
                  <a:pos x="53" y="43"/>
                </a:cxn>
                <a:cxn ang="0">
                  <a:pos x="50" y="47"/>
                </a:cxn>
                <a:cxn ang="0">
                  <a:pos x="45" y="51"/>
                </a:cxn>
                <a:cxn ang="0">
                  <a:pos x="41" y="53"/>
                </a:cxn>
                <a:cxn ang="0">
                  <a:pos x="36" y="55"/>
                </a:cxn>
                <a:cxn ang="0">
                  <a:pos x="31" y="56"/>
                </a:cxn>
                <a:cxn ang="0">
                  <a:pos x="25" y="56"/>
                </a:cxn>
                <a:cxn ang="0">
                  <a:pos x="20" y="55"/>
                </a:cxn>
                <a:cxn ang="0">
                  <a:pos x="14" y="53"/>
                </a:cxn>
                <a:cxn ang="0">
                  <a:pos x="14" y="53"/>
                </a:cxn>
                <a:cxn ang="0">
                  <a:pos x="9" y="49"/>
                </a:cxn>
                <a:cxn ang="0">
                  <a:pos x="6" y="45"/>
                </a:cxn>
                <a:cxn ang="0">
                  <a:pos x="3" y="41"/>
                </a:cxn>
                <a:cxn ang="0">
                  <a:pos x="1" y="36"/>
                </a:cxn>
                <a:cxn ang="0">
                  <a:pos x="0" y="31"/>
                </a:cxn>
                <a:cxn ang="0">
                  <a:pos x="0" y="24"/>
                </a:cxn>
                <a:cxn ang="0">
                  <a:pos x="2" y="19"/>
                </a:cxn>
                <a:cxn ang="0">
                  <a:pos x="4" y="14"/>
                </a:cxn>
                <a:cxn ang="0">
                  <a:pos x="4" y="14"/>
                </a:cxn>
                <a:cxn ang="0">
                  <a:pos x="7" y="10"/>
                </a:cxn>
                <a:cxn ang="0">
                  <a:pos x="11" y="6"/>
                </a:cxn>
                <a:cxn ang="0">
                  <a:pos x="17" y="3"/>
                </a:cxn>
                <a:cxn ang="0">
                  <a:pos x="22" y="1"/>
                </a:cxn>
                <a:cxn ang="0">
                  <a:pos x="27" y="0"/>
                </a:cxn>
                <a:cxn ang="0">
                  <a:pos x="32" y="1"/>
                </a:cxn>
                <a:cxn ang="0">
                  <a:pos x="37" y="2"/>
                </a:cxn>
                <a:cxn ang="0">
                  <a:pos x="42" y="4"/>
                </a:cxn>
                <a:cxn ang="0">
                  <a:pos x="42" y="4"/>
                </a:cxn>
                <a:cxn ang="0">
                  <a:pos x="47" y="7"/>
                </a:cxn>
                <a:cxn ang="0">
                  <a:pos x="52" y="11"/>
                </a:cxn>
                <a:cxn ang="0">
                  <a:pos x="54" y="16"/>
                </a:cxn>
                <a:cxn ang="0">
                  <a:pos x="56" y="21"/>
                </a:cxn>
                <a:cxn ang="0">
                  <a:pos x="57" y="26"/>
                </a:cxn>
                <a:cxn ang="0">
                  <a:pos x="57" y="32"/>
                </a:cxn>
                <a:cxn ang="0">
                  <a:pos x="56" y="37"/>
                </a:cxn>
                <a:cxn ang="0">
                  <a:pos x="53" y="43"/>
                </a:cxn>
                <a:cxn ang="0">
                  <a:pos x="53" y="43"/>
                </a:cxn>
              </a:cxnLst>
              <a:rect l="0" t="0" r="r" b="b"/>
              <a:pathLst>
                <a:path w="57" h="56">
                  <a:moveTo>
                    <a:pt x="53" y="43"/>
                  </a:moveTo>
                  <a:lnTo>
                    <a:pt x="53" y="43"/>
                  </a:lnTo>
                  <a:lnTo>
                    <a:pt x="50" y="47"/>
                  </a:lnTo>
                  <a:lnTo>
                    <a:pt x="45" y="51"/>
                  </a:lnTo>
                  <a:lnTo>
                    <a:pt x="41" y="53"/>
                  </a:lnTo>
                  <a:lnTo>
                    <a:pt x="36" y="55"/>
                  </a:lnTo>
                  <a:lnTo>
                    <a:pt x="31" y="56"/>
                  </a:lnTo>
                  <a:lnTo>
                    <a:pt x="25" y="56"/>
                  </a:lnTo>
                  <a:lnTo>
                    <a:pt x="20" y="55"/>
                  </a:lnTo>
                  <a:lnTo>
                    <a:pt x="14" y="53"/>
                  </a:lnTo>
                  <a:lnTo>
                    <a:pt x="14" y="53"/>
                  </a:lnTo>
                  <a:lnTo>
                    <a:pt x="9" y="49"/>
                  </a:lnTo>
                  <a:lnTo>
                    <a:pt x="6" y="45"/>
                  </a:lnTo>
                  <a:lnTo>
                    <a:pt x="3" y="41"/>
                  </a:lnTo>
                  <a:lnTo>
                    <a:pt x="1" y="36"/>
                  </a:lnTo>
                  <a:lnTo>
                    <a:pt x="0" y="31"/>
                  </a:lnTo>
                  <a:lnTo>
                    <a:pt x="0" y="24"/>
                  </a:lnTo>
                  <a:lnTo>
                    <a:pt x="2" y="19"/>
                  </a:lnTo>
                  <a:lnTo>
                    <a:pt x="4" y="14"/>
                  </a:lnTo>
                  <a:lnTo>
                    <a:pt x="4" y="14"/>
                  </a:lnTo>
                  <a:lnTo>
                    <a:pt x="7" y="10"/>
                  </a:lnTo>
                  <a:lnTo>
                    <a:pt x="11" y="6"/>
                  </a:lnTo>
                  <a:lnTo>
                    <a:pt x="17" y="3"/>
                  </a:lnTo>
                  <a:lnTo>
                    <a:pt x="22" y="1"/>
                  </a:lnTo>
                  <a:lnTo>
                    <a:pt x="27" y="0"/>
                  </a:lnTo>
                  <a:lnTo>
                    <a:pt x="32" y="1"/>
                  </a:lnTo>
                  <a:lnTo>
                    <a:pt x="37" y="2"/>
                  </a:lnTo>
                  <a:lnTo>
                    <a:pt x="42" y="4"/>
                  </a:lnTo>
                  <a:lnTo>
                    <a:pt x="42" y="4"/>
                  </a:lnTo>
                  <a:lnTo>
                    <a:pt x="47" y="7"/>
                  </a:lnTo>
                  <a:lnTo>
                    <a:pt x="52" y="11"/>
                  </a:lnTo>
                  <a:lnTo>
                    <a:pt x="54" y="16"/>
                  </a:lnTo>
                  <a:lnTo>
                    <a:pt x="56" y="21"/>
                  </a:lnTo>
                  <a:lnTo>
                    <a:pt x="57" y="26"/>
                  </a:lnTo>
                  <a:lnTo>
                    <a:pt x="57" y="32"/>
                  </a:lnTo>
                  <a:lnTo>
                    <a:pt x="56" y="37"/>
                  </a:lnTo>
                  <a:lnTo>
                    <a:pt x="53" y="43"/>
                  </a:lnTo>
                  <a:lnTo>
                    <a:pt x="53" y="43"/>
                  </a:lnTo>
                  <a:close/>
                </a:path>
              </a:pathLst>
            </a:custGeom>
            <a:solidFill>
              <a:srgbClr val="FFEED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2" name="Freeform 604">
              <a:extLst>
                <a:ext uri="{FF2B5EF4-FFF2-40B4-BE49-F238E27FC236}">
                  <a16:creationId xmlns:a16="http://schemas.microsoft.com/office/drawing/2014/main" id="{7A3F08B9-AABB-DB39-E7E0-7C6FEB7E0010}"/>
                </a:ext>
              </a:extLst>
            </p:cNvPr>
            <p:cNvSpPr>
              <a:spLocks/>
            </p:cNvSpPr>
            <p:nvPr/>
          </p:nvSpPr>
          <p:spPr bwMode="auto">
            <a:xfrm>
              <a:off x="3662363" y="3751262"/>
              <a:ext cx="11113" cy="11112"/>
            </a:xfrm>
            <a:custGeom>
              <a:avLst/>
              <a:gdLst/>
              <a:ahLst/>
              <a:cxnLst>
                <a:cxn ang="0">
                  <a:pos x="53" y="42"/>
                </a:cxn>
                <a:cxn ang="0">
                  <a:pos x="53" y="42"/>
                </a:cxn>
                <a:cxn ang="0">
                  <a:pos x="50" y="47"/>
                </a:cxn>
                <a:cxn ang="0">
                  <a:pos x="46" y="50"/>
                </a:cxn>
                <a:cxn ang="0">
                  <a:pos x="41" y="53"/>
                </a:cxn>
                <a:cxn ang="0">
                  <a:pos x="35" y="55"/>
                </a:cxn>
                <a:cxn ang="0">
                  <a:pos x="30" y="56"/>
                </a:cxn>
                <a:cxn ang="0">
                  <a:pos x="25" y="56"/>
                </a:cxn>
                <a:cxn ang="0">
                  <a:pos x="20" y="54"/>
                </a:cxn>
                <a:cxn ang="0">
                  <a:pos x="14" y="52"/>
                </a:cxn>
                <a:cxn ang="0">
                  <a:pos x="14" y="52"/>
                </a:cxn>
                <a:cxn ang="0">
                  <a:pos x="10" y="49"/>
                </a:cxn>
                <a:cxn ang="0">
                  <a:pos x="5" y="45"/>
                </a:cxn>
                <a:cxn ang="0">
                  <a:pos x="3" y="40"/>
                </a:cxn>
                <a:cxn ang="0">
                  <a:pos x="1" y="35"/>
                </a:cxn>
                <a:cxn ang="0">
                  <a:pos x="0" y="29"/>
                </a:cxn>
                <a:cxn ang="0">
                  <a:pos x="0" y="24"/>
                </a:cxn>
                <a:cxn ang="0">
                  <a:pos x="1" y="19"/>
                </a:cxn>
                <a:cxn ang="0">
                  <a:pos x="3" y="14"/>
                </a:cxn>
                <a:cxn ang="0">
                  <a:pos x="3" y="14"/>
                </a:cxn>
                <a:cxn ang="0">
                  <a:pos x="8" y="9"/>
                </a:cxn>
                <a:cxn ang="0">
                  <a:pos x="12" y="5"/>
                </a:cxn>
                <a:cxn ang="0">
                  <a:pos x="16" y="3"/>
                </a:cxn>
                <a:cxn ang="0">
                  <a:pos x="21" y="1"/>
                </a:cxn>
                <a:cxn ang="0">
                  <a:pos x="26" y="0"/>
                </a:cxn>
                <a:cxn ang="0">
                  <a:pos x="32" y="0"/>
                </a:cxn>
                <a:cxn ang="0">
                  <a:pos x="37" y="1"/>
                </a:cxn>
                <a:cxn ang="0">
                  <a:pos x="43" y="4"/>
                </a:cxn>
                <a:cxn ang="0">
                  <a:pos x="43" y="4"/>
                </a:cxn>
                <a:cxn ang="0">
                  <a:pos x="47" y="7"/>
                </a:cxn>
                <a:cxn ang="0">
                  <a:pos x="51" y="11"/>
                </a:cxn>
                <a:cxn ang="0">
                  <a:pos x="54" y="15"/>
                </a:cxn>
                <a:cxn ang="0">
                  <a:pos x="56" y="20"/>
                </a:cxn>
                <a:cxn ang="0">
                  <a:pos x="57" y="25"/>
                </a:cxn>
                <a:cxn ang="0">
                  <a:pos x="56" y="32"/>
                </a:cxn>
                <a:cxn ang="0">
                  <a:pos x="55" y="37"/>
                </a:cxn>
                <a:cxn ang="0">
                  <a:pos x="53" y="42"/>
                </a:cxn>
              </a:cxnLst>
              <a:rect l="0" t="0" r="r" b="b"/>
              <a:pathLst>
                <a:path w="57" h="56">
                  <a:moveTo>
                    <a:pt x="53" y="42"/>
                  </a:moveTo>
                  <a:lnTo>
                    <a:pt x="53" y="42"/>
                  </a:lnTo>
                  <a:lnTo>
                    <a:pt x="50" y="47"/>
                  </a:lnTo>
                  <a:lnTo>
                    <a:pt x="46" y="50"/>
                  </a:lnTo>
                  <a:lnTo>
                    <a:pt x="41" y="53"/>
                  </a:lnTo>
                  <a:lnTo>
                    <a:pt x="35" y="55"/>
                  </a:lnTo>
                  <a:lnTo>
                    <a:pt x="30" y="56"/>
                  </a:lnTo>
                  <a:lnTo>
                    <a:pt x="25" y="56"/>
                  </a:lnTo>
                  <a:lnTo>
                    <a:pt x="20" y="54"/>
                  </a:lnTo>
                  <a:lnTo>
                    <a:pt x="14" y="52"/>
                  </a:lnTo>
                  <a:lnTo>
                    <a:pt x="14" y="52"/>
                  </a:lnTo>
                  <a:lnTo>
                    <a:pt x="10" y="49"/>
                  </a:lnTo>
                  <a:lnTo>
                    <a:pt x="5" y="45"/>
                  </a:lnTo>
                  <a:lnTo>
                    <a:pt x="3" y="40"/>
                  </a:lnTo>
                  <a:lnTo>
                    <a:pt x="1" y="35"/>
                  </a:lnTo>
                  <a:lnTo>
                    <a:pt x="0" y="29"/>
                  </a:lnTo>
                  <a:lnTo>
                    <a:pt x="0" y="24"/>
                  </a:lnTo>
                  <a:lnTo>
                    <a:pt x="1" y="19"/>
                  </a:lnTo>
                  <a:lnTo>
                    <a:pt x="3" y="14"/>
                  </a:lnTo>
                  <a:lnTo>
                    <a:pt x="3" y="14"/>
                  </a:lnTo>
                  <a:lnTo>
                    <a:pt x="8" y="9"/>
                  </a:lnTo>
                  <a:lnTo>
                    <a:pt x="12" y="5"/>
                  </a:lnTo>
                  <a:lnTo>
                    <a:pt x="16" y="3"/>
                  </a:lnTo>
                  <a:lnTo>
                    <a:pt x="21" y="1"/>
                  </a:lnTo>
                  <a:lnTo>
                    <a:pt x="26" y="0"/>
                  </a:lnTo>
                  <a:lnTo>
                    <a:pt x="32" y="0"/>
                  </a:lnTo>
                  <a:lnTo>
                    <a:pt x="37" y="1"/>
                  </a:lnTo>
                  <a:lnTo>
                    <a:pt x="43" y="4"/>
                  </a:lnTo>
                  <a:lnTo>
                    <a:pt x="43" y="4"/>
                  </a:lnTo>
                  <a:lnTo>
                    <a:pt x="47" y="7"/>
                  </a:lnTo>
                  <a:lnTo>
                    <a:pt x="51" y="11"/>
                  </a:lnTo>
                  <a:lnTo>
                    <a:pt x="54" y="15"/>
                  </a:lnTo>
                  <a:lnTo>
                    <a:pt x="56" y="20"/>
                  </a:lnTo>
                  <a:lnTo>
                    <a:pt x="57" y="25"/>
                  </a:lnTo>
                  <a:lnTo>
                    <a:pt x="56" y="32"/>
                  </a:lnTo>
                  <a:lnTo>
                    <a:pt x="55" y="37"/>
                  </a:lnTo>
                  <a:lnTo>
                    <a:pt x="53" y="42"/>
                  </a:lnTo>
                  <a:close/>
                </a:path>
              </a:pathLst>
            </a:custGeom>
            <a:solidFill>
              <a:srgbClr val="FFEED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3" name="Freeform 605">
              <a:extLst>
                <a:ext uri="{FF2B5EF4-FFF2-40B4-BE49-F238E27FC236}">
                  <a16:creationId xmlns:a16="http://schemas.microsoft.com/office/drawing/2014/main" id="{F010B93E-1654-D9B5-42A9-B152EC1B3CBB}"/>
                </a:ext>
              </a:extLst>
            </p:cNvPr>
            <p:cNvSpPr>
              <a:spLocks/>
            </p:cNvSpPr>
            <p:nvPr/>
          </p:nvSpPr>
          <p:spPr bwMode="auto">
            <a:xfrm>
              <a:off x="3662363" y="3751262"/>
              <a:ext cx="11113" cy="11112"/>
            </a:xfrm>
            <a:custGeom>
              <a:avLst/>
              <a:gdLst/>
              <a:ahLst/>
              <a:cxnLst>
                <a:cxn ang="0">
                  <a:pos x="53" y="42"/>
                </a:cxn>
                <a:cxn ang="0">
                  <a:pos x="53" y="42"/>
                </a:cxn>
                <a:cxn ang="0">
                  <a:pos x="50" y="47"/>
                </a:cxn>
                <a:cxn ang="0">
                  <a:pos x="46" y="50"/>
                </a:cxn>
                <a:cxn ang="0">
                  <a:pos x="41" y="53"/>
                </a:cxn>
                <a:cxn ang="0">
                  <a:pos x="35" y="55"/>
                </a:cxn>
                <a:cxn ang="0">
                  <a:pos x="30" y="56"/>
                </a:cxn>
                <a:cxn ang="0">
                  <a:pos x="25" y="56"/>
                </a:cxn>
                <a:cxn ang="0">
                  <a:pos x="20" y="54"/>
                </a:cxn>
                <a:cxn ang="0">
                  <a:pos x="14" y="52"/>
                </a:cxn>
                <a:cxn ang="0">
                  <a:pos x="14" y="52"/>
                </a:cxn>
                <a:cxn ang="0">
                  <a:pos x="10" y="49"/>
                </a:cxn>
                <a:cxn ang="0">
                  <a:pos x="5" y="45"/>
                </a:cxn>
                <a:cxn ang="0">
                  <a:pos x="3" y="40"/>
                </a:cxn>
                <a:cxn ang="0">
                  <a:pos x="1" y="35"/>
                </a:cxn>
                <a:cxn ang="0">
                  <a:pos x="0" y="29"/>
                </a:cxn>
                <a:cxn ang="0">
                  <a:pos x="0" y="24"/>
                </a:cxn>
                <a:cxn ang="0">
                  <a:pos x="1" y="19"/>
                </a:cxn>
                <a:cxn ang="0">
                  <a:pos x="3" y="14"/>
                </a:cxn>
                <a:cxn ang="0">
                  <a:pos x="3" y="14"/>
                </a:cxn>
                <a:cxn ang="0">
                  <a:pos x="8" y="9"/>
                </a:cxn>
                <a:cxn ang="0">
                  <a:pos x="12" y="5"/>
                </a:cxn>
                <a:cxn ang="0">
                  <a:pos x="16" y="3"/>
                </a:cxn>
                <a:cxn ang="0">
                  <a:pos x="21" y="1"/>
                </a:cxn>
                <a:cxn ang="0">
                  <a:pos x="26" y="0"/>
                </a:cxn>
                <a:cxn ang="0">
                  <a:pos x="32" y="0"/>
                </a:cxn>
                <a:cxn ang="0">
                  <a:pos x="37" y="1"/>
                </a:cxn>
                <a:cxn ang="0">
                  <a:pos x="43" y="4"/>
                </a:cxn>
                <a:cxn ang="0">
                  <a:pos x="43" y="4"/>
                </a:cxn>
                <a:cxn ang="0">
                  <a:pos x="47" y="7"/>
                </a:cxn>
                <a:cxn ang="0">
                  <a:pos x="51" y="11"/>
                </a:cxn>
                <a:cxn ang="0">
                  <a:pos x="54" y="15"/>
                </a:cxn>
                <a:cxn ang="0">
                  <a:pos x="56" y="20"/>
                </a:cxn>
                <a:cxn ang="0">
                  <a:pos x="57" y="25"/>
                </a:cxn>
                <a:cxn ang="0">
                  <a:pos x="56" y="32"/>
                </a:cxn>
                <a:cxn ang="0">
                  <a:pos x="55" y="37"/>
                </a:cxn>
                <a:cxn ang="0">
                  <a:pos x="53" y="42"/>
                </a:cxn>
              </a:cxnLst>
              <a:rect l="0" t="0" r="r" b="b"/>
              <a:pathLst>
                <a:path w="57" h="56">
                  <a:moveTo>
                    <a:pt x="53" y="42"/>
                  </a:moveTo>
                  <a:lnTo>
                    <a:pt x="53" y="42"/>
                  </a:lnTo>
                  <a:lnTo>
                    <a:pt x="50" y="47"/>
                  </a:lnTo>
                  <a:lnTo>
                    <a:pt x="46" y="50"/>
                  </a:lnTo>
                  <a:lnTo>
                    <a:pt x="41" y="53"/>
                  </a:lnTo>
                  <a:lnTo>
                    <a:pt x="35" y="55"/>
                  </a:lnTo>
                  <a:lnTo>
                    <a:pt x="30" y="56"/>
                  </a:lnTo>
                  <a:lnTo>
                    <a:pt x="25" y="56"/>
                  </a:lnTo>
                  <a:lnTo>
                    <a:pt x="20" y="54"/>
                  </a:lnTo>
                  <a:lnTo>
                    <a:pt x="14" y="52"/>
                  </a:lnTo>
                  <a:lnTo>
                    <a:pt x="14" y="52"/>
                  </a:lnTo>
                  <a:lnTo>
                    <a:pt x="10" y="49"/>
                  </a:lnTo>
                  <a:lnTo>
                    <a:pt x="5" y="45"/>
                  </a:lnTo>
                  <a:lnTo>
                    <a:pt x="3" y="40"/>
                  </a:lnTo>
                  <a:lnTo>
                    <a:pt x="1" y="35"/>
                  </a:lnTo>
                  <a:lnTo>
                    <a:pt x="0" y="29"/>
                  </a:lnTo>
                  <a:lnTo>
                    <a:pt x="0" y="24"/>
                  </a:lnTo>
                  <a:lnTo>
                    <a:pt x="1" y="19"/>
                  </a:lnTo>
                  <a:lnTo>
                    <a:pt x="3" y="14"/>
                  </a:lnTo>
                  <a:lnTo>
                    <a:pt x="3" y="14"/>
                  </a:lnTo>
                  <a:lnTo>
                    <a:pt x="8" y="9"/>
                  </a:lnTo>
                  <a:lnTo>
                    <a:pt x="12" y="5"/>
                  </a:lnTo>
                  <a:lnTo>
                    <a:pt x="16" y="3"/>
                  </a:lnTo>
                  <a:lnTo>
                    <a:pt x="21" y="1"/>
                  </a:lnTo>
                  <a:lnTo>
                    <a:pt x="26" y="0"/>
                  </a:lnTo>
                  <a:lnTo>
                    <a:pt x="32" y="0"/>
                  </a:lnTo>
                  <a:lnTo>
                    <a:pt x="37" y="1"/>
                  </a:lnTo>
                  <a:lnTo>
                    <a:pt x="43" y="4"/>
                  </a:lnTo>
                  <a:lnTo>
                    <a:pt x="43" y="4"/>
                  </a:lnTo>
                  <a:lnTo>
                    <a:pt x="47" y="7"/>
                  </a:lnTo>
                  <a:lnTo>
                    <a:pt x="51" y="11"/>
                  </a:lnTo>
                  <a:lnTo>
                    <a:pt x="54" y="15"/>
                  </a:lnTo>
                  <a:lnTo>
                    <a:pt x="56" y="20"/>
                  </a:lnTo>
                  <a:lnTo>
                    <a:pt x="57" y="25"/>
                  </a:lnTo>
                  <a:lnTo>
                    <a:pt x="56" y="32"/>
                  </a:lnTo>
                  <a:lnTo>
                    <a:pt x="55" y="37"/>
                  </a:lnTo>
                  <a:lnTo>
                    <a:pt x="53" y="42"/>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4" name="Freeform 606">
              <a:extLst>
                <a:ext uri="{FF2B5EF4-FFF2-40B4-BE49-F238E27FC236}">
                  <a16:creationId xmlns:a16="http://schemas.microsoft.com/office/drawing/2014/main" id="{E784C30C-11FF-19D3-7BB0-E3BFC7767209}"/>
                </a:ext>
              </a:extLst>
            </p:cNvPr>
            <p:cNvSpPr>
              <a:spLocks/>
            </p:cNvSpPr>
            <p:nvPr/>
          </p:nvSpPr>
          <p:spPr bwMode="auto">
            <a:xfrm>
              <a:off x="3841751" y="3751262"/>
              <a:ext cx="11113" cy="11112"/>
            </a:xfrm>
            <a:custGeom>
              <a:avLst/>
              <a:gdLst/>
              <a:ahLst/>
              <a:cxnLst>
                <a:cxn ang="0">
                  <a:pos x="42" y="52"/>
                </a:cxn>
                <a:cxn ang="0">
                  <a:pos x="42" y="52"/>
                </a:cxn>
                <a:cxn ang="0">
                  <a:pos x="37" y="55"/>
                </a:cxn>
                <a:cxn ang="0">
                  <a:pos x="31" y="56"/>
                </a:cxn>
                <a:cxn ang="0">
                  <a:pos x="26" y="56"/>
                </a:cxn>
                <a:cxn ang="0">
                  <a:pos x="21" y="55"/>
                </a:cxn>
                <a:cxn ang="0">
                  <a:pos x="15" y="53"/>
                </a:cxn>
                <a:cxn ang="0">
                  <a:pos x="10" y="50"/>
                </a:cxn>
                <a:cxn ang="0">
                  <a:pos x="7" y="47"/>
                </a:cxn>
                <a:cxn ang="0">
                  <a:pos x="3" y="42"/>
                </a:cxn>
                <a:cxn ang="0">
                  <a:pos x="3" y="42"/>
                </a:cxn>
                <a:cxn ang="0">
                  <a:pos x="1" y="37"/>
                </a:cxn>
                <a:cxn ang="0">
                  <a:pos x="0" y="31"/>
                </a:cxn>
                <a:cxn ang="0">
                  <a:pos x="0" y="26"/>
                </a:cxn>
                <a:cxn ang="0">
                  <a:pos x="1" y="20"/>
                </a:cxn>
                <a:cxn ang="0">
                  <a:pos x="2" y="15"/>
                </a:cxn>
                <a:cxn ang="0">
                  <a:pos x="5" y="11"/>
                </a:cxn>
                <a:cxn ang="0">
                  <a:pos x="9" y="7"/>
                </a:cxn>
                <a:cxn ang="0">
                  <a:pos x="13" y="4"/>
                </a:cxn>
                <a:cxn ang="0">
                  <a:pos x="13" y="4"/>
                </a:cxn>
                <a:cxn ang="0">
                  <a:pos x="19" y="1"/>
                </a:cxn>
                <a:cxn ang="0">
                  <a:pos x="25" y="0"/>
                </a:cxn>
                <a:cxn ang="0">
                  <a:pos x="30" y="0"/>
                </a:cxn>
                <a:cxn ang="0">
                  <a:pos x="35" y="1"/>
                </a:cxn>
                <a:cxn ang="0">
                  <a:pos x="40" y="3"/>
                </a:cxn>
                <a:cxn ang="0">
                  <a:pos x="45" y="6"/>
                </a:cxn>
                <a:cxn ang="0">
                  <a:pos x="49" y="9"/>
                </a:cxn>
                <a:cxn ang="0">
                  <a:pos x="53" y="14"/>
                </a:cxn>
                <a:cxn ang="0">
                  <a:pos x="53" y="14"/>
                </a:cxn>
                <a:cxn ang="0">
                  <a:pos x="55" y="19"/>
                </a:cxn>
                <a:cxn ang="0">
                  <a:pos x="56" y="24"/>
                </a:cxn>
                <a:cxn ang="0">
                  <a:pos x="56" y="29"/>
                </a:cxn>
                <a:cxn ang="0">
                  <a:pos x="56" y="36"/>
                </a:cxn>
                <a:cxn ang="0">
                  <a:pos x="54" y="40"/>
                </a:cxn>
                <a:cxn ang="0">
                  <a:pos x="51" y="45"/>
                </a:cxn>
                <a:cxn ang="0">
                  <a:pos x="46" y="49"/>
                </a:cxn>
                <a:cxn ang="0">
                  <a:pos x="42" y="52"/>
                </a:cxn>
                <a:cxn ang="0">
                  <a:pos x="42" y="52"/>
                </a:cxn>
              </a:cxnLst>
              <a:rect l="0" t="0" r="r" b="b"/>
              <a:pathLst>
                <a:path w="56" h="56">
                  <a:moveTo>
                    <a:pt x="42" y="52"/>
                  </a:moveTo>
                  <a:lnTo>
                    <a:pt x="42" y="52"/>
                  </a:lnTo>
                  <a:lnTo>
                    <a:pt x="37" y="55"/>
                  </a:lnTo>
                  <a:lnTo>
                    <a:pt x="31" y="56"/>
                  </a:lnTo>
                  <a:lnTo>
                    <a:pt x="26" y="56"/>
                  </a:lnTo>
                  <a:lnTo>
                    <a:pt x="21" y="55"/>
                  </a:lnTo>
                  <a:lnTo>
                    <a:pt x="15" y="53"/>
                  </a:lnTo>
                  <a:lnTo>
                    <a:pt x="10" y="50"/>
                  </a:lnTo>
                  <a:lnTo>
                    <a:pt x="7" y="47"/>
                  </a:lnTo>
                  <a:lnTo>
                    <a:pt x="3" y="42"/>
                  </a:lnTo>
                  <a:lnTo>
                    <a:pt x="3" y="42"/>
                  </a:lnTo>
                  <a:lnTo>
                    <a:pt x="1" y="37"/>
                  </a:lnTo>
                  <a:lnTo>
                    <a:pt x="0" y="31"/>
                  </a:lnTo>
                  <a:lnTo>
                    <a:pt x="0" y="26"/>
                  </a:lnTo>
                  <a:lnTo>
                    <a:pt x="1" y="20"/>
                  </a:lnTo>
                  <a:lnTo>
                    <a:pt x="2" y="15"/>
                  </a:lnTo>
                  <a:lnTo>
                    <a:pt x="5" y="11"/>
                  </a:lnTo>
                  <a:lnTo>
                    <a:pt x="9" y="7"/>
                  </a:lnTo>
                  <a:lnTo>
                    <a:pt x="13" y="4"/>
                  </a:lnTo>
                  <a:lnTo>
                    <a:pt x="13" y="4"/>
                  </a:lnTo>
                  <a:lnTo>
                    <a:pt x="19" y="1"/>
                  </a:lnTo>
                  <a:lnTo>
                    <a:pt x="25" y="0"/>
                  </a:lnTo>
                  <a:lnTo>
                    <a:pt x="30" y="0"/>
                  </a:lnTo>
                  <a:lnTo>
                    <a:pt x="35" y="1"/>
                  </a:lnTo>
                  <a:lnTo>
                    <a:pt x="40" y="3"/>
                  </a:lnTo>
                  <a:lnTo>
                    <a:pt x="45" y="6"/>
                  </a:lnTo>
                  <a:lnTo>
                    <a:pt x="49" y="9"/>
                  </a:lnTo>
                  <a:lnTo>
                    <a:pt x="53" y="14"/>
                  </a:lnTo>
                  <a:lnTo>
                    <a:pt x="53" y="14"/>
                  </a:lnTo>
                  <a:lnTo>
                    <a:pt x="55" y="19"/>
                  </a:lnTo>
                  <a:lnTo>
                    <a:pt x="56" y="24"/>
                  </a:lnTo>
                  <a:lnTo>
                    <a:pt x="56" y="29"/>
                  </a:lnTo>
                  <a:lnTo>
                    <a:pt x="56" y="36"/>
                  </a:lnTo>
                  <a:lnTo>
                    <a:pt x="54" y="40"/>
                  </a:lnTo>
                  <a:lnTo>
                    <a:pt x="51" y="45"/>
                  </a:lnTo>
                  <a:lnTo>
                    <a:pt x="46" y="49"/>
                  </a:lnTo>
                  <a:lnTo>
                    <a:pt x="42" y="52"/>
                  </a:lnTo>
                  <a:lnTo>
                    <a:pt x="42" y="52"/>
                  </a:lnTo>
                  <a:close/>
                </a:path>
              </a:pathLst>
            </a:custGeom>
            <a:solidFill>
              <a:srgbClr val="FFEED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5" name="Freeform 607">
              <a:extLst>
                <a:ext uri="{FF2B5EF4-FFF2-40B4-BE49-F238E27FC236}">
                  <a16:creationId xmlns:a16="http://schemas.microsoft.com/office/drawing/2014/main" id="{DF4A7F90-4CF9-9D46-7797-1BD30354AA34}"/>
                </a:ext>
              </a:extLst>
            </p:cNvPr>
            <p:cNvSpPr>
              <a:spLocks/>
            </p:cNvSpPr>
            <p:nvPr/>
          </p:nvSpPr>
          <p:spPr bwMode="auto">
            <a:xfrm>
              <a:off x="3662363" y="3440112"/>
              <a:ext cx="11113" cy="11112"/>
            </a:xfrm>
            <a:custGeom>
              <a:avLst/>
              <a:gdLst/>
              <a:ahLst/>
              <a:cxnLst>
                <a:cxn ang="0">
                  <a:pos x="43" y="52"/>
                </a:cxn>
                <a:cxn ang="0">
                  <a:pos x="43" y="52"/>
                </a:cxn>
                <a:cxn ang="0">
                  <a:pos x="37" y="54"/>
                </a:cxn>
                <a:cxn ang="0">
                  <a:pos x="31" y="56"/>
                </a:cxn>
                <a:cxn ang="0">
                  <a:pos x="26" y="56"/>
                </a:cxn>
                <a:cxn ang="0">
                  <a:pos x="21" y="55"/>
                </a:cxn>
                <a:cxn ang="0">
                  <a:pos x="16" y="53"/>
                </a:cxn>
                <a:cxn ang="0">
                  <a:pos x="11" y="50"/>
                </a:cxn>
                <a:cxn ang="0">
                  <a:pos x="8" y="47"/>
                </a:cxn>
                <a:cxn ang="0">
                  <a:pos x="3" y="42"/>
                </a:cxn>
                <a:cxn ang="0">
                  <a:pos x="3" y="42"/>
                </a:cxn>
                <a:cxn ang="0">
                  <a:pos x="1" y="37"/>
                </a:cxn>
                <a:cxn ang="0">
                  <a:pos x="0" y="32"/>
                </a:cxn>
                <a:cxn ang="0">
                  <a:pos x="0" y="26"/>
                </a:cxn>
                <a:cxn ang="0">
                  <a:pos x="1" y="20"/>
                </a:cxn>
                <a:cxn ang="0">
                  <a:pos x="2" y="15"/>
                </a:cxn>
                <a:cxn ang="0">
                  <a:pos x="5" y="11"/>
                </a:cxn>
                <a:cxn ang="0">
                  <a:pos x="10" y="7"/>
                </a:cxn>
                <a:cxn ang="0">
                  <a:pos x="14" y="4"/>
                </a:cxn>
                <a:cxn ang="0">
                  <a:pos x="14" y="4"/>
                </a:cxn>
                <a:cxn ang="0">
                  <a:pos x="19" y="1"/>
                </a:cxn>
                <a:cxn ang="0">
                  <a:pos x="25" y="0"/>
                </a:cxn>
                <a:cxn ang="0">
                  <a:pos x="30" y="0"/>
                </a:cxn>
                <a:cxn ang="0">
                  <a:pos x="35" y="1"/>
                </a:cxn>
                <a:cxn ang="0">
                  <a:pos x="41" y="3"/>
                </a:cxn>
                <a:cxn ang="0">
                  <a:pos x="46" y="6"/>
                </a:cxn>
                <a:cxn ang="0">
                  <a:pos x="50" y="9"/>
                </a:cxn>
                <a:cxn ang="0">
                  <a:pos x="53" y="14"/>
                </a:cxn>
                <a:cxn ang="0">
                  <a:pos x="53" y="14"/>
                </a:cxn>
                <a:cxn ang="0">
                  <a:pos x="55" y="19"/>
                </a:cxn>
                <a:cxn ang="0">
                  <a:pos x="56" y="24"/>
                </a:cxn>
                <a:cxn ang="0">
                  <a:pos x="56" y="30"/>
                </a:cxn>
                <a:cxn ang="0">
                  <a:pos x="56" y="36"/>
                </a:cxn>
                <a:cxn ang="0">
                  <a:pos x="54" y="40"/>
                </a:cxn>
                <a:cxn ang="0">
                  <a:pos x="51" y="45"/>
                </a:cxn>
                <a:cxn ang="0">
                  <a:pos x="47" y="49"/>
                </a:cxn>
                <a:cxn ang="0">
                  <a:pos x="43" y="52"/>
                </a:cxn>
              </a:cxnLst>
              <a:rect l="0" t="0" r="r" b="b"/>
              <a:pathLst>
                <a:path w="56" h="56">
                  <a:moveTo>
                    <a:pt x="43" y="52"/>
                  </a:moveTo>
                  <a:lnTo>
                    <a:pt x="43" y="52"/>
                  </a:lnTo>
                  <a:lnTo>
                    <a:pt x="37" y="54"/>
                  </a:lnTo>
                  <a:lnTo>
                    <a:pt x="31" y="56"/>
                  </a:lnTo>
                  <a:lnTo>
                    <a:pt x="26" y="56"/>
                  </a:lnTo>
                  <a:lnTo>
                    <a:pt x="21" y="55"/>
                  </a:lnTo>
                  <a:lnTo>
                    <a:pt x="16" y="53"/>
                  </a:lnTo>
                  <a:lnTo>
                    <a:pt x="11" y="50"/>
                  </a:lnTo>
                  <a:lnTo>
                    <a:pt x="8" y="47"/>
                  </a:lnTo>
                  <a:lnTo>
                    <a:pt x="3" y="42"/>
                  </a:lnTo>
                  <a:lnTo>
                    <a:pt x="3" y="42"/>
                  </a:lnTo>
                  <a:lnTo>
                    <a:pt x="1" y="37"/>
                  </a:lnTo>
                  <a:lnTo>
                    <a:pt x="0" y="32"/>
                  </a:lnTo>
                  <a:lnTo>
                    <a:pt x="0" y="26"/>
                  </a:lnTo>
                  <a:lnTo>
                    <a:pt x="1" y="20"/>
                  </a:lnTo>
                  <a:lnTo>
                    <a:pt x="2" y="15"/>
                  </a:lnTo>
                  <a:lnTo>
                    <a:pt x="5" y="11"/>
                  </a:lnTo>
                  <a:lnTo>
                    <a:pt x="10" y="7"/>
                  </a:lnTo>
                  <a:lnTo>
                    <a:pt x="14" y="4"/>
                  </a:lnTo>
                  <a:lnTo>
                    <a:pt x="14" y="4"/>
                  </a:lnTo>
                  <a:lnTo>
                    <a:pt x="19" y="1"/>
                  </a:lnTo>
                  <a:lnTo>
                    <a:pt x="25" y="0"/>
                  </a:lnTo>
                  <a:lnTo>
                    <a:pt x="30" y="0"/>
                  </a:lnTo>
                  <a:lnTo>
                    <a:pt x="35" y="1"/>
                  </a:lnTo>
                  <a:lnTo>
                    <a:pt x="41" y="3"/>
                  </a:lnTo>
                  <a:lnTo>
                    <a:pt x="46" y="6"/>
                  </a:lnTo>
                  <a:lnTo>
                    <a:pt x="50" y="9"/>
                  </a:lnTo>
                  <a:lnTo>
                    <a:pt x="53" y="14"/>
                  </a:lnTo>
                  <a:lnTo>
                    <a:pt x="53" y="14"/>
                  </a:lnTo>
                  <a:lnTo>
                    <a:pt x="55" y="19"/>
                  </a:lnTo>
                  <a:lnTo>
                    <a:pt x="56" y="24"/>
                  </a:lnTo>
                  <a:lnTo>
                    <a:pt x="56" y="30"/>
                  </a:lnTo>
                  <a:lnTo>
                    <a:pt x="56" y="36"/>
                  </a:lnTo>
                  <a:lnTo>
                    <a:pt x="54" y="40"/>
                  </a:lnTo>
                  <a:lnTo>
                    <a:pt x="51" y="45"/>
                  </a:lnTo>
                  <a:lnTo>
                    <a:pt x="47" y="49"/>
                  </a:lnTo>
                  <a:lnTo>
                    <a:pt x="43" y="52"/>
                  </a:lnTo>
                  <a:close/>
                </a:path>
              </a:pathLst>
            </a:custGeom>
            <a:solidFill>
              <a:srgbClr val="FFEED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6" name="Freeform 609">
              <a:extLst>
                <a:ext uri="{FF2B5EF4-FFF2-40B4-BE49-F238E27FC236}">
                  <a16:creationId xmlns:a16="http://schemas.microsoft.com/office/drawing/2014/main" id="{BCB156DE-CEBD-43CC-BEC7-3A3C3ECAEE8C}"/>
                </a:ext>
              </a:extLst>
            </p:cNvPr>
            <p:cNvSpPr>
              <a:spLocks/>
            </p:cNvSpPr>
            <p:nvPr/>
          </p:nvSpPr>
          <p:spPr bwMode="auto">
            <a:xfrm>
              <a:off x="3662363" y="3440113"/>
              <a:ext cx="11113" cy="11113"/>
            </a:xfrm>
            <a:custGeom>
              <a:avLst/>
              <a:gdLst/>
              <a:ahLst/>
              <a:cxnLst>
                <a:cxn ang="0">
                  <a:pos x="43" y="52"/>
                </a:cxn>
                <a:cxn ang="0">
                  <a:pos x="43" y="52"/>
                </a:cxn>
                <a:cxn ang="0">
                  <a:pos x="37" y="54"/>
                </a:cxn>
                <a:cxn ang="0">
                  <a:pos x="31" y="56"/>
                </a:cxn>
                <a:cxn ang="0">
                  <a:pos x="26" y="56"/>
                </a:cxn>
                <a:cxn ang="0">
                  <a:pos x="21" y="55"/>
                </a:cxn>
                <a:cxn ang="0">
                  <a:pos x="16" y="53"/>
                </a:cxn>
                <a:cxn ang="0">
                  <a:pos x="11" y="50"/>
                </a:cxn>
                <a:cxn ang="0">
                  <a:pos x="8" y="47"/>
                </a:cxn>
                <a:cxn ang="0">
                  <a:pos x="3" y="42"/>
                </a:cxn>
                <a:cxn ang="0">
                  <a:pos x="3" y="42"/>
                </a:cxn>
                <a:cxn ang="0">
                  <a:pos x="1" y="37"/>
                </a:cxn>
                <a:cxn ang="0">
                  <a:pos x="0" y="32"/>
                </a:cxn>
                <a:cxn ang="0">
                  <a:pos x="0" y="26"/>
                </a:cxn>
                <a:cxn ang="0">
                  <a:pos x="1" y="20"/>
                </a:cxn>
                <a:cxn ang="0">
                  <a:pos x="2" y="15"/>
                </a:cxn>
                <a:cxn ang="0">
                  <a:pos x="5" y="11"/>
                </a:cxn>
                <a:cxn ang="0">
                  <a:pos x="10" y="7"/>
                </a:cxn>
                <a:cxn ang="0">
                  <a:pos x="14" y="4"/>
                </a:cxn>
                <a:cxn ang="0">
                  <a:pos x="14" y="4"/>
                </a:cxn>
                <a:cxn ang="0">
                  <a:pos x="19" y="1"/>
                </a:cxn>
                <a:cxn ang="0">
                  <a:pos x="25" y="0"/>
                </a:cxn>
                <a:cxn ang="0">
                  <a:pos x="30" y="0"/>
                </a:cxn>
                <a:cxn ang="0">
                  <a:pos x="35" y="1"/>
                </a:cxn>
                <a:cxn ang="0">
                  <a:pos x="41" y="3"/>
                </a:cxn>
                <a:cxn ang="0">
                  <a:pos x="46" y="6"/>
                </a:cxn>
                <a:cxn ang="0">
                  <a:pos x="50" y="9"/>
                </a:cxn>
                <a:cxn ang="0">
                  <a:pos x="53" y="14"/>
                </a:cxn>
                <a:cxn ang="0">
                  <a:pos x="53" y="14"/>
                </a:cxn>
                <a:cxn ang="0">
                  <a:pos x="55" y="19"/>
                </a:cxn>
                <a:cxn ang="0">
                  <a:pos x="56" y="24"/>
                </a:cxn>
                <a:cxn ang="0">
                  <a:pos x="56" y="30"/>
                </a:cxn>
                <a:cxn ang="0">
                  <a:pos x="56" y="36"/>
                </a:cxn>
                <a:cxn ang="0">
                  <a:pos x="54" y="40"/>
                </a:cxn>
                <a:cxn ang="0">
                  <a:pos x="51" y="45"/>
                </a:cxn>
                <a:cxn ang="0">
                  <a:pos x="47" y="49"/>
                </a:cxn>
                <a:cxn ang="0">
                  <a:pos x="43" y="52"/>
                </a:cxn>
              </a:cxnLst>
              <a:rect l="0" t="0" r="r" b="b"/>
              <a:pathLst>
                <a:path w="56" h="56">
                  <a:moveTo>
                    <a:pt x="43" y="52"/>
                  </a:moveTo>
                  <a:lnTo>
                    <a:pt x="43" y="52"/>
                  </a:lnTo>
                  <a:lnTo>
                    <a:pt x="37" y="54"/>
                  </a:lnTo>
                  <a:lnTo>
                    <a:pt x="31" y="56"/>
                  </a:lnTo>
                  <a:lnTo>
                    <a:pt x="26" y="56"/>
                  </a:lnTo>
                  <a:lnTo>
                    <a:pt x="21" y="55"/>
                  </a:lnTo>
                  <a:lnTo>
                    <a:pt x="16" y="53"/>
                  </a:lnTo>
                  <a:lnTo>
                    <a:pt x="11" y="50"/>
                  </a:lnTo>
                  <a:lnTo>
                    <a:pt x="8" y="47"/>
                  </a:lnTo>
                  <a:lnTo>
                    <a:pt x="3" y="42"/>
                  </a:lnTo>
                  <a:lnTo>
                    <a:pt x="3" y="42"/>
                  </a:lnTo>
                  <a:lnTo>
                    <a:pt x="1" y="37"/>
                  </a:lnTo>
                  <a:lnTo>
                    <a:pt x="0" y="32"/>
                  </a:lnTo>
                  <a:lnTo>
                    <a:pt x="0" y="26"/>
                  </a:lnTo>
                  <a:lnTo>
                    <a:pt x="1" y="20"/>
                  </a:lnTo>
                  <a:lnTo>
                    <a:pt x="2" y="15"/>
                  </a:lnTo>
                  <a:lnTo>
                    <a:pt x="5" y="11"/>
                  </a:lnTo>
                  <a:lnTo>
                    <a:pt x="10" y="7"/>
                  </a:lnTo>
                  <a:lnTo>
                    <a:pt x="14" y="4"/>
                  </a:lnTo>
                  <a:lnTo>
                    <a:pt x="14" y="4"/>
                  </a:lnTo>
                  <a:lnTo>
                    <a:pt x="19" y="1"/>
                  </a:lnTo>
                  <a:lnTo>
                    <a:pt x="25" y="0"/>
                  </a:lnTo>
                  <a:lnTo>
                    <a:pt x="30" y="0"/>
                  </a:lnTo>
                  <a:lnTo>
                    <a:pt x="35" y="1"/>
                  </a:lnTo>
                  <a:lnTo>
                    <a:pt x="41" y="3"/>
                  </a:lnTo>
                  <a:lnTo>
                    <a:pt x="46" y="6"/>
                  </a:lnTo>
                  <a:lnTo>
                    <a:pt x="50" y="9"/>
                  </a:lnTo>
                  <a:lnTo>
                    <a:pt x="53" y="14"/>
                  </a:lnTo>
                  <a:lnTo>
                    <a:pt x="53" y="14"/>
                  </a:lnTo>
                  <a:lnTo>
                    <a:pt x="55" y="19"/>
                  </a:lnTo>
                  <a:lnTo>
                    <a:pt x="56" y="24"/>
                  </a:lnTo>
                  <a:lnTo>
                    <a:pt x="56" y="30"/>
                  </a:lnTo>
                  <a:lnTo>
                    <a:pt x="56" y="36"/>
                  </a:lnTo>
                  <a:lnTo>
                    <a:pt x="54" y="40"/>
                  </a:lnTo>
                  <a:lnTo>
                    <a:pt x="51" y="45"/>
                  </a:lnTo>
                  <a:lnTo>
                    <a:pt x="47" y="49"/>
                  </a:lnTo>
                  <a:lnTo>
                    <a:pt x="43" y="52"/>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7" name="Freeform 610">
              <a:extLst>
                <a:ext uri="{FF2B5EF4-FFF2-40B4-BE49-F238E27FC236}">
                  <a16:creationId xmlns:a16="http://schemas.microsoft.com/office/drawing/2014/main" id="{F2A1E8BC-BD8A-E949-620D-63A6A3E1AD53}"/>
                </a:ext>
              </a:extLst>
            </p:cNvPr>
            <p:cNvSpPr>
              <a:spLocks/>
            </p:cNvSpPr>
            <p:nvPr/>
          </p:nvSpPr>
          <p:spPr bwMode="auto">
            <a:xfrm>
              <a:off x="3906838" y="3505200"/>
              <a:ext cx="11113" cy="11113"/>
            </a:xfrm>
            <a:custGeom>
              <a:avLst/>
              <a:gdLst/>
              <a:ahLst/>
              <a:cxnLst>
                <a:cxn ang="0">
                  <a:pos x="42" y="53"/>
                </a:cxn>
                <a:cxn ang="0">
                  <a:pos x="42" y="53"/>
                </a:cxn>
                <a:cxn ang="0">
                  <a:pos x="37" y="55"/>
                </a:cxn>
                <a:cxn ang="0">
                  <a:pos x="31" y="56"/>
                </a:cxn>
                <a:cxn ang="0">
                  <a:pos x="26" y="56"/>
                </a:cxn>
                <a:cxn ang="0">
                  <a:pos x="20" y="55"/>
                </a:cxn>
                <a:cxn ang="0">
                  <a:pos x="15" y="54"/>
                </a:cxn>
                <a:cxn ang="0">
                  <a:pos x="10" y="51"/>
                </a:cxn>
                <a:cxn ang="0">
                  <a:pos x="6" y="47"/>
                </a:cxn>
                <a:cxn ang="0">
                  <a:pos x="3" y="43"/>
                </a:cxn>
                <a:cxn ang="0">
                  <a:pos x="3" y="43"/>
                </a:cxn>
                <a:cxn ang="0">
                  <a:pos x="1" y="38"/>
                </a:cxn>
                <a:cxn ang="0">
                  <a:pos x="0" y="31"/>
                </a:cxn>
                <a:cxn ang="0">
                  <a:pos x="0" y="26"/>
                </a:cxn>
                <a:cxn ang="0">
                  <a:pos x="0" y="21"/>
                </a:cxn>
                <a:cxn ang="0">
                  <a:pos x="2" y="16"/>
                </a:cxn>
                <a:cxn ang="0">
                  <a:pos x="5" y="11"/>
                </a:cxn>
                <a:cxn ang="0">
                  <a:pos x="9" y="7"/>
                </a:cxn>
                <a:cxn ang="0">
                  <a:pos x="13" y="4"/>
                </a:cxn>
                <a:cxn ang="0">
                  <a:pos x="13" y="4"/>
                </a:cxn>
                <a:cxn ang="0">
                  <a:pos x="18" y="1"/>
                </a:cxn>
                <a:cxn ang="0">
                  <a:pos x="25" y="0"/>
                </a:cxn>
                <a:cxn ang="0">
                  <a:pos x="30" y="0"/>
                </a:cxn>
                <a:cxn ang="0">
                  <a:pos x="35" y="0"/>
                </a:cxn>
                <a:cxn ang="0">
                  <a:pos x="40" y="2"/>
                </a:cxn>
                <a:cxn ang="0">
                  <a:pos x="45" y="6"/>
                </a:cxn>
                <a:cxn ang="0">
                  <a:pos x="49" y="10"/>
                </a:cxn>
                <a:cxn ang="0">
                  <a:pos x="52" y="14"/>
                </a:cxn>
                <a:cxn ang="0">
                  <a:pos x="52" y="14"/>
                </a:cxn>
                <a:cxn ang="0">
                  <a:pos x="54" y="19"/>
                </a:cxn>
                <a:cxn ang="0">
                  <a:pos x="56" y="25"/>
                </a:cxn>
                <a:cxn ang="0">
                  <a:pos x="56" y="30"/>
                </a:cxn>
                <a:cxn ang="0">
                  <a:pos x="56" y="35"/>
                </a:cxn>
                <a:cxn ang="0">
                  <a:pos x="53" y="41"/>
                </a:cxn>
                <a:cxn ang="0">
                  <a:pos x="50" y="46"/>
                </a:cxn>
                <a:cxn ang="0">
                  <a:pos x="46" y="49"/>
                </a:cxn>
                <a:cxn ang="0">
                  <a:pos x="42" y="53"/>
                </a:cxn>
                <a:cxn ang="0">
                  <a:pos x="42" y="53"/>
                </a:cxn>
              </a:cxnLst>
              <a:rect l="0" t="0" r="r" b="b"/>
              <a:pathLst>
                <a:path w="56" h="56">
                  <a:moveTo>
                    <a:pt x="42" y="53"/>
                  </a:moveTo>
                  <a:lnTo>
                    <a:pt x="42" y="53"/>
                  </a:lnTo>
                  <a:lnTo>
                    <a:pt x="37" y="55"/>
                  </a:lnTo>
                  <a:lnTo>
                    <a:pt x="31" y="56"/>
                  </a:lnTo>
                  <a:lnTo>
                    <a:pt x="26" y="56"/>
                  </a:lnTo>
                  <a:lnTo>
                    <a:pt x="20" y="55"/>
                  </a:lnTo>
                  <a:lnTo>
                    <a:pt x="15" y="54"/>
                  </a:lnTo>
                  <a:lnTo>
                    <a:pt x="10" y="51"/>
                  </a:lnTo>
                  <a:lnTo>
                    <a:pt x="6" y="47"/>
                  </a:lnTo>
                  <a:lnTo>
                    <a:pt x="3" y="43"/>
                  </a:lnTo>
                  <a:lnTo>
                    <a:pt x="3" y="43"/>
                  </a:lnTo>
                  <a:lnTo>
                    <a:pt x="1" y="38"/>
                  </a:lnTo>
                  <a:lnTo>
                    <a:pt x="0" y="31"/>
                  </a:lnTo>
                  <a:lnTo>
                    <a:pt x="0" y="26"/>
                  </a:lnTo>
                  <a:lnTo>
                    <a:pt x="0" y="21"/>
                  </a:lnTo>
                  <a:lnTo>
                    <a:pt x="2" y="16"/>
                  </a:lnTo>
                  <a:lnTo>
                    <a:pt x="5" y="11"/>
                  </a:lnTo>
                  <a:lnTo>
                    <a:pt x="9" y="7"/>
                  </a:lnTo>
                  <a:lnTo>
                    <a:pt x="13" y="4"/>
                  </a:lnTo>
                  <a:lnTo>
                    <a:pt x="13" y="4"/>
                  </a:lnTo>
                  <a:lnTo>
                    <a:pt x="18" y="1"/>
                  </a:lnTo>
                  <a:lnTo>
                    <a:pt x="25" y="0"/>
                  </a:lnTo>
                  <a:lnTo>
                    <a:pt x="30" y="0"/>
                  </a:lnTo>
                  <a:lnTo>
                    <a:pt x="35" y="0"/>
                  </a:lnTo>
                  <a:lnTo>
                    <a:pt x="40" y="2"/>
                  </a:lnTo>
                  <a:lnTo>
                    <a:pt x="45" y="6"/>
                  </a:lnTo>
                  <a:lnTo>
                    <a:pt x="49" y="10"/>
                  </a:lnTo>
                  <a:lnTo>
                    <a:pt x="52" y="14"/>
                  </a:lnTo>
                  <a:lnTo>
                    <a:pt x="52" y="14"/>
                  </a:lnTo>
                  <a:lnTo>
                    <a:pt x="54" y="19"/>
                  </a:lnTo>
                  <a:lnTo>
                    <a:pt x="56" y="25"/>
                  </a:lnTo>
                  <a:lnTo>
                    <a:pt x="56" y="30"/>
                  </a:lnTo>
                  <a:lnTo>
                    <a:pt x="56" y="35"/>
                  </a:lnTo>
                  <a:lnTo>
                    <a:pt x="53" y="41"/>
                  </a:lnTo>
                  <a:lnTo>
                    <a:pt x="50" y="46"/>
                  </a:lnTo>
                  <a:lnTo>
                    <a:pt x="46" y="49"/>
                  </a:lnTo>
                  <a:lnTo>
                    <a:pt x="42" y="53"/>
                  </a:lnTo>
                  <a:lnTo>
                    <a:pt x="42" y="53"/>
                  </a:lnTo>
                  <a:close/>
                </a:path>
              </a:pathLst>
            </a:custGeom>
            <a:solidFill>
              <a:srgbClr val="FFEED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8" name="Freeform 611">
              <a:extLst>
                <a:ext uri="{FF2B5EF4-FFF2-40B4-BE49-F238E27FC236}">
                  <a16:creationId xmlns:a16="http://schemas.microsoft.com/office/drawing/2014/main" id="{B9817A4C-0B6E-48DA-1EB7-258AF4734C7A}"/>
                </a:ext>
              </a:extLst>
            </p:cNvPr>
            <p:cNvSpPr>
              <a:spLocks/>
            </p:cNvSpPr>
            <p:nvPr/>
          </p:nvSpPr>
          <p:spPr bwMode="auto">
            <a:xfrm>
              <a:off x="3595688" y="3684588"/>
              <a:ext cx="12700" cy="12700"/>
            </a:xfrm>
            <a:custGeom>
              <a:avLst/>
              <a:gdLst/>
              <a:ahLst/>
              <a:cxnLst>
                <a:cxn ang="0">
                  <a:pos x="42" y="52"/>
                </a:cxn>
                <a:cxn ang="0">
                  <a:pos x="42" y="52"/>
                </a:cxn>
                <a:cxn ang="0">
                  <a:pos x="37" y="55"/>
                </a:cxn>
                <a:cxn ang="0">
                  <a:pos x="31" y="57"/>
                </a:cxn>
                <a:cxn ang="0">
                  <a:pos x="26" y="57"/>
                </a:cxn>
                <a:cxn ang="0">
                  <a:pos x="20" y="56"/>
                </a:cxn>
                <a:cxn ang="0">
                  <a:pos x="15" y="53"/>
                </a:cxn>
                <a:cxn ang="0">
                  <a:pos x="11" y="50"/>
                </a:cxn>
                <a:cxn ang="0">
                  <a:pos x="7" y="47"/>
                </a:cxn>
                <a:cxn ang="0">
                  <a:pos x="4" y="42"/>
                </a:cxn>
                <a:cxn ang="0">
                  <a:pos x="4" y="42"/>
                </a:cxn>
                <a:cxn ang="0">
                  <a:pos x="1" y="37"/>
                </a:cxn>
                <a:cxn ang="0">
                  <a:pos x="0" y="32"/>
                </a:cxn>
                <a:cxn ang="0">
                  <a:pos x="0" y="26"/>
                </a:cxn>
                <a:cxn ang="0">
                  <a:pos x="1" y="21"/>
                </a:cxn>
                <a:cxn ang="0">
                  <a:pos x="3" y="15"/>
                </a:cxn>
                <a:cxn ang="0">
                  <a:pos x="6" y="11"/>
                </a:cxn>
                <a:cxn ang="0">
                  <a:pos x="9" y="7"/>
                </a:cxn>
                <a:cxn ang="0">
                  <a:pos x="14" y="4"/>
                </a:cxn>
                <a:cxn ang="0">
                  <a:pos x="14" y="4"/>
                </a:cxn>
                <a:cxn ang="0">
                  <a:pos x="19" y="1"/>
                </a:cxn>
                <a:cxn ang="0">
                  <a:pos x="24" y="0"/>
                </a:cxn>
                <a:cxn ang="0">
                  <a:pos x="29" y="0"/>
                </a:cxn>
                <a:cxn ang="0">
                  <a:pos x="36" y="1"/>
                </a:cxn>
                <a:cxn ang="0">
                  <a:pos x="41" y="3"/>
                </a:cxn>
                <a:cxn ang="0">
                  <a:pos x="45" y="5"/>
                </a:cxn>
                <a:cxn ang="0">
                  <a:pos x="49" y="9"/>
                </a:cxn>
                <a:cxn ang="0">
                  <a:pos x="52" y="14"/>
                </a:cxn>
                <a:cxn ang="0">
                  <a:pos x="52" y="14"/>
                </a:cxn>
                <a:cxn ang="0">
                  <a:pos x="55" y="19"/>
                </a:cxn>
                <a:cxn ang="0">
                  <a:pos x="56" y="25"/>
                </a:cxn>
                <a:cxn ang="0">
                  <a:pos x="56" y="30"/>
                </a:cxn>
                <a:cxn ang="0">
                  <a:pos x="55" y="36"/>
                </a:cxn>
                <a:cxn ang="0">
                  <a:pos x="53" y="40"/>
                </a:cxn>
                <a:cxn ang="0">
                  <a:pos x="50" y="45"/>
                </a:cxn>
                <a:cxn ang="0">
                  <a:pos x="47" y="49"/>
                </a:cxn>
                <a:cxn ang="0">
                  <a:pos x="42" y="52"/>
                </a:cxn>
              </a:cxnLst>
              <a:rect l="0" t="0" r="r" b="b"/>
              <a:pathLst>
                <a:path w="56" h="57">
                  <a:moveTo>
                    <a:pt x="42" y="52"/>
                  </a:moveTo>
                  <a:lnTo>
                    <a:pt x="42" y="52"/>
                  </a:lnTo>
                  <a:lnTo>
                    <a:pt x="37" y="55"/>
                  </a:lnTo>
                  <a:lnTo>
                    <a:pt x="31" y="57"/>
                  </a:lnTo>
                  <a:lnTo>
                    <a:pt x="26" y="57"/>
                  </a:lnTo>
                  <a:lnTo>
                    <a:pt x="20" y="56"/>
                  </a:lnTo>
                  <a:lnTo>
                    <a:pt x="15" y="53"/>
                  </a:lnTo>
                  <a:lnTo>
                    <a:pt x="11" y="50"/>
                  </a:lnTo>
                  <a:lnTo>
                    <a:pt x="7" y="47"/>
                  </a:lnTo>
                  <a:lnTo>
                    <a:pt x="4" y="42"/>
                  </a:lnTo>
                  <a:lnTo>
                    <a:pt x="4" y="42"/>
                  </a:lnTo>
                  <a:lnTo>
                    <a:pt x="1" y="37"/>
                  </a:lnTo>
                  <a:lnTo>
                    <a:pt x="0" y="32"/>
                  </a:lnTo>
                  <a:lnTo>
                    <a:pt x="0" y="26"/>
                  </a:lnTo>
                  <a:lnTo>
                    <a:pt x="1" y="21"/>
                  </a:lnTo>
                  <a:lnTo>
                    <a:pt x="3" y="15"/>
                  </a:lnTo>
                  <a:lnTo>
                    <a:pt x="6" y="11"/>
                  </a:lnTo>
                  <a:lnTo>
                    <a:pt x="9" y="7"/>
                  </a:lnTo>
                  <a:lnTo>
                    <a:pt x="14" y="4"/>
                  </a:lnTo>
                  <a:lnTo>
                    <a:pt x="14" y="4"/>
                  </a:lnTo>
                  <a:lnTo>
                    <a:pt x="19" y="1"/>
                  </a:lnTo>
                  <a:lnTo>
                    <a:pt x="24" y="0"/>
                  </a:lnTo>
                  <a:lnTo>
                    <a:pt x="29" y="0"/>
                  </a:lnTo>
                  <a:lnTo>
                    <a:pt x="36" y="1"/>
                  </a:lnTo>
                  <a:lnTo>
                    <a:pt x="41" y="3"/>
                  </a:lnTo>
                  <a:lnTo>
                    <a:pt x="45" y="5"/>
                  </a:lnTo>
                  <a:lnTo>
                    <a:pt x="49" y="9"/>
                  </a:lnTo>
                  <a:lnTo>
                    <a:pt x="52" y="14"/>
                  </a:lnTo>
                  <a:lnTo>
                    <a:pt x="52" y="14"/>
                  </a:lnTo>
                  <a:lnTo>
                    <a:pt x="55" y="19"/>
                  </a:lnTo>
                  <a:lnTo>
                    <a:pt x="56" y="25"/>
                  </a:lnTo>
                  <a:lnTo>
                    <a:pt x="56" y="30"/>
                  </a:lnTo>
                  <a:lnTo>
                    <a:pt x="55" y="36"/>
                  </a:lnTo>
                  <a:lnTo>
                    <a:pt x="53" y="40"/>
                  </a:lnTo>
                  <a:lnTo>
                    <a:pt x="50" y="45"/>
                  </a:lnTo>
                  <a:lnTo>
                    <a:pt x="47" y="49"/>
                  </a:lnTo>
                  <a:lnTo>
                    <a:pt x="42" y="52"/>
                  </a:lnTo>
                  <a:close/>
                </a:path>
              </a:pathLst>
            </a:custGeom>
            <a:solidFill>
              <a:srgbClr val="FFEED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9" name="Freeform 612">
              <a:extLst>
                <a:ext uri="{FF2B5EF4-FFF2-40B4-BE49-F238E27FC236}">
                  <a16:creationId xmlns:a16="http://schemas.microsoft.com/office/drawing/2014/main" id="{9E79C449-5EFB-6E71-9853-984FEAEB47C0}"/>
                </a:ext>
              </a:extLst>
            </p:cNvPr>
            <p:cNvSpPr>
              <a:spLocks/>
            </p:cNvSpPr>
            <p:nvPr/>
          </p:nvSpPr>
          <p:spPr bwMode="auto">
            <a:xfrm>
              <a:off x="3595688" y="3684588"/>
              <a:ext cx="12700" cy="12700"/>
            </a:xfrm>
            <a:custGeom>
              <a:avLst/>
              <a:gdLst/>
              <a:ahLst/>
              <a:cxnLst>
                <a:cxn ang="0">
                  <a:pos x="42" y="52"/>
                </a:cxn>
                <a:cxn ang="0">
                  <a:pos x="42" y="52"/>
                </a:cxn>
                <a:cxn ang="0">
                  <a:pos x="37" y="55"/>
                </a:cxn>
                <a:cxn ang="0">
                  <a:pos x="31" y="57"/>
                </a:cxn>
                <a:cxn ang="0">
                  <a:pos x="26" y="57"/>
                </a:cxn>
                <a:cxn ang="0">
                  <a:pos x="20" y="56"/>
                </a:cxn>
                <a:cxn ang="0">
                  <a:pos x="15" y="53"/>
                </a:cxn>
                <a:cxn ang="0">
                  <a:pos x="11" y="50"/>
                </a:cxn>
                <a:cxn ang="0">
                  <a:pos x="7" y="47"/>
                </a:cxn>
                <a:cxn ang="0">
                  <a:pos x="4" y="42"/>
                </a:cxn>
                <a:cxn ang="0">
                  <a:pos x="4" y="42"/>
                </a:cxn>
                <a:cxn ang="0">
                  <a:pos x="1" y="37"/>
                </a:cxn>
                <a:cxn ang="0">
                  <a:pos x="0" y="32"/>
                </a:cxn>
                <a:cxn ang="0">
                  <a:pos x="0" y="26"/>
                </a:cxn>
                <a:cxn ang="0">
                  <a:pos x="1" y="21"/>
                </a:cxn>
                <a:cxn ang="0">
                  <a:pos x="3" y="15"/>
                </a:cxn>
                <a:cxn ang="0">
                  <a:pos x="6" y="11"/>
                </a:cxn>
                <a:cxn ang="0">
                  <a:pos x="9" y="7"/>
                </a:cxn>
                <a:cxn ang="0">
                  <a:pos x="14" y="4"/>
                </a:cxn>
                <a:cxn ang="0">
                  <a:pos x="14" y="4"/>
                </a:cxn>
                <a:cxn ang="0">
                  <a:pos x="19" y="1"/>
                </a:cxn>
                <a:cxn ang="0">
                  <a:pos x="24" y="0"/>
                </a:cxn>
                <a:cxn ang="0">
                  <a:pos x="29" y="0"/>
                </a:cxn>
                <a:cxn ang="0">
                  <a:pos x="36" y="1"/>
                </a:cxn>
                <a:cxn ang="0">
                  <a:pos x="41" y="3"/>
                </a:cxn>
                <a:cxn ang="0">
                  <a:pos x="45" y="5"/>
                </a:cxn>
                <a:cxn ang="0">
                  <a:pos x="49" y="9"/>
                </a:cxn>
                <a:cxn ang="0">
                  <a:pos x="52" y="14"/>
                </a:cxn>
                <a:cxn ang="0">
                  <a:pos x="52" y="14"/>
                </a:cxn>
                <a:cxn ang="0">
                  <a:pos x="55" y="19"/>
                </a:cxn>
                <a:cxn ang="0">
                  <a:pos x="56" y="25"/>
                </a:cxn>
                <a:cxn ang="0">
                  <a:pos x="56" y="30"/>
                </a:cxn>
                <a:cxn ang="0">
                  <a:pos x="55" y="36"/>
                </a:cxn>
                <a:cxn ang="0">
                  <a:pos x="53" y="40"/>
                </a:cxn>
                <a:cxn ang="0">
                  <a:pos x="50" y="45"/>
                </a:cxn>
                <a:cxn ang="0">
                  <a:pos x="47" y="49"/>
                </a:cxn>
                <a:cxn ang="0">
                  <a:pos x="42" y="52"/>
                </a:cxn>
              </a:cxnLst>
              <a:rect l="0" t="0" r="r" b="b"/>
              <a:pathLst>
                <a:path w="56" h="57">
                  <a:moveTo>
                    <a:pt x="42" y="52"/>
                  </a:moveTo>
                  <a:lnTo>
                    <a:pt x="42" y="52"/>
                  </a:lnTo>
                  <a:lnTo>
                    <a:pt x="37" y="55"/>
                  </a:lnTo>
                  <a:lnTo>
                    <a:pt x="31" y="57"/>
                  </a:lnTo>
                  <a:lnTo>
                    <a:pt x="26" y="57"/>
                  </a:lnTo>
                  <a:lnTo>
                    <a:pt x="20" y="56"/>
                  </a:lnTo>
                  <a:lnTo>
                    <a:pt x="15" y="53"/>
                  </a:lnTo>
                  <a:lnTo>
                    <a:pt x="11" y="50"/>
                  </a:lnTo>
                  <a:lnTo>
                    <a:pt x="7" y="47"/>
                  </a:lnTo>
                  <a:lnTo>
                    <a:pt x="4" y="42"/>
                  </a:lnTo>
                  <a:lnTo>
                    <a:pt x="4" y="42"/>
                  </a:lnTo>
                  <a:lnTo>
                    <a:pt x="1" y="37"/>
                  </a:lnTo>
                  <a:lnTo>
                    <a:pt x="0" y="32"/>
                  </a:lnTo>
                  <a:lnTo>
                    <a:pt x="0" y="26"/>
                  </a:lnTo>
                  <a:lnTo>
                    <a:pt x="1" y="21"/>
                  </a:lnTo>
                  <a:lnTo>
                    <a:pt x="3" y="15"/>
                  </a:lnTo>
                  <a:lnTo>
                    <a:pt x="6" y="11"/>
                  </a:lnTo>
                  <a:lnTo>
                    <a:pt x="9" y="7"/>
                  </a:lnTo>
                  <a:lnTo>
                    <a:pt x="14" y="4"/>
                  </a:lnTo>
                  <a:lnTo>
                    <a:pt x="14" y="4"/>
                  </a:lnTo>
                  <a:lnTo>
                    <a:pt x="19" y="1"/>
                  </a:lnTo>
                  <a:lnTo>
                    <a:pt x="24" y="0"/>
                  </a:lnTo>
                  <a:lnTo>
                    <a:pt x="29" y="0"/>
                  </a:lnTo>
                  <a:lnTo>
                    <a:pt x="36" y="1"/>
                  </a:lnTo>
                  <a:lnTo>
                    <a:pt x="41" y="3"/>
                  </a:lnTo>
                  <a:lnTo>
                    <a:pt x="45" y="5"/>
                  </a:lnTo>
                  <a:lnTo>
                    <a:pt x="49" y="9"/>
                  </a:lnTo>
                  <a:lnTo>
                    <a:pt x="52" y="14"/>
                  </a:lnTo>
                  <a:lnTo>
                    <a:pt x="52" y="14"/>
                  </a:lnTo>
                  <a:lnTo>
                    <a:pt x="55" y="19"/>
                  </a:lnTo>
                  <a:lnTo>
                    <a:pt x="56" y="25"/>
                  </a:lnTo>
                  <a:lnTo>
                    <a:pt x="56" y="30"/>
                  </a:lnTo>
                  <a:lnTo>
                    <a:pt x="55" y="36"/>
                  </a:lnTo>
                  <a:lnTo>
                    <a:pt x="53" y="40"/>
                  </a:lnTo>
                  <a:lnTo>
                    <a:pt x="50" y="45"/>
                  </a:lnTo>
                  <a:lnTo>
                    <a:pt x="47" y="49"/>
                  </a:lnTo>
                  <a:lnTo>
                    <a:pt x="42" y="52"/>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0" name="Freeform 613">
              <a:extLst>
                <a:ext uri="{FF2B5EF4-FFF2-40B4-BE49-F238E27FC236}">
                  <a16:creationId xmlns:a16="http://schemas.microsoft.com/office/drawing/2014/main" id="{18F29B0B-3998-2BF7-49DE-805B6AC62423}"/>
                </a:ext>
              </a:extLst>
            </p:cNvPr>
            <p:cNvSpPr>
              <a:spLocks/>
            </p:cNvSpPr>
            <p:nvPr/>
          </p:nvSpPr>
          <p:spPr bwMode="auto">
            <a:xfrm>
              <a:off x="3751263" y="3470275"/>
              <a:ext cx="93663" cy="136525"/>
            </a:xfrm>
            <a:custGeom>
              <a:avLst/>
              <a:gdLst/>
              <a:ahLst/>
              <a:cxnLst>
                <a:cxn ang="0">
                  <a:pos x="473" y="695"/>
                </a:cxn>
                <a:cxn ang="0">
                  <a:pos x="0" y="695"/>
                </a:cxn>
                <a:cxn ang="0">
                  <a:pos x="0" y="0"/>
                </a:cxn>
                <a:cxn ang="0">
                  <a:pos x="66" y="0"/>
                </a:cxn>
                <a:cxn ang="0">
                  <a:pos x="66" y="629"/>
                </a:cxn>
                <a:cxn ang="0">
                  <a:pos x="473" y="629"/>
                </a:cxn>
                <a:cxn ang="0">
                  <a:pos x="473" y="695"/>
                </a:cxn>
              </a:cxnLst>
              <a:rect l="0" t="0" r="r" b="b"/>
              <a:pathLst>
                <a:path w="473" h="695">
                  <a:moveTo>
                    <a:pt x="473" y="695"/>
                  </a:moveTo>
                  <a:lnTo>
                    <a:pt x="0" y="695"/>
                  </a:lnTo>
                  <a:lnTo>
                    <a:pt x="0" y="0"/>
                  </a:lnTo>
                  <a:lnTo>
                    <a:pt x="66" y="0"/>
                  </a:lnTo>
                  <a:lnTo>
                    <a:pt x="66" y="629"/>
                  </a:lnTo>
                  <a:lnTo>
                    <a:pt x="473" y="629"/>
                  </a:lnTo>
                  <a:lnTo>
                    <a:pt x="473" y="695"/>
                  </a:lnTo>
                  <a:close/>
                </a:path>
              </a:pathLst>
            </a:custGeom>
            <a:solidFill>
              <a:srgbClr val="FFEED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1" name="Freeform 614">
              <a:extLst>
                <a:ext uri="{FF2B5EF4-FFF2-40B4-BE49-F238E27FC236}">
                  <a16:creationId xmlns:a16="http://schemas.microsoft.com/office/drawing/2014/main" id="{A8D338CA-55A2-D95E-8E65-94E8A53B9CA9}"/>
                </a:ext>
              </a:extLst>
            </p:cNvPr>
            <p:cNvSpPr>
              <a:spLocks/>
            </p:cNvSpPr>
            <p:nvPr/>
          </p:nvSpPr>
          <p:spPr bwMode="auto">
            <a:xfrm>
              <a:off x="3751263" y="3470275"/>
              <a:ext cx="93663" cy="136525"/>
            </a:xfrm>
            <a:custGeom>
              <a:avLst/>
              <a:gdLst/>
              <a:ahLst/>
              <a:cxnLst>
                <a:cxn ang="0">
                  <a:pos x="473" y="695"/>
                </a:cxn>
                <a:cxn ang="0">
                  <a:pos x="0" y="695"/>
                </a:cxn>
                <a:cxn ang="0">
                  <a:pos x="0" y="0"/>
                </a:cxn>
                <a:cxn ang="0">
                  <a:pos x="66" y="0"/>
                </a:cxn>
                <a:cxn ang="0">
                  <a:pos x="66" y="629"/>
                </a:cxn>
                <a:cxn ang="0">
                  <a:pos x="473" y="629"/>
                </a:cxn>
                <a:cxn ang="0">
                  <a:pos x="473" y="695"/>
                </a:cxn>
              </a:cxnLst>
              <a:rect l="0" t="0" r="r" b="b"/>
              <a:pathLst>
                <a:path w="473" h="695">
                  <a:moveTo>
                    <a:pt x="473" y="695"/>
                  </a:moveTo>
                  <a:lnTo>
                    <a:pt x="0" y="695"/>
                  </a:lnTo>
                  <a:lnTo>
                    <a:pt x="0" y="0"/>
                  </a:lnTo>
                  <a:lnTo>
                    <a:pt x="66" y="0"/>
                  </a:lnTo>
                  <a:lnTo>
                    <a:pt x="66" y="629"/>
                  </a:lnTo>
                  <a:lnTo>
                    <a:pt x="473" y="629"/>
                  </a:lnTo>
                  <a:lnTo>
                    <a:pt x="473" y="695"/>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pic>
          <p:nvPicPr>
            <p:cNvPr id="82" name="Picture 615">
              <a:extLst>
                <a:ext uri="{FF2B5EF4-FFF2-40B4-BE49-F238E27FC236}">
                  <a16:creationId xmlns:a16="http://schemas.microsoft.com/office/drawing/2014/main" id="{8A3AD65B-7799-C3C5-6E54-893A9F064322}"/>
                </a:ext>
              </a:extLst>
            </p:cNvPr>
            <p:cNvPicPr>
              <a:picLocks noChangeAspect="1" noChangeArrowheads="1"/>
            </p:cNvPicPr>
            <p:nvPr/>
          </p:nvPicPr>
          <p:blipFill>
            <a:blip r:embed="rId5" cstate="print"/>
            <a:srcRect/>
            <a:stretch>
              <a:fillRect/>
            </a:stretch>
          </p:blipFill>
          <p:spPr bwMode="auto">
            <a:xfrm>
              <a:off x="3546476" y="3390900"/>
              <a:ext cx="211138" cy="420688"/>
            </a:xfrm>
            <a:prstGeom prst="rect">
              <a:avLst/>
            </a:prstGeom>
            <a:noFill/>
            <a:ln w="9525">
              <a:noFill/>
              <a:miter lim="800000"/>
              <a:headEnd/>
              <a:tailEnd/>
            </a:ln>
          </p:spPr>
        </p:pic>
        <p:sp>
          <p:nvSpPr>
            <p:cNvPr id="83" name="Freeform 616">
              <a:extLst>
                <a:ext uri="{FF2B5EF4-FFF2-40B4-BE49-F238E27FC236}">
                  <a16:creationId xmlns:a16="http://schemas.microsoft.com/office/drawing/2014/main" id="{2F41F106-35E0-4514-DAB4-7818B7EFEF4E}"/>
                </a:ext>
              </a:extLst>
            </p:cNvPr>
            <p:cNvSpPr>
              <a:spLocks/>
            </p:cNvSpPr>
            <p:nvPr/>
          </p:nvSpPr>
          <p:spPr bwMode="auto">
            <a:xfrm>
              <a:off x="3521076" y="3365500"/>
              <a:ext cx="236538" cy="471488"/>
            </a:xfrm>
            <a:custGeom>
              <a:avLst/>
              <a:gdLst/>
              <a:ahLst/>
              <a:cxnLst>
                <a:cxn ang="0">
                  <a:pos x="1127" y="1"/>
                </a:cxn>
                <a:cxn ang="0">
                  <a:pos x="1007" y="13"/>
                </a:cxn>
                <a:cxn ang="0">
                  <a:pos x="891" y="37"/>
                </a:cxn>
                <a:cxn ang="0">
                  <a:pos x="779" y="72"/>
                </a:cxn>
                <a:cxn ang="0">
                  <a:pos x="673" y="116"/>
                </a:cxn>
                <a:cxn ang="0">
                  <a:pos x="572" y="172"/>
                </a:cxn>
                <a:cxn ang="0">
                  <a:pos x="477" y="236"/>
                </a:cxn>
                <a:cxn ang="0">
                  <a:pos x="390" y="308"/>
                </a:cxn>
                <a:cxn ang="0">
                  <a:pos x="308" y="388"/>
                </a:cxn>
                <a:cxn ang="0">
                  <a:pos x="236" y="477"/>
                </a:cxn>
                <a:cxn ang="0">
                  <a:pos x="172" y="570"/>
                </a:cxn>
                <a:cxn ang="0">
                  <a:pos x="118" y="671"/>
                </a:cxn>
                <a:cxn ang="0">
                  <a:pos x="73" y="779"/>
                </a:cxn>
                <a:cxn ang="0">
                  <a:pos x="37" y="890"/>
                </a:cxn>
                <a:cxn ang="0">
                  <a:pos x="14" y="1005"/>
                </a:cxn>
                <a:cxn ang="0">
                  <a:pos x="2" y="1126"/>
                </a:cxn>
                <a:cxn ang="0">
                  <a:pos x="0" y="1217"/>
                </a:cxn>
                <a:cxn ang="0">
                  <a:pos x="10" y="1338"/>
                </a:cxn>
                <a:cxn ang="0">
                  <a:pos x="31" y="1454"/>
                </a:cxn>
                <a:cxn ang="0">
                  <a:pos x="63" y="1567"/>
                </a:cxn>
                <a:cxn ang="0">
                  <a:pos x="105" y="1675"/>
                </a:cxn>
                <a:cxn ang="0">
                  <a:pos x="158" y="1777"/>
                </a:cxn>
                <a:cxn ang="0">
                  <a:pos x="220" y="1874"/>
                </a:cxn>
                <a:cxn ang="0">
                  <a:pos x="290" y="1963"/>
                </a:cxn>
                <a:cxn ang="0">
                  <a:pos x="368" y="2046"/>
                </a:cxn>
                <a:cxn ang="0">
                  <a:pos x="455" y="2120"/>
                </a:cxn>
                <a:cxn ang="0">
                  <a:pos x="548" y="2186"/>
                </a:cxn>
                <a:cxn ang="0">
                  <a:pos x="648" y="2243"/>
                </a:cxn>
                <a:cxn ang="0">
                  <a:pos x="753" y="2291"/>
                </a:cxn>
                <a:cxn ang="0">
                  <a:pos x="863" y="2328"/>
                </a:cxn>
                <a:cxn ang="0">
                  <a:pos x="977" y="2355"/>
                </a:cxn>
                <a:cxn ang="0">
                  <a:pos x="1096" y="2369"/>
                </a:cxn>
                <a:cxn ang="0">
                  <a:pos x="1187" y="2241"/>
                </a:cxn>
                <a:cxn ang="0">
                  <a:pos x="1134" y="2240"/>
                </a:cxn>
                <a:cxn ang="0">
                  <a:pos x="1029" y="2229"/>
                </a:cxn>
                <a:cxn ang="0">
                  <a:pos x="927" y="2208"/>
                </a:cxn>
                <a:cxn ang="0">
                  <a:pos x="826" y="2177"/>
                </a:cxn>
                <a:cxn ang="0">
                  <a:pos x="730" y="2137"/>
                </a:cxn>
                <a:cxn ang="0">
                  <a:pos x="557" y="2032"/>
                </a:cxn>
                <a:cxn ang="0">
                  <a:pos x="441" y="1932"/>
                </a:cxn>
                <a:cxn ang="0">
                  <a:pos x="312" y="1776"/>
                </a:cxn>
                <a:cxn ang="0">
                  <a:pos x="216" y="1596"/>
                </a:cxn>
                <a:cxn ang="0">
                  <a:pos x="187" y="1523"/>
                </a:cxn>
                <a:cxn ang="0">
                  <a:pos x="159" y="1422"/>
                </a:cxn>
                <a:cxn ang="0">
                  <a:pos x="141" y="1318"/>
                </a:cxn>
                <a:cxn ang="0">
                  <a:pos x="132" y="1213"/>
                </a:cxn>
                <a:cxn ang="0">
                  <a:pos x="133" y="1133"/>
                </a:cxn>
                <a:cxn ang="0">
                  <a:pos x="144" y="1028"/>
                </a:cxn>
                <a:cxn ang="0">
                  <a:pos x="165" y="925"/>
                </a:cxn>
                <a:cxn ang="0">
                  <a:pos x="196" y="825"/>
                </a:cxn>
                <a:cxn ang="0">
                  <a:pos x="236" y="729"/>
                </a:cxn>
                <a:cxn ang="0">
                  <a:pos x="341" y="556"/>
                </a:cxn>
                <a:cxn ang="0">
                  <a:pos x="441" y="441"/>
                </a:cxn>
                <a:cxn ang="0">
                  <a:pos x="598" y="311"/>
                </a:cxn>
                <a:cxn ang="0">
                  <a:pos x="777" y="214"/>
                </a:cxn>
                <a:cxn ang="0">
                  <a:pos x="851" y="186"/>
                </a:cxn>
                <a:cxn ang="0">
                  <a:pos x="951" y="157"/>
                </a:cxn>
                <a:cxn ang="0">
                  <a:pos x="1056" y="140"/>
                </a:cxn>
                <a:cxn ang="0">
                  <a:pos x="1161" y="132"/>
                </a:cxn>
                <a:cxn ang="0">
                  <a:pos x="1187" y="0"/>
                </a:cxn>
              </a:cxnLst>
              <a:rect l="0" t="0" r="r" b="b"/>
              <a:pathLst>
                <a:path w="1187" h="2373">
                  <a:moveTo>
                    <a:pt x="1187" y="0"/>
                  </a:moveTo>
                  <a:lnTo>
                    <a:pt x="1187" y="0"/>
                  </a:lnTo>
                  <a:lnTo>
                    <a:pt x="1157" y="0"/>
                  </a:lnTo>
                  <a:lnTo>
                    <a:pt x="1127" y="1"/>
                  </a:lnTo>
                  <a:lnTo>
                    <a:pt x="1096" y="3"/>
                  </a:lnTo>
                  <a:lnTo>
                    <a:pt x="1066" y="6"/>
                  </a:lnTo>
                  <a:lnTo>
                    <a:pt x="1036" y="9"/>
                  </a:lnTo>
                  <a:lnTo>
                    <a:pt x="1007" y="13"/>
                  </a:lnTo>
                  <a:lnTo>
                    <a:pt x="977" y="18"/>
                  </a:lnTo>
                  <a:lnTo>
                    <a:pt x="948" y="23"/>
                  </a:lnTo>
                  <a:lnTo>
                    <a:pt x="920" y="30"/>
                  </a:lnTo>
                  <a:lnTo>
                    <a:pt x="891" y="37"/>
                  </a:lnTo>
                  <a:lnTo>
                    <a:pt x="863" y="45"/>
                  </a:lnTo>
                  <a:lnTo>
                    <a:pt x="835" y="53"/>
                  </a:lnTo>
                  <a:lnTo>
                    <a:pt x="807" y="62"/>
                  </a:lnTo>
                  <a:lnTo>
                    <a:pt x="779" y="72"/>
                  </a:lnTo>
                  <a:lnTo>
                    <a:pt x="753" y="82"/>
                  </a:lnTo>
                  <a:lnTo>
                    <a:pt x="726" y="92"/>
                  </a:lnTo>
                  <a:lnTo>
                    <a:pt x="699" y="105"/>
                  </a:lnTo>
                  <a:lnTo>
                    <a:pt x="673" y="116"/>
                  </a:lnTo>
                  <a:lnTo>
                    <a:pt x="648" y="130"/>
                  </a:lnTo>
                  <a:lnTo>
                    <a:pt x="622" y="143"/>
                  </a:lnTo>
                  <a:lnTo>
                    <a:pt x="597" y="156"/>
                  </a:lnTo>
                  <a:lnTo>
                    <a:pt x="572" y="172"/>
                  </a:lnTo>
                  <a:lnTo>
                    <a:pt x="548" y="186"/>
                  </a:lnTo>
                  <a:lnTo>
                    <a:pt x="524" y="203"/>
                  </a:lnTo>
                  <a:lnTo>
                    <a:pt x="500" y="218"/>
                  </a:lnTo>
                  <a:lnTo>
                    <a:pt x="477" y="236"/>
                  </a:lnTo>
                  <a:lnTo>
                    <a:pt x="455" y="253"/>
                  </a:lnTo>
                  <a:lnTo>
                    <a:pt x="432" y="271"/>
                  </a:lnTo>
                  <a:lnTo>
                    <a:pt x="411" y="289"/>
                  </a:lnTo>
                  <a:lnTo>
                    <a:pt x="390" y="308"/>
                  </a:lnTo>
                  <a:lnTo>
                    <a:pt x="368" y="327"/>
                  </a:lnTo>
                  <a:lnTo>
                    <a:pt x="349" y="347"/>
                  </a:lnTo>
                  <a:lnTo>
                    <a:pt x="328" y="367"/>
                  </a:lnTo>
                  <a:lnTo>
                    <a:pt x="308" y="388"/>
                  </a:lnTo>
                  <a:lnTo>
                    <a:pt x="290" y="410"/>
                  </a:lnTo>
                  <a:lnTo>
                    <a:pt x="271" y="431"/>
                  </a:lnTo>
                  <a:lnTo>
                    <a:pt x="254" y="454"/>
                  </a:lnTo>
                  <a:lnTo>
                    <a:pt x="236" y="477"/>
                  </a:lnTo>
                  <a:lnTo>
                    <a:pt x="220" y="499"/>
                  </a:lnTo>
                  <a:lnTo>
                    <a:pt x="203" y="523"/>
                  </a:lnTo>
                  <a:lnTo>
                    <a:pt x="188" y="547"/>
                  </a:lnTo>
                  <a:lnTo>
                    <a:pt x="172" y="570"/>
                  </a:lnTo>
                  <a:lnTo>
                    <a:pt x="158" y="595"/>
                  </a:lnTo>
                  <a:lnTo>
                    <a:pt x="144" y="621"/>
                  </a:lnTo>
                  <a:lnTo>
                    <a:pt x="130" y="646"/>
                  </a:lnTo>
                  <a:lnTo>
                    <a:pt x="118" y="671"/>
                  </a:lnTo>
                  <a:lnTo>
                    <a:pt x="105" y="698"/>
                  </a:lnTo>
                  <a:lnTo>
                    <a:pt x="94" y="724"/>
                  </a:lnTo>
                  <a:lnTo>
                    <a:pt x="83" y="751"/>
                  </a:lnTo>
                  <a:lnTo>
                    <a:pt x="73" y="779"/>
                  </a:lnTo>
                  <a:lnTo>
                    <a:pt x="63" y="805"/>
                  </a:lnTo>
                  <a:lnTo>
                    <a:pt x="54" y="833"/>
                  </a:lnTo>
                  <a:lnTo>
                    <a:pt x="46" y="861"/>
                  </a:lnTo>
                  <a:lnTo>
                    <a:pt x="37" y="890"/>
                  </a:lnTo>
                  <a:lnTo>
                    <a:pt x="31" y="919"/>
                  </a:lnTo>
                  <a:lnTo>
                    <a:pt x="24" y="947"/>
                  </a:lnTo>
                  <a:lnTo>
                    <a:pt x="19" y="976"/>
                  </a:lnTo>
                  <a:lnTo>
                    <a:pt x="14" y="1005"/>
                  </a:lnTo>
                  <a:lnTo>
                    <a:pt x="10" y="1035"/>
                  </a:lnTo>
                  <a:lnTo>
                    <a:pt x="7" y="1065"/>
                  </a:lnTo>
                  <a:lnTo>
                    <a:pt x="3" y="1095"/>
                  </a:lnTo>
                  <a:lnTo>
                    <a:pt x="2" y="1126"/>
                  </a:lnTo>
                  <a:lnTo>
                    <a:pt x="0" y="1156"/>
                  </a:lnTo>
                  <a:lnTo>
                    <a:pt x="0" y="1186"/>
                  </a:lnTo>
                  <a:lnTo>
                    <a:pt x="0" y="1186"/>
                  </a:lnTo>
                  <a:lnTo>
                    <a:pt x="0" y="1217"/>
                  </a:lnTo>
                  <a:lnTo>
                    <a:pt x="2" y="1247"/>
                  </a:lnTo>
                  <a:lnTo>
                    <a:pt x="3" y="1277"/>
                  </a:lnTo>
                  <a:lnTo>
                    <a:pt x="7" y="1308"/>
                  </a:lnTo>
                  <a:lnTo>
                    <a:pt x="10" y="1338"/>
                  </a:lnTo>
                  <a:lnTo>
                    <a:pt x="14" y="1367"/>
                  </a:lnTo>
                  <a:lnTo>
                    <a:pt x="19" y="1397"/>
                  </a:lnTo>
                  <a:lnTo>
                    <a:pt x="24" y="1425"/>
                  </a:lnTo>
                  <a:lnTo>
                    <a:pt x="31" y="1454"/>
                  </a:lnTo>
                  <a:lnTo>
                    <a:pt x="37" y="1483"/>
                  </a:lnTo>
                  <a:lnTo>
                    <a:pt x="46" y="1511"/>
                  </a:lnTo>
                  <a:lnTo>
                    <a:pt x="54" y="1539"/>
                  </a:lnTo>
                  <a:lnTo>
                    <a:pt x="63" y="1567"/>
                  </a:lnTo>
                  <a:lnTo>
                    <a:pt x="73" y="1594"/>
                  </a:lnTo>
                  <a:lnTo>
                    <a:pt x="83" y="1621"/>
                  </a:lnTo>
                  <a:lnTo>
                    <a:pt x="94" y="1648"/>
                  </a:lnTo>
                  <a:lnTo>
                    <a:pt x="105" y="1675"/>
                  </a:lnTo>
                  <a:lnTo>
                    <a:pt x="118" y="1701"/>
                  </a:lnTo>
                  <a:lnTo>
                    <a:pt x="130" y="1726"/>
                  </a:lnTo>
                  <a:lnTo>
                    <a:pt x="144" y="1752"/>
                  </a:lnTo>
                  <a:lnTo>
                    <a:pt x="158" y="1777"/>
                  </a:lnTo>
                  <a:lnTo>
                    <a:pt x="172" y="1801"/>
                  </a:lnTo>
                  <a:lnTo>
                    <a:pt x="188" y="1826"/>
                  </a:lnTo>
                  <a:lnTo>
                    <a:pt x="203" y="1850"/>
                  </a:lnTo>
                  <a:lnTo>
                    <a:pt x="220" y="1874"/>
                  </a:lnTo>
                  <a:lnTo>
                    <a:pt x="236" y="1896"/>
                  </a:lnTo>
                  <a:lnTo>
                    <a:pt x="254" y="1919"/>
                  </a:lnTo>
                  <a:lnTo>
                    <a:pt x="271" y="1942"/>
                  </a:lnTo>
                  <a:lnTo>
                    <a:pt x="290" y="1963"/>
                  </a:lnTo>
                  <a:lnTo>
                    <a:pt x="308" y="1984"/>
                  </a:lnTo>
                  <a:lnTo>
                    <a:pt x="328" y="2005"/>
                  </a:lnTo>
                  <a:lnTo>
                    <a:pt x="349" y="2025"/>
                  </a:lnTo>
                  <a:lnTo>
                    <a:pt x="368" y="2046"/>
                  </a:lnTo>
                  <a:lnTo>
                    <a:pt x="390" y="2065"/>
                  </a:lnTo>
                  <a:lnTo>
                    <a:pt x="411" y="2084"/>
                  </a:lnTo>
                  <a:lnTo>
                    <a:pt x="432" y="2102"/>
                  </a:lnTo>
                  <a:lnTo>
                    <a:pt x="455" y="2120"/>
                  </a:lnTo>
                  <a:lnTo>
                    <a:pt x="477" y="2137"/>
                  </a:lnTo>
                  <a:lnTo>
                    <a:pt x="500" y="2154"/>
                  </a:lnTo>
                  <a:lnTo>
                    <a:pt x="524" y="2170"/>
                  </a:lnTo>
                  <a:lnTo>
                    <a:pt x="548" y="2186"/>
                  </a:lnTo>
                  <a:lnTo>
                    <a:pt x="572" y="2201"/>
                  </a:lnTo>
                  <a:lnTo>
                    <a:pt x="597" y="2216"/>
                  </a:lnTo>
                  <a:lnTo>
                    <a:pt x="622" y="2230"/>
                  </a:lnTo>
                  <a:lnTo>
                    <a:pt x="648" y="2243"/>
                  </a:lnTo>
                  <a:lnTo>
                    <a:pt x="673" y="2256"/>
                  </a:lnTo>
                  <a:lnTo>
                    <a:pt x="699" y="2268"/>
                  </a:lnTo>
                  <a:lnTo>
                    <a:pt x="726" y="2279"/>
                  </a:lnTo>
                  <a:lnTo>
                    <a:pt x="753" y="2291"/>
                  </a:lnTo>
                  <a:lnTo>
                    <a:pt x="779" y="2301"/>
                  </a:lnTo>
                  <a:lnTo>
                    <a:pt x="807" y="2310"/>
                  </a:lnTo>
                  <a:lnTo>
                    <a:pt x="835" y="2320"/>
                  </a:lnTo>
                  <a:lnTo>
                    <a:pt x="863" y="2328"/>
                  </a:lnTo>
                  <a:lnTo>
                    <a:pt x="891" y="2336"/>
                  </a:lnTo>
                  <a:lnTo>
                    <a:pt x="920" y="2342"/>
                  </a:lnTo>
                  <a:lnTo>
                    <a:pt x="948" y="2348"/>
                  </a:lnTo>
                  <a:lnTo>
                    <a:pt x="977" y="2355"/>
                  </a:lnTo>
                  <a:lnTo>
                    <a:pt x="1007" y="2360"/>
                  </a:lnTo>
                  <a:lnTo>
                    <a:pt x="1036" y="2364"/>
                  </a:lnTo>
                  <a:lnTo>
                    <a:pt x="1066" y="2367"/>
                  </a:lnTo>
                  <a:lnTo>
                    <a:pt x="1096" y="2369"/>
                  </a:lnTo>
                  <a:lnTo>
                    <a:pt x="1127" y="2371"/>
                  </a:lnTo>
                  <a:lnTo>
                    <a:pt x="1157" y="2372"/>
                  </a:lnTo>
                  <a:lnTo>
                    <a:pt x="1187" y="2373"/>
                  </a:lnTo>
                  <a:lnTo>
                    <a:pt x="1187" y="2241"/>
                  </a:lnTo>
                  <a:lnTo>
                    <a:pt x="1187" y="2241"/>
                  </a:lnTo>
                  <a:lnTo>
                    <a:pt x="1187" y="2241"/>
                  </a:lnTo>
                  <a:lnTo>
                    <a:pt x="1161" y="2241"/>
                  </a:lnTo>
                  <a:lnTo>
                    <a:pt x="1134" y="2240"/>
                  </a:lnTo>
                  <a:lnTo>
                    <a:pt x="1108" y="2238"/>
                  </a:lnTo>
                  <a:lnTo>
                    <a:pt x="1081" y="2236"/>
                  </a:lnTo>
                  <a:lnTo>
                    <a:pt x="1056" y="2233"/>
                  </a:lnTo>
                  <a:lnTo>
                    <a:pt x="1029" y="2229"/>
                  </a:lnTo>
                  <a:lnTo>
                    <a:pt x="1003" y="2225"/>
                  </a:lnTo>
                  <a:lnTo>
                    <a:pt x="977" y="2221"/>
                  </a:lnTo>
                  <a:lnTo>
                    <a:pt x="951" y="2215"/>
                  </a:lnTo>
                  <a:lnTo>
                    <a:pt x="927" y="2208"/>
                  </a:lnTo>
                  <a:lnTo>
                    <a:pt x="901" y="2202"/>
                  </a:lnTo>
                  <a:lnTo>
                    <a:pt x="876" y="2195"/>
                  </a:lnTo>
                  <a:lnTo>
                    <a:pt x="851" y="2187"/>
                  </a:lnTo>
                  <a:lnTo>
                    <a:pt x="826" y="2177"/>
                  </a:lnTo>
                  <a:lnTo>
                    <a:pt x="801" y="2168"/>
                  </a:lnTo>
                  <a:lnTo>
                    <a:pt x="777" y="2158"/>
                  </a:lnTo>
                  <a:lnTo>
                    <a:pt x="777" y="2158"/>
                  </a:lnTo>
                  <a:lnTo>
                    <a:pt x="730" y="2137"/>
                  </a:lnTo>
                  <a:lnTo>
                    <a:pt x="685" y="2115"/>
                  </a:lnTo>
                  <a:lnTo>
                    <a:pt x="641" y="2089"/>
                  </a:lnTo>
                  <a:lnTo>
                    <a:pt x="598" y="2062"/>
                  </a:lnTo>
                  <a:lnTo>
                    <a:pt x="557" y="2032"/>
                  </a:lnTo>
                  <a:lnTo>
                    <a:pt x="517" y="2001"/>
                  </a:lnTo>
                  <a:lnTo>
                    <a:pt x="479" y="1967"/>
                  </a:lnTo>
                  <a:lnTo>
                    <a:pt x="441" y="1932"/>
                  </a:lnTo>
                  <a:lnTo>
                    <a:pt x="441" y="1932"/>
                  </a:lnTo>
                  <a:lnTo>
                    <a:pt x="406" y="1895"/>
                  </a:lnTo>
                  <a:lnTo>
                    <a:pt x="372" y="1857"/>
                  </a:lnTo>
                  <a:lnTo>
                    <a:pt x="341" y="1817"/>
                  </a:lnTo>
                  <a:lnTo>
                    <a:pt x="312" y="1776"/>
                  </a:lnTo>
                  <a:lnTo>
                    <a:pt x="285" y="1732"/>
                  </a:lnTo>
                  <a:lnTo>
                    <a:pt x="259" y="1688"/>
                  </a:lnTo>
                  <a:lnTo>
                    <a:pt x="236" y="1644"/>
                  </a:lnTo>
                  <a:lnTo>
                    <a:pt x="216" y="1596"/>
                  </a:lnTo>
                  <a:lnTo>
                    <a:pt x="216" y="1596"/>
                  </a:lnTo>
                  <a:lnTo>
                    <a:pt x="205" y="1573"/>
                  </a:lnTo>
                  <a:lnTo>
                    <a:pt x="196" y="1548"/>
                  </a:lnTo>
                  <a:lnTo>
                    <a:pt x="187" y="1523"/>
                  </a:lnTo>
                  <a:lnTo>
                    <a:pt x="179" y="1498"/>
                  </a:lnTo>
                  <a:lnTo>
                    <a:pt x="171" y="1473"/>
                  </a:lnTo>
                  <a:lnTo>
                    <a:pt x="165" y="1447"/>
                  </a:lnTo>
                  <a:lnTo>
                    <a:pt x="159" y="1422"/>
                  </a:lnTo>
                  <a:lnTo>
                    <a:pt x="153" y="1397"/>
                  </a:lnTo>
                  <a:lnTo>
                    <a:pt x="149" y="1371"/>
                  </a:lnTo>
                  <a:lnTo>
                    <a:pt x="144" y="1344"/>
                  </a:lnTo>
                  <a:lnTo>
                    <a:pt x="141" y="1318"/>
                  </a:lnTo>
                  <a:lnTo>
                    <a:pt x="137" y="1293"/>
                  </a:lnTo>
                  <a:lnTo>
                    <a:pt x="135" y="1266"/>
                  </a:lnTo>
                  <a:lnTo>
                    <a:pt x="133" y="1240"/>
                  </a:lnTo>
                  <a:lnTo>
                    <a:pt x="132" y="1213"/>
                  </a:lnTo>
                  <a:lnTo>
                    <a:pt x="132" y="1186"/>
                  </a:lnTo>
                  <a:lnTo>
                    <a:pt x="132" y="1186"/>
                  </a:lnTo>
                  <a:lnTo>
                    <a:pt x="132" y="1160"/>
                  </a:lnTo>
                  <a:lnTo>
                    <a:pt x="133" y="1133"/>
                  </a:lnTo>
                  <a:lnTo>
                    <a:pt x="135" y="1107"/>
                  </a:lnTo>
                  <a:lnTo>
                    <a:pt x="137" y="1080"/>
                  </a:lnTo>
                  <a:lnTo>
                    <a:pt x="141" y="1055"/>
                  </a:lnTo>
                  <a:lnTo>
                    <a:pt x="144" y="1028"/>
                  </a:lnTo>
                  <a:lnTo>
                    <a:pt x="149" y="1002"/>
                  </a:lnTo>
                  <a:lnTo>
                    <a:pt x="153" y="976"/>
                  </a:lnTo>
                  <a:lnTo>
                    <a:pt x="159" y="951"/>
                  </a:lnTo>
                  <a:lnTo>
                    <a:pt x="165" y="925"/>
                  </a:lnTo>
                  <a:lnTo>
                    <a:pt x="171" y="900"/>
                  </a:lnTo>
                  <a:lnTo>
                    <a:pt x="179" y="874"/>
                  </a:lnTo>
                  <a:lnTo>
                    <a:pt x="187" y="850"/>
                  </a:lnTo>
                  <a:lnTo>
                    <a:pt x="196" y="825"/>
                  </a:lnTo>
                  <a:lnTo>
                    <a:pt x="205" y="800"/>
                  </a:lnTo>
                  <a:lnTo>
                    <a:pt x="216" y="775"/>
                  </a:lnTo>
                  <a:lnTo>
                    <a:pt x="216" y="775"/>
                  </a:lnTo>
                  <a:lnTo>
                    <a:pt x="236" y="729"/>
                  </a:lnTo>
                  <a:lnTo>
                    <a:pt x="259" y="684"/>
                  </a:lnTo>
                  <a:lnTo>
                    <a:pt x="285" y="640"/>
                  </a:lnTo>
                  <a:lnTo>
                    <a:pt x="312" y="597"/>
                  </a:lnTo>
                  <a:lnTo>
                    <a:pt x="341" y="556"/>
                  </a:lnTo>
                  <a:lnTo>
                    <a:pt x="372" y="516"/>
                  </a:lnTo>
                  <a:lnTo>
                    <a:pt x="406" y="478"/>
                  </a:lnTo>
                  <a:lnTo>
                    <a:pt x="441" y="441"/>
                  </a:lnTo>
                  <a:lnTo>
                    <a:pt x="441" y="441"/>
                  </a:lnTo>
                  <a:lnTo>
                    <a:pt x="479" y="405"/>
                  </a:lnTo>
                  <a:lnTo>
                    <a:pt x="517" y="372"/>
                  </a:lnTo>
                  <a:lnTo>
                    <a:pt x="557" y="341"/>
                  </a:lnTo>
                  <a:lnTo>
                    <a:pt x="598" y="311"/>
                  </a:lnTo>
                  <a:lnTo>
                    <a:pt x="641" y="284"/>
                  </a:lnTo>
                  <a:lnTo>
                    <a:pt x="685" y="258"/>
                  </a:lnTo>
                  <a:lnTo>
                    <a:pt x="730" y="236"/>
                  </a:lnTo>
                  <a:lnTo>
                    <a:pt x="777" y="214"/>
                  </a:lnTo>
                  <a:lnTo>
                    <a:pt x="777" y="214"/>
                  </a:lnTo>
                  <a:lnTo>
                    <a:pt x="801" y="205"/>
                  </a:lnTo>
                  <a:lnTo>
                    <a:pt x="826" y="194"/>
                  </a:lnTo>
                  <a:lnTo>
                    <a:pt x="851" y="186"/>
                  </a:lnTo>
                  <a:lnTo>
                    <a:pt x="876" y="178"/>
                  </a:lnTo>
                  <a:lnTo>
                    <a:pt x="901" y="171"/>
                  </a:lnTo>
                  <a:lnTo>
                    <a:pt x="927" y="163"/>
                  </a:lnTo>
                  <a:lnTo>
                    <a:pt x="951" y="157"/>
                  </a:lnTo>
                  <a:lnTo>
                    <a:pt x="977" y="152"/>
                  </a:lnTo>
                  <a:lnTo>
                    <a:pt x="1003" y="147"/>
                  </a:lnTo>
                  <a:lnTo>
                    <a:pt x="1029" y="143"/>
                  </a:lnTo>
                  <a:lnTo>
                    <a:pt x="1056" y="140"/>
                  </a:lnTo>
                  <a:lnTo>
                    <a:pt x="1081" y="137"/>
                  </a:lnTo>
                  <a:lnTo>
                    <a:pt x="1108" y="135"/>
                  </a:lnTo>
                  <a:lnTo>
                    <a:pt x="1134" y="133"/>
                  </a:lnTo>
                  <a:lnTo>
                    <a:pt x="1161" y="132"/>
                  </a:lnTo>
                  <a:lnTo>
                    <a:pt x="1187" y="132"/>
                  </a:lnTo>
                  <a:lnTo>
                    <a:pt x="1187" y="132"/>
                  </a:lnTo>
                  <a:lnTo>
                    <a:pt x="1187" y="0"/>
                  </a:lnTo>
                  <a:lnTo>
                    <a:pt x="1187" y="0"/>
                  </a:lnTo>
                  <a:close/>
                </a:path>
              </a:pathLst>
            </a:custGeom>
            <a:solidFill>
              <a:srgbClr val="7F807E"/>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4" name="Freeform 617">
              <a:extLst>
                <a:ext uri="{FF2B5EF4-FFF2-40B4-BE49-F238E27FC236}">
                  <a16:creationId xmlns:a16="http://schemas.microsoft.com/office/drawing/2014/main" id="{0DE2A902-3904-FEB2-A438-C3C033685EAA}"/>
                </a:ext>
              </a:extLst>
            </p:cNvPr>
            <p:cNvSpPr>
              <a:spLocks/>
            </p:cNvSpPr>
            <p:nvPr/>
          </p:nvSpPr>
          <p:spPr bwMode="auto">
            <a:xfrm>
              <a:off x="3521076" y="3365500"/>
              <a:ext cx="236538" cy="471488"/>
            </a:xfrm>
            <a:custGeom>
              <a:avLst/>
              <a:gdLst/>
              <a:ahLst/>
              <a:cxnLst>
                <a:cxn ang="0">
                  <a:pos x="1127" y="1"/>
                </a:cxn>
                <a:cxn ang="0">
                  <a:pos x="1007" y="13"/>
                </a:cxn>
                <a:cxn ang="0">
                  <a:pos x="891" y="37"/>
                </a:cxn>
                <a:cxn ang="0">
                  <a:pos x="779" y="72"/>
                </a:cxn>
                <a:cxn ang="0">
                  <a:pos x="673" y="116"/>
                </a:cxn>
                <a:cxn ang="0">
                  <a:pos x="572" y="172"/>
                </a:cxn>
                <a:cxn ang="0">
                  <a:pos x="477" y="236"/>
                </a:cxn>
                <a:cxn ang="0">
                  <a:pos x="390" y="308"/>
                </a:cxn>
                <a:cxn ang="0">
                  <a:pos x="308" y="388"/>
                </a:cxn>
                <a:cxn ang="0">
                  <a:pos x="236" y="477"/>
                </a:cxn>
                <a:cxn ang="0">
                  <a:pos x="172" y="570"/>
                </a:cxn>
                <a:cxn ang="0">
                  <a:pos x="118" y="671"/>
                </a:cxn>
                <a:cxn ang="0">
                  <a:pos x="73" y="779"/>
                </a:cxn>
                <a:cxn ang="0">
                  <a:pos x="37" y="890"/>
                </a:cxn>
                <a:cxn ang="0">
                  <a:pos x="14" y="1005"/>
                </a:cxn>
                <a:cxn ang="0">
                  <a:pos x="2" y="1126"/>
                </a:cxn>
                <a:cxn ang="0">
                  <a:pos x="0" y="1217"/>
                </a:cxn>
                <a:cxn ang="0">
                  <a:pos x="10" y="1338"/>
                </a:cxn>
                <a:cxn ang="0">
                  <a:pos x="31" y="1454"/>
                </a:cxn>
                <a:cxn ang="0">
                  <a:pos x="63" y="1567"/>
                </a:cxn>
                <a:cxn ang="0">
                  <a:pos x="105" y="1675"/>
                </a:cxn>
                <a:cxn ang="0">
                  <a:pos x="158" y="1777"/>
                </a:cxn>
                <a:cxn ang="0">
                  <a:pos x="220" y="1874"/>
                </a:cxn>
                <a:cxn ang="0">
                  <a:pos x="290" y="1963"/>
                </a:cxn>
                <a:cxn ang="0">
                  <a:pos x="368" y="2046"/>
                </a:cxn>
                <a:cxn ang="0">
                  <a:pos x="455" y="2120"/>
                </a:cxn>
                <a:cxn ang="0">
                  <a:pos x="548" y="2186"/>
                </a:cxn>
                <a:cxn ang="0">
                  <a:pos x="648" y="2243"/>
                </a:cxn>
                <a:cxn ang="0">
                  <a:pos x="753" y="2291"/>
                </a:cxn>
                <a:cxn ang="0">
                  <a:pos x="863" y="2328"/>
                </a:cxn>
                <a:cxn ang="0">
                  <a:pos x="977" y="2355"/>
                </a:cxn>
                <a:cxn ang="0">
                  <a:pos x="1096" y="2369"/>
                </a:cxn>
                <a:cxn ang="0">
                  <a:pos x="1187" y="2241"/>
                </a:cxn>
                <a:cxn ang="0">
                  <a:pos x="1134" y="2240"/>
                </a:cxn>
                <a:cxn ang="0">
                  <a:pos x="1029" y="2229"/>
                </a:cxn>
                <a:cxn ang="0">
                  <a:pos x="927" y="2208"/>
                </a:cxn>
                <a:cxn ang="0">
                  <a:pos x="826" y="2177"/>
                </a:cxn>
                <a:cxn ang="0">
                  <a:pos x="730" y="2137"/>
                </a:cxn>
                <a:cxn ang="0">
                  <a:pos x="557" y="2032"/>
                </a:cxn>
                <a:cxn ang="0">
                  <a:pos x="441" y="1932"/>
                </a:cxn>
                <a:cxn ang="0">
                  <a:pos x="312" y="1776"/>
                </a:cxn>
                <a:cxn ang="0">
                  <a:pos x="216" y="1596"/>
                </a:cxn>
                <a:cxn ang="0">
                  <a:pos x="187" y="1523"/>
                </a:cxn>
                <a:cxn ang="0">
                  <a:pos x="159" y="1422"/>
                </a:cxn>
                <a:cxn ang="0">
                  <a:pos x="141" y="1318"/>
                </a:cxn>
                <a:cxn ang="0">
                  <a:pos x="132" y="1213"/>
                </a:cxn>
                <a:cxn ang="0">
                  <a:pos x="133" y="1133"/>
                </a:cxn>
                <a:cxn ang="0">
                  <a:pos x="144" y="1028"/>
                </a:cxn>
                <a:cxn ang="0">
                  <a:pos x="165" y="925"/>
                </a:cxn>
                <a:cxn ang="0">
                  <a:pos x="196" y="825"/>
                </a:cxn>
                <a:cxn ang="0">
                  <a:pos x="236" y="729"/>
                </a:cxn>
                <a:cxn ang="0">
                  <a:pos x="341" y="556"/>
                </a:cxn>
                <a:cxn ang="0">
                  <a:pos x="441" y="441"/>
                </a:cxn>
                <a:cxn ang="0">
                  <a:pos x="598" y="311"/>
                </a:cxn>
                <a:cxn ang="0">
                  <a:pos x="777" y="214"/>
                </a:cxn>
                <a:cxn ang="0">
                  <a:pos x="851" y="186"/>
                </a:cxn>
                <a:cxn ang="0">
                  <a:pos x="951" y="157"/>
                </a:cxn>
                <a:cxn ang="0">
                  <a:pos x="1056" y="140"/>
                </a:cxn>
                <a:cxn ang="0">
                  <a:pos x="1161" y="132"/>
                </a:cxn>
                <a:cxn ang="0">
                  <a:pos x="1187" y="0"/>
                </a:cxn>
              </a:cxnLst>
              <a:rect l="0" t="0" r="r" b="b"/>
              <a:pathLst>
                <a:path w="1187" h="2373">
                  <a:moveTo>
                    <a:pt x="1187" y="0"/>
                  </a:moveTo>
                  <a:lnTo>
                    <a:pt x="1187" y="0"/>
                  </a:lnTo>
                  <a:lnTo>
                    <a:pt x="1157" y="0"/>
                  </a:lnTo>
                  <a:lnTo>
                    <a:pt x="1127" y="1"/>
                  </a:lnTo>
                  <a:lnTo>
                    <a:pt x="1096" y="3"/>
                  </a:lnTo>
                  <a:lnTo>
                    <a:pt x="1066" y="6"/>
                  </a:lnTo>
                  <a:lnTo>
                    <a:pt x="1036" y="9"/>
                  </a:lnTo>
                  <a:lnTo>
                    <a:pt x="1007" y="13"/>
                  </a:lnTo>
                  <a:lnTo>
                    <a:pt x="977" y="18"/>
                  </a:lnTo>
                  <a:lnTo>
                    <a:pt x="948" y="23"/>
                  </a:lnTo>
                  <a:lnTo>
                    <a:pt x="920" y="30"/>
                  </a:lnTo>
                  <a:lnTo>
                    <a:pt x="891" y="37"/>
                  </a:lnTo>
                  <a:lnTo>
                    <a:pt x="863" y="45"/>
                  </a:lnTo>
                  <a:lnTo>
                    <a:pt x="835" y="53"/>
                  </a:lnTo>
                  <a:lnTo>
                    <a:pt x="807" y="62"/>
                  </a:lnTo>
                  <a:lnTo>
                    <a:pt x="779" y="72"/>
                  </a:lnTo>
                  <a:lnTo>
                    <a:pt x="753" y="82"/>
                  </a:lnTo>
                  <a:lnTo>
                    <a:pt x="726" y="92"/>
                  </a:lnTo>
                  <a:lnTo>
                    <a:pt x="699" y="105"/>
                  </a:lnTo>
                  <a:lnTo>
                    <a:pt x="673" y="116"/>
                  </a:lnTo>
                  <a:lnTo>
                    <a:pt x="648" y="130"/>
                  </a:lnTo>
                  <a:lnTo>
                    <a:pt x="622" y="143"/>
                  </a:lnTo>
                  <a:lnTo>
                    <a:pt x="597" y="156"/>
                  </a:lnTo>
                  <a:lnTo>
                    <a:pt x="572" y="172"/>
                  </a:lnTo>
                  <a:lnTo>
                    <a:pt x="548" y="186"/>
                  </a:lnTo>
                  <a:lnTo>
                    <a:pt x="524" y="203"/>
                  </a:lnTo>
                  <a:lnTo>
                    <a:pt x="500" y="218"/>
                  </a:lnTo>
                  <a:lnTo>
                    <a:pt x="477" y="236"/>
                  </a:lnTo>
                  <a:lnTo>
                    <a:pt x="455" y="253"/>
                  </a:lnTo>
                  <a:lnTo>
                    <a:pt x="432" y="271"/>
                  </a:lnTo>
                  <a:lnTo>
                    <a:pt x="411" y="289"/>
                  </a:lnTo>
                  <a:lnTo>
                    <a:pt x="390" y="308"/>
                  </a:lnTo>
                  <a:lnTo>
                    <a:pt x="368" y="327"/>
                  </a:lnTo>
                  <a:lnTo>
                    <a:pt x="349" y="347"/>
                  </a:lnTo>
                  <a:lnTo>
                    <a:pt x="328" y="367"/>
                  </a:lnTo>
                  <a:lnTo>
                    <a:pt x="308" y="388"/>
                  </a:lnTo>
                  <a:lnTo>
                    <a:pt x="290" y="410"/>
                  </a:lnTo>
                  <a:lnTo>
                    <a:pt x="271" y="431"/>
                  </a:lnTo>
                  <a:lnTo>
                    <a:pt x="254" y="454"/>
                  </a:lnTo>
                  <a:lnTo>
                    <a:pt x="236" y="477"/>
                  </a:lnTo>
                  <a:lnTo>
                    <a:pt x="220" y="499"/>
                  </a:lnTo>
                  <a:lnTo>
                    <a:pt x="203" y="523"/>
                  </a:lnTo>
                  <a:lnTo>
                    <a:pt x="188" y="547"/>
                  </a:lnTo>
                  <a:lnTo>
                    <a:pt x="172" y="570"/>
                  </a:lnTo>
                  <a:lnTo>
                    <a:pt x="158" y="595"/>
                  </a:lnTo>
                  <a:lnTo>
                    <a:pt x="144" y="621"/>
                  </a:lnTo>
                  <a:lnTo>
                    <a:pt x="130" y="646"/>
                  </a:lnTo>
                  <a:lnTo>
                    <a:pt x="118" y="671"/>
                  </a:lnTo>
                  <a:lnTo>
                    <a:pt x="105" y="698"/>
                  </a:lnTo>
                  <a:lnTo>
                    <a:pt x="94" y="724"/>
                  </a:lnTo>
                  <a:lnTo>
                    <a:pt x="83" y="751"/>
                  </a:lnTo>
                  <a:lnTo>
                    <a:pt x="73" y="779"/>
                  </a:lnTo>
                  <a:lnTo>
                    <a:pt x="63" y="805"/>
                  </a:lnTo>
                  <a:lnTo>
                    <a:pt x="54" y="833"/>
                  </a:lnTo>
                  <a:lnTo>
                    <a:pt x="46" y="861"/>
                  </a:lnTo>
                  <a:lnTo>
                    <a:pt x="37" y="890"/>
                  </a:lnTo>
                  <a:lnTo>
                    <a:pt x="31" y="919"/>
                  </a:lnTo>
                  <a:lnTo>
                    <a:pt x="24" y="947"/>
                  </a:lnTo>
                  <a:lnTo>
                    <a:pt x="19" y="976"/>
                  </a:lnTo>
                  <a:lnTo>
                    <a:pt x="14" y="1005"/>
                  </a:lnTo>
                  <a:lnTo>
                    <a:pt x="10" y="1035"/>
                  </a:lnTo>
                  <a:lnTo>
                    <a:pt x="7" y="1065"/>
                  </a:lnTo>
                  <a:lnTo>
                    <a:pt x="3" y="1095"/>
                  </a:lnTo>
                  <a:lnTo>
                    <a:pt x="2" y="1126"/>
                  </a:lnTo>
                  <a:lnTo>
                    <a:pt x="0" y="1156"/>
                  </a:lnTo>
                  <a:lnTo>
                    <a:pt x="0" y="1186"/>
                  </a:lnTo>
                  <a:lnTo>
                    <a:pt x="0" y="1186"/>
                  </a:lnTo>
                  <a:lnTo>
                    <a:pt x="0" y="1217"/>
                  </a:lnTo>
                  <a:lnTo>
                    <a:pt x="2" y="1247"/>
                  </a:lnTo>
                  <a:lnTo>
                    <a:pt x="3" y="1277"/>
                  </a:lnTo>
                  <a:lnTo>
                    <a:pt x="7" y="1308"/>
                  </a:lnTo>
                  <a:lnTo>
                    <a:pt x="10" y="1338"/>
                  </a:lnTo>
                  <a:lnTo>
                    <a:pt x="14" y="1367"/>
                  </a:lnTo>
                  <a:lnTo>
                    <a:pt x="19" y="1397"/>
                  </a:lnTo>
                  <a:lnTo>
                    <a:pt x="24" y="1425"/>
                  </a:lnTo>
                  <a:lnTo>
                    <a:pt x="31" y="1454"/>
                  </a:lnTo>
                  <a:lnTo>
                    <a:pt x="37" y="1483"/>
                  </a:lnTo>
                  <a:lnTo>
                    <a:pt x="46" y="1511"/>
                  </a:lnTo>
                  <a:lnTo>
                    <a:pt x="54" y="1539"/>
                  </a:lnTo>
                  <a:lnTo>
                    <a:pt x="63" y="1567"/>
                  </a:lnTo>
                  <a:lnTo>
                    <a:pt x="73" y="1594"/>
                  </a:lnTo>
                  <a:lnTo>
                    <a:pt x="83" y="1621"/>
                  </a:lnTo>
                  <a:lnTo>
                    <a:pt x="94" y="1648"/>
                  </a:lnTo>
                  <a:lnTo>
                    <a:pt x="105" y="1675"/>
                  </a:lnTo>
                  <a:lnTo>
                    <a:pt x="118" y="1701"/>
                  </a:lnTo>
                  <a:lnTo>
                    <a:pt x="130" y="1726"/>
                  </a:lnTo>
                  <a:lnTo>
                    <a:pt x="144" y="1752"/>
                  </a:lnTo>
                  <a:lnTo>
                    <a:pt x="158" y="1777"/>
                  </a:lnTo>
                  <a:lnTo>
                    <a:pt x="172" y="1801"/>
                  </a:lnTo>
                  <a:lnTo>
                    <a:pt x="188" y="1826"/>
                  </a:lnTo>
                  <a:lnTo>
                    <a:pt x="203" y="1850"/>
                  </a:lnTo>
                  <a:lnTo>
                    <a:pt x="220" y="1874"/>
                  </a:lnTo>
                  <a:lnTo>
                    <a:pt x="236" y="1896"/>
                  </a:lnTo>
                  <a:lnTo>
                    <a:pt x="254" y="1919"/>
                  </a:lnTo>
                  <a:lnTo>
                    <a:pt x="271" y="1942"/>
                  </a:lnTo>
                  <a:lnTo>
                    <a:pt x="290" y="1963"/>
                  </a:lnTo>
                  <a:lnTo>
                    <a:pt x="308" y="1984"/>
                  </a:lnTo>
                  <a:lnTo>
                    <a:pt x="328" y="2005"/>
                  </a:lnTo>
                  <a:lnTo>
                    <a:pt x="349" y="2025"/>
                  </a:lnTo>
                  <a:lnTo>
                    <a:pt x="368" y="2046"/>
                  </a:lnTo>
                  <a:lnTo>
                    <a:pt x="390" y="2065"/>
                  </a:lnTo>
                  <a:lnTo>
                    <a:pt x="411" y="2084"/>
                  </a:lnTo>
                  <a:lnTo>
                    <a:pt x="432" y="2102"/>
                  </a:lnTo>
                  <a:lnTo>
                    <a:pt x="455" y="2120"/>
                  </a:lnTo>
                  <a:lnTo>
                    <a:pt x="477" y="2137"/>
                  </a:lnTo>
                  <a:lnTo>
                    <a:pt x="500" y="2154"/>
                  </a:lnTo>
                  <a:lnTo>
                    <a:pt x="524" y="2170"/>
                  </a:lnTo>
                  <a:lnTo>
                    <a:pt x="548" y="2186"/>
                  </a:lnTo>
                  <a:lnTo>
                    <a:pt x="572" y="2201"/>
                  </a:lnTo>
                  <a:lnTo>
                    <a:pt x="597" y="2216"/>
                  </a:lnTo>
                  <a:lnTo>
                    <a:pt x="622" y="2230"/>
                  </a:lnTo>
                  <a:lnTo>
                    <a:pt x="648" y="2243"/>
                  </a:lnTo>
                  <a:lnTo>
                    <a:pt x="673" y="2256"/>
                  </a:lnTo>
                  <a:lnTo>
                    <a:pt x="699" y="2268"/>
                  </a:lnTo>
                  <a:lnTo>
                    <a:pt x="726" y="2279"/>
                  </a:lnTo>
                  <a:lnTo>
                    <a:pt x="753" y="2291"/>
                  </a:lnTo>
                  <a:lnTo>
                    <a:pt x="779" y="2301"/>
                  </a:lnTo>
                  <a:lnTo>
                    <a:pt x="807" y="2310"/>
                  </a:lnTo>
                  <a:lnTo>
                    <a:pt x="835" y="2320"/>
                  </a:lnTo>
                  <a:lnTo>
                    <a:pt x="863" y="2328"/>
                  </a:lnTo>
                  <a:lnTo>
                    <a:pt x="891" y="2336"/>
                  </a:lnTo>
                  <a:lnTo>
                    <a:pt x="920" y="2342"/>
                  </a:lnTo>
                  <a:lnTo>
                    <a:pt x="948" y="2348"/>
                  </a:lnTo>
                  <a:lnTo>
                    <a:pt x="977" y="2355"/>
                  </a:lnTo>
                  <a:lnTo>
                    <a:pt x="1007" y="2360"/>
                  </a:lnTo>
                  <a:lnTo>
                    <a:pt x="1036" y="2364"/>
                  </a:lnTo>
                  <a:lnTo>
                    <a:pt x="1066" y="2367"/>
                  </a:lnTo>
                  <a:lnTo>
                    <a:pt x="1096" y="2369"/>
                  </a:lnTo>
                  <a:lnTo>
                    <a:pt x="1127" y="2371"/>
                  </a:lnTo>
                  <a:lnTo>
                    <a:pt x="1157" y="2372"/>
                  </a:lnTo>
                  <a:lnTo>
                    <a:pt x="1187" y="2373"/>
                  </a:lnTo>
                  <a:lnTo>
                    <a:pt x="1187" y="2241"/>
                  </a:lnTo>
                  <a:lnTo>
                    <a:pt x="1187" y="2241"/>
                  </a:lnTo>
                  <a:lnTo>
                    <a:pt x="1187" y="2241"/>
                  </a:lnTo>
                  <a:lnTo>
                    <a:pt x="1161" y="2241"/>
                  </a:lnTo>
                  <a:lnTo>
                    <a:pt x="1134" y="2240"/>
                  </a:lnTo>
                  <a:lnTo>
                    <a:pt x="1108" y="2238"/>
                  </a:lnTo>
                  <a:lnTo>
                    <a:pt x="1081" y="2236"/>
                  </a:lnTo>
                  <a:lnTo>
                    <a:pt x="1056" y="2233"/>
                  </a:lnTo>
                  <a:lnTo>
                    <a:pt x="1029" y="2229"/>
                  </a:lnTo>
                  <a:lnTo>
                    <a:pt x="1003" y="2225"/>
                  </a:lnTo>
                  <a:lnTo>
                    <a:pt x="977" y="2221"/>
                  </a:lnTo>
                  <a:lnTo>
                    <a:pt x="951" y="2215"/>
                  </a:lnTo>
                  <a:lnTo>
                    <a:pt x="927" y="2208"/>
                  </a:lnTo>
                  <a:lnTo>
                    <a:pt x="901" y="2202"/>
                  </a:lnTo>
                  <a:lnTo>
                    <a:pt x="876" y="2195"/>
                  </a:lnTo>
                  <a:lnTo>
                    <a:pt x="851" y="2187"/>
                  </a:lnTo>
                  <a:lnTo>
                    <a:pt x="826" y="2177"/>
                  </a:lnTo>
                  <a:lnTo>
                    <a:pt x="801" y="2168"/>
                  </a:lnTo>
                  <a:lnTo>
                    <a:pt x="777" y="2158"/>
                  </a:lnTo>
                  <a:lnTo>
                    <a:pt x="777" y="2158"/>
                  </a:lnTo>
                  <a:lnTo>
                    <a:pt x="730" y="2137"/>
                  </a:lnTo>
                  <a:lnTo>
                    <a:pt x="685" y="2115"/>
                  </a:lnTo>
                  <a:lnTo>
                    <a:pt x="641" y="2089"/>
                  </a:lnTo>
                  <a:lnTo>
                    <a:pt x="598" y="2062"/>
                  </a:lnTo>
                  <a:lnTo>
                    <a:pt x="557" y="2032"/>
                  </a:lnTo>
                  <a:lnTo>
                    <a:pt x="517" y="2001"/>
                  </a:lnTo>
                  <a:lnTo>
                    <a:pt x="479" y="1967"/>
                  </a:lnTo>
                  <a:lnTo>
                    <a:pt x="441" y="1932"/>
                  </a:lnTo>
                  <a:lnTo>
                    <a:pt x="441" y="1932"/>
                  </a:lnTo>
                  <a:lnTo>
                    <a:pt x="406" y="1895"/>
                  </a:lnTo>
                  <a:lnTo>
                    <a:pt x="372" y="1857"/>
                  </a:lnTo>
                  <a:lnTo>
                    <a:pt x="341" y="1817"/>
                  </a:lnTo>
                  <a:lnTo>
                    <a:pt x="312" y="1776"/>
                  </a:lnTo>
                  <a:lnTo>
                    <a:pt x="285" y="1732"/>
                  </a:lnTo>
                  <a:lnTo>
                    <a:pt x="259" y="1688"/>
                  </a:lnTo>
                  <a:lnTo>
                    <a:pt x="236" y="1644"/>
                  </a:lnTo>
                  <a:lnTo>
                    <a:pt x="216" y="1596"/>
                  </a:lnTo>
                  <a:lnTo>
                    <a:pt x="216" y="1596"/>
                  </a:lnTo>
                  <a:lnTo>
                    <a:pt x="205" y="1573"/>
                  </a:lnTo>
                  <a:lnTo>
                    <a:pt x="196" y="1548"/>
                  </a:lnTo>
                  <a:lnTo>
                    <a:pt x="187" y="1523"/>
                  </a:lnTo>
                  <a:lnTo>
                    <a:pt x="179" y="1498"/>
                  </a:lnTo>
                  <a:lnTo>
                    <a:pt x="171" y="1473"/>
                  </a:lnTo>
                  <a:lnTo>
                    <a:pt x="165" y="1447"/>
                  </a:lnTo>
                  <a:lnTo>
                    <a:pt x="159" y="1422"/>
                  </a:lnTo>
                  <a:lnTo>
                    <a:pt x="153" y="1397"/>
                  </a:lnTo>
                  <a:lnTo>
                    <a:pt x="149" y="1371"/>
                  </a:lnTo>
                  <a:lnTo>
                    <a:pt x="144" y="1344"/>
                  </a:lnTo>
                  <a:lnTo>
                    <a:pt x="141" y="1318"/>
                  </a:lnTo>
                  <a:lnTo>
                    <a:pt x="137" y="1293"/>
                  </a:lnTo>
                  <a:lnTo>
                    <a:pt x="135" y="1266"/>
                  </a:lnTo>
                  <a:lnTo>
                    <a:pt x="133" y="1240"/>
                  </a:lnTo>
                  <a:lnTo>
                    <a:pt x="132" y="1213"/>
                  </a:lnTo>
                  <a:lnTo>
                    <a:pt x="132" y="1186"/>
                  </a:lnTo>
                  <a:lnTo>
                    <a:pt x="132" y="1186"/>
                  </a:lnTo>
                  <a:lnTo>
                    <a:pt x="132" y="1160"/>
                  </a:lnTo>
                  <a:lnTo>
                    <a:pt x="133" y="1133"/>
                  </a:lnTo>
                  <a:lnTo>
                    <a:pt x="135" y="1107"/>
                  </a:lnTo>
                  <a:lnTo>
                    <a:pt x="137" y="1080"/>
                  </a:lnTo>
                  <a:lnTo>
                    <a:pt x="141" y="1055"/>
                  </a:lnTo>
                  <a:lnTo>
                    <a:pt x="144" y="1028"/>
                  </a:lnTo>
                  <a:lnTo>
                    <a:pt x="149" y="1002"/>
                  </a:lnTo>
                  <a:lnTo>
                    <a:pt x="153" y="976"/>
                  </a:lnTo>
                  <a:lnTo>
                    <a:pt x="159" y="951"/>
                  </a:lnTo>
                  <a:lnTo>
                    <a:pt x="165" y="925"/>
                  </a:lnTo>
                  <a:lnTo>
                    <a:pt x="171" y="900"/>
                  </a:lnTo>
                  <a:lnTo>
                    <a:pt x="179" y="874"/>
                  </a:lnTo>
                  <a:lnTo>
                    <a:pt x="187" y="850"/>
                  </a:lnTo>
                  <a:lnTo>
                    <a:pt x="196" y="825"/>
                  </a:lnTo>
                  <a:lnTo>
                    <a:pt x="205" y="800"/>
                  </a:lnTo>
                  <a:lnTo>
                    <a:pt x="216" y="775"/>
                  </a:lnTo>
                  <a:lnTo>
                    <a:pt x="216" y="775"/>
                  </a:lnTo>
                  <a:lnTo>
                    <a:pt x="236" y="729"/>
                  </a:lnTo>
                  <a:lnTo>
                    <a:pt x="259" y="684"/>
                  </a:lnTo>
                  <a:lnTo>
                    <a:pt x="285" y="640"/>
                  </a:lnTo>
                  <a:lnTo>
                    <a:pt x="312" y="597"/>
                  </a:lnTo>
                  <a:lnTo>
                    <a:pt x="341" y="556"/>
                  </a:lnTo>
                  <a:lnTo>
                    <a:pt x="372" y="516"/>
                  </a:lnTo>
                  <a:lnTo>
                    <a:pt x="406" y="478"/>
                  </a:lnTo>
                  <a:lnTo>
                    <a:pt x="441" y="441"/>
                  </a:lnTo>
                  <a:lnTo>
                    <a:pt x="441" y="441"/>
                  </a:lnTo>
                  <a:lnTo>
                    <a:pt x="479" y="405"/>
                  </a:lnTo>
                  <a:lnTo>
                    <a:pt x="517" y="372"/>
                  </a:lnTo>
                  <a:lnTo>
                    <a:pt x="557" y="341"/>
                  </a:lnTo>
                  <a:lnTo>
                    <a:pt x="598" y="311"/>
                  </a:lnTo>
                  <a:lnTo>
                    <a:pt x="641" y="284"/>
                  </a:lnTo>
                  <a:lnTo>
                    <a:pt x="685" y="258"/>
                  </a:lnTo>
                  <a:lnTo>
                    <a:pt x="730" y="236"/>
                  </a:lnTo>
                  <a:lnTo>
                    <a:pt x="777" y="214"/>
                  </a:lnTo>
                  <a:lnTo>
                    <a:pt x="777" y="214"/>
                  </a:lnTo>
                  <a:lnTo>
                    <a:pt x="801" y="205"/>
                  </a:lnTo>
                  <a:lnTo>
                    <a:pt x="826" y="194"/>
                  </a:lnTo>
                  <a:lnTo>
                    <a:pt x="851" y="186"/>
                  </a:lnTo>
                  <a:lnTo>
                    <a:pt x="876" y="178"/>
                  </a:lnTo>
                  <a:lnTo>
                    <a:pt x="901" y="171"/>
                  </a:lnTo>
                  <a:lnTo>
                    <a:pt x="927" y="163"/>
                  </a:lnTo>
                  <a:lnTo>
                    <a:pt x="951" y="157"/>
                  </a:lnTo>
                  <a:lnTo>
                    <a:pt x="977" y="152"/>
                  </a:lnTo>
                  <a:lnTo>
                    <a:pt x="1003" y="147"/>
                  </a:lnTo>
                  <a:lnTo>
                    <a:pt x="1029" y="143"/>
                  </a:lnTo>
                  <a:lnTo>
                    <a:pt x="1056" y="140"/>
                  </a:lnTo>
                  <a:lnTo>
                    <a:pt x="1081" y="137"/>
                  </a:lnTo>
                  <a:lnTo>
                    <a:pt x="1108" y="135"/>
                  </a:lnTo>
                  <a:lnTo>
                    <a:pt x="1134" y="133"/>
                  </a:lnTo>
                  <a:lnTo>
                    <a:pt x="1161" y="132"/>
                  </a:lnTo>
                  <a:lnTo>
                    <a:pt x="1187" y="132"/>
                  </a:lnTo>
                  <a:lnTo>
                    <a:pt x="1187" y="132"/>
                  </a:lnTo>
                  <a:lnTo>
                    <a:pt x="1187" y="0"/>
                  </a:lnTo>
                  <a:lnTo>
                    <a:pt x="1187"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5" name="Freeform 618">
              <a:extLst>
                <a:ext uri="{FF2B5EF4-FFF2-40B4-BE49-F238E27FC236}">
                  <a16:creationId xmlns:a16="http://schemas.microsoft.com/office/drawing/2014/main" id="{7B745EA3-E737-B75E-9171-823F746651CD}"/>
                </a:ext>
              </a:extLst>
            </p:cNvPr>
            <p:cNvSpPr>
              <a:spLocks/>
            </p:cNvSpPr>
            <p:nvPr/>
          </p:nvSpPr>
          <p:spPr bwMode="auto">
            <a:xfrm>
              <a:off x="3567113" y="3589338"/>
              <a:ext cx="22225" cy="22225"/>
            </a:xfrm>
            <a:custGeom>
              <a:avLst/>
              <a:gdLst/>
              <a:ahLst/>
              <a:cxnLst>
                <a:cxn ang="0">
                  <a:pos x="57" y="0"/>
                </a:cxn>
                <a:cxn ang="0">
                  <a:pos x="57" y="0"/>
                </a:cxn>
                <a:cxn ang="0">
                  <a:pos x="45" y="1"/>
                </a:cxn>
                <a:cxn ang="0">
                  <a:pos x="35" y="4"/>
                </a:cxn>
                <a:cxn ang="0">
                  <a:pos x="25" y="9"/>
                </a:cxn>
                <a:cxn ang="0">
                  <a:pos x="17" y="16"/>
                </a:cxn>
                <a:cxn ang="0">
                  <a:pos x="10" y="25"/>
                </a:cxn>
                <a:cxn ang="0">
                  <a:pos x="5" y="34"/>
                </a:cxn>
                <a:cxn ang="0">
                  <a:pos x="1" y="45"/>
                </a:cxn>
                <a:cxn ang="0">
                  <a:pos x="0" y="56"/>
                </a:cxn>
                <a:cxn ang="0">
                  <a:pos x="0" y="56"/>
                </a:cxn>
                <a:cxn ang="0">
                  <a:pos x="1" y="68"/>
                </a:cxn>
                <a:cxn ang="0">
                  <a:pos x="5" y="78"/>
                </a:cxn>
                <a:cxn ang="0">
                  <a:pos x="10" y="88"/>
                </a:cxn>
                <a:cxn ang="0">
                  <a:pos x="17" y="97"/>
                </a:cxn>
                <a:cxn ang="0">
                  <a:pos x="25" y="103"/>
                </a:cxn>
                <a:cxn ang="0">
                  <a:pos x="35" y="108"/>
                </a:cxn>
                <a:cxn ang="0">
                  <a:pos x="45" y="112"/>
                </a:cxn>
                <a:cxn ang="0">
                  <a:pos x="57" y="113"/>
                </a:cxn>
                <a:cxn ang="0">
                  <a:pos x="57" y="113"/>
                </a:cxn>
                <a:cxn ang="0">
                  <a:pos x="68" y="112"/>
                </a:cxn>
                <a:cxn ang="0">
                  <a:pos x="79" y="108"/>
                </a:cxn>
                <a:cxn ang="0">
                  <a:pos x="89" y="103"/>
                </a:cxn>
                <a:cxn ang="0">
                  <a:pos x="97" y="97"/>
                </a:cxn>
                <a:cxn ang="0">
                  <a:pos x="104" y="88"/>
                </a:cxn>
                <a:cxn ang="0">
                  <a:pos x="109" y="78"/>
                </a:cxn>
                <a:cxn ang="0">
                  <a:pos x="112" y="68"/>
                </a:cxn>
                <a:cxn ang="0">
                  <a:pos x="113" y="56"/>
                </a:cxn>
                <a:cxn ang="0">
                  <a:pos x="113" y="56"/>
                </a:cxn>
                <a:cxn ang="0">
                  <a:pos x="112" y="45"/>
                </a:cxn>
                <a:cxn ang="0">
                  <a:pos x="109" y="34"/>
                </a:cxn>
                <a:cxn ang="0">
                  <a:pos x="104" y="25"/>
                </a:cxn>
                <a:cxn ang="0">
                  <a:pos x="97" y="16"/>
                </a:cxn>
                <a:cxn ang="0">
                  <a:pos x="89" y="9"/>
                </a:cxn>
                <a:cxn ang="0">
                  <a:pos x="79" y="4"/>
                </a:cxn>
                <a:cxn ang="0">
                  <a:pos x="68" y="1"/>
                </a:cxn>
                <a:cxn ang="0">
                  <a:pos x="57" y="0"/>
                </a:cxn>
              </a:cxnLst>
              <a:rect l="0" t="0" r="r" b="b"/>
              <a:pathLst>
                <a:path w="113" h="113">
                  <a:moveTo>
                    <a:pt x="57" y="0"/>
                  </a:moveTo>
                  <a:lnTo>
                    <a:pt x="57" y="0"/>
                  </a:lnTo>
                  <a:lnTo>
                    <a:pt x="45" y="1"/>
                  </a:lnTo>
                  <a:lnTo>
                    <a:pt x="35" y="4"/>
                  </a:lnTo>
                  <a:lnTo>
                    <a:pt x="25" y="9"/>
                  </a:lnTo>
                  <a:lnTo>
                    <a:pt x="17" y="16"/>
                  </a:lnTo>
                  <a:lnTo>
                    <a:pt x="10" y="25"/>
                  </a:lnTo>
                  <a:lnTo>
                    <a:pt x="5" y="34"/>
                  </a:lnTo>
                  <a:lnTo>
                    <a:pt x="1" y="45"/>
                  </a:lnTo>
                  <a:lnTo>
                    <a:pt x="0" y="56"/>
                  </a:lnTo>
                  <a:lnTo>
                    <a:pt x="0" y="56"/>
                  </a:lnTo>
                  <a:lnTo>
                    <a:pt x="1" y="68"/>
                  </a:lnTo>
                  <a:lnTo>
                    <a:pt x="5" y="78"/>
                  </a:lnTo>
                  <a:lnTo>
                    <a:pt x="10" y="88"/>
                  </a:lnTo>
                  <a:lnTo>
                    <a:pt x="17" y="97"/>
                  </a:lnTo>
                  <a:lnTo>
                    <a:pt x="25" y="103"/>
                  </a:lnTo>
                  <a:lnTo>
                    <a:pt x="35" y="108"/>
                  </a:lnTo>
                  <a:lnTo>
                    <a:pt x="45" y="112"/>
                  </a:lnTo>
                  <a:lnTo>
                    <a:pt x="57" y="113"/>
                  </a:lnTo>
                  <a:lnTo>
                    <a:pt x="57" y="113"/>
                  </a:lnTo>
                  <a:lnTo>
                    <a:pt x="68" y="112"/>
                  </a:lnTo>
                  <a:lnTo>
                    <a:pt x="79" y="108"/>
                  </a:lnTo>
                  <a:lnTo>
                    <a:pt x="89" y="103"/>
                  </a:lnTo>
                  <a:lnTo>
                    <a:pt x="97" y="97"/>
                  </a:lnTo>
                  <a:lnTo>
                    <a:pt x="104" y="88"/>
                  </a:lnTo>
                  <a:lnTo>
                    <a:pt x="109" y="78"/>
                  </a:lnTo>
                  <a:lnTo>
                    <a:pt x="112" y="68"/>
                  </a:lnTo>
                  <a:lnTo>
                    <a:pt x="113" y="56"/>
                  </a:lnTo>
                  <a:lnTo>
                    <a:pt x="113" y="56"/>
                  </a:lnTo>
                  <a:lnTo>
                    <a:pt x="112" y="45"/>
                  </a:lnTo>
                  <a:lnTo>
                    <a:pt x="109" y="34"/>
                  </a:lnTo>
                  <a:lnTo>
                    <a:pt x="104" y="25"/>
                  </a:lnTo>
                  <a:lnTo>
                    <a:pt x="97" y="16"/>
                  </a:lnTo>
                  <a:lnTo>
                    <a:pt x="89" y="9"/>
                  </a:lnTo>
                  <a:lnTo>
                    <a:pt x="79" y="4"/>
                  </a:lnTo>
                  <a:lnTo>
                    <a:pt x="68" y="1"/>
                  </a:lnTo>
                  <a:lnTo>
                    <a:pt x="57" y="0"/>
                  </a:lnTo>
                  <a:close/>
                </a:path>
              </a:pathLst>
            </a:custGeom>
            <a:solidFill>
              <a:srgbClr val="FFEED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6" name="Freeform 619">
              <a:extLst>
                <a:ext uri="{FF2B5EF4-FFF2-40B4-BE49-F238E27FC236}">
                  <a16:creationId xmlns:a16="http://schemas.microsoft.com/office/drawing/2014/main" id="{1037D186-A044-289A-586E-AD6F2DD66C7A}"/>
                </a:ext>
              </a:extLst>
            </p:cNvPr>
            <p:cNvSpPr>
              <a:spLocks/>
            </p:cNvSpPr>
            <p:nvPr/>
          </p:nvSpPr>
          <p:spPr bwMode="auto">
            <a:xfrm>
              <a:off x="3567113" y="3589338"/>
              <a:ext cx="22225" cy="22225"/>
            </a:xfrm>
            <a:custGeom>
              <a:avLst/>
              <a:gdLst/>
              <a:ahLst/>
              <a:cxnLst>
                <a:cxn ang="0">
                  <a:pos x="57" y="0"/>
                </a:cxn>
                <a:cxn ang="0">
                  <a:pos x="57" y="0"/>
                </a:cxn>
                <a:cxn ang="0">
                  <a:pos x="45" y="1"/>
                </a:cxn>
                <a:cxn ang="0">
                  <a:pos x="35" y="4"/>
                </a:cxn>
                <a:cxn ang="0">
                  <a:pos x="25" y="9"/>
                </a:cxn>
                <a:cxn ang="0">
                  <a:pos x="17" y="16"/>
                </a:cxn>
                <a:cxn ang="0">
                  <a:pos x="10" y="25"/>
                </a:cxn>
                <a:cxn ang="0">
                  <a:pos x="5" y="34"/>
                </a:cxn>
                <a:cxn ang="0">
                  <a:pos x="1" y="45"/>
                </a:cxn>
                <a:cxn ang="0">
                  <a:pos x="0" y="56"/>
                </a:cxn>
                <a:cxn ang="0">
                  <a:pos x="0" y="56"/>
                </a:cxn>
                <a:cxn ang="0">
                  <a:pos x="1" y="68"/>
                </a:cxn>
                <a:cxn ang="0">
                  <a:pos x="5" y="78"/>
                </a:cxn>
                <a:cxn ang="0">
                  <a:pos x="10" y="88"/>
                </a:cxn>
                <a:cxn ang="0">
                  <a:pos x="17" y="97"/>
                </a:cxn>
                <a:cxn ang="0">
                  <a:pos x="25" y="103"/>
                </a:cxn>
                <a:cxn ang="0">
                  <a:pos x="35" y="108"/>
                </a:cxn>
                <a:cxn ang="0">
                  <a:pos x="45" y="112"/>
                </a:cxn>
                <a:cxn ang="0">
                  <a:pos x="57" y="113"/>
                </a:cxn>
                <a:cxn ang="0">
                  <a:pos x="57" y="113"/>
                </a:cxn>
                <a:cxn ang="0">
                  <a:pos x="68" y="112"/>
                </a:cxn>
                <a:cxn ang="0">
                  <a:pos x="79" y="108"/>
                </a:cxn>
                <a:cxn ang="0">
                  <a:pos x="89" y="103"/>
                </a:cxn>
                <a:cxn ang="0">
                  <a:pos x="97" y="97"/>
                </a:cxn>
                <a:cxn ang="0">
                  <a:pos x="104" y="88"/>
                </a:cxn>
                <a:cxn ang="0">
                  <a:pos x="109" y="78"/>
                </a:cxn>
                <a:cxn ang="0">
                  <a:pos x="112" y="68"/>
                </a:cxn>
                <a:cxn ang="0">
                  <a:pos x="113" y="56"/>
                </a:cxn>
                <a:cxn ang="0">
                  <a:pos x="113" y="56"/>
                </a:cxn>
                <a:cxn ang="0">
                  <a:pos x="112" y="45"/>
                </a:cxn>
                <a:cxn ang="0">
                  <a:pos x="109" y="34"/>
                </a:cxn>
                <a:cxn ang="0">
                  <a:pos x="104" y="25"/>
                </a:cxn>
                <a:cxn ang="0">
                  <a:pos x="97" y="16"/>
                </a:cxn>
                <a:cxn ang="0">
                  <a:pos x="89" y="9"/>
                </a:cxn>
                <a:cxn ang="0">
                  <a:pos x="79" y="4"/>
                </a:cxn>
                <a:cxn ang="0">
                  <a:pos x="68" y="1"/>
                </a:cxn>
                <a:cxn ang="0">
                  <a:pos x="57" y="0"/>
                </a:cxn>
              </a:cxnLst>
              <a:rect l="0" t="0" r="r" b="b"/>
              <a:pathLst>
                <a:path w="113" h="113">
                  <a:moveTo>
                    <a:pt x="57" y="0"/>
                  </a:moveTo>
                  <a:lnTo>
                    <a:pt x="57" y="0"/>
                  </a:lnTo>
                  <a:lnTo>
                    <a:pt x="45" y="1"/>
                  </a:lnTo>
                  <a:lnTo>
                    <a:pt x="35" y="4"/>
                  </a:lnTo>
                  <a:lnTo>
                    <a:pt x="25" y="9"/>
                  </a:lnTo>
                  <a:lnTo>
                    <a:pt x="17" y="16"/>
                  </a:lnTo>
                  <a:lnTo>
                    <a:pt x="10" y="25"/>
                  </a:lnTo>
                  <a:lnTo>
                    <a:pt x="5" y="34"/>
                  </a:lnTo>
                  <a:lnTo>
                    <a:pt x="1" y="45"/>
                  </a:lnTo>
                  <a:lnTo>
                    <a:pt x="0" y="56"/>
                  </a:lnTo>
                  <a:lnTo>
                    <a:pt x="0" y="56"/>
                  </a:lnTo>
                  <a:lnTo>
                    <a:pt x="1" y="68"/>
                  </a:lnTo>
                  <a:lnTo>
                    <a:pt x="5" y="78"/>
                  </a:lnTo>
                  <a:lnTo>
                    <a:pt x="10" y="88"/>
                  </a:lnTo>
                  <a:lnTo>
                    <a:pt x="17" y="97"/>
                  </a:lnTo>
                  <a:lnTo>
                    <a:pt x="25" y="103"/>
                  </a:lnTo>
                  <a:lnTo>
                    <a:pt x="35" y="108"/>
                  </a:lnTo>
                  <a:lnTo>
                    <a:pt x="45" y="112"/>
                  </a:lnTo>
                  <a:lnTo>
                    <a:pt x="57" y="113"/>
                  </a:lnTo>
                  <a:lnTo>
                    <a:pt x="57" y="113"/>
                  </a:lnTo>
                  <a:lnTo>
                    <a:pt x="68" y="112"/>
                  </a:lnTo>
                  <a:lnTo>
                    <a:pt x="79" y="108"/>
                  </a:lnTo>
                  <a:lnTo>
                    <a:pt x="89" y="103"/>
                  </a:lnTo>
                  <a:lnTo>
                    <a:pt x="97" y="97"/>
                  </a:lnTo>
                  <a:lnTo>
                    <a:pt x="104" y="88"/>
                  </a:lnTo>
                  <a:lnTo>
                    <a:pt x="109" y="78"/>
                  </a:lnTo>
                  <a:lnTo>
                    <a:pt x="112" y="68"/>
                  </a:lnTo>
                  <a:lnTo>
                    <a:pt x="113" y="56"/>
                  </a:lnTo>
                  <a:lnTo>
                    <a:pt x="113" y="56"/>
                  </a:lnTo>
                  <a:lnTo>
                    <a:pt x="112" y="45"/>
                  </a:lnTo>
                  <a:lnTo>
                    <a:pt x="109" y="34"/>
                  </a:lnTo>
                  <a:lnTo>
                    <a:pt x="104" y="25"/>
                  </a:lnTo>
                  <a:lnTo>
                    <a:pt x="97" y="16"/>
                  </a:lnTo>
                  <a:lnTo>
                    <a:pt x="89" y="9"/>
                  </a:lnTo>
                  <a:lnTo>
                    <a:pt x="79" y="4"/>
                  </a:lnTo>
                  <a:lnTo>
                    <a:pt x="68" y="1"/>
                  </a:lnTo>
                  <a:lnTo>
                    <a:pt x="57"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7" name="Freeform 620">
              <a:extLst>
                <a:ext uri="{FF2B5EF4-FFF2-40B4-BE49-F238E27FC236}">
                  <a16:creationId xmlns:a16="http://schemas.microsoft.com/office/drawing/2014/main" id="{D8E490DD-1554-8D8F-4630-AF94F9BEF84F}"/>
                </a:ext>
              </a:extLst>
            </p:cNvPr>
            <p:cNvSpPr>
              <a:spLocks/>
            </p:cNvSpPr>
            <p:nvPr/>
          </p:nvSpPr>
          <p:spPr bwMode="auto">
            <a:xfrm>
              <a:off x="3746501" y="3409950"/>
              <a:ext cx="11113" cy="22225"/>
            </a:xfrm>
            <a:custGeom>
              <a:avLst/>
              <a:gdLst/>
              <a:ahLst/>
              <a:cxnLst>
                <a:cxn ang="0">
                  <a:pos x="53" y="0"/>
                </a:cxn>
                <a:cxn ang="0">
                  <a:pos x="53" y="0"/>
                </a:cxn>
                <a:cxn ang="0">
                  <a:pos x="42" y="1"/>
                </a:cxn>
                <a:cxn ang="0">
                  <a:pos x="33" y="5"/>
                </a:cxn>
                <a:cxn ang="0">
                  <a:pos x="24" y="11"/>
                </a:cxn>
                <a:cxn ang="0">
                  <a:pos x="15" y="17"/>
                </a:cxn>
                <a:cxn ang="0">
                  <a:pos x="9" y="25"/>
                </a:cxn>
                <a:cxn ang="0">
                  <a:pos x="4" y="35"/>
                </a:cxn>
                <a:cxn ang="0">
                  <a:pos x="1" y="46"/>
                </a:cxn>
                <a:cxn ang="0">
                  <a:pos x="0" y="56"/>
                </a:cxn>
                <a:cxn ang="0">
                  <a:pos x="0" y="56"/>
                </a:cxn>
                <a:cxn ang="0">
                  <a:pos x="1" y="67"/>
                </a:cxn>
                <a:cxn ang="0">
                  <a:pos x="4" y="78"/>
                </a:cxn>
                <a:cxn ang="0">
                  <a:pos x="9" y="87"/>
                </a:cxn>
                <a:cxn ang="0">
                  <a:pos x="15" y="95"/>
                </a:cxn>
                <a:cxn ang="0">
                  <a:pos x="24" y="102"/>
                </a:cxn>
                <a:cxn ang="0">
                  <a:pos x="33" y="107"/>
                </a:cxn>
                <a:cxn ang="0">
                  <a:pos x="42" y="112"/>
                </a:cxn>
                <a:cxn ang="0">
                  <a:pos x="53" y="113"/>
                </a:cxn>
                <a:cxn ang="0">
                  <a:pos x="53" y="0"/>
                </a:cxn>
              </a:cxnLst>
              <a:rect l="0" t="0" r="r" b="b"/>
              <a:pathLst>
                <a:path w="53" h="113">
                  <a:moveTo>
                    <a:pt x="53" y="0"/>
                  </a:moveTo>
                  <a:lnTo>
                    <a:pt x="53" y="0"/>
                  </a:lnTo>
                  <a:lnTo>
                    <a:pt x="42" y="1"/>
                  </a:lnTo>
                  <a:lnTo>
                    <a:pt x="33" y="5"/>
                  </a:lnTo>
                  <a:lnTo>
                    <a:pt x="24" y="11"/>
                  </a:lnTo>
                  <a:lnTo>
                    <a:pt x="15" y="17"/>
                  </a:lnTo>
                  <a:lnTo>
                    <a:pt x="9" y="25"/>
                  </a:lnTo>
                  <a:lnTo>
                    <a:pt x="4" y="35"/>
                  </a:lnTo>
                  <a:lnTo>
                    <a:pt x="1" y="46"/>
                  </a:lnTo>
                  <a:lnTo>
                    <a:pt x="0" y="56"/>
                  </a:lnTo>
                  <a:lnTo>
                    <a:pt x="0" y="56"/>
                  </a:lnTo>
                  <a:lnTo>
                    <a:pt x="1" y="67"/>
                  </a:lnTo>
                  <a:lnTo>
                    <a:pt x="4" y="78"/>
                  </a:lnTo>
                  <a:lnTo>
                    <a:pt x="9" y="87"/>
                  </a:lnTo>
                  <a:lnTo>
                    <a:pt x="15" y="95"/>
                  </a:lnTo>
                  <a:lnTo>
                    <a:pt x="24" y="102"/>
                  </a:lnTo>
                  <a:lnTo>
                    <a:pt x="33" y="107"/>
                  </a:lnTo>
                  <a:lnTo>
                    <a:pt x="42" y="112"/>
                  </a:lnTo>
                  <a:lnTo>
                    <a:pt x="53" y="113"/>
                  </a:lnTo>
                  <a:lnTo>
                    <a:pt x="53" y="0"/>
                  </a:lnTo>
                  <a:close/>
                </a:path>
              </a:pathLst>
            </a:custGeom>
            <a:solidFill>
              <a:srgbClr val="FFEED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8" name="Freeform 621">
              <a:extLst>
                <a:ext uri="{FF2B5EF4-FFF2-40B4-BE49-F238E27FC236}">
                  <a16:creationId xmlns:a16="http://schemas.microsoft.com/office/drawing/2014/main" id="{BF6F7B99-982C-E8D5-952D-8687D026DF21}"/>
                </a:ext>
              </a:extLst>
            </p:cNvPr>
            <p:cNvSpPr>
              <a:spLocks/>
            </p:cNvSpPr>
            <p:nvPr/>
          </p:nvSpPr>
          <p:spPr bwMode="auto">
            <a:xfrm>
              <a:off x="3746501" y="3409950"/>
              <a:ext cx="11113" cy="22225"/>
            </a:xfrm>
            <a:custGeom>
              <a:avLst/>
              <a:gdLst/>
              <a:ahLst/>
              <a:cxnLst>
                <a:cxn ang="0">
                  <a:pos x="53" y="0"/>
                </a:cxn>
                <a:cxn ang="0">
                  <a:pos x="53" y="0"/>
                </a:cxn>
                <a:cxn ang="0">
                  <a:pos x="42" y="1"/>
                </a:cxn>
                <a:cxn ang="0">
                  <a:pos x="33" y="5"/>
                </a:cxn>
                <a:cxn ang="0">
                  <a:pos x="24" y="11"/>
                </a:cxn>
                <a:cxn ang="0">
                  <a:pos x="15" y="17"/>
                </a:cxn>
                <a:cxn ang="0">
                  <a:pos x="9" y="25"/>
                </a:cxn>
                <a:cxn ang="0">
                  <a:pos x="4" y="35"/>
                </a:cxn>
                <a:cxn ang="0">
                  <a:pos x="1" y="46"/>
                </a:cxn>
                <a:cxn ang="0">
                  <a:pos x="0" y="56"/>
                </a:cxn>
                <a:cxn ang="0">
                  <a:pos x="0" y="56"/>
                </a:cxn>
                <a:cxn ang="0">
                  <a:pos x="1" y="67"/>
                </a:cxn>
                <a:cxn ang="0">
                  <a:pos x="4" y="78"/>
                </a:cxn>
                <a:cxn ang="0">
                  <a:pos x="9" y="87"/>
                </a:cxn>
                <a:cxn ang="0">
                  <a:pos x="15" y="95"/>
                </a:cxn>
                <a:cxn ang="0">
                  <a:pos x="24" y="102"/>
                </a:cxn>
                <a:cxn ang="0">
                  <a:pos x="33" y="107"/>
                </a:cxn>
                <a:cxn ang="0">
                  <a:pos x="42" y="112"/>
                </a:cxn>
                <a:cxn ang="0">
                  <a:pos x="53" y="113"/>
                </a:cxn>
                <a:cxn ang="0">
                  <a:pos x="53" y="0"/>
                </a:cxn>
              </a:cxnLst>
              <a:rect l="0" t="0" r="r" b="b"/>
              <a:pathLst>
                <a:path w="53" h="113">
                  <a:moveTo>
                    <a:pt x="53" y="0"/>
                  </a:moveTo>
                  <a:lnTo>
                    <a:pt x="53" y="0"/>
                  </a:lnTo>
                  <a:lnTo>
                    <a:pt x="42" y="1"/>
                  </a:lnTo>
                  <a:lnTo>
                    <a:pt x="33" y="5"/>
                  </a:lnTo>
                  <a:lnTo>
                    <a:pt x="24" y="11"/>
                  </a:lnTo>
                  <a:lnTo>
                    <a:pt x="15" y="17"/>
                  </a:lnTo>
                  <a:lnTo>
                    <a:pt x="9" y="25"/>
                  </a:lnTo>
                  <a:lnTo>
                    <a:pt x="4" y="35"/>
                  </a:lnTo>
                  <a:lnTo>
                    <a:pt x="1" y="46"/>
                  </a:lnTo>
                  <a:lnTo>
                    <a:pt x="0" y="56"/>
                  </a:lnTo>
                  <a:lnTo>
                    <a:pt x="0" y="56"/>
                  </a:lnTo>
                  <a:lnTo>
                    <a:pt x="1" y="67"/>
                  </a:lnTo>
                  <a:lnTo>
                    <a:pt x="4" y="78"/>
                  </a:lnTo>
                  <a:lnTo>
                    <a:pt x="9" y="87"/>
                  </a:lnTo>
                  <a:lnTo>
                    <a:pt x="15" y="95"/>
                  </a:lnTo>
                  <a:lnTo>
                    <a:pt x="24" y="102"/>
                  </a:lnTo>
                  <a:lnTo>
                    <a:pt x="33" y="107"/>
                  </a:lnTo>
                  <a:lnTo>
                    <a:pt x="42" y="112"/>
                  </a:lnTo>
                  <a:lnTo>
                    <a:pt x="53" y="113"/>
                  </a:lnTo>
                  <a:lnTo>
                    <a:pt x="53"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9" name="Freeform 622">
              <a:extLst>
                <a:ext uri="{FF2B5EF4-FFF2-40B4-BE49-F238E27FC236}">
                  <a16:creationId xmlns:a16="http://schemas.microsoft.com/office/drawing/2014/main" id="{EAE6A95A-BCAC-5F03-1777-0F6EAC0345DA}"/>
                </a:ext>
              </a:extLst>
            </p:cNvPr>
            <p:cNvSpPr>
              <a:spLocks/>
            </p:cNvSpPr>
            <p:nvPr/>
          </p:nvSpPr>
          <p:spPr bwMode="auto">
            <a:xfrm>
              <a:off x="3746501" y="3768725"/>
              <a:ext cx="11113" cy="22225"/>
            </a:xfrm>
            <a:custGeom>
              <a:avLst/>
              <a:gdLst/>
              <a:ahLst/>
              <a:cxnLst>
                <a:cxn ang="0">
                  <a:pos x="53" y="0"/>
                </a:cxn>
                <a:cxn ang="0">
                  <a:pos x="53" y="0"/>
                </a:cxn>
                <a:cxn ang="0">
                  <a:pos x="42" y="2"/>
                </a:cxn>
                <a:cxn ang="0">
                  <a:pos x="33" y="5"/>
                </a:cxn>
                <a:cxn ang="0">
                  <a:pos x="24" y="12"/>
                </a:cxn>
                <a:cxn ang="0">
                  <a:pos x="15" y="18"/>
                </a:cxn>
                <a:cxn ang="0">
                  <a:pos x="9" y="26"/>
                </a:cxn>
                <a:cxn ang="0">
                  <a:pos x="4" y="35"/>
                </a:cxn>
                <a:cxn ang="0">
                  <a:pos x="1" y="47"/>
                </a:cxn>
                <a:cxn ang="0">
                  <a:pos x="0" y="57"/>
                </a:cxn>
                <a:cxn ang="0">
                  <a:pos x="0" y="57"/>
                </a:cxn>
                <a:cxn ang="0">
                  <a:pos x="1" y="68"/>
                </a:cxn>
                <a:cxn ang="0">
                  <a:pos x="4" y="79"/>
                </a:cxn>
                <a:cxn ang="0">
                  <a:pos x="9" y="88"/>
                </a:cxn>
                <a:cxn ang="0">
                  <a:pos x="15" y="96"/>
                </a:cxn>
                <a:cxn ang="0">
                  <a:pos x="24" y="103"/>
                </a:cxn>
                <a:cxn ang="0">
                  <a:pos x="33" y="108"/>
                </a:cxn>
                <a:cxn ang="0">
                  <a:pos x="42" y="113"/>
                </a:cxn>
                <a:cxn ang="0">
                  <a:pos x="53" y="114"/>
                </a:cxn>
                <a:cxn ang="0">
                  <a:pos x="53" y="0"/>
                </a:cxn>
              </a:cxnLst>
              <a:rect l="0" t="0" r="r" b="b"/>
              <a:pathLst>
                <a:path w="53" h="114">
                  <a:moveTo>
                    <a:pt x="53" y="0"/>
                  </a:moveTo>
                  <a:lnTo>
                    <a:pt x="53" y="0"/>
                  </a:lnTo>
                  <a:lnTo>
                    <a:pt x="42" y="2"/>
                  </a:lnTo>
                  <a:lnTo>
                    <a:pt x="33" y="5"/>
                  </a:lnTo>
                  <a:lnTo>
                    <a:pt x="24" y="12"/>
                  </a:lnTo>
                  <a:lnTo>
                    <a:pt x="15" y="18"/>
                  </a:lnTo>
                  <a:lnTo>
                    <a:pt x="9" y="26"/>
                  </a:lnTo>
                  <a:lnTo>
                    <a:pt x="4" y="35"/>
                  </a:lnTo>
                  <a:lnTo>
                    <a:pt x="1" y="47"/>
                  </a:lnTo>
                  <a:lnTo>
                    <a:pt x="0" y="57"/>
                  </a:lnTo>
                  <a:lnTo>
                    <a:pt x="0" y="57"/>
                  </a:lnTo>
                  <a:lnTo>
                    <a:pt x="1" y="68"/>
                  </a:lnTo>
                  <a:lnTo>
                    <a:pt x="4" y="79"/>
                  </a:lnTo>
                  <a:lnTo>
                    <a:pt x="9" y="88"/>
                  </a:lnTo>
                  <a:lnTo>
                    <a:pt x="15" y="96"/>
                  </a:lnTo>
                  <a:lnTo>
                    <a:pt x="24" y="103"/>
                  </a:lnTo>
                  <a:lnTo>
                    <a:pt x="33" y="108"/>
                  </a:lnTo>
                  <a:lnTo>
                    <a:pt x="42" y="113"/>
                  </a:lnTo>
                  <a:lnTo>
                    <a:pt x="53" y="114"/>
                  </a:lnTo>
                  <a:lnTo>
                    <a:pt x="53" y="0"/>
                  </a:lnTo>
                  <a:close/>
                </a:path>
              </a:pathLst>
            </a:custGeom>
            <a:solidFill>
              <a:srgbClr val="FFEED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0" name="Freeform 623">
              <a:extLst>
                <a:ext uri="{FF2B5EF4-FFF2-40B4-BE49-F238E27FC236}">
                  <a16:creationId xmlns:a16="http://schemas.microsoft.com/office/drawing/2014/main" id="{02420CE9-1525-E6B2-FBD5-4ACFD93862EA}"/>
                </a:ext>
              </a:extLst>
            </p:cNvPr>
            <p:cNvSpPr>
              <a:spLocks/>
            </p:cNvSpPr>
            <p:nvPr/>
          </p:nvSpPr>
          <p:spPr bwMode="auto">
            <a:xfrm>
              <a:off x="3746501" y="3768725"/>
              <a:ext cx="11113" cy="22225"/>
            </a:xfrm>
            <a:custGeom>
              <a:avLst/>
              <a:gdLst/>
              <a:ahLst/>
              <a:cxnLst>
                <a:cxn ang="0">
                  <a:pos x="53" y="0"/>
                </a:cxn>
                <a:cxn ang="0">
                  <a:pos x="53" y="0"/>
                </a:cxn>
                <a:cxn ang="0">
                  <a:pos x="42" y="2"/>
                </a:cxn>
                <a:cxn ang="0">
                  <a:pos x="33" y="5"/>
                </a:cxn>
                <a:cxn ang="0">
                  <a:pos x="24" y="12"/>
                </a:cxn>
                <a:cxn ang="0">
                  <a:pos x="15" y="18"/>
                </a:cxn>
                <a:cxn ang="0">
                  <a:pos x="9" y="26"/>
                </a:cxn>
                <a:cxn ang="0">
                  <a:pos x="4" y="35"/>
                </a:cxn>
                <a:cxn ang="0">
                  <a:pos x="1" y="47"/>
                </a:cxn>
                <a:cxn ang="0">
                  <a:pos x="0" y="57"/>
                </a:cxn>
                <a:cxn ang="0">
                  <a:pos x="0" y="57"/>
                </a:cxn>
                <a:cxn ang="0">
                  <a:pos x="1" y="68"/>
                </a:cxn>
                <a:cxn ang="0">
                  <a:pos x="4" y="79"/>
                </a:cxn>
                <a:cxn ang="0">
                  <a:pos x="9" y="88"/>
                </a:cxn>
                <a:cxn ang="0">
                  <a:pos x="15" y="96"/>
                </a:cxn>
                <a:cxn ang="0">
                  <a:pos x="24" y="103"/>
                </a:cxn>
                <a:cxn ang="0">
                  <a:pos x="33" y="108"/>
                </a:cxn>
                <a:cxn ang="0">
                  <a:pos x="42" y="113"/>
                </a:cxn>
                <a:cxn ang="0">
                  <a:pos x="53" y="114"/>
                </a:cxn>
                <a:cxn ang="0">
                  <a:pos x="53" y="0"/>
                </a:cxn>
              </a:cxnLst>
              <a:rect l="0" t="0" r="r" b="b"/>
              <a:pathLst>
                <a:path w="53" h="114">
                  <a:moveTo>
                    <a:pt x="53" y="0"/>
                  </a:moveTo>
                  <a:lnTo>
                    <a:pt x="53" y="0"/>
                  </a:lnTo>
                  <a:lnTo>
                    <a:pt x="42" y="2"/>
                  </a:lnTo>
                  <a:lnTo>
                    <a:pt x="33" y="5"/>
                  </a:lnTo>
                  <a:lnTo>
                    <a:pt x="24" y="12"/>
                  </a:lnTo>
                  <a:lnTo>
                    <a:pt x="15" y="18"/>
                  </a:lnTo>
                  <a:lnTo>
                    <a:pt x="9" y="26"/>
                  </a:lnTo>
                  <a:lnTo>
                    <a:pt x="4" y="35"/>
                  </a:lnTo>
                  <a:lnTo>
                    <a:pt x="1" y="47"/>
                  </a:lnTo>
                  <a:lnTo>
                    <a:pt x="0" y="57"/>
                  </a:lnTo>
                  <a:lnTo>
                    <a:pt x="0" y="57"/>
                  </a:lnTo>
                  <a:lnTo>
                    <a:pt x="1" y="68"/>
                  </a:lnTo>
                  <a:lnTo>
                    <a:pt x="4" y="79"/>
                  </a:lnTo>
                  <a:lnTo>
                    <a:pt x="9" y="88"/>
                  </a:lnTo>
                  <a:lnTo>
                    <a:pt x="15" y="96"/>
                  </a:lnTo>
                  <a:lnTo>
                    <a:pt x="24" y="103"/>
                  </a:lnTo>
                  <a:lnTo>
                    <a:pt x="33" y="108"/>
                  </a:lnTo>
                  <a:lnTo>
                    <a:pt x="42" y="113"/>
                  </a:lnTo>
                  <a:lnTo>
                    <a:pt x="53" y="114"/>
                  </a:lnTo>
                  <a:lnTo>
                    <a:pt x="53"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1" name="Freeform 624">
              <a:extLst>
                <a:ext uri="{FF2B5EF4-FFF2-40B4-BE49-F238E27FC236}">
                  <a16:creationId xmlns:a16="http://schemas.microsoft.com/office/drawing/2014/main" id="{22A64342-72D5-39F4-1995-89F80769A80C}"/>
                </a:ext>
              </a:extLst>
            </p:cNvPr>
            <p:cNvSpPr>
              <a:spLocks/>
            </p:cNvSpPr>
            <p:nvPr/>
          </p:nvSpPr>
          <p:spPr bwMode="auto">
            <a:xfrm>
              <a:off x="3595688" y="3505200"/>
              <a:ext cx="12700" cy="11113"/>
            </a:xfrm>
            <a:custGeom>
              <a:avLst/>
              <a:gdLst/>
              <a:ahLst/>
              <a:cxnLst>
                <a:cxn ang="0">
                  <a:pos x="28" y="0"/>
                </a:cxn>
                <a:cxn ang="0">
                  <a:pos x="28" y="0"/>
                </a:cxn>
                <a:cxn ang="0">
                  <a:pos x="21" y="1"/>
                </a:cxn>
                <a:cxn ang="0">
                  <a:pos x="14" y="3"/>
                </a:cxn>
                <a:cxn ang="0">
                  <a:pos x="8" y="9"/>
                </a:cxn>
                <a:cxn ang="0">
                  <a:pos x="4" y="15"/>
                </a:cxn>
                <a:cxn ang="0">
                  <a:pos x="4" y="15"/>
                </a:cxn>
                <a:cxn ang="0">
                  <a:pos x="2" y="20"/>
                </a:cxn>
                <a:cxn ang="0">
                  <a:pos x="0" y="25"/>
                </a:cxn>
                <a:cxn ang="0">
                  <a:pos x="0" y="30"/>
                </a:cxn>
                <a:cxn ang="0">
                  <a:pos x="1" y="35"/>
                </a:cxn>
                <a:cxn ang="0">
                  <a:pos x="3" y="41"/>
                </a:cxn>
                <a:cxn ang="0">
                  <a:pos x="6" y="46"/>
                </a:cxn>
                <a:cxn ang="0">
                  <a:pos x="9" y="50"/>
                </a:cxn>
                <a:cxn ang="0">
                  <a:pos x="14" y="53"/>
                </a:cxn>
                <a:cxn ang="0">
                  <a:pos x="14" y="53"/>
                </a:cxn>
                <a:cxn ang="0">
                  <a:pos x="21" y="56"/>
                </a:cxn>
                <a:cxn ang="0">
                  <a:pos x="28" y="57"/>
                </a:cxn>
                <a:cxn ang="0">
                  <a:pos x="28" y="57"/>
                </a:cxn>
                <a:cxn ang="0">
                  <a:pos x="36" y="56"/>
                </a:cxn>
                <a:cxn ang="0">
                  <a:pos x="42" y="53"/>
                </a:cxn>
                <a:cxn ang="0">
                  <a:pos x="48" y="49"/>
                </a:cxn>
                <a:cxn ang="0">
                  <a:pos x="52" y="43"/>
                </a:cxn>
                <a:cxn ang="0">
                  <a:pos x="52" y="43"/>
                </a:cxn>
                <a:cxn ang="0">
                  <a:pos x="55" y="37"/>
                </a:cxn>
                <a:cxn ang="0">
                  <a:pos x="56" y="32"/>
                </a:cxn>
                <a:cxn ang="0">
                  <a:pos x="56" y="26"/>
                </a:cxn>
                <a:cxn ang="0">
                  <a:pos x="55" y="21"/>
                </a:cxn>
                <a:cxn ang="0">
                  <a:pos x="53" y="16"/>
                </a:cxn>
                <a:cxn ang="0">
                  <a:pos x="51" y="12"/>
                </a:cxn>
                <a:cxn ang="0">
                  <a:pos x="47" y="8"/>
                </a:cxn>
                <a:cxn ang="0">
                  <a:pos x="42" y="5"/>
                </a:cxn>
                <a:cxn ang="0">
                  <a:pos x="42" y="5"/>
                </a:cxn>
                <a:cxn ang="0">
                  <a:pos x="36" y="1"/>
                </a:cxn>
                <a:cxn ang="0">
                  <a:pos x="28" y="0"/>
                </a:cxn>
              </a:cxnLst>
              <a:rect l="0" t="0" r="r" b="b"/>
              <a:pathLst>
                <a:path w="56" h="57">
                  <a:moveTo>
                    <a:pt x="28" y="0"/>
                  </a:moveTo>
                  <a:lnTo>
                    <a:pt x="28" y="0"/>
                  </a:lnTo>
                  <a:lnTo>
                    <a:pt x="21" y="1"/>
                  </a:lnTo>
                  <a:lnTo>
                    <a:pt x="14" y="3"/>
                  </a:lnTo>
                  <a:lnTo>
                    <a:pt x="8" y="9"/>
                  </a:lnTo>
                  <a:lnTo>
                    <a:pt x="4" y="15"/>
                  </a:lnTo>
                  <a:lnTo>
                    <a:pt x="4" y="15"/>
                  </a:lnTo>
                  <a:lnTo>
                    <a:pt x="2" y="20"/>
                  </a:lnTo>
                  <a:lnTo>
                    <a:pt x="0" y="25"/>
                  </a:lnTo>
                  <a:lnTo>
                    <a:pt x="0" y="30"/>
                  </a:lnTo>
                  <a:lnTo>
                    <a:pt x="1" y="35"/>
                  </a:lnTo>
                  <a:lnTo>
                    <a:pt x="3" y="41"/>
                  </a:lnTo>
                  <a:lnTo>
                    <a:pt x="6" y="46"/>
                  </a:lnTo>
                  <a:lnTo>
                    <a:pt x="9" y="50"/>
                  </a:lnTo>
                  <a:lnTo>
                    <a:pt x="14" y="53"/>
                  </a:lnTo>
                  <a:lnTo>
                    <a:pt x="14" y="53"/>
                  </a:lnTo>
                  <a:lnTo>
                    <a:pt x="21" y="56"/>
                  </a:lnTo>
                  <a:lnTo>
                    <a:pt x="28" y="57"/>
                  </a:lnTo>
                  <a:lnTo>
                    <a:pt x="28" y="57"/>
                  </a:lnTo>
                  <a:lnTo>
                    <a:pt x="36" y="56"/>
                  </a:lnTo>
                  <a:lnTo>
                    <a:pt x="42" y="53"/>
                  </a:lnTo>
                  <a:lnTo>
                    <a:pt x="48" y="49"/>
                  </a:lnTo>
                  <a:lnTo>
                    <a:pt x="52" y="43"/>
                  </a:lnTo>
                  <a:lnTo>
                    <a:pt x="52" y="43"/>
                  </a:lnTo>
                  <a:lnTo>
                    <a:pt x="55" y="37"/>
                  </a:lnTo>
                  <a:lnTo>
                    <a:pt x="56" y="32"/>
                  </a:lnTo>
                  <a:lnTo>
                    <a:pt x="56" y="26"/>
                  </a:lnTo>
                  <a:lnTo>
                    <a:pt x="55" y="21"/>
                  </a:lnTo>
                  <a:lnTo>
                    <a:pt x="53" y="16"/>
                  </a:lnTo>
                  <a:lnTo>
                    <a:pt x="51" y="12"/>
                  </a:lnTo>
                  <a:lnTo>
                    <a:pt x="47" y="8"/>
                  </a:lnTo>
                  <a:lnTo>
                    <a:pt x="42" y="5"/>
                  </a:lnTo>
                  <a:lnTo>
                    <a:pt x="42" y="5"/>
                  </a:lnTo>
                  <a:lnTo>
                    <a:pt x="36" y="1"/>
                  </a:lnTo>
                  <a:lnTo>
                    <a:pt x="28" y="0"/>
                  </a:lnTo>
                  <a:close/>
                </a:path>
              </a:pathLst>
            </a:custGeom>
            <a:solidFill>
              <a:srgbClr val="FFEED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2" name="Freeform 625">
              <a:extLst>
                <a:ext uri="{FF2B5EF4-FFF2-40B4-BE49-F238E27FC236}">
                  <a16:creationId xmlns:a16="http://schemas.microsoft.com/office/drawing/2014/main" id="{4BF0F255-4C82-0882-1427-8525536C3A1B}"/>
                </a:ext>
              </a:extLst>
            </p:cNvPr>
            <p:cNvSpPr>
              <a:spLocks/>
            </p:cNvSpPr>
            <p:nvPr/>
          </p:nvSpPr>
          <p:spPr bwMode="auto">
            <a:xfrm>
              <a:off x="3595688" y="3505200"/>
              <a:ext cx="12700" cy="11113"/>
            </a:xfrm>
            <a:custGeom>
              <a:avLst/>
              <a:gdLst/>
              <a:ahLst/>
              <a:cxnLst>
                <a:cxn ang="0">
                  <a:pos x="28" y="0"/>
                </a:cxn>
                <a:cxn ang="0">
                  <a:pos x="28" y="0"/>
                </a:cxn>
                <a:cxn ang="0">
                  <a:pos x="21" y="1"/>
                </a:cxn>
                <a:cxn ang="0">
                  <a:pos x="14" y="3"/>
                </a:cxn>
                <a:cxn ang="0">
                  <a:pos x="8" y="9"/>
                </a:cxn>
                <a:cxn ang="0">
                  <a:pos x="4" y="15"/>
                </a:cxn>
                <a:cxn ang="0">
                  <a:pos x="4" y="15"/>
                </a:cxn>
                <a:cxn ang="0">
                  <a:pos x="2" y="20"/>
                </a:cxn>
                <a:cxn ang="0">
                  <a:pos x="0" y="25"/>
                </a:cxn>
                <a:cxn ang="0">
                  <a:pos x="0" y="30"/>
                </a:cxn>
                <a:cxn ang="0">
                  <a:pos x="1" y="35"/>
                </a:cxn>
                <a:cxn ang="0">
                  <a:pos x="3" y="41"/>
                </a:cxn>
                <a:cxn ang="0">
                  <a:pos x="6" y="46"/>
                </a:cxn>
                <a:cxn ang="0">
                  <a:pos x="9" y="50"/>
                </a:cxn>
                <a:cxn ang="0">
                  <a:pos x="14" y="53"/>
                </a:cxn>
                <a:cxn ang="0">
                  <a:pos x="14" y="53"/>
                </a:cxn>
                <a:cxn ang="0">
                  <a:pos x="21" y="56"/>
                </a:cxn>
                <a:cxn ang="0">
                  <a:pos x="28" y="57"/>
                </a:cxn>
                <a:cxn ang="0">
                  <a:pos x="28" y="57"/>
                </a:cxn>
                <a:cxn ang="0">
                  <a:pos x="36" y="56"/>
                </a:cxn>
                <a:cxn ang="0">
                  <a:pos x="42" y="53"/>
                </a:cxn>
                <a:cxn ang="0">
                  <a:pos x="48" y="49"/>
                </a:cxn>
                <a:cxn ang="0">
                  <a:pos x="52" y="43"/>
                </a:cxn>
                <a:cxn ang="0">
                  <a:pos x="52" y="43"/>
                </a:cxn>
                <a:cxn ang="0">
                  <a:pos x="55" y="37"/>
                </a:cxn>
                <a:cxn ang="0">
                  <a:pos x="56" y="32"/>
                </a:cxn>
                <a:cxn ang="0">
                  <a:pos x="56" y="26"/>
                </a:cxn>
                <a:cxn ang="0">
                  <a:pos x="55" y="21"/>
                </a:cxn>
                <a:cxn ang="0">
                  <a:pos x="53" y="16"/>
                </a:cxn>
                <a:cxn ang="0">
                  <a:pos x="51" y="12"/>
                </a:cxn>
                <a:cxn ang="0">
                  <a:pos x="47" y="8"/>
                </a:cxn>
                <a:cxn ang="0">
                  <a:pos x="42" y="5"/>
                </a:cxn>
                <a:cxn ang="0">
                  <a:pos x="42" y="5"/>
                </a:cxn>
                <a:cxn ang="0">
                  <a:pos x="36" y="1"/>
                </a:cxn>
                <a:cxn ang="0">
                  <a:pos x="28" y="0"/>
                </a:cxn>
              </a:cxnLst>
              <a:rect l="0" t="0" r="r" b="b"/>
              <a:pathLst>
                <a:path w="56" h="57">
                  <a:moveTo>
                    <a:pt x="28" y="0"/>
                  </a:moveTo>
                  <a:lnTo>
                    <a:pt x="28" y="0"/>
                  </a:lnTo>
                  <a:lnTo>
                    <a:pt x="21" y="1"/>
                  </a:lnTo>
                  <a:lnTo>
                    <a:pt x="14" y="3"/>
                  </a:lnTo>
                  <a:lnTo>
                    <a:pt x="8" y="9"/>
                  </a:lnTo>
                  <a:lnTo>
                    <a:pt x="4" y="15"/>
                  </a:lnTo>
                  <a:lnTo>
                    <a:pt x="4" y="15"/>
                  </a:lnTo>
                  <a:lnTo>
                    <a:pt x="2" y="20"/>
                  </a:lnTo>
                  <a:lnTo>
                    <a:pt x="0" y="25"/>
                  </a:lnTo>
                  <a:lnTo>
                    <a:pt x="0" y="30"/>
                  </a:lnTo>
                  <a:lnTo>
                    <a:pt x="1" y="35"/>
                  </a:lnTo>
                  <a:lnTo>
                    <a:pt x="3" y="41"/>
                  </a:lnTo>
                  <a:lnTo>
                    <a:pt x="6" y="46"/>
                  </a:lnTo>
                  <a:lnTo>
                    <a:pt x="9" y="50"/>
                  </a:lnTo>
                  <a:lnTo>
                    <a:pt x="14" y="53"/>
                  </a:lnTo>
                  <a:lnTo>
                    <a:pt x="14" y="53"/>
                  </a:lnTo>
                  <a:lnTo>
                    <a:pt x="21" y="56"/>
                  </a:lnTo>
                  <a:lnTo>
                    <a:pt x="28" y="57"/>
                  </a:lnTo>
                  <a:lnTo>
                    <a:pt x="28" y="57"/>
                  </a:lnTo>
                  <a:lnTo>
                    <a:pt x="36" y="56"/>
                  </a:lnTo>
                  <a:lnTo>
                    <a:pt x="42" y="53"/>
                  </a:lnTo>
                  <a:lnTo>
                    <a:pt x="48" y="49"/>
                  </a:lnTo>
                  <a:lnTo>
                    <a:pt x="52" y="43"/>
                  </a:lnTo>
                  <a:lnTo>
                    <a:pt x="52" y="43"/>
                  </a:lnTo>
                  <a:lnTo>
                    <a:pt x="55" y="37"/>
                  </a:lnTo>
                  <a:lnTo>
                    <a:pt x="56" y="32"/>
                  </a:lnTo>
                  <a:lnTo>
                    <a:pt x="56" y="26"/>
                  </a:lnTo>
                  <a:lnTo>
                    <a:pt x="55" y="21"/>
                  </a:lnTo>
                  <a:lnTo>
                    <a:pt x="53" y="16"/>
                  </a:lnTo>
                  <a:lnTo>
                    <a:pt x="51" y="12"/>
                  </a:lnTo>
                  <a:lnTo>
                    <a:pt x="47" y="8"/>
                  </a:lnTo>
                  <a:lnTo>
                    <a:pt x="42" y="5"/>
                  </a:lnTo>
                  <a:lnTo>
                    <a:pt x="42" y="5"/>
                  </a:lnTo>
                  <a:lnTo>
                    <a:pt x="36" y="1"/>
                  </a:lnTo>
                  <a:lnTo>
                    <a:pt x="2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3" name="Freeform 626">
              <a:extLst>
                <a:ext uri="{FF2B5EF4-FFF2-40B4-BE49-F238E27FC236}">
                  <a16:creationId xmlns:a16="http://schemas.microsoft.com/office/drawing/2014/main" id="{282AF500-B357-2324-97CA-E700DBDC755C}"/>
                </a:ext>
              </a:extLst>
            </p:cNvPr>
            <p:cNvSpPr>
              <a:spLocks/>
            </p:cNvSpPr>
            <p:nvPr/>
          </p:nvSpPr>
          <p:spPr bwMode="auto">
            <a:xfrm>
              <a:off x="3662363" y="3751263"/>
              <a:ext cx="11113" cy="11113"/>
            </a:xfrm>
            <a:custGeom>
              <a:avLst/>
              <a:gdLst/>
              <a:ahLst/>
              <a:cxnLst>
                <a:cxn ang="0">
                  <a:pos x="28" y="0"/>
                </a:cxn>
                <a:cxn ang="0">
                  <a:pos x="28" y="0"/>
                </a:cxn>
                <a:cxn ang="0">
                  <a:pos x="21" y="1"/>
                </a:cxn>
                <a:cxn ang="0">
                  <a:pos x="15" y="3"/>
                </a:cxn>
                <a:cxn ang="0">
                  <a:pos x="9" y="8"/>
                </a:cxn>
                <a:cxn ang="0">
                  <a:pos x="3" y="14"/>
                </a:cxn>
                <a:cxn ang="0">
                  <a:pos x="3" y="14"/>
                </a:cxn>
                <a:cxn ang="0">
                  <a:pos x="1" y="19"/>
                </a:cxn>
                <a:cxn ang="0">
                  <a:pos x="0" y="24"/>
                </a:cxn>
                <a:cxn ang="0">
                  <a:pos x="0" y="29"/>
                </a:cxn>
                <a:cxn ang="0">
                  <a:pos x="1" y="35"/>
                </a:cxn>
                <a:cxn ang="0">
                  <a:pos x="3" y="40"/>
                </a:cxn>
                <a:cxn ang="0">
                  <a:pos x="5" y="45"/>
                </a:cxn>
                <a:cxn ang="0">
                  <a:pos x="10" y="49"/>
                </a:cxn>
                <a:cxn ang="0">
                  <a:pos x="14" y="52"/>
                </a:cxn>
                <a:cxn ang="0">
                  <a:pos x="14" y="52"/>
                </a:cxn>
                <a:cxn ang="0">
                  <a:pos x="21" y="55"/>
                </a:cxn>
                <a:cxn ang="0">
                  <a:pos x="28" y="56"/>
                </a:cxn>
                <a:cxn ang="0">
                  <a:pos x="28" y="56"/>
                </a:cxn>
                <a:cxn ang="0">
                  <a:pos x="35" y="55"/>
                </a:cxn>
                <a:cxn ang="0">
                  <a:pos x="43" y="52"/>
                </a:cxn>
                <a:cxn ang="0">
                  <a:pos x="48" y="48"/>
                </a:cxn>
                <a:cxn ang="0">
                  <a:pos x="53" y="42"/>
                </a:cxn>
                <a:cxn ang="0">
                  <a:pos x="53" y="42"/>
                </a:cxn>
                <a:cxn ang="0">
                  <a:pos x="55" y="37"/>
                </a:cxn>
                <a:cxn ang="0">
                  <a:pos x="56" y="32"/>
                </a:cxn>
                <a:cxn ang="0">
                  <a:pos x="57" y="25"/>
                </a:cxn>
                <a:cxn ang="0">
                  <a:pos x="56" y="20"/>
                </a:cxn>
                <a:cxn ang="0">
                  <a:pos x="54" y="15"/>
                </a:cxn>
                <a:cxn ang="0">
                  <a:pos x="51" y="11"/>
                </a:cxn>
                <a:cxn ang="0">
                  <a:pos x="47" y="7"/>
                </a:cxn>
                <a:cxn ang="0">
                  <a:pos x="43" y="4"/>
                </a:cxn>
                <a:cxn ang="0">
                  <a:pos x="43" y="4"/>
                </a:cxn>
                <a:cxn ang="0">
                  <a:pos x="35" y="1"/>
                </a:cxn>
                <a:cxn ang="0">
                  <a:pos x="28" y="0"/>
                </a:cxn>
              </a:cxnLst>
              <a:rect l="0" t="0" r="r" b="b"/>
              <a:pathLst>
                <a:path w="57" h="56">
                  <a:moveTo>
                    <a:pt x="28" y="0"/>
                  </a:moveTo>
                  <a:lnTo>
                    <a:pt x="28" y="0"/>
                  </a:lnTo>
                  <a:lnTo>
                    <a:pt x="21" y="1"/>
                  </a:lnTo>
                  <a:lnTo>
                    <a:pt x="15" y="3"/>
                  </a:lnTo>
                  <a:lnTo>
                    <a:pt x="9" y="8"/>
                  </a:lnTo>
                  <a:lnTo>
                    <a:pt x="3" y="14"/>
                  </a:lnTo>
                  <a:lnTo>
                    <a:pt x="3" y="14"/>
                  </a:lnTo>
                  <a:lnTo>
                    <a:pt x="1" y="19"/>
                  </a:lnTo>
                  <a:lnTo>
                    <a:pt x="0" y="24"/>
                  </a:lnTo>
                  <a:lnTo>
                    <a:pt x="0" y="29"/>
                  </a:lnTo>
                  <a:lnTo>
                    <a:pt x="1" y="35"/>
                  </a:lnTo>
                  <a:lnTo>
                    <a:pt x="3" y="40"/>
                  </a:lnTo>
                  <a:lnTo>
                    <a:pt x="5" y="45"/>
                  </a:lnTo>
                  <a:lnTo>
                    <a:pt x="10" y="49"/>
                  </a:lnTo>
                  <a:lnTo>
                    <a:pt x="14" y="52"/>
                  </a:lnTo>
                  <a:lnTo>
                    <a:pt x="14" y="52"/>
                  </a:lnTo>
                  <a:lnTo>
                    <a:pt x="21" y="55"/>
                  </a:lnTo>
                  <a:lnTo>
                    <a:pt x="28" y="56"/>
                  </a:lnTo>
                  <a:lnTo>
                    <a:pt x="28" y="56"/>
                  </a:lnTo>
                  <a:lnTo>
                    <a:pt x="35" y="55"/>
                  </a:lnTo>
                  <a:lnTo>
                    <a:pt x="43" y="52"/>
                  </a:lnTo>
                  <a:lnTo>
                    <a:pt x="48" y="48"/>
                  </a:lnTo>
                  <a:lnTo>
                    <a:pt x="53" y="42"/>
                  </a:lnTo>
                  <a:lnTo>
                    <a:pt x="53" y="42"/>
                  </a:lnTo>
                  <a:lnTo>
                    <a:pt x="55" y="37"/>
                  </a:lnTo>
                  <a:lnTo>
                    <a:pt x="56" y="32"/>
                  </a:lnTo>
                  <a:lnTo>
                    <a:pt x="57" y="25"/>
                  </a:lnTo>
                  <a:lnTo>
                    <a:pt x="56" y="20"/>
                  </a:lnTo>
                  <a:lnTo>
                    <a:pt x="54" y="15"/>
                  </a:lnTo>
                  <a:lnTo>
                    <a:pt x="51" y="11"/>
                  </a:lnTo>
                  <a:lnTo>
                    <a:pt x="47" y="7"/>
                  </a:lnTo>
                  <a:lnTo>
                    <a:pt x="43" y="4"/>
                  </a:lnTo>
                  <a:lnTo>
                    <a:pt x="43" y="4"/>
                  </a:lnTo>
                  <a:lnTo>
                    <a:pt x="35" y="1"/>
                  </a:lnTo>
                  <a:lnTo>
                    <a:pt x="28" y="0"/>
                  </a:lnTo>
                  <a:close/>
                </a:path>
              </a:pathLst>
            </a:custGeom>
            <a:solidFill>
              <a:srgbClr val="FFEED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4" name="Freeform 627">
              <a:extLst>
                <a:ext uri="{FF2B5EF4-FFF2-40B4-BE49-F238E27FC236}">
                  <a16:creationId xmlns:a16="http://schemas.microsoft.com/office/drawing/2014/main" id="{684F8E46-E4FE-7A4C-E484-22D73A856309}"/>
                </a:ext>
              </a:extLst>
            </p:cNvPr>
            <p:cNvSpPr>
              <a:spLocks/>
            </p:cNvSpPr>
            <p:nvPr/>
          </p:nvSpPr>
          <p:spPr bwMode="auto">
            <a:xfrm>
              <a:off x="3662363" y="3751263"/>
              <a:ext cx="11113" cy="11113"/>
            </a:xfrm>
            <a:custGeom>
              <a:avLst/>
              <a:gdLst/>
              <a:ahLst/>
              <a:cxnLst>
                <a:cxn ang="0">
                  <a:pos x="28" y="0"/>
                </a:cxn>
                <a:cxn ang="0">
                  <a:pos x="28" y="0"/>
                </a:cxn>
                <a:cxn ang="0">
                  <a:pos x="21" y="1"/>
                </a:cxn>
                <a:cxn ang="0">
                  <a:pos x="15" y="3"/>
                </a:cxn>
                <a:cxn ang="0">
                  <a:pos x="9" y="8"/>
                </a:cxn>
                <a:cxn ang="0">
                  <a:pos x="3" y="14"/>
                </a:cxn>
                <a:cxn ang="0">
                  <a:pos x="3" y="14"/>
                </a:cxn>
                <a:cxn ang="0">
                  <a:pos x="1" y="19"/>
                </a:cxn>
                <a:cxn ang="0">
                  <a:pos x="0" y="24"/>
                </a:cxn>
                <a:cxn ang="0">
                  <a:pos x="0" y="29"/>
                </a:cxn>
                <a:cxn ang="0">
                  <a:pos x="1" y="35"/>
                </a:cxn>
                <a:cxn ang="0">
                  <a:pos x="3" y="40"/>
                </a:cxn>
                <a:cxn ang="0">
                  <a:pos x="5" y="45"/>
                </a:cxn>
                <a:cxn ang="0">
                  <a:pos x="10" y="49"/>
                </a:cxn>
                <a:cxn ang="0">
                  <a:pos x="14" y="52"/>
                </a:cxn>
                <a:cxn ang="0">
                  <a:pos x="14" y="52"/>
                </a:cxn>
                <a:cxn ang="0">
                  <a:pos x="21" y="55"/>
                </a:cxn>
                <a:cxn ang="0">
                  <a:pos x="28" y="56"/>
                </a:cxn>
                <a:cxn ang="0">
                  <a:pos x="28" y="56"/>
                </a:cxn>
                <a:cxn ang="0">
                  <a:pos x="35" y="55"/>
                </a:cxn>
                <a:cxn ang="0">
                  <a:pos x="43" y="52"/>
                </a:cxn>
                <a:cxn ang="0">
                  <a:pos x="48" y="48"/>
                </a:cxn>
                <a:cxn ang="0">
                  <a:pos x="53" y="42"/>
                </a:cxn>
                <a:cxn ang="0">
                  <a:pos x="53" y="42"/>
                </a:cxn>
                <a:cxn ang="0">
                  <a:pos x="55" y="37"/>
                </a:cxn>
                <a:cxn ang="0">
                  <a:pos x="56" y="32"/>
                </a:cxn>
                <a:cxn ang="0">
                  <a:pos x="57" y="25"/>
                </a:cxn>
                <a:cxn ang="0">
                  <a:pos x="56" y="20"/>
                </a:cxn>
                <a:cxn ang="0">
                  <a:pos x="54" y="15"/>
                </a:cxn>
                <a:cxn ang="0">
                  <a:pos x="51" y="11"/>
                </a:cxn>
                <a:cxn ang="0">
                  <a:pos x="47" y="7"/>
                </a:cxn>
                <a:cxn ang="0">
                  <a:pos x="43" y="4"/>
                </a:cxn>
                <a:cxn ang="0">
                  <a:pos x="43" y="4"/>
                </a:cxn>
                <a:cxn ang="0">
                  <a:pos x="35" y="1"/>
                </a:cxn>
                <a:cxn ang="0">
                  <a:pos x="28" y="0"/>
                </a:cxn>
              </a:cxnLst>
              <a:rect l="0" t="0" r="r" b="b"/>
              <a:pathLst>
                <a:path w="57" h="56">
                  <a:moveTo>
                    <a:pt x="28" y="0"/>
                  </a:moveTo>
                  <a:lnTo>
                    <a:pt x="28" y="0"/>
                  </a:lnTo>
                  <a:lnTo>
                    <a:pt x="21" y="1"/>
                  </a:lnTo>
                  <a:lnTo>
                    <a:pt x="15" y="3"/>
                  </a:lnTo>
                  <a:lnTo>
                    <a:pt x="9" y="8"/>
                  </a:lnTo>
                  <a:lnTo>
                    <a:pt x="3" y="14"/>
                  </a:lnTo>
                  <a:lnTo>
                    <a:pt x="3" y="14"/>
                  </a:lnTo>
                  <a:lnTo>
                    <a:pt x="1" y="19"/>
                  </a:lnTo>
                  <a:lnTo>
                    <a:pt x="0" y="24"/>
                  </a:lnTo>
                  <a:lnTo>
                    <a:pt x="0" y="29"/>
                  </a:lnTo>
                  <a:lnTo>
                    <a:pt x="1" y="35"/>
                  </a:lnTo>
                  <a:lnTo>
                    <a:pt x="3" y="40"/>
                  </a:lnTo>
                  <a:lnTo>
                    <a:pt x="5" y="45"/>
                  </a:lnTo>
                  <a:lnTo>
                    <a:pt x="10" y="49"/>
                  </a:lnTo>
                  <a:lnTo>
                    <a:pt x="14" y="52"/>
                  </a:lnTo>
                  <a:lnTo>
                    <a:pt x="14" y="52"/>
                  </a:lnTo>
                  <a:lnTo>
                    <a:pt x="21" y="55"/>
                  </a:lnTo>
                  <a:lnTo>
                    <a:pt x="28" y="56"/>
                  </a:lnTo>
                  <a:lnTo>
                    <a:pt x="28" y="56"/>
                  </a:lnTo>
                  <a:lnTo>
                    <a:pt x="35" y="55"/>
                  </a:lnTo>
                  <a:lnTo>
                    <a:pt x="43" y="52"/>
                  </a:lnTo>
                  <a:lnTo>
                    <a:pt x="48" y="48"/>
                  </a:lnTo>
                  <a:lnTo>
                    <a:pt x="53" y="42"/>
                  </a:lnTo>
                  <a:lnTo>
                    <a:pt x="53" y="42"/>
                  </a:lnTo>
                  <a:lnTo>
                    <a:pt x="55" y="37"/>
                  </a:lnTo>
                  <a:lnTo>
                    <a:pt x="56" y="32"/>
                  </a:lnTo>
                  <a:lnTo>
                    <a:pt x="57" y="25"/>
                  </a:lnTo>
                  <a:lnTo>
                    <a:pt x="56" y="20"/>
                  </a:lnTo>
                  <a:lnTo>
                    <a:pt x="54" y="15"/>
                  </a:lnTo>
                  <a:lnTo>
                    <a:pt x="51" y="11"/>
                  </a:lnTo>
                  <a:lnTo>
                    <a:pt x="47" y="7"/>
                  </a:lnTo>
                  <a:lnTo>
                    <a:pt x="43" y="4"/>
                  </a:lnTo>
                  <a:lnTo>
                    <a:pt x="43" y="4"/>
                  </a:lnTo>
                  <a:lnTo>
                    <a:pt x="35" y="1"/>
                  </a:lnTo>
                  <a:lnTo>
                    <a:pt x="2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5" name="Freeform 628">
              <a:extLst>
                <a:ext uri="{FF2B5EF4-FFF2-40B4-BE49-F238E27FC236}">
                  <a16:creationId xmlns:a16="http://schemas.microsoft.com/office/drawing/2014/main" id="{B20BE3AE-DFF8-3F5A-FE6B-7B6A1A7C112E}"/>
                </a:ext>
              </a:extLst>
            </p:cNvPr>
            <p:cNvSpPr>
              <a:spLocks/>
            </p:cNvSpPr>
            <p:nvPr/>
          </p:nvSpPr>
          <p:spPr bwMode="auto">
            <a:xfrm>
              <a:off x="3662363" y="3440113"/>
              <a:ext cx="11113" cy="11113"/>
            </a:xfrm>
            <a:custGeom>
              <a:avLst/>
              <a:gdLst/>
              <a:ahLst/>
              <a:cxnLst>
                <a:cxn ang="0">
                  <a:pos x="28" y="0"/>
                </a:cxn>
                <a:cxn ang="0">
                  <a:pos x="28" y="0"/>
                </a:cxn>
                <a:cxn ang="0">
                  <a:pos x="21" y="1"/>
                </a:cxn>
                <a:cxn ang="0">
                  <a:pos x="14" y="4"/>
                </a:cxn>
                <a:cxn ang="0">
                  <a:pos x="14" y="4"/>
                </a:cxn>
                <a:cxn ang="0">
                  <a:pos x="10" y="7"/>
                </a:cxn>
                <a:cxn ang="0">
                  <a:pos x="5" y="11"/>
                </a:cxn>
                <a:cxn ang="0">
                  <a:pos x="2" y="15"/>
                </a:cxn>
                <a:cxn ang="0">
                  <a:pos x="1" y="20"/>
                </a:cxn>
                <a:cxn ang="0">
                  <a:pos x="0" y="26"/>
                </a:cxn>
                <a:cxn ang="0">
                  <a:pos x="0" y="32"/>
                </a:cxn>
                <a:cxn ang="0">
                  <a:pos x="1" y="37"/>
                </a:cxn>
                <a:cxn ang="0">
                  <a:pos x="3" y="42"/>
                </a:cxn>
                <a:cxn ang="0">
                  <a:pos x="3" y="42"/>
                </a:cxn>
                <a:cxn ang="0">
                  <a:pos x="9" y="48"/>
                </a:cxn>
                <a:cxn ang="0">
                  <a:pos x="15" y="52"/>
                </a:cxn>
                <a:cxn ang="0">
                  <a:pos x="21" y="55"/>
                </a:cxn>
                <a:cxn ang="0">
                  <a:pos x="28" y="56"/>
                </a:cxn>
                <a:cxn ang="0">
                  <a:pos x="28" y="56"/>
                </a:cxn>
                <a:cxn ang="0">
                  <a:pos x="35" y="55"/>
                </a:cxn>
                <a:cxn ang="0">
                  <a:pos x="43" y="52"/>
                </a:cxn>
                <a:cxn ang="0">
                  <a:pos x="43" y="52"/>
                </a:cxn>
                <a:cxn ang="0">
                  <a:pos x="47" y="49"/>
                </a:cxn>
                <a:cxn ang="0">
                  <a:pos x="51" y="45"/>
                </a:cxn>
                <a:cxn ang="0">
                  <a:pos x="54" y="40"/>
                </a:cxn>
                <a:cxn ang="0">
                  <a:pos x="56" y="36"/>
                </a:cxn>
                <a:cxn ang="0">
                  <a:pos x="56" y="30"/>
                </a:cxn>
                <a:cxn ang="0">
                  <a:pos x="56" y="24"/>
                </a:cxn>
                <a:cxn ang="0">
                  <a:pos x="55" y="19"/>
                </a:cxn>
                <a:cxn ang="0">
                  <a:pos x="53" y="14"/>
                </a:cxn>
                <a:cxn ang="0">
                  <a:pos x="53" y="14"/>
                </a:cxn>
                <a:cxn ang="0">
                  <a:pos x="48" y="8"/>
                </a:cxn>
                <a:cxn ang="0">
                  <a:pos x="43" y="4"/>
                </a:cxn>
                <a:cxn ang="0">
                  <a:pos x="35" y="1"/>
                </a:cxn>
                <a:cxn ang="0">
                  <a:pos x="28" y="0"/>
                </a:cxn>
              </a:cxnLst>
              <a:rect l="0" t="0" r="r" b="b"/>
              <a:pathLst>
                <a:path w="56" h="56">
                  <a:moveTo>
                    <a:pt x="28" y="0"/>
                  </a:moveTo>
                  <a:lnTo>
                    <a:pt x="28" y="0"/>
                  </a:lnTo>
                  <a:lnTo>
                    <a:pt x="21" y="1"/>
                  </a:lnTo>
                  <a:lnTo>
                    <a:pt x="14" y="4"/>
                  </a:lnTo>
                  <a:lnTo>
                    <a:pt x="14" y="4"/>
                  </a:lnTo>
                  <a:lnTo>
                    <a:pt x="10" y="7"/>
                  </a:lnTo>
                  <a:lnTo>
                    <a:pt x="5" y="11"/>
                  </a:lnTo>
                  <a:lnTo>
                    <a:pt x="2" y="15"/>
                  </a:lnTo>
                  <a:lnTo>
                    <a:pt x="1" y="20"/>
                  </a:lnTo>
                  <a:lnTo>
                    <a:pt x="0" y="26"/>
                  </a:lnTo>
                  <a:lnTo>
                    <a:pt x="0" y="32"/>
                  </a:lnTo>
                  <a:lnTo>
                    <a:pt x="1" y="37"/>
                  </a:lnTo>
                  <a:lnTo>
                    <a:pt x="3" y="42"/>
                  </a:lnTo>
                  <a:lnTo>
                    <a:pt x="3" y="42"/>
                  </a:lnTo>
                  <a:lnTo>
                    <a:pt x="9" y="48"/>
                  </a:lnTo>
                  <a:lnTo>
                    <a:pt x="15" y="52"/>
                  </a:lnTo>
                  <a:lnTo>
                    <a:pt x="21" y="55"/>
                  </a:lnTo>
                  <a:lnTo>
                    <a:pt x="28" y="56"/>
                  </a:lnTo>
                  <a:lnTo>
                    <a:pt x="28" y="56"/>
                  </a:lnTo>
                  <a:lnTo>
                    <a:pt x="35" y="55"/>
                  </a:lnTo>
                  <a:lnTo>
                    <a:pt x="43" y="52"/>
                  </a:lnTo>
                  <a:lnTo>
                    <a:pt x="43" y="52"/>
                  </a:lnTo>
                  <a:lnTo>
                    <a:pt x="47" y="49"/>
                  </a:lnTo>
                  <a:lnTo>
                    <a:pt x="51" y="45"/>
                  </a:lnTo>
                  <a:lnTo>
                    <a:pt x="54" y="40"/>
                  </a:lnTo>
                  <a:lnTo>
                    <a:pt x="56" y="36"/>
                  </a:lnTo>
                  <a:lnTo>
                    <a:pt x="56" y="30"/>
                  </a:lnTo>
                  <a:lnTo>
                    <a:pt x="56" y="24"/>
                  </a:lnTo>
                  <a:lnTo>
                    <a:pt x="55" y="19"/>
                  </a:lnTo>
                  <a:lnTo>
                    <a:pt x="53" y="14"/>
                  </a:lnTo>
                  <a:lnTo>
                    <a:pt x="53" y="14"/>
                  </a:lnTo>
                  <a:lnTo>
                    <a:pt x="48" y="8"/>
                  </a:lnTo>
                  <a:lnTo>
                    <a:pt x="43" y="4"/>
                  </a:lnTo>
                  <a:lnTo>
                    <a:pt x="35" y="1"/>
                  </a:lnTo>
                  <a:lnTo>
                    <a:pt x="28" y="0"/>
                  </a:lnTo>
                  <a:close/>
                </a:path>
              </a:pathLst>
            </a:custGeom>
            <a:solidFill>
              <a:srgbClr val="FFEED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629">
              <a:extLst>
                <a:ext uri="{FF2B5EF4-FFF2-40B4-BE49-F238E27FC236}">
                  <a16:creationId xmlns:a16="http://schemas.microsoft.com/office/drawing/2014/main" id="{3BE78DCA-D99B-339D-FAD9-744333F18082}"/>
                </a:ext>
              </a:extLst>
            </p:cNvPr>
            <p:cNvSpPr>
              <a:spLocks/>
            </p:cNvSpPr>
            <p:nvPr/>
          </p:nvSpPr>
          <p:spPr bwMode="auto">
            <a:xfrm>
              <a:off x="3662363" y="3440113"/>
              <a:ext cx="11113" cy="11113"/>
            </a:xfrm>
            <a:custGeom>
              <a:avLst/>
              <a:gdLst/>
              <a:ahLst/>
              <a:cxnLst>
                <a:cxn ang="0">
                  <a:pos x="28" y="0"/>
                </a:cxn>
                <a:cxn ang="0">
                  <a:pos x="28" y="0"/>
                </a:cxn>
                <a:cxn ang="0">
                  <a:pos x="21" y="1"/>
                </a:cxn>
                <a:cxn ang="0">
                  <a:pos x="14" y="4"/>
                </a:cxn>
                <a:cxn ang="0">
                  <a:pos x="14" y="4"/>
                </a:cxn>
                <a:cxn ang="0">
                  <a:pos x="10" y="7"/>
                </a:cxn>
                <a:cxn ang="0">
                  <a:pos x="5" y="11"/>
                </a:cxn>
                <a:cxn ang="0">
                  <a:pos x="2" y="15"/>
                </a:cxn>
                <a:cxn ang="0">
                  <a:pos x="1" y="20"/>
                </a:cxn>
                <a:cxn ang="0">
                  <a:pos x="0" y="26"/>
                </a:cxn>
                <a:cxn ang="0">
                  <a:pos x="0" y="32"/>
                </a:cxn>
                <a:cxn ang="0">
                  <a:pos x="1" y="37"/>
                </a:cxn>
                <a:cxn ang="0">
                  <a:pos x="3" y="42"/>
                </a:cxn>
                <a:cxn ang="0">
                  <a:pos x="3" y="42"/>
                </a:cxn>
                <a:cxn ang="0">
                  <a:pos x="9" y="48"/>
                </a:cxn>
                <a:cxn ang="0">
                  <a:pos x="15" y="52"/>
                </a:cxn>
                <a:cxn ang="0">
                  <a:pos x="21" y="55"/>
                </a:cxn>
                <a:cxn ang="0">
                  <a:pos x="28" y="56"/>
                </a:cxn>
                <a:cxn ang="0">
                  <a:pos x="28" y="56"/>
                </a:cxn>
                <a:cxn ang="0">
                  <a:pos x="35" y="55"/>
                </a:cxn>
                <a:cxn ang="0">
                  <a:pos x="43" y="52"/>
                </a:cxn>
                <a:cxn ang="0">
                  <a:pos x="43" y="52"/>
                </a:cxn>
                <a:cxn ang="0">
                  <a:pos x="47" y="49"/>
                </a:cxn>
                <a:cxn ang="0">
                  <a:pos x="51" y="45"/>
                </a:cxn>
                <a:cxn ang="0">
                  <a:pos x="54" y="40"/>
                </a:cxn>
                <a:cxn ang="0">
                  <a:pos x="56" y="36"/>
                </a:cxn>
                <a:cxn ang="0">
                  <a:pos x="56" y="30"/>
                </a:cxn>
                <a:cxn ang="0">
                  <a:pos x="56" y="24"/>
                </a:cxn>
                <a:cxn ang="0">
                  <a:pos x="55" y="19"/>
                </a:cxn>
                <a:cxn ang="0">
                  <a:pos x="53" y="14"/>
                </a:cxn>
                <a:cxn ang="0">
                  <a:pos x="53" y="14"/>
                </a:cxn>
                <a:cxn ang="0">
                  <a:pos x="48" y="8"/>
                </a:cxn>
                <a:cxn ang="0">
                  <a:pos x="43" y="4"/>
                </a:cxn>
                <a:cxn ang="0">
                  <a:pos x="35" y="1"/>
                </a:cxn>
                <a:cxn ang="0">
                  <a:pos x="28" y="0"/>
                </a:cxn>
              </a:cxnLst>
              <a:rect l="0" t="0" r="r" b="b"/>
              <a:pathLst>
                <a:path w="56" h="56">
                  <a:moveTo>
                    <a:pt x="28" y="0"/>
                  </a:moveTo>
                  <a:lnTo>
                    <a:pt x="28" y="0"/>
                  </a:lnTo>
                  <a:lnTo>
                    <a:pt x="21" y="1"/>
                  </a:lnTo>
                  <a:lnTo>
                    <a:pt x="14" y="4"/>
                  </a:lnTo>
                  <a:lnTo>
                    <a:pt x="14" y="4"/>
                  </a:lnTo>
                  <a:lnTo>
                    <a:pt x="10" y="7"/>
                  </a:lnTo>
                  <a:lnTo>
                    <a:pt x="5" y="11"/>
                  </a:lnTo>
                  <a:lnTo>
                    <a:pt x="2" y="15"/>
                  </a:lnTo>
                  <a:lnTo>
                    <a:pt x="1" y="20"/>
                  </a:lnTo>
                  <a:lnTo>
                    <a:pt x="0" y="26"/>
                  </a:lnTo>
                  <a:lnTo>
                    <a:pt x="0" y="32"/>
                  </a:lnTo>
                  <a:lnTo>
                    <a:pt x="1" y="37"/>
                  </a:lnTo>
                  <a:lnTo>
                    <a:pt x="3" y="42"/>
                  </a:lnTo>
                  <a:lnTo>
                    <a:pt x="3" y="42"/>
                  </a:lnTo>
                  <a:lnTo>
                    <a:pt x="9" y="48"/>
                  </a:lnTo>
                  <a:lnTo>
                    <a:pt x="15" y="52"/>
                  </a:lnTo>
                  <a:lnTo>
                    <a:pt x="21" y="55"/>
                  </a:lnTo>
                  <a:lnTo>
                    <a:pt x="28" y="56"/>
                  </a:lnTo>
                  <a:lnTo>
                    <a:pt x="28" y="56"/>
                  </a:lnTo>
                  <a:lnTo>
                    <a:pt x="35" y="55"/>
                  </a:lnTo>
                  <a:lnTo>
                    <a:pt x="43" y="52"/>
                  </a:lnTo>
                  <a:lnTo>
                    <a:pt x="43" y="52"/>
                  </a:lnTo>
                  <a:lnTo>
                    <a:pt x="47" y="49"/>
                  </a:lnTo>
                  <a:lnTo>
                    <a:pt x="51" y="45"/>
                  </a:lnTo>
                  <a:lnTo>
                    <a:pt x="54" y="40"/>
                  </a:lnTo>
                  <a:lnTo>
                    <a:pt x="56" y="36"/>
                  </a:lnTo>
                  <a:lnTo>
                    <a:pt x="56" y="30"/>
                  </a:lnTo>
                  <a:lnTo>
                    <a:pt x="56" y="24"/>
                  </a:lnTo>
                  <a:lnTo>
                    <a:pt x="55" y="19"/>
                  </a:lnTo>
                  <a:lnTo>
                    <a:pt x="53" y="14"/>
                  </a:lnTo>
                  <a:lnTo>
                    <a:pt x="53" y="14"/>
                  </a:lnTo>
                  <a:lnTo>
                    <a:pt x="48" y="8"/>
                  </a:lnTo>
                  <a:lnTo>
                    <a:pt x="43" y="4"/>
                  </a:lnTo>
                  <a:lnTo>
                    <a:pt x="35" y="1"/>
                  </a:lnTo>
                  <a:lnTo>
                    <a:pt x="2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7" name="Freeform 630">
              <a:extLst>
                <a:ext uri="{FF2B5EF4-FFF2-40B4-BE49-F238E27FC236}">
                  <a16:creationId xmlns:a16="http://schemas.microsoft.com/office/drawing/2014/main" id="{851CF9F2-4A18-F0F9-EC2B-8FC784BB35F3}"/>
                </a:ext>
              </a:extLst>
            </p:cNvPr>
            <p:cNvSpPr>
              <a:spLocks/>
            </p:cNvSpPr>
            <p:nvPr/>
          </p:nvSpPr>
          <p:spPr bwMode="auto">
            <a:xfrm>
              <a:off x="3595688" y="3684588"/>
              <a:ext cx="12700" cy="12700"/>
            </a:xfrm>
            <a:custGeom>
              <a:avLst/>
              <a:gdLst/>
              <a:ahLst/>
              <a:cxnLst>
                <a:cxn ang="0">
                  <a:pos x="27" y="0"/>
                </a:cxn>
                <a:cxn ang="0">
                  <a:pos x="27" y="0"/>
                </a:cxn>
                <a:cxn ang="0">
                  <a:pos x="21" y="1"/>
                </a:cxn>
                <a:cxn ang="0">
                  <a:pos x="14" y="4"/>
                </a:cxn>
                <a:cxn ang="0">
                  <a:pos x="14" y="4"/>
                </a:cxn>
                <a:cxn ang="0">
                  <a:pos x="9" y="7"/>
                </a:cxn>
                <a:cxn ang="0">
                  <a:pos x="6" y="11"/>
                </a:cxn>
                <a:cxn ang="0">
                  <a:pos x="3" y="15"/>
                </a:cxn>
                <a:cxn ang="0">
                  <a:pos x="1" y="21"/>
                </a:cxn>
                <a:cxn ang="0">
                  <a:pos x="0" y="26"/>
                </a:cxn>
                <a:cxn ang="0">
                  <a:pos x="0" y="32"/>
                </a:cxn>
                <a:cxn ang="0">
                  <a:pos x="1" y="37"/>
                </a:cxn>
                <a:cxn ang="0">
                  <a:pos x="4" y="42"/>
                </a:cxn>
                <a:cxn ang="0">
                  <a:pos x="4" y="42"/>
                </a:cxn>
                <a:cxn ang="0">
                  <a:pos x="8" y="48"/>
                </a:cxn>
                <a:cxn ang="0">
                  <a:pos x="14" y="52"/>
                </a:cxn>
                <a:cxn ang="0">
                  <a:pos x="21" y="56"/>
                </a:cxn>
                <a:cxn ang="0">
                  <a:pos x="28" y="57"/>
                </a:cxn>
                <a:cxn ang="0">
                  <a:pos x="28" y="57"/>
                </a:cxn>
                <a:cxn ang="0">
                  <a:pos x="36" y="56"/>
                </a:cxn>
                <a:cxn ang="0">
                  <a:pos x="42" y="52"/>
                </a:cxn>
                <a:cxn ang="0">
                  <a:pos x="42" y="52"/>
                </a:cxn>
                <a:cxn ang="0">
                  <a:pos x="47" y="49"/>
                </a:cxn>
                <a:cxn ang="0">
                  <a:pos x="50" y="45"/>
                </a:cxn>
                <a:cxn ang="0">
                  <a:pos x="53" y="40"/>
                </a:cxn>
                <a:cxn ang="0">
                  <a:pos x="55" y="36"/>
                </a:cxn>
                <a:cxn ang="0">
                  <a:pos x="56" y="30"/>
                </a:cxn>
                <a:cxn ang="0">
                  <a:pos x="56" y="25"/>
                </a:cxn>
                <a:cxn ang="0">
                  <a:pos x="55" y="19"/>
                </a:cxn>
                <a:cxn ang="0">
                  <a:pos x="52" y="14"/>
                </a:cxn>
                <a:cxn ang="0">
                  <a:pos x="52" y="14"/>
                </a:cxn>
                <a:cxn ang="0">
                  <a:pos x="48" y="8"/>
                </a:cxn>
                <a:cxn ang="0">
                  <a:pos x="42" y="4"/>
                </a:cxn>
                <a:cxn ang="0">
                  <a:pos x="36" y="1"/>
                </a:cxn>
                <a:cxn ang="0">
                  <a:pos x="27" y="0"/>
                </a:cxn>
              </a:cxnLst>
              <a:rect l="0" t="0" r="r" b="b"/>
              <a:pathLst>
                <a:path w="56" h="57">
                  <a:moveTo>
                    <a:pt x="27" y="0"/>
                  </a:moveTo>
                  <a:lnTo>
                    <a:pt x="27" y="0"/>
                  </a:lnTo>
                  <a:lnTo>
                    <a:pt x="21" y="1"/>
                  </a:lnTo>
                  <a:lnTo>
                    <a:pt x="14" y="4"/>
                  </a:lnTo>
                  <a:lnTo>
                    <a:pt x="14" y="4"/>
                  </a:lnTo>
                  <a:lnTo>
                    <a:pt x="9" y="7"/>
                  </a:lnTo>
                  <a:lnTo>
                    <a:pt x="6" y="11"/>
                  </a:lnTo>
                  <a:lnTo>
                    <a:pt x="3" y="15"/>
                  </a:lnTo>
                  <a:lnTo>
                    <a:pt x="1" y="21"/>
                  </a:lnTo>
                  <a:lnTo>
                    <a:pt x="0" y="26"/>
                  </a:lnTo>
                  <a:lnTo>
                    <a:pt x="0" y="32"/>
                  </a:lnTo>
                  <a:lnTo>
                    <a:pt x="1" y="37"/>
                  </a:lnTo>
                  <a:lnTo>
                    <a:pt x="4" y="42"/>
                  </a:lnTo>
                  <a:lnTo>
                    <a:pt x="4" y="42"/>
                  </a:lnTo>
                  <a:lnTo>
                    <a:pt x="8" y="48"/>
                  </a:lnTo>
                  <a:lnTo>
                    <a:pt x="14" y="52"/>
                  </a:lnTo>
                  <a:lnTo>
                    <a:pt x="21" y="56"/>
                  </a:lnTo>
                  <a:lnTo>
                    <a:pt x="28" y="57"/>
                  </a:lnTo>
                  <a:lnTo>
                    <a:pt x="28" y="57"/>
                  </a:lnTo>
                  <a:lnTo>
                    <a:pt x="36" y="56"/>
                  </a:lnTo>
                  <a:lnTo>
                    <a:pt x="42" y="52"/>
                  </a:lnTo>
                  <a:lnTo>
                    <a:pt x="42" y="52"/>
                  </a:lnTo>
                  <a:lnTo>
                    <a:pt x="47" y="49"/>
                  </a:lnTo>
                  <a:lnTo>
                    <a:pt x="50" y="45"/>
                  </a:lnTo>
                  <a:lnTo>
                    <a:pt x="53" y="40"/>
                  </a:lnTo>
                  <a:lnTo>
                    <a:pt x="55" y="36"/>
                  </a:lnTo>
                  <a:lnTo>
                    <a:pt x="56" y="30"/>
                  </a:lnTo>
                  <a:lnTo>
                    <a:pt x="56" y="25"/>
                  </a:lnTo>
                  <a:lnTo>
                    <a:pt x="55" y="19"/>
                  </a:lnTo>
                  <a:lnTo>
                    <a:pt x="52" y="14"/>
                  </a:lnTo>
                  <a:lnTo>
                    <a:pt x="52" y="14"/>
                  </a:lnTo>
                  <a:lnTo>
                    <a:pt x="48" y="8"/>
                  </a:lnTo>
                  <a:lnTo>
                    <a:pt x="42" y="4"/>
                  </a:lnTo>
                  <a:lnTo>
                    <a:pt x="36" y="1"/>
                  </a:lnTo>
                  <a:lnTo>
                    <a:pt x="27" y="0"/>
                  </a:lnTo>
                  <a:close/>
                </a:path>
              </a:pathLst>
            </a:custGeom>
            <a:solidFill>
              <a:srgbClr val="FFEED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8" name="Freeform 631">
              <a:extLst>
                <a:ext uri="{FF2B5EF4-FFF2-40B4-BE49-F238E27FC236}">
                  <a16:creationId xmlns:a16="http://schemas.microsoft.com/office/drawing/2014/main" id="{BAB32951-74D9-96C8-A7F8-6F0B27F547E7}"/>
                </a:ext>
              </a:extLst>
            </p:cNvPr>
            <p:cNvSpPr>
              <a:spLocks/>
            </p:cNvSpPr>
            <p:nvPr/>
          </p:nvSpPr>
          <p:spPr bwMode="auto">
            <a:xfrm>
              <a:off x="3595688" y="3684588"/>
              <a:ext cx="12700" cy="12700"/>
            </a:xfrm>
            <a:custGeom>
              <a:avLst/>
              <a:gdLst/>
              <a:ahLst/>
              <a:cxnLst>
                <a:cxn ang="0">
                  <a:pos x="27" y="0"/>
                </a:cxn>
                <a:cxn ang="0">
                  <a:pos x="27" y="0"/>
                </a:cxn>
                <a:cxn ang="0">
                  <a:pos x="21" y="1"/>
                </a:cxn>
                <a:cxn ang="0">
                  <a:pos x="14" y="4"/>
                </a:cxn>
                <a:cxn ang="0">
                  <a:pos x="14" y="4"/>
                </a:cxn>
                <a:cxn ang="0">
                  <a:pos x="9" y="7"/>
                </a:cxn>
                <a:cxn ang="0">
                  <a:pos x="6" y="11"/>
                </a:cxn>
                <a:cxn ang="0">
                  <a:pos x="3" y="15"/>
                </a:cxn>
                <a:cxn ang="0">
                  <a:pos x="1" y="21"/>
                </a:cxn>
                <a:cxn ang="0">
                  <a:pos x="0" y="26"/>
                </a:cxn>
                <a:cxn ang="0">
                  <a:pos x="0" y="32"/>
                </a:cxn>
                <a:cxn ang="0">
                  <a:pos x="1" y="37"/>
                </a:cxn>
                <a:cxn ang="0">
                  <a:pos x="4" y="42"/>
                </a:cxn>
                <a:cxn ang="0">
                  <a:pos x="4" y="42"/>
                </a:cxn>
                <a:cxn ang="0">
                  <a:pos x="8" y="48"/>
                </a:cxn>
                <a:cxn ang="0">
                  <a:pos x="14" y="52"/>
                </a:cxn>
                <a:cxn ang="0">
                  <a:pos x="21" y="56"/>
                </a:cxn>
                <a:cxn ang="0">
                  <a:pos x="28" y="57"/>
                </a:cxn>
                <a:cxn ang="0">
                  <a:pos x="28" y="57"/>
                </a:cxn>
                <a:cxn ang="0">
                  <a:pos x="36" y="56"/>
                </a:cxn>
                <a:cxn ang="0">
                  <a:pos x="42" y="52"/>
                </a:cxn>
                <a:cxn ang="0">
                  <a:pos x="42" y="52"/>
                </a:cxn>
                <a:cxn ang="0">
                  <a:pos x="47" y="49"/>
                </a:cxn>
                <a:cxn ang="0">
                  <a:pos x="50" y="45"/>
                </a:cxn>
                <a:cxn ang="0">
                  <a:pos x="53" y="40"/>
                </a:cxn>
                <a:cxn ang="0">
                  <a:pos x="55" y="36"/>
                </a:cxn>
                <a:cxn ang="0">
                  <a:pos x="56" y="30"/>
                </a:cxn>
                <a:cxn ang="0">
                  <a:pos x="56" y="25"/>
                </a:cxn>
                <a:cxn ang="0">
                  <a:pos x="55" y="19"/>
                </a:cxn>
                <a:cxn ang="0">
                  <a:pos x="52" y="14"/>
                </a:cxn>
                <a:cxn ang="0">
                  <a:pos x="52" y="14"/>
                </a:cxn>
                <a:cxn ang="0">
                  <a:pos x="48" y="8"/>
                </a:cxn>
                <a:cxn ang="0">
                  <a:pos x="42" y="4"/>
                </a:cxn>
                <a:cxn ang="0">
                  <a:pos x="36" y="1"/>
                </a:cxn>
                <a:cxn ang="0">
                  <a:pos x="27" y="0"/>
                </a:cxn>
              </a:cxnLst>
              <a:rect l="0" t="0" r="r" b="b"/>
              <a:pathLst>
                <a:path w="56" h="57">
                  <a:moveTo>
                    <a:pt x="27" y="0"/>
                  </a:moveTo>
                  <a:lnTo>
                    <a:pt x="27" y="0"/>
                  </a:lnTo>
                  <a:lnTo>
                    <a:pt x="21" y="1"/>
                  </a:lnTo>
                  <a:lnTo>
                    <a:pt x="14" y="4"/>
                  </a:lnTo>
                  <a:lnTo>
                    <a:pt x="14" y="4"/>
                  </a:lnTo>
                  <a:lnTo>
                    <a:pt x="9" y="7"/>
                  </a:lnTo>
                  <a:lnTo>
                    <a:pt x="6" y="11"/>
                  </a:lnTo>
                  <a:lnTo>
                    <a:pt x="3" y="15"/>
                  </a:lnTo>
                  <a:lnTo>
                    <a:pt x="1" y="21"/>
                  </a:lnTo>
                  <a:lnTo>
                    <a:pt x="0" y="26"/>
                  </a:lnTo>
                  <a:lnTo>
                    <a:pt x="0" y="32"/>
                  </a:lnTo>
                  <a:lnTo>
                    <a:pt x="1" y="37"/>
                  </a:lnTo>
                  <a:lnTo>
                    <a:pt x="4" y="42"/>
                  </a:lnTo>
                  <a:lnTo>
                    <a:pt x="4" y="42"/>
                  </a:lnTo>
                  <a:lnTo>
                    <a:pt x="8" y="48"/>
                  </a:lnTo>
                  <a:lnTo>
                    <a:pt x="14" y="52"/>
                  </a:lnTo>
                  <a:lnTo>
                    <a:pt x="21" y="56"/>
                  </a:lnTo>
                  <a:lnTo>
                    <a:pt x="28" y="57"/>
                  </a:lnTo>
                  <a:lnTo>
                    <a:pt x="28" y="57"/>
                  </a:lnTo>
                  <a:lnTo>
                    <a:pt x="36" y="56"/>
                  </a:lnTo>
                  <a:lnTo>
                    <a:pt x="42" y="52"/>
                  </a:lnTo>
                  <a:lnTo>
                    <a:pt x="42" y="52"/>
                  </a:lnTo>
                  <a:lnTo>
                    <a:pt x="47" y="49"/>
                  </a:lnTo>
                  <a:lnTo>
                    <a:pt x="50" y="45"/>
                  </a:lnTo>
                  <a:lnTo>
                    <a:pt x="53" y="40"/>
                  </a:lnTo>
                  <a:lnTo>
                    <a:pt x="55" y="36"/>
                  </a:lnTo>
                  <a:lnTo>
                    <a:pt x="56" y="30"/>
                  </a:lnTo>
                  <a:lnTo>
                    <a:pt x="56" y="25"/>
                  </a:lnTo>
                  <a:lnTo>
                    <a:pt x="55" y="19"/>
                  </a:lnTo>
                  <a:lnTo>
                    <a:pt x="52" y="14"/>
                  </a:lnTo>
                  <a:lnTo>
                    <a:pt x="52" y="14"/>
                  </a:lnTo>
                  <a:lnTo>
                    <a:pt x="48" y="8"/>
                  </a:lnTo>
                  <a:lnTo>
                    <a:pt x="42" y="4"/>
                  </a:lnTo>
                  <a:lnTo>
                    <a:pt x="36" y="1"/>
                  </a:lnTo>
                  <a:lnTo>
                    <a:pt x="27"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9" name="Rectangle 632">
              <a:extLst>
                <a:ext uri="{FF2B5EF4-FFF2-40B4-BE49-F238E27FC236}">
                  <a16:creationId xmlns:a16="http://schemas.microsoft.com/office/drawing/2014/main" id="{90F7EA33-5BBE-DEA5-D0E8-4B4BDC3EB660}"/>
                </a:ext>
              </a:extLst>
            </p:cNvPr>
            <p:cNvSpPr>
              <a:spLocks noChangeArrowheads="1"/>
            </p:cNvSpPr>
            <p:nvPr/>
          </p:nvSpPr>
          <p:spPr bwMode="auto">
            <a:xfrm>
              <a:off x="3751263" y="3470275"/>
              <a:ext cx="6350" cy="136525"/>
            </a:xfrm>
            <a:prstGeom prst="rect">
              <a:avLst/>
            </a:prstGeom>
            <a:solidFill>
              <a:srgbClr val="FFEED2"/>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0" name="Rectangle 633">
              <a:extLst>
                <a:ext uri="{FF2B5EF4-FFF2-40B4-BE49-F238E27FC236}">
                  <a16:creationId xmlns:a16="http://schemas.microsoft.com/office/drawing/2014/main" id="{0F0CA839-7D51-45B0-D845-93C9C57733A1}"/>
                </a:ext>
              </a:extLst>
            </p:cNvPr>
            <p:cNvSpPr>
              <a:spLocks noChangeArrowheads="1"/>
            </p:cNvSpPr>
            <p:nvPr/>
          </p:nvSpPr>
          <p:spPr bwMode="auto">
            <a:xfrm>
              <a:off x="3751263" y="3470275"/>
              <a:ext cx="6350" cy="1365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1" name="Freeform 750">
              <a:extLst>
                <a:ext uri="{FF2B5EF4-FFF2-40B4-BE49-F238E27FC236}">
                  <a16:creationId xmlns:a16="http://schemas.microsoft.com/office/drawing/2014/main" id="{ADE1773F-3FED-A134-B247-0052BD2A447F}"/>
                </a:ext>
              </a:extLst>
            </p:cNvPr>
            <p:cNvSpPr>
              <a:spLocks/>
            </p:cNvSpPr>
            <p:nvPr/>
          </p:nvSpPr>
          <p:spPr bwMode="auto">
            <a:xfrm>
              <a:off x="3590926" y="3433763"/>
              <a:ext cx="577850" cy="579438"/>
            </a:xfrm>
            <a:custGeom>
              <a:avLst/>
              <a:gdLst/>
              <a:ahLst/>
              <a:cxnLst>
                <a:cxn ang="0">
                  <a:pos x="1698" y="20"/>
                </a:cxn>
                <a:cxn ang="0">
                  <a:pos x="1772" y="107"/>
                </a:cxn>
                <a:cxn ang="0">
                  <a:pos x="1839" y="200"/>
                </a:cxn>
                <a:cxn ang="0">
                  <a:pos x="1896" y="299"/>
                </a:cxn>
                <a:cxn ang="0">
                  <a:pos x="1943" y="404"/>
                </a:cxn>
                <a:cxn ang="0">
                  <a:pos x="1980" y="514"/>
                </a:cxn>
                <a:cxn ang="0">
                  <a:pos x="2007" y="629"/>
                </a:cxn>
                <a:cxn ang="0">
                  <a:pos x="2022" y="748"/>
                </a:cxn>
                <a:cxn ang="0">
                  <a:pos x="2026" y="839"/>
                </a:cxn>
                <a:cxn ang="0">
                  <a:pos x="2019" y="961"/>
                </a:cxn>
                <a:cxn ang="0">
                  <a:pos x="2002" y="1078"/>
                </a:cxn>
                <a:cxn ang="0">
                  <a:pos x="1972" y="1192"/>
                </a:cxn>
                <a:cxn ang="0">
                  <a:pos x="1933" y="1301"/>
                </a:cxn>
                <a:cxn ang="0">
                  <a:pos x="1882" y="1405"/>
                </a:cxn>
                <a:cxn ang="0">
                  <a:pos x="1823" y="1503"/>
                </a:cxn>
                <a:cxn ang="0">
                  <a:pos x="1755" y="1595"/>
                </a:cxn>
                <a:cxn ang="0">
                  <a:pos x="1678" y="1678"/>
                </a:cxn>
                <a:cxn ang="0">
                  <a:pos x="1594" y="1755"/>
                </a:cxn>
                <a:cxn ang="0">
                  <a:pos x="1502" y="1823"/>
                </a:cxn>
                <a:cxn ang="0">
                  <a:pos x="1404" y="1883"/>
                </a:cxn>
                <a:cxn ang="0">
                  <a:pos x="1301" y="1932"/>
                </a:cxn>
                <a:cxn ang="0">
                  <a:pos x="1192" y="1973"/>
                </a:cxn>
                <a:cxn ang="0">
                  <a:pos x="1078" y="2001"/>
                </a:cxn>
                <a:cxn ang="0">
                  <a:pos x="960" y="2020"/>
                </a:cxn>
                <a:cxn ang="0">
                  <a:pos x="838" y="2026"/>
                </a:cxn>
                <a:cxn ang="0">
                  <a:pos x="747" y="2022"/>
                </a:cxn>
                <a:cxn ang="0">
                  <a:pos x="628" y="2008"/>
                </a:cxn>
                <a:cxn ang="0">
                  <a:pos x="514" y="1981"/>
                </a:cxn>
                <a:cxn ang="0">
                  <a:pos x="404" y="1944"/>
                </a:cxn>
                <a:cxn ang="0">
                  <a:pos x="299" y="1896"/>
                </a:cxn>
                <a:cxn ang="0">
                  <a:pos x="199" y="1839"/>
                </a:cxn>
                <a:cxn ang="0">
                  <a:pos x="106" y="1773"/>
                </a:cxn>
                <a:cxn ang="0">
                  <a:pos x="19" y="1699"/>
                </a:cxn>
                <a:cxn ang="0">
                  <a:pos x="1276" y="2908"/>
                </a:cxn>
                <a:cxn ang="0">
                  <a:pos x="1432" y="2869"/>
                </a:cxn>
                <a:cxn ang="0">
                  <a:pos x="1583" y="2818"/>
                </a:cxn>
                <a:cxn ang="0">
                  <a:pos x="1729" y="2758"/>
                </a:cxn>
                <a:cxn ang="0">
                  <a:pos x="1869" y="2686"/>
                </a:cxn>
                <a:cxn ang="0">
                  <a:pos x="2002" y="2604"/>
                </a:cxn>
                <a:cxn ang="0">
                  <a:pos x="2130" y="2513"/>
                </a:cxn>
                <a:cxn ang="0">
                  <a:pos x="2249" y="2415"/>
                </a:cxn>
                <a:cxn ang="0">
                  <a:pos x="2361" y="2306"/>
                </a:cxn>
                <a:cxn ang="0">
                  <a:pos x="2464" y="2190"/>
                </a:cxn>
                <a:cxn ang="0">
                  <a:pos x="2560" y="2067"/>
                </a:cxn>
                <a:cxn ang="0">
                  <a:pos x="2646" y="1937"/>
                </a:cxn>
                <a:cxn ang="0">
                  <a:pos x="2722" y="1800"/>
                </a:cxn>
                <a:cxn ang="0">
                  <a:pos x="2789" y="1657"/>
                </a:cxn>
                <a:cxn ang="0">
                  <a:pos x="2845" y="1509"/>
                </a:cxn>
                <a:cxn ang="0">
                  <a:pos x="2889" y="1356"/>
                </a:cxn>
                <a:cxn ang="0">
                  <a:pos x="2916" y="1237"/>
                </a:cxn>
              </a:cxnLst>
              <a:rect l="0" t="0" r="r" b="b"/>
              <a:pathLst>
                <a:path w="2916" h="2915">
                  <a:moveTo>
                    <a:pt x="2916" y="1237"/>
                  </a:moveTo>
                  <a:lnTo>
                    <a:pt x="1678" y="0"/>
                  </a:lnTo>
                  <a:lnTo>
                    <a:pt x="1678" y="0"/>
                  </a:lnTo>
                  <a:lnTo>
                    <a:pt x="1698" y="20"/>
                  </a:lnTo>
                  <a:lnTo>
                    <a:pt x="1717" y="41"/>
                  </a:lnTo>
                  <a:lnTo>
                    <a:pt x="1736" y="63"/>
                  </a:lnTo>
                  <a:lnTo>
                    <a:pt x="1755" y="84"/>
                  </a:lnTo>
                  <a:lnTo>
                    <a:pt x="1772" y="107"/>
                  </a:lnTo>
                  <a:lnTo>
                    <a:pt x="1790" y="130"/>
                  </a:lnTo>
                  <a:lnTo>
                    <a:pt x="1807" y="152"/>
                  </a:lnTo>
                  <a:lnTo>
                    <a:pt x="1823" y="176"/>
                  </a:lnTo>
                  <a:lnTo>
                    <a:pt x="1839" y="200"/>
                  </a:lnTo>
                  <a:lnTo>
                    <a:pt x="1853" y="223"/>
                  </a:lnTo>
                  <a:lnTo>
                    <a:pt x="1868" y="248"/>
                  </a:lnTo>
                  <a:lnTo>
                    <a:pt x="1882" y="274"/>
                  </a:lnTo>
                  <a:lnTo>
                    <a:pt x="1896" y="299"/>
                  </a:lnTo>
                  <a:lnTo>
                    <a:pt x="1908" y="324"/>
                  </a:lnTo>
                  <a:lnTo>
                    <a:pt x="1920" y="351"/>
                  </a:lnTo>
                  <a:lnTo>
                    <a:pt x="1933" y="377"/>
                  </a:lnTo>
                  <a:lnTo>
                    <a:pt x="1943" y="404"/>
                  </a:lnTo>
                  <a:lnTo>
                    <a:pt x="1953" y="432"/>
                  </a:lnTo>
                  <a:lnTo>
                    <a:pt x="1964" y="458"/>
                  </a:lnTo>
                  <a:lnTo>
                    <a:pt x="1972" y="486"/>
                  </a:lnTo>
                  <a:lnTo>
                    <a:pt x="1980" y="514"/>
                  </a:lnTo>
                  <a:lnTo>
                    <a:pt x="1988" y="543"/>
                  </a:lnTo>
                  <a:lnTo>
                    <a:pt x="1996" y="572"/>
                  </a:lnTo>
                  <a:lnTo>
                    <a:pt x="2002" y="600"/>
                  </a:lnTo>
                  <a:lnTo>
                    <a:pt x="2007" y="629"/>
                  </a:lnTo>
                  <a:lnTo>
                    <a:pt x="2012" y="658"/>
                  </a:lnTo>
                  <a:lnTo>
                    <a:pt x="2016" y="688"/>
                  </a:lnTo>
                  <a:lnTo>
                    <a:pt x="2019" y="718"/>
                  </a:lnTo>
                  <a:lnTo>
                    <a:pt x="2022" y="748"/>
                  </a:lnTo>
                  <a:lnTo>
                    <a:pt x="2024" y="779"/>
                  </a:lnTo>
                  <a:lnTo>
                    <a:pt x="2026" y="809"/>
                  </a:lnTo>
                  <a:lnTo>
                    <a:pt x="2026" y="839"/>
                  </a:lnTo>
                  <a:lnTo>
                    <a:pt x="2026" y="839"/>
                  </a:lnTo>
                  <a:lnTo>
                    <a:pt x="2026" y="870"/>
                  </a:lnTo>
                  <a:lnTo>
                    <a:pt x="2024" y="900"/>
                  </a:lnTo>
                  <a:lnTo>
                    <a:pt x="2022" y="930"/>
                  </a:lnTo>
                  <a:lnTo>
                    <a:pt x="2019" y="961"/>
                  </a:lnTo>
                  <a:lnTo>
                    <a:pt x="2016" y="991"/>
                  </a:lnTo>
                  <a:lnTo>
                    <a:pt x="2012" y="1020"/>
                  </a:lnTo>
                  <a:lnTo>
                    <a:pt x="2007" y="1050"/>
                  </a:lnTo>
                  <a:lnTo>
                    <a:pt x="2002" y="1078"/>
                  </a:lnTo>
                  <a:lnTo>
                    <a:pt x="1996" y="1107"/>
                  </a:lnTo>
                  <a:lnTo>
                    <a:pt x="1988" y="1136"/>
                  </a:lnTo>
                  <a:lnTo>
                    <a:pt x="1980" y="1164"/>
                  </a:lnTo>
                  <a:lnTo>
                    <a:pt x="1972" y="1192"/>
                  </a:lnTo>
                  <a:lnTo>
                    <a:pt x="1964" y="1220"/>
                  </a:lnTo>
                  <a:lnTo>
                    <a:pt x="1953" y="1247"/>
                  </a:lnTo>
                  <a:lnTo>
                    <a:pt x="1943" y="1274"/>
                  </a:lnTo>
                  <a:lnTo>
                    <a:pt x="1933" y="1301"/>
                  </a:lnTo>
                  <a:lnTo>
                    <a:pt x="1920" y="1328"/>
                  </a:lnTo>
                  <a:lnTo>
                    <a:pt x="1908" y="1354"/>
                  </a:lnTo>
                  <a:lnTo>
                    <a:pt x="1896" y="1379"/>
                  </a:lnTo>
                  <a:lnTo>
                    <a:pt x="1882" y="1405"/>
                  </a:lnTo>
                  <a:lnTo>
                    <a:pt x="1868" y="1430"/>
                  </a:lnTo>
                  <a:lnTo>
                    <a:pt x="1853" y="1454"/>
                  </a:lnTo>
                  <a:lnTo>
                    <a:pt x="1839" y="1479"/>
                  </a:lnTo>
                  <a:lnTo>
                    <a:pt x="1823" y="1503"/>
                  </a:lnTo>
                  <a:lnTo>
                    <a:pt x="1807" y="1527"/>
                  </a:lnTo>
                  <a:lnTo>
                    <a:pt x="1790" y="1549"/>
                  </a:lnTo>
                  <a:lnTo>
                    <a:pt x="1772" y="1572"/>
                  </a:lnTo>
                  <a:lnTo>
                    <a:pt x="1755" y="1595"/>
                  </a:lnTo>
                  <a:lnTo>
                    <a:pt x="1736" y="1616"/>
                  </a:lnTo>
                  <a:lnTo>
                    <a:pt x="1717" y="1637"/>
                  </a:lnTo>
                  <a:lnTo>
                    <a:pt x="1698" y="1658"/>
                  </a:lnTo>
                  <a:lnTo>
                    <a:pt x="1678" y="1678"/>
                  </a:lnTo>
                  <a:lnTo>
                    <a:pt x="1658" y="1699"/>
                  </a:lnTo>
                  <a:lnTo>
                    <a:pt x="1637" y="1718"/>
                  </a:lnTo>
                  <a:lnTo>
                    <a:pt x="1615" y="1737"/>
                  </a:lnTo>
                  <a:lnTo>
                    <a:pt x="1594" y="1755"/>
                  </a:lnTo>
                  <a:lnTo>
                    <a:pt x="1571" y="1773"/>
                  </a:lnTo>
                  <a:lnTo>
                    <a:pt x="1548" y="1790"/>
                  </a:lnTo>
                  <a:lnTo>
                    <a:pt x="1526" y="1807"/>
                  </a:lnTo>
                  <a:lnTo>
                    <a:pt x="1502" y="1823"/>
                  </a:lnTo>
                  <a:lnTo>
                    <a:pt x="1478" y="1839"/>
                  </a:lnTo>
                  <a:lnTo>
                    <a:pt x="1454" y="1854"/>
                  </a:lnTo>
                  <a:lnTo>
                    <a:pt x="1430" y="1869"/>
                  </a:lnTo>
                  <a:lnTo>
                    <a:pt x="1404" y="1883"/>
                  </a:lnTo>
                  <a:lnTo>
                    <a:pt x="1379" y="1896"/>
                  </a:lnTo>
                  <a:lnTo>
                    <a:pt x="1354" y="1909"/>
                  </a:lnTo>
                  <a:lnTo>
                    <a:pt x="1327" y="1921"/>
                  </a:lnTo>
                  <a:lnTo>
                    <a:pt x="1301" y="1932"/>
                  </a:lnTo>
                  <a:lnTo>
                    <a:pt x="1274" y="1944"/>
                  </a:lnTo>
                  <a:lnTo>
                    <a:pt x="1247" y="1954"/>
                  </a:lnTo>
                  <a:lnTo>
                    <a:pt x="1220" y="1963"/>
                  </a:lnTo>
                  <a:lnTo>
                    <a:pt x="1192" y="1973"/>
                  </a:lnTo>
                  <a:lnTo>
                    <a:pt x="1163" y="1981"/>
                  </a:lnTo>
                  <a:lnTo>
                    <a:pt x="1135" y="1989"/>
                  </a:lnTo>
                  <a:lnTo>
                    <a:pt x="1106" y="1995"/>
                  </a:lnTo>
                  <a:lnTo>
                    <a:pt x="1078" y="2001"/>
                  </a:lnTo>
                  <a:lnTo>
                    <a:pt x="1049" y="2008"/>
                  </a:lnTo>
                  <a:lnTo>
                    <a:pt x="1020" y="2013"/>
                  </a:lnTo>
                  <a:lnTo>
                    <a:pt x="990" y="2017"/>
                  </a:lnTo>
                  <a:lnTo>
                    <a:pt x="960" y="2020"/>
                  </a:lnTo>
                  <a:lnTo>
                    <a:pt x="930" y="2022"/>
                  </a:lnTo>
                  <a:lnTo>
                    <a:pt x="899" y="2024"/>
                  </a:lnTo>
                  <a:lnTo>
                    <a:pt x="869" y="2025"/>
                  </a:lnTo>
                  <a:lnTo>
                    <a:pt x="838" y="2026"/>
                  </a:lnTo>
                  <a:lnTo>
                    <a:pt x="838" y="2026"/>
                  </a:lnTo>
                  <a:lnTo>
                    <a:pt x="808" y="2025"/>
                  </a:lnTo>
                  <a:lnTo>
                    <a:pt x="778" y="2024"/>
                  </a:lnTo>
                  <a:lnTo>
                    <a:pt x="747" y="2022"/>
                  </a:lnTo>
                  <a:lnTo>
                    <a:pt x="717" y="2020"/>
                  </a:lnTo>
                  <a:lnTo>
                    <a:pt x="687" y="2017"/>
                  </a:lnTo>
                  <a:lnTo>
                    <a:pt x="658" y="2013"/>
                  </a:lnTo>
                  <a:lnTo>
                    <a:pt x="628" y="2008"/>
                  </a:lnTo>
                  <a:lnTo>
                    <a:pt x="599" y="2001"/>
                  </a:lnTo>
                  <a:lnTo>
                    <a:pt x="571" y="1995"/>
                  </a:lnTo>
                  <a:lnTo>
                    <a:pt x="542" y="1989"/>
                  </a:lnTo>
                  <a:lnTo>
                    <a:pt x="514" y="1981"/>
                  </a:lnTo>
                  <a:lnTo>
                    <a:pt x="486" y="1973"/>
                  </a:lnTo>
                  <a:lnTo>
                    <a:pt x="458" y="1963"/>
                  </a:lnTo>
                  <a:lnTo>
                    <a:pt x="430" y="1954"/>
                  </a:lnTo>
                  <a:lnTo>
                    <a:pt x="404" y="1944"/>
                  </a:lnTo>
                  <a:lnTo>
                    <a:pt x="377" y="1932"/>
                  </a:lnTo>
                  <a:lnTo>
                    <a:pt x="350" y="1921"/>
                  </a:lnTo>
                  <a:lnTo>
                    <a:pt x="324" y="1909"/>
                  </a:lnTo>
                  <a:lnTo>
                    <a:pt x="299" y="1896"/>
                  </a:lnTo>
                  <a:lnTo>
                    <a:pt x="273" y="1883"/>
                  </a:lnTo>
                  <a:lnTo>
                    <a:pt x="248" y="1869"/>
                  </a:lnTo>
                  <a:lnTo>
                    <a:pt x="223" y="1854"/>
                  </a:lnTo>
                  <a:lnTo>
                    <a:pt x="199" y="1839"/>
                  </a:lnTo>
                  <a:lnTo>
                    <a:pt x="175" y="1823"/>
                  </a:lnTo>
                  <a:lnTo>
                    <a:pt x="151" y="1807"/>
                  </a:lnTo>
                  <a:lnTo>
                    <a:pt x="128" y="1790"/>
                  </a:lnTo>
                  <a:lnTo>
                    <a:pt x="106" y="1773"/>
                  </a:lnTo>
                  <a:lnTo>
                    <a:pt x="83" y="1755"/>
                  </a:lnTo>
                  <a:lnTo>
                    <a:pt x="62" y="1737"/>
                  </a:lnTo>
                  <a:lnTo>
                    <a:pt x="41" y="1718"/>
                  </a:lnTo>
                  <a:lnTo>
                    <a:pt x="19" y="1699"/>
                  </a:lnTo>
                  <a:lnTo>
                    <a:pt x="0" y="1678"/>
                  </a:lnTo>
                  <a:lnTo>
                    <a:pt x="1237" y="2915"/>
                  </a:lnTo>
                  <a:lnTo>
                    <a:pt x="1237" y="2915"/>
                  </a:lnTo>
                  <a:lnTo>
                    <a:pt x="1276" y="2908"/>
                  </a:lnTo>
                  <a:lnTo>
                    <a:pt x="1316" y="2899"/>
                  </a:lnTo>
                  <a:lnTo>
                    <a:pt x="1355" y="2889"/>
                  </a:lnTo>
                  <a:lnTo>
                    <a:pt x="1394" y="2879"/>
                  </a:lnTo>
                  <a:lnTo>
                    <a:pt x="1432" y="2869"/>
                  </a:lnTo>
                  <a:lnTo>
                    <a:pt x="1470" y="2858"/>
                  </a:lnTo>
                  <a:lnTo>
                    <a:pt x="1508" y="2845"/>
                  </a:lnTo>
                  <a:lnTo>
                    <a:pt x="1546" y="2832"/>
                  </a:lnTo>
                  <a:lnTo>
                    <a:pt x="1583" y="2818"/>
                  </a:lnTo>
                  <a:lnTo>
                    <a:pt x="1621" y="2804"/>
                  </a:lnTo>
                  <a:lnTo>
                    <a:pt x="1657" y="2790"/>
                  </a:lnTo>
                  <a:lnTo>
                    <a:pt x="1693" y="2773"/>
                  </a:lnTo>
                  <a:lnTo>
                    <a:pt x="1729" y="2758"/>
                  </a:lnTo>
                  <a:lnTo>
                    <a:pt x="1765" y="2740"/>
                  </a:lnTo>
                  <a:lnTo>
                    <a:pt x="1800" y="2723"/>
                  </a:lnTo>
                  <a:lnTo>
                    <a:pt x="1834" y="2705"/>
                  </a:lnTo>
                  <a:lnTo>
                    <a:pt x="1869" y="2686"/>
                  </a:lnTo>
                  <a:lnTo>
                    <a:pt x="1903" y="2666"/>
                  </a:lnTo>
                  <a:lnTo>
                    <a:pt x="1936" y="2646"/>
                  </a:lnTo>
                  <a:lnTo>
                    <a:pt x="1970" y="2626"/>
                  </a:lnTo>
                  <a:lnTo>
                    <a:pt x="2002" y="2604"/>
                  </a:lnTo>
                  <a:lnTo>
                    <a:pt x="2035" y="2583"/>
                  </a:lnTo>
                  <a:lnTo>
                    <a:pt x="2067" y="2560"/>
                  </a:lnTo>
                  <a:lnTo>
                    <a:pt x="2099" y="2537"/>
                  </a:lnTo>
                  <a:lnTo>
                    <a:pt x="2130" y="2513"/>
                  </a:lnTo>
                  <a:lnTo>
                    <a:pt x="2159" y="2490"/>
                  </a:lnTo>
                  <a:lnTo>
                    <a:pt x="2190" y="2465"/>
                  </a:lnTo>
                  <a:lnTo>
                    <a:pt x="2219" y="2440"/>
                  </a:lnTo>
                  <a:lnTo>
                    <a:pt x="2249" y="2415"/>
                  </a:lnTo>
                  <a:lnTo>
                    <a:pt x="2278" y="2388"/>
                  </a:lnTo>
                  <a:lnTo>
                    <a:pt x="2306" y="2361"/>
                  </a:lnTo>
                  <a:lnTo>
                    <a:pt x="2334" y="2334"/>
                  </a:lnTo>
                  <a:lnTo>
                    <a:pt x="2361" y="2306"/>
                  </a:lnTo>
                  <a:lnTo>
                    <a:pt x="2387" y="2278"/>
                  </a:lnTo>
                  <a:lnTo>
                    <a:pt x="2414" y="2250"/>
                  </a:lnTo>
                  <a:lnTo>
                    <a:pt x="2440" y="2220"/>
                  </a:lnTo>
                  <a:lnTo>
                    <a:pt x="2464" y="2190"/>
                  </a:lnTo>
                  <a:lnTo>
                    <a:pt x="2489" y="2160"/>
                  </a:lnTo>
                  <a:lnTo>
                    <a:pt x="2514" y="2129"/>
                  </a:lnTo>
                  <a:lnTo>
                    <a:pt x="2537" y="2098"/>
                  </a:lnTo>
                  <a:lnTo>
                    <a:pt x="2560" y="2067"/>
                  </a:lnTo>
                  <a:lnTo>
                    <a:pt x="2582" y="2035"/>
                  </a:lnTo>
                  <a:lnTo>
                    <a:pt x="2605" y="2003"/>
                  </a:lnTo>
                  <a:lnTo>
                    <a:pt x="2625" y="1970"/>
                  </a:lnTo>
                  <a:lnTo>
                    <a:pt x="2646" y="1937"/>
                  </a:lnTo>
                  <a:lnTo>
                    <a:pt x="2666" y="1904"/>
                  </a:lnTo>
                  <a:lnTo>
                    <a:pt x="2686" y="1870"/>
                  </a:lnTo>
                  <a:lnTo>
                    <a:pt x="2705" y="1835"/>
                  </a:lnTo>
                  <a:lnTo>
                    <a:pt x="2722" y="1800"/>
                  </a:lnTo>
                  <a:lnTo>
                    <a:pt x="2740" y="1765"/>
                  </a:lnTo>
                  <a:lnTo>
                    <a:pt x="2757" y="1730"/>
                  </a:lnTo>
                  <a:lnTo>
                    <a:pt x="2774" y="1693"/>
                  </a:lnTo>
                  <a:lnTo>
                    <a:pt x="2789" y="1657"/>
                  </a:lnTo>
                  <a:lnTo>
                    <a:pt x="2804" y="1620"/>
                  </a:lnTo>
                  <a:lnTo>
                    <a:pt x="2818" y="1583"/>
                  </a:lnTo>
                  <a:lnTo>
                    <a:pt x="2831" y="1546"/>
                  </a:lnTo>
                  <a:lnTo>
                    <a:pt x="2845" y="1509"/>
                  </a:lnTo>
                  <a:lnTo>
                    <a:pt x="2857" y="1471"/>
                  </a:lnTo>
                  <a:lnTo>
                    <a:pt x="2868" y="1433"/>
                  </a:lnTo>
                  <a:lnTo>
                    <a:pt x="2880" y="1395"/>
                  </a:lnTo>
                  <a:lnTo>
                    <a:pt x="2889" y="1356"/>
                  </a:lnTo>
                  <a:lnTo>
                    <a:pt x="2899" y="1316"/>
                  </a:lnTo>
                  <a:lnTo>
                    <a:pt x="2908" y="1277"/>
                  </a:lnTo>
                  <a:lnTo>
                    <a:pt x="2916" y="1237"/>
                  </a:lnTo>
                  <a:lnTo>
                    <a:pt x="2916" y="1237"/>
                  </a:lnTo>
                  <a:close/>
                </a:path>
              </a:pathLst>
            </a:custGeom>
            <a:solidFill>
              <a:srgbClr val="3C9987"/>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102" name="Group 101">
            <a:extLst>
              <a:ext uri="{FF2B5EF4-FFF2-40B4-BE49-F238E27FC236}">
                <a16:creationId xmlns:a16="http://schemas.microsoft.com/office/drawing/2014/main" id="{58B889DA-B704-CC06-806A-1E14FDD83577}"/>
              </a:ext>
            </a:extLst>
          </p:cNvPr>
          <p:cNvGrpSpPr/>
          <p:nvPr/>
        </p:nvGrpSpPr>
        <p:grpSpPr>
          <a:xfrm>
            <a:off x="435092" y="5150971"/>
            <a:ext cx="360034" cy="326286"/>
            <a:chOff x="3338513" y="5022850"/>
            <a:chExt cx="838200" cy="838200"/>
          </a:xfrm>
        </p:grpSpPr>
        <p:sp>
          <p:nvSpPr>
            <p:cNvPr id="103" name="Freeform 675">
              <a:extLst>
                <a:ext uri="{FF2B5EF4-FFF2-40B4-BE49-F238E27FC236}">
                  <a16:creationId xmlns:a16="http://schemas.microsoft.com/office/drawing/2014/main" id="{A2593DAD-134D-2FE0-2AFA-B31038DDFFB2}"/>
                </a:ext>
              </a:extLst>
            </p:cNvPr>
            <p:cNvSpPr>
              <a:spLocks/>
            </p:cNvSpPr>
            <p:nvPr/>
          </p:nvSpPr>
          <p:spPr bwMode="auto">
            <a:xfrm>
              <a:off x="3338513" y="5022850"/>
              <a:ext cx="838200" cy="838200"/>
            </a:xfrm>
            <a:custGeom>
              <a:avLst/>
              <a:gdLst/>
              <a:ahLst/>
              <a:cxnLst>
                <a:cxn ang="0">
                  <a:pos x="4223" y="2277"/>
                </a:cxn>
                <a:cxn ang="0">
                  <a:pos x="4186" y="2540"/>
                </a:cxn>
                <a:cxn ang="0">
                  <a:pos x="4118" y="2792"/>
                </a:cxn>
                <a:cxn ang="0">
                  <a:pos x="4020" y="3030"/>
                </a:cxn>
                <a:cxn ang="0">
                  <a:pos x="3895" y="3253"/>
                </a:cxn>
                <a:cxn ang="0">
                  <a:pos x="3746" y="3458"/>
                </a:cxn>
                <a:cxn ang="0">
                  <a:pos x="3573" y="3644"/>
                </a:cxn>
                <a:cxn ang="0">
                  <a:pos x="3379" y="3808"/>
                </a:cxn>
                <a:cxn ang="0">
                  <a:pos x="3167" y="3948"/>
                </a:cxn>
                <a:cxn ang="0">
                  <a:pos x="2937" y="4062"/>
                </a:cxn>
                <a:cxn ang="0">
                  <a:pos x="2693" y="4148"/>
                </a:cxn>
                <a:cxn ang="0">
                  <a:pos x="2436" y="4203"/>
                </a:cxn>
                <a:cxn ang="0">
                  <a:pos x="2169" y="4227"/>
                </a:cxn>
                <a:cxn ang="0">
                  <a:pos x="1952" y="4222"/>
                </a:cxn>
                <a:cxn ang="0">
                  <a:pos x="1688" y="4185"/>
                </a:cxn>
                <a:cxn ang="0">
                  <a:pos x="1436" y="4117"/>
                </a:cxn>
                <a:cxn ang="0">
                  <a:pos x="1197" y="4019"/>
                </a:cxn>
                <a:cxn ang="0">
                  <a:pos x="975" y="3895"/>
                </a:cxn>
                <a:cxn ang="0">
                  <a:pos x="769" y="3745"/>
                </a:cxn>
                <a:cxn ang="0">
                  <a:pos x="583" y="3573"/>
                </a:cxn>
                <a:cxn ang="0">
                  <a:pos x="419" y="3379"/>
                </a:cxn>
                <a:cxn ang="0">
                  <a:pos x="280" y="3166"/>
                </a:cxn>
                <a:cxn ang="0">
                  <a:pos x="166" y="2937"/>
                </a:cxn>
                <a:cxn ang="0">
                  <a:pos x="80" y="2693"/>
                </a:cxn>
                <a:cxn ang="0">
                  <a:pos x="24" y="2436"/>
                </a:cxn>
                <a:cxn ang="0">
                  <a:pos x="0" y="2169"/>
                </a:cxn>
                <a:cxn ang="0">
                  <a:pos x="6" y="1951"/>
                </a:cxn>
                <a:cxn ang="0">
                  <a:pos x="42" y="1688"/>
                </a:cxn>
                <a:cxn ang="0">
                  <a:pos x="111" y="1436"/>
                </a:cxn>
                <a:cxn ang="0">
                  <a:pos x="208" y="1197"/>
                </a:cxn>
                <a:cxn ang="0">
                  <a:pos x="333" y="975"/>
                </a:cxn>
                <a:cxn ang="0">
                  <a:pos x="482" y="770"/>
                </a:cxn>
                <a:cxn ang="0">
                  <a:pos x="655" y="583"/>
                </a:cxn>
                <a:cxn ang="0">
                  <a:pos x="849" y="420"/>
                </a:cxn>
                <a:cxn ang="0">
                  <a:pos x="1061" y="280"/>
                </a:cxn>
                <a:cxn ang="0">
                  <a:pos x="1291" y="166"/>
                </a:cxn>
                <a:cxn ang="0">
                  <a:pos x="1535" y="81"/>
                </a:cxn>
                <a:cxn ang="0">
                  <a:pos x="1792" y="24"/>
                </a:cxn>
                <a:cxn ang="0">
                  <a:pos x="2060" y="1"/>
                </a:cxn>
                <a:cxn ang="0">
                  <a:pos x="2277" y="6"/>
                </a:cxn>
                <a:cxn ang="0">
                  <a:pos x="2540" y="43"/>
                </a:cxn>
                <a:cxn ang="0">
                  <a:pos x="2793" y="111"/>
                </a:cxn>
                <a:cxn ang="0">
                  <a:pos x="3031" y="208"/>
                </a:cxn>
                <a:cxn ang="0">
                  <a:pos x="3254" y="333"/>
                </a:cxn>
                <a:cxn ang="0">
                  <a:pos x="3459" y="482"/>
                </a:cxn>
                <a:cxn ang="0">
                  <a:pos x="3645" y="655"/>
                </a:cxn>
                <a:cxn ang="0">
                  <a:pos x="3809" y="849"/>
                </a:cxn>
                <a:cxn ang="0">
                  <a:pos x="3949" y="1061"/>
                </a:cxn>
                <a:cxn ang="0">
                  <a:pos x="4062" y="1291"/>
                </a:cxn>
                <a:cxn ang="0">
                  <a:pos x="4149" y="1535"/>
                </a:cxn>
                <a:cxn ang="0">
                  <a:pos x="4204" y="1792"/>
                </a:cxn>
                <a:cxn ang="0">
                  <a:pos x="4228" y="2059"/>
                </a:cxn>
              </a:cxnLst>
              <a:rect l="0" t="0" r="r" b="b"/>
              <a:pathLst>
                <a:path w="4229" h="4228">
                  <a:moveTo>
                    <a:pt x="4229" y="2114"/>
                  </a:moveTo>
                  <a:lnTo>
                    <a:pt x="4229" y="2114"/>
                  </a:lnTo>
                  <a:lnTo>
                    <a:pt x="4228" y="2169"/>
                  </a:lnTo>
                  <a:lnTo>
                    <a:pt x="4226" y="2222"/>
                  </a:lnTo>
                  <a:lnTo>
                    <a:pt x="4223" y="2277"/>
                  </a:lnTo>
                  <a:lnTo>
                    <a:pt x="4218" y="2330"/>
                  </a:lnTo>
                  <a:lnTo>
                    <a:pt x="4211" y="2383"/>
                  </a:lnTo>
                  <a:lnTo>
                    <a:pt x="4204" y="2436"/>
                  </a:lnTo>
                  <a:lnTo>
                    <a:pt x="4196" y="2488"/>
                  </a:lnTo>
                  <a:lnTo>
                    <a:pt x="4186" y="2540"/>
                  </a:lnTo>
                  <a:lnTo>
                    <a:pt x="4174" y="2591"/>
                  </a:lnTo>
                  <a:lnTo>
                    <a:pt x="4162" y="2643"/>
                  </a:lnTo>
                  <a:lnTo>
                    <a:pt x="4149" y="2693"/>
                  </a:lnTo>
                  <a:lnTo>
                    <a:pt x="4133" y="2742"/>
                  </a:lnTo>
                  <a:lnTo>
                    <a:pt x="4118" y="2792"/>
                  </a:lnTo>
                  <a:lnTo>
                    <a:pt x="4100" y="2840"/>
                  </a:lnTo>
                  <a:lnTo>
                    <a:pt x="4082" y="2889"/>
                  </a:lnTo>
                  <a:lnTo>
                    <a:pt x="4062" y="2937"/>
                  </a:lnTo>
                  <a:lnTo>
                    <a:pt x="4041" y="2984"/>
                  </a:lnTo>
                  <a:lnTo>
                    <a:pt x="4020" y="3030"/>
                  </a:lnTo>
                  <a:lnTo>
                    <a:pt x="3997" y="3076"/>
                  </a:lnTo>
                  <a:lnTo>
                    <a:pt x="3973" y="3122"/>
                  </a:lnTo>
                  <a:lnTo>
                    <a:pt x="3949" y="3166"/>
                  </a:lnTo>
                  <a:lnTo>
                    <a:pt x="3923" y="3210"/>
                  </a:lnTo>
                  <a:lnTo>
                    <a:pt x="3895" y="3253"/>
                  </a:lnTo>
                  <a:lnTo>
                    <a:pt x="3867" y="3296"/>
                  </a:lnTo>
                  <a:lnTo>
                    <a:pt x="3838" y="3338"/>
                  </a:lnTo>
                  <a:lnTo>
                    <a:pt x="3809" y="3379"/>
                  </a:lnTo>
                  <a:lnTo>
                    <a:pt x="3778" y="3419"/>
                  </a:lnTo>
                  <a:lnTo>
                    <a:pt x="3746" y="3458"/>
                  </a:lnTo>
                  <a:lnTo>
                    <a:pt x="3713" y="3498"/>
                  </a:lnTo>
                  <a:lnTo>
                    <a:pt x="3680" y="3536"/>
                  </a:lnTo>
                  <a:lnTo>
                    <a:pt x="3645" y="3573"/>
                  </a:lnTo>
                  <a:lnTo>
                    <a:pt x="3610" y="3609"/>
                  </a:lnTo>
                  <a:lnTo>
                    <a:pt x="3573" y="3644"/>
                  </a:lnTo>
                  <a:lnTo>
                    <a:pt x="3535" y="3679"/>
                  </a:lnTo>
                  <a:lnTo>
                    <a:pt x="3498" y="3712"/>
                  </a:lnTo>
                  <a:lnTo>
                    <a:pt x="3459" y="3745"/>
                  </a:lnTo>
                  <a:lnTo>
                    <a:pt x="3420" y="3777"/>
                  </a:lnTo>
                  <a:lnTo>
                    <a:pt x="3379" y="3808"/>
                  </a:lnTo>
                  <a:lnTo>
                    <a:pt x="3339" y="3838"/>
                  </a:lnTo>
                  <a:lnTo>
                    <a:pt x="3296" y="3866"/>
                  </a:lnTo>
                  <a:lnTo>
                    <a:pt x="3254" y="3895"/>
                  </a:lnTo>
                  <a:lnTo>
                    <a:pt x="3211" y="3922"/>
                  </a:lnTo>
                  <a:lnTo>
                    <a:pt x="3167" y="3948"/>
                  </a:lnTo>
                  <a:lnTo>
                    <a:pt x="3122" y="3973"/>
                  </a:lnTo>
                  <a:lnTo>
                    <a:pt x="3077" y="3996"/>
                  </a:lnTo>
                  <a:lnTo>
                    <a:pt x="3031" y="4019"/>
                  </a:lnTo>
                  <a:lnTo>
                    <a:pt x="2984" y="4042"/>
                  </a:lnTo>
                  <a:lnTo>
                    <a:pt x="2937" y="4062"/>
                  </a:lnTo>
                  <a:lnTo>
                    <a:pt x="2889" y="4082"/>
                  </a:lnTo>
                  <a:lnTo>
                    <a:pt x="2841" y="4099"/>
                  </a:lnTo>
                  <a:lnTo>
                    <a:pt x="2793" y="4117"/>
                  </a:lnTo>
                  <a:lnTo>
                    <a:pt x="2743" y="4133"/>
                  </a:lnTo>
                  <a:lnTo>
                    <a:pt x="2693" y="4148"/>
                  </a:lnTo>
                  <a:lnTo>
                    <a:pt x="2643" y="4161"/>
                  </a:lnTo>
                  <a:lnTo>
                    <a:pt x="2592" y="4173"/>
                  </a:lnTo>
                  <a:lnTo>
                    <a:pt x="2540" y="4185"/>
                  </a:lnTo>
                  <a:lnTo>
                    <a:pt x="2489" y="4195"/>
                  </a:lnTo>
                  <a:lnTo>
                    <a:pt x="2436" y="4203"/>
                  </a:lnTo>
                  <a:lnTo>
                    <a:pt x="2383" y="4210"/>
                  </a:lnTo>
                  <a:lnTo>
                    <a:pt x="2331" y="4217"/>
                  </a:lnTo>
                  <a:lnTo>
                    <a:pt x="2277" y="4222"/>
                  </a:lnTo>
                  <a:lnTo>
                    <a:pt x="2223" y="4225"/>
                  </a:lnTo>
                  <a:lnTo>
                    <a:pt x="2169" y="4227"/>
                  </a:lnTo>
                  <a:lnTo>
                    <a:pt x="2115" y="4228"/>
                  </a:lnTo>
                  <a:lnTo>
                    <a:pt x="2115" y="4228"/>
                  </a:lnTo>
                  <a:lnTo>
                    <a:pt x="2060" y="4227"/>
                  </a:lnTo>
                  <a:lnTo>
                    <a:pt x="2005" y="4225"/>
                  </a:lnTo>
                  <a:lnTo>
                    <a:pt x="1952" y="4222"/>
                  </a:lnTo>
                  <a:lnTo>
                    <a:pt x="1898" y="4217"/>
                  </a:lnTo>
                  <a:lnTo>
                    <a:pt x="1845" y="4210"/>
                  </a:lnTo>
                  <a:lnTo>
                    <a:pt x="1792" y="4203"/>
                  </a:lnTo>
                  <a:lnTo>
                    <a:pt x="1739" y="4195"/>
                  </a:lnTo>
                  <a:lnTo>
                    <a:pt x="1688" y="4185"/>
                  </a:lnTo>
                  <a:lnTo>
                    <a:pt x="1636" y="4173"/>
                  </a:lnTo>
                  <a:lnTo>
                    <a:pt x="1586" y="4161"/>
                  </a:lnTo>
                  <a:lnTo>
                    <a:pt x="1535" y="4148"/>
                  </a:lnTo>
                  <a:lnTo>
                    <a:pt x="1486" y="4133"/>
                  </a:lnTo>
                  <a:lnTo>
                    <a:pt x="1436" y="4117"/>
                  </a:lnTo>
                  <a:lnTo>
                    <a:pt x="1387" y="4099"/>
                  </a:lnTo>
                  <a:lnTo>
                    <a:pt x="1339" y="4082"/>
                  </a:lnTo>
                  <a:lnTo>
                    <a:pt x="1291" y="4062"/>
                  </a:lnTo>
                  <a:lnTo>
                    <a:pt x="1244" y="4042"/>
                  </a:lnTo>
                  <a:lnTo>
                    <a:pt x="1197" y="4019"/>
                  </a:lnTo>
                  <a:lnTo>
                    <a:pt x="1152" y="3996"/>
                  </a:lnTo>
                  <a:lnTo>
                    <a:pt x="1107" y="3973"/>
                  </a:lnTo>
                  <a:lnTo>
                    <a:pt x="1061" y="3948"/>
                  </a:lnTo>
                  <a:lnTo>
                    <a:pt x="1018" y="3922"/>
                  </a:lnTo>
                  <a:lnTo>
                    <a:pt x="975" y="3895"/>
                  </a:lnTo>
                  <a:lnTo>
                    <a:pt x="932" y="3866"/>
                  </a:lnTo>
                  <a:lnTo>
                    <a:pt x="890" y="3838"/>
                  </a:lnTo>
                  <a:lnTo>
                    <a:pt x="849" y="3808"/>
                  </a:lnTo>
                  <a:lnTo>
                    <a:pt x="809" y="3777"/>
                  </a:lnTo>
                  <a:lnTo>
                    <a:pt x="769" y="3745"/>
                  </a:lnTo>
                  <a:lnTo>
                    <a:pt x="731" y="3712"/>
                  </a:lnTo>
                  <a:lnTo>
                    <a:pt x="693" y="3679"/>
                  </a:lnTo>
                  <a:lnTo>
                    <a:pt x="655" y="3644"/>
                  </a:lnTo>
                  <a:lnTo>
                    <a:pt x="619" y="3609"/>
                  </a:lnTo>
                  <a:lnTo>
                    <a:pt x="583" y="3573"/>
                  </a:lnTo>
                  <a:lnTo>
                    <a:pt x="549" y="3536"/>
                  </a:lnTo>
                  <a:lnTo>
                    <a:pt x="515" y="3498"/>
                  </a:lnTo>
                  <a:lnTo>
                    <a:pt x="482" y="3458"/>
                  </a:lnTo>
                  <a:lnTo>
                    <a:pt x="450" y="3419"/>
                  </a:lnTo>
                  <a:lnTo>
                    <a:pt x="419" y="3379"/>
                  </a:lnTo>
                  <a:lnTo>
                    <a:pt x="390" y="3338"/>
                  </a:lnTo>
                  <a:lnTo>
                    <a:pt x="361" y="3296"/>
                  </a:lnTo>
                  <a:lnTo>
                    <a:pt x="333" y="3253"/>
                  </a:lnTo>
                  <a:lnTo>
                    <a:pt x="306" y="3210"/>
                  </a:lnTo>
                  <a:lnTo>
                    <a:pt x="280" y="3166"/>
                  </a:lnTo>
                  <a:lnTo>
                    <a:pt x="255" y="3122"/>
                  </a:lnTo>
                  <a:lnTo>
                    <a:pt x="231" y="3076"/>
                  </a:lnTo>
                  <a:lnTo>
                    <a:pt x="208" y="3030"/>
                  </a:lnTo>
                  <a:lnTo>
                    <a:pt x="187" y="2984"/>
                  </a:lnTo>
                  <a:lnTo>
                    <a:pt x="166" y="2937"/>
                  </a:lnTo>
                  <a:lnTo>
                    <a:pt x="146" y="2889"/>
                  </a:lnTo>
                  <a:lnTo>
                    <a:pt x="128" y="2840"/>
                  </a:lnTo>
                  <a:lnTo>
                    <a:pt x="111" y="2792"/>
                  </a:lnTo>
                  <a:lnTo>
                    <a:pt x="95" y="2742"/>
                  </a:lnTo>
                  <a:lnTo>
                    <a:pt x="80" y="2693"/>
                  </a:lnTo>
                  <a:lnTo>
                    <a:pt x="66" y="2643"/>
                  </a:lnTo>
                  <a:lnTo>
                    <a:pt x="54" y="2591"/>
                  </a:lnTo>
                  <a:lnTo>
                    <a:pt x="42" y="2540"/>
                  </a:lnTo>
                  <a:lnTo>
                    <a:pt x="33" y="2488"/>
                  </a:lnTo>
                  <a:lnTo>
                    <a:pt x="24" y="2436"/>
                  </a:lnTo>
                  <a:lnTo>
                    <a:pt x="17" y="2383"/>
                  </a:lnTo>
                  <a:lnTo>
                    <a:pt x="10" y="2330"/>
                  </a:lnTo>
                  <a:lnTo>
                    <a:pt x="6" y="2277"/>
                  </a:lnTo>
                  <a:lnTo>
                    <a:pt x="2" y="2222"/>
                  </a:lnTo>
                  <a:lnTo>
                    <a:pt x="0" y="2169"/>
                  </a:lnTo>
                  <a:lnTo>
                    <a:pt x="0" y="2114"/>
                  </a:lnTo>
                  <a:lnTo>
                    <a:pt x="0" y="2114"/>
                  </a:lnTo>
                  <a:lnTo>
                    <a:pt x="0" y="2059"/>
                  </a:lnTo>
                  <a:lnTo>
                    <a:pt x="2" y="2005"/>
                  </a:lnTo>
                  <a:lnTo>
                    <a:pt x="6" y="1951"/>
                  </a:lnTo>
                  <a:lnTo>
                    <a:pt x="10" y="1898"/>
                  </a:lnTo>
                  <a:lnTo>
                    <a:pt x="17" y="1844"/>
                  </a:lnTo>
                  <a:lnTo>
                    <a:pt x="24" y="1792"/>
                  </a:lnTo>
                  <a:lnTo>
                    <a:pt x="33" y="1740"/>
                  </a:lnTo>
                  <a:lnTo>
                    <a:pt x="42" y="1688"/>
                  </a:lnTo>
                  <a:lnTo>
                    <a:pt x="54" y="1636"/>
                  </a:lnTo>
                  <a:lnTo>
                    <a:pt x="66" y="1586"/>
                  </a:lnTo>
                  <a:lnTo>
                    <a:pt x="80" y="1535"/>
                  </a:lnTo>
                  <a:lnTo>
                    <a:pt x="95" y="1486"/>
                  </a:lnTo>
                  <a:lnTo>
                    <a:pt x="111" y="1436"/>
                  </a:lnTo>
                  <a:lnTo>
                    <a:pt x="128" y="1387"/>
                  </a:lnTo>
                  <a:lnTo>
                    <a:pt x="146" y="1338"/>
                  </a:lnTo>
                  <a:lnTo>
                    <a:pt x="166" y="1291"/>
                  </a:lnTo>
                  <a:lnTo>
                    <a:pt x="187" y="1244"/>
                  </a:lnTo>
                  <a:lnTo>
                    <a:pt x="208" y="1197"/>
                  </a:lnTo>
                  <a:lnTo>
                    <a:pt x="231" y="1152"/>
                  </a:lnTo>
                  <a:lnTo>
                    <a:pt x="255" y="1107"/>
                  </a:lnTo>
                  <a:lnTo>
                    <a:pt x="280" y="1061"/>
                  </a:lnTo>
                  <a:lnTo>
                    <a:pt x="306" y="1018"/>
                  </a:lnTo>
                  <a:lnTo>
                    <a:pt x="333" y="975"/>
                  </a:lnTo>
                  <a:lnTo>
                    <a:pt x="361" y="932"/>
                  </a:lnTo>
                  <a:lnTo>
                    <a:pt x="390" y="890"/>
                  </a:lnTo>
                  <a:lnTo>
                    <a:pt x="419" y="849"/>
                  </a:lnTo>
                  <a:lnTo>
                    <a:pt x="450" y="809"/>
                  </a:lnTo>
                  <a:lnTo>
                    <a:pt x="482" y="770"/>
                  </a:lnTo>
                  <a:lnTo>
                    <a:pt x="515" y="731"/>
                  </a:lnTo>
                  <a:lnTo>
                    <a:pt x="549" y="692"/>
                  </a:lnTo>
                  <a:lnTo>
                    <a:pt x="583" y="655"/>
                  </a:lnTo>
                  <a:lnTo>
                    <a:pt x="619" y="619"/>
                  </a:lnTo>
                  <a:lnTo>
                    <a:pt x="655" y="583"/>
                  </a:lnTo>
                  <a:lnTo>
                    <a:pt x="693" y="549"/>
                  </a:lnTo>
                  <a:lnTo>
                    <a:pt x="731" y="515"/>
                  </a:lnTo>
                  <a:lnTo>
                    <a:pt x="769" y="482"/>
                  </a:lnTo>
                  <a:lnTo>
                    <a:pt x="809" y="451"/>
                  </a:lnTo>
                  <a:lnTo>
                    <a:pt x="849" y="420"/>
                  </a:lnTo>
                  <a:lnTo>
                    <a:pt x="890" y="390"/>
                  </a:lnTo>
                  <a:lnTo>
                    <a:pt x="932" y="361"/>
                  </a:lnTo>
                  <a:lnTo>
                    <a:pt x="975" y="333"/>
                  </a:lnTo>
                  <a:lnTo>
                    <a:pt x="1018" y="306"/>
                  </a:lnTo>
                  <a:lnTo>
                    <a:pt x="1061" y="280"/>
                  </a:lnTo>
                  <a:lnTo>
                    <a:pt x="1107" y="256"/>
                  </a:lnTo>
                  <a:lnTo>
                    <a:pt x="1152" y="231"/>
                  </a:lnTo>
                  <a:lnTo>
                    <a:pt x="1197" y="208"/>
                  </a:lnTo>
                  <a:lnTo>
                    <a:pt x="1244" y="187"/>
                  </a:lnTo>
                  <a:lnTo>
                    <a:pt x="1291" y="166"/>
                  </a:lnTo>
                  <a:lnTo>
                    <a:pt x="1339" y="146"/>
                  </a:lnTo>
                  <a:lnTo>
                    <a:pt x="1387" y="128"/>
                  </a:lnTo>
                  <a:lnTo>
                    <a:pt x="1436" y="111"/>
                  </a:lnTo>
                  <a:lnTo>
                    <a:pt x="1486" y="95"/>
                  </a:lnTo>
                  <a:lnTo>
                    <a:pt x="1535" y="81"/>
                  </a:lnTo>
                  <a:lnTo>
                    <a:pt x="1586" y="66"/>
                  </a:lnTo>
                  <a:lnTo>
                    <a:pt x="1636" y="54"/>
                  </a:lnTo>
                  <a:lnTo>
                    <a:pt x="1688" y="43"/>
                  </a:lnTo>
                  <a:lnTo>
                    <a:pt x="1739" y="33"/>
                  </a:lnTo>
                  <a:lnTo>
                    <a:pt x="1792" y="24"/>
                  </a:lnTo>
                  <a:lnTo>
                    <a:pt x="1845" y="17"/>
                  </a:lnTo>
                  <a:lnTo>
                    <a:pt x="1898" y="10"/>
                  </a:lnTo>
                  <a:lnTo>
                    <a:pt x="1952" y="6"/>
                  </a:lnTo>
                  <a:lnTo>
                    <a:pt x="2005" y="3"/>
                  </a:lnTo>
                  <a:lnTo>
                    <a:pt x="2060" y="1"/>
                  </a:lnTo>
                  <a:lnTo>
                    <a:pt x="2115" y="0"/>
                  </a:lnTo>
                  <a:lnTo>
                    <a:pt x="2115" y="0"/>
                  </a:lnTo>
                  <a:lnTo>
                    <a:pt x="2169" y="1"/>
                  </a:lnTo>
                  <a:lnTo>
                    <a:pt x="2223" y="3"/>
                  </a:lnTo>
                  <a:lnTo>
                    <a:pt x="2277" y="6"/>
                  </a:lnTo>
                  <a:lnTo>
                    <a:pt x="2331" y="10"/>
                  </a:lnTo>
                  <a:lnTo>
                    <a:pt x="2383" y="17"/>
                  </a:lnTo>
                  <a:lnTo>
                    <a:pt x="2436" y="24"/>
                  </a:lnTo>
                  <a:lnTo>
                    <a:pt x="2489" y="33"/>
                  </a:lnTo>
                  <a:lnTo>
                    <a:pt x="2540" y="43"/>
                  </a:lnTo>
                  <a:lnTo>
                    <a:pt x="2592" y="54"/>
                  </a:lnTo>
                  <a:lnTo>
                    <a:pt x="2643" y="66"/>
                  </a:lnTo>
                  <a:lnTo>
                    <a:pt x="2693" y="81"/>
                  </a:lnTo>
                  <a:lnTo>
                    <a:pt x="2743" y="95"/>
                  </a:lnTo>
                  <a:lnTo>
                    <a:pt x="2793" y="111"/>
                  </a:lnTo>
                  <a:lnTo>
                    <a:pt x="2841" y="128"/>
                  </a:lnTo>
                  <a:lnTo>
                    <a:pt x="2889" y="146"/>
                  </a:lnTo>
                  <a:lnTo>
                    <a:pt x="2937" y="166"/>
                  </a:lnTo>
                  <a:lnTo>
                    <a:pt x="2984" y="187"/>
                  </a:lnTo>
                  <a:lnTo>
                    <a:pt x="3031" y="208"/>
                  </a:lnTo>
                  <a:lnTo>
                    <a:pt x="3077" y="231"/>
                  </a:lnTo>
                  <a:lnTo>
                    <a:pt x="3122" y="256"/>
                  </a:lnTo>
                  <a:lnTo>
                    <a:pt x="3167" y="280"/>
                  </a:lnTo>
                  <a:lnTo>
                    <a:pt x="3211" y="306"/>
                  </a:lnTo>
                  <a:lnTo>
                    <a:pt x="3254" y="333"/>
                  </a:lnTo>
                  <a:lnTo>
                    <a:pt x="3296" y="361"/>
                  </a:lnTo>
                  <a:lnTo>
                    <a:pt x="3339" y="390"/>
                  </a:lnTo>
                  <a:lnTo>
                    <a:pt x="3379" y="420"/>
                  </a:lnTo>
                  <a:lnTo>
                    <a:pt x="3420" y="451"/>
                  </a:lnTo>
                  <a:lnTo>
                    <a:pt x="3459" y="482"/>
                  </a:lnTo>
                  <a:lnTo>
                    <a:pt x="3498" y="515"/>
                  </a:lnTo>
                  <a:lnTo>
                    <a:pt x="3535" y="549"/>
                  </a:lnTo>
                  <a:lnTo>
                    <a:pt x="3573" y="583"/>
                  </a:lnTo>
                  <a:lnTo>
                    <a:pt x="3610" y="619"/>
                  </a:lnTo>
                  <a:lnTo>
                    <a:pt x="3645" y="655"/>
                  </a:lnTo>
                  <a:lnTo>
                    <a:pt x="3680" y="692"/>
                  </a:lnTo>
                  <a:lnTo>
                    <a:pt x="3713" y="731"/>
                  </a:lnTo>
                  <a:lnTo>
                    <a:pt x="3746" y="770"/>
                  </a:lnTo>
                  <a:lnTo>
                    <a:pt x="3778" y="809"/>
                  </a:lnTo>
                  <a:lnTo>
                    <a:pt x="3809" y="849"/>
                  </a:lnTo>
                  <a:lnTo>
                    <a:pt x="3838" y="890"/>
                  </a:lnTo>
                  <a:lnTo>
                    <a:pt x="3867" y="932"/>
                  </a:lnTo>
                  <a:lnTo>
                    <a:pt x="3895" y="975"/>
                  </a:lnTo>
                  <a:lnTo>
                    <a:pt x="3923" y="1018"/>
                  </a:lnTo>
                  <a:lnTo>
                    <a:pt x="3949" y="1061"/>
                  </a:lnTo>
                  <a:lnTo>
                    <a:pt x="3973" y="1107"/>
                  </a:lnTo>
                  <a:lnTo>
                    <a:pt x="3997" y="1152"/>
                  </a:lnTo>
                  <a:lnTo>
                    <a:pt x="4020" y="1197"/>
                  </a:lnTo>
                  <a:lnTo>
                    <a:pt x="4041" y="1244"/>
                  </a:lnTo>
                  <a:lnTo>
                    <a:pt x="4062" y="1291"/>
                  </a:lnTo>
                  <a:lnTo>
                    <a:pt x="4082" y="1338"/>
                  </a:lnTo>
                  <a:lnTo>
                    <a:pt x="4100" y="1387"/>
                  </a:lnTo>
                  <a:lnTo>
                    <a:pt x="4118" y="1436"/>
                  </a:lnTo>
                  <a:lnTo>
                    <a:pt x="4133" y="1486"/>
                  </a:lnTo>
                  <a:lnTo>
                    <a:pt x="4149" y="1535"/>
                  </a:lnTo>
                  <a:lnTo>
                    <a:pt x="4162" y="1586"/>
                  </a:lnTo>
                  <a:lnTo>
                    <a:pt x="4174" y="1636"/>
                  </a:lnTo>
                  <a:lnTo>
                    <a:pt x="4186" y="1688"/>
                  </a:lnTo>
                  <a:lnTo>
                    <a:pt x="4196" y="1740"/>
                  </a:lnTo>
                  <a:lnTo>
                    <a:pt x="4204" y="1792"/>
                  </a:lnTo>
                  <a:lnTo>
                    <a:pt x="4211" y="1844"/>
                  </a:lnTo>
                  <a:lnTo>
                    <a:pt x="4218" y="1898"/>
                  </a:lnTo>
                  <a:lnTo>
                    <a:pt x="4223" y="1951"/>
                  </a:lnTo>
                  <a:lnTo>
                    <a:pt x="4226" y="2005"/>
                  </a:lnTo>
                  <a:lnTo>
                    <a:pt x="4228" y="2059"/>
                  </a:lnTo>
                  <a:lnTo>
                    <a:pt x="4229" y="2114"/>
                  </a:lnTo>
                  <a:close/>
                </a:path>
              </a:pathLst>
            </a:custGeom>
            <a:solidFill>
              <a:srgbClr val="4CC5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4" name="Freeform 676">
              <a:extLst>
                <a:ext uri="{FF2B5EF4-FFF2-40B4-BE49-F238E27FC236}">
                  <a16:creationId xmlns:a16="http://schemas.microsoft.com/office/drawing/2014/main" id="{1ADAA901-F92D-E394-C61C-06CC1E4B4375}"/>
                </a:ext>
              </a:extLst>
            </p:cNvPr>
            <p:cNvSpPr>
              <a:spLocks/>
            </p:cNvSpPr>
            <p:nvPr/>
          </p:nvSpPr>
          <p:spPr bwMode="auto">
            <a:xfrm>
              <a:off x="3338513" y="5022850"/>
              <a:ext cx="838200" cy="838200"/>
            </a:xfrm>
            <a:custGeom>
              <a:avLst/>
              <a:gdLst/>
              <a:ahLst/>
              <a:cxnLst>
                <a:cxn ang="0">
                  <a:pos x="4223" y="2277"/>
                </a:cxn>
                <a:cxn ang="0">
                  <a:pos x="4186" y="2540"/>
                </a:cxn>
                <a:cxn ang="0">
                  <a:pos x="4118" y="2792"/>
                </a:cxn>
                <a:cxn ang="0">
                  <a:pos x="4020" y="3030"/>
                </a:cxn>
                <a:cxn ang="0">
                  <a:pos x="3895" y="3253"/>
                </a:cxn>
                <a:cxn ang="0">
                  <a:pos x="3746" y="3458"/>
                </a:cxn>
                <a:cxn ang="0">
                  <a:pos x="3573" y="3644"/>
                </a:cxn>
                <a:cxn ang="0">
                  <a:pos x="3379" y="3808"/>
                </a:cxn>
                <a:cxn ang="0">
                  <a:pos x="3167" y="3948"/>
                </a:cxn>
                <a:cxn ang="0">
                  <a:pos x="2937" y="4062"/>
                </a:cxn>
                <a:cxn ang="0">
                  <a:pos x="2693" y="4148"/>
                </a:cxn>
                <a:cxn ang="0">
                  <a:pos x="2436" y="4203"/>
                </a:cxn>
                <a:cxn ang="0">
                  <a:pos x="2169" y="4227"/>
                </a:cxn>
                <a:cxn ang="0">
                  <a:pos x="1952" y="4222"/>
                </a:cxn>
                <a:cxn ang="0">
                  <a:pos x="1688" y="4185"/>
                </a:cxn>
                <a:cxn ang="0">
                  <a:pos x="1436" y="4117"/>
                </a:cxn>
                <a:cxn ang="0">
                  <a:pos x="1197" y="4019"/>
                </a:cxn>
                <a:cxn ang="0">
                  <a:pos x="975" y="3895"/>
                </a:cxn>
                <a:cxn ang="0">
                  <a:pos x="769" y="3745"/>
                </a:cxn>
                <a:cxn ang="0">
                  <a:pos x="583" y="3573"/>
                </a:cxn>
                <a:cxn ang="0">
                  <a:pos x="419" y="3379"/>
                </a:cxn>
                <a:cxn ang="0">
                  <a:pos x="280" y="3166"/>
                </a:cxn>
                <a:cxn ang="0">
                  <a:pos x="166" y="2937"/>
                </a:cxn>
                <a:cxn ang="0">
                  <a:pos x="80" y="2693"/>
                </a:cxn>
                <a:cxn ang="0">
                  <a:pos x="24" y="2436"/>
                </a:cxn>
                <a:cxn ang="0">
                  <a:pos x="0" y="2169"/>
                </a:cxn>
                <a:cxn ang="0">
                  <a:pos x="6" y="1951"/>
                </a:cxn>
                <a:cxn ang="0">
                  <a:pos x="42" y="1688"/>
                </a:cxn>
                <a:cxn ang="0">
                  <a:pos x="111" y="1436"/>
                </a:cxn>
                <a:cxn ang="0">
                  <a:pos x="208" y="1197"/>
                </a:cxn>
                <a:cxn ang="0">
                  <a:pos x="333" y="975"/>
                </a:cxn>
                <a:cxn ang="0">
                  <a:pos x="482" y="770"/>
                </a:cxn>
                <a:cxn ang="0">
                  <a:pos x="655" y="583"/>
                </a:cxn>
                <a:cxn ang="0">
                  <a:pos x="849" y="420"/>
                </a:cxn>
                <a:cxn ang="0">
                  <a:pos x="1061" y="280"/>
                </a:cxn>
                <a:cxn ang="0">
                  <a:pos x="1291" y="166"/>
                </a:cxn>
                <a:cxn ang="0">
                  <a:pos x="1535" y="81"/>
                </a:cxn>
                <a:cxn ang="0">
                  <a:pos x="1792" y="24"/>
                </a:cxn>
                <a:cxn ang="0">
                  <a:pos x="2060" y="1"/>
                </a:cxn>
                <a:cxn ang="0">
                  <a:pos x="2277" y="6"/>
                </a:cxn>
                <a:cxn ang="0">
                  <a:pos x="2540" y="43"/>
                </a:cxn>
                <a:cxn ang="0">
                  <a:pos x="2793" y="111"/>
                </a:cxn>
                <a:cxn ang="0">
                  <a:pos x="3031" y="208"/>
                </a:cxn>
                <a:cxn ang="0">
                  <a:pos x="3254" y="333"/>
                </a:cxn>
                <a:cxn ang="0">
                  <a:pos x="3459" y="482"/>
                </a:cxn>
                <a:cxn ang="0">
                  <a:pos x="3645" y="655"/>
                </a:cxn>
                <a:cxn ang="0">
                  <a:pos x="3809" y="849"/>
                </a:cxn>
                <a:cxn ang="0">
                  <a:pos x="3949" y="1061"/>
                </a:cxn>
                <a:cxn ang="0">
                  <a:pos x="4062" y="1291"/>
                </a:cxn>
                <a:cxn ang="0">
                  <a:pos x="4149" y="1535"/>
                </a:cxn>
                <a:cxn ang="0">
                  <a:pos x="4204" y="1792"/>
                </a:cxn>
                <a:cxn ang="0">
                  <a:pos x="4228" y="2059"/>
                </a:cxn>
              </a:cxnLst>
              <a:rect l="0" t="0" r="r" b="b"/>
              <a:pathLst>
                <a:path w="4229" h="4228">
                  <a:moveTo>
                    <a:pt x="4229" y="2114"/>
                  </a:moveTo>
                  <a:lnTo>
                    <a:pt x="4229" y="2114"/>
                  </a:lnTo>
                  <a:lnTo>
                    <a:pt x="4228" y="2169"/>
                  </a:lnTo>
                  <a:lnTo>
                    <a:pt x="4226" y="2222"/>
                  </a:lnTo>
                  <a:lnTo>
                    <a:pt x="4223" y="2277"/>
                  </a:lnTo>
                  <a:lnTo>
                    <a:pt x="4218" y="2330"/>
                  </a:lnTo>
                  <a:lnTo>
                    <a:pt x="4211" y="2383"/>
                  </a:lnTo>
                  <a:lnTo>
                    <a:pt x="4204" y="2436"/>
                  </a:lnTo>
                  <a:lnTo>
                    <a:pt x="4196" y="2488"/>
                  </a:lnTo>
                  <a:lnTo>
                    <a:pt x="4186" y="2540"/>
                  </a:lnTo>
                  <a:lnTo>
                    <a:pt x="4174" y="2591"/>
                  </a:lnTo>
                  <a:lnTo>
                    <a:pt x="4162" y="2643"/>
                  </a:lnTo>
                  <a:lnTo>
                    <a:pt x="4149" y="2693"/>
                  </a:lnTo>
                  <a:lnTo>
                    <a:pt x="4133" y="2742"/>
                  </a:lnTo>
                  <a:lnTo>
                    <a:pt x="4118" y="2792"/>
                  </a:lnTo>
                  <a:lnTo>
                    <a:pt x="4100" y="2840"/>
                  </a:lnTo>
                  <a:lnTo>
                    <a:pt x="4082" y="2889"/>
                  </a:lnTo>
                  <a:lnTo>
                    <a:pt x="4062" y="2937"/>
                  </a:lnTo>
                  <a:lnTo>
                    <a:pt x="4041" y="2984"/>
                  </a:lnTo>
                  <a:lnTo>
                    <a:pt x="4020" y="3030"/>
                  </a:lnTo>
                  <a:lnTo>
                    <a:pt x="3997" y="3076"/>
                  </a:lnTo>
                  <a:lnTo>
                    <a:pt x="3973" y="3122"/>
                  </a:lnTo>
                  <a:lnTo>
                    <a:pt x="3949" y="3166"/>
                  </a:lnTo>
                  <a:lnTo>
                    <a:pt x="3923" y="3210"/>
                  </a:lnTo>
                  <a:lnTo>
                    <a:pt x="3895" y="3253"/>
                  </a:lnTo>
                  <a:lnTo>
                    <a:pt x="3867" y="3296"/>
                  </a:lnTo>
                  <a:lnTo>
                    <a:pt x="3838" y="3338"/>
                  </a:lnTo>
                  <a:lnTo>
                    <a:pt x="3809" y="3379"/>
                  </a:lnTo>
                  <a:lnTo>
                    <a:pt x="3778" y="3419"/>
                  </a:lnTo>
                  <a:lnTo>
                    <a:pt x="3746" y="3458"/>
                  </a:lnTo>
                  <a:lnTo>
                    <a:pt x="3713" y="3498"/>
                  </a:lnTo>
                  <a:lnTo>
                    <a:pt x="3680" y="3536"/>
                  </a:lnTo>
                  <a:lnTo>
                    <a:pt x="3645" y="3573"/>
                  </a:lnTo>
                  <a:lnTo>
                    <a:pt x="3610" y="3609"/>
                  </a:lnTo>
                  <a:lnTo>
                    <a:pt x="3573" y="3644"/>
                  </a:lnTo>
                  <a:lnTo>
                    <a:pt x="3535" y="3679"/>
                  </a:lnTo>
                  <a:lnTo>
                    <a:pt x="3498" y="3712"/>
                  </a:lnTo>
                  <a:lnTo>
                    <a:pt x="3459" y="3745"/>
                  </a:lnTo>
                  <a:lnTo>
                    <a:pt x="3420" y="3777"/>
                  </a:lnTo>
                  <a:lnTo>
                    <a:pt x="3379" y="3808"/>
                  </a:lnTo>
                  <a:lnTo>
                    <a:pt x="3339" y="3838"/>
                  </a:lnTo>
                  <a:lnTo>
                    <a:pt x="3296" y="3866"/>
                  </a:lnTo>
                  <a:lnTo>
                    <a:pt x="3254" y="3895"/>
                  </a:lnTo>
                  <a:lnTo>
                    <a:pt x="3211" y="3922"/>
                  </a:lnTo>
                  <a:lnTo>
                    <a:pt x="3167" y="3948"/>
                  </a:lnTo>
                  <a:lnTo>
                    <a:pt x="3122" y="3973"/>
                  </a:lnTo>
                  <a:lnTo>
                    <a:pt x="3077" y="3996"/>
                  </a:lnTo>
                  <a:lnTo>
                    <a:pt x="3031" y="4019"/>
                  </a:lnTo>
                  <a:lnTo>
                    <a:pt x="2984" y="4042"/>
                  </a:lnTo>
                  <a:lnTo>
                    <a:pt x="2937" y="4062"/>
                  </a:lnTo>
                  <a:lnTo>
                    <a:pt x="2889" y="4082"/>
                  </a:lnTo>
                  <a:lnTo>
                    <a:pt x="2841" y="4099"/>
                  </a:lnTo>
                  <a:lnTo>
                    <a:pt x="2793" y="4117"/>
                  </a:lnTo>
                  <a:lnTo>
                    <a:pt x="2743" y="4133"/>
                  </a:lnTo>
                  <a:lnTo>
                    <a:pt x="2693" y="4148"/>
                  </a:lnTo>
                  <a:lnTo>
                    <a:pt x="2643" y="4161"/>
                  </a:lnTo>
                  <a:lnTo>
                    <a:pt x="2592" y="4173"/>
                  </a:lnTo>
                  <a:lnTo>
                    <a:pt x="2540" y="4185"/>
                  </a:lnTo>
                  <a:lnTo>
                    <a:pt x="2489" y="4195"/>
                  </a:lnTo>
                  <a:lnTo>
                    <a:pt x="2436" y="4203"/>
                  </a:lnTo>
                  <a:lnTo>
                    <a:pt x="2383" y="4210"/>
                  </a:lnTo>
                  <a:lnTo>
                    <a:pt x="2331" y="4217"/>
                  </a:lnTo>
                  <a:lnTo>
                    <a:pt x="2277" y="4222"/>
                  </a:lnTo>
                  <a:lnTo>
                    <a:pt x="2223" y="4225"/>
                  </a:lnTo>
                  <a:lnTo>
                    <a:pt x="2169" y="4227"/>
                  </a:lnTo>
                  <a:lnTo>
                    <a:pt x="2115" y="4228"/>
                  </a:lnTo>
                  <a:lnTo>
                    <a:pt x="2115" y="4228"/>
                  </a:lnTo>
                  <a:lnTo>
                    <a:pt x="2060" y="4227"/>
                  </a:lnTo>
                  <a:lnTo>
                    <a:pt x="2005" y="4225"/>
                  </a:lnTo>
                  <a:lnTo>
                    <a:pt x="1952" y="4222"/>
                  </a:lnTo>
                  <a:lnTo>
                    <a:pt x="1898" y="4217"/>
                  </a:lnTo>
                  <a:lnTo>
                    <a:pt x="1845" y="4210"/>
                  </a:lnTo>
                  <a:lnTo>
                    <a:pt x="1792" y="4203"/>
                  </a:lnTo>
                  <a:lnTo>
                    <a:pt x="1739" y="4195"/>
                  </a:lnTo>
                  <a:lnTo>
                    <a:pt x="1688" y="4185"/>
                  </a:lnTo>
                  <a:lnTo>
                    <a:pt x="1636" y="4173"/>
                  </a:lnTo>
                  <a:lnTo>
                    <a:pt x="1586" y="4161"/>
                  </a:lnTo>
                  <a:lnTo>
                    <a:pt x="1535" y="4148"/>
                  </a:lnTo>
                  <a:lnTo>
                    <a:pt x="1486" y="4133"/>
                  </a:lnTo>
                  <a:lnTo>
                    <a:pt x="1436" y="4117"/>
                  </a:lnTo>
                  <a:lnTo>
                    <a:pt x="1387" y="4099"/>
                  </a:lnTo>
                  <a:lnTo>
                    <a:pt x="1339" y="4082"/>
                  </a:lnTo>
                  <a:lnTo>
                    <a:pt x="1291" y="4062"/>
                  </a:lnTo>
                  <a:lnTo>
                    <a:pt x="1244" y="4042"/>
                  </a:lnTo>
                  <a:lnTo>
                    <a:pt x="1197" y="4019"/>
                  </a:lnTo>
                  <a:lnTo>
                    <a:pt x="1152" y="3996"/>
                  </a:lnTo>
                  <a:lnTo>
                    <a:pt x="1107" y="3973"/>
                  </a:lnTo>
                  <a:lnTo>
                    <a:pt x="1061" y="3948"/>
                  </a:lnTo>
                  <a:lnTo>
                    <a:pt x="1018" y="3922"/>
                  </a:lnTo>
                  <a:lnTo>
                    <a:pt x="975" y="3895"/>
                  </a:lnTo>
                  <a:lnTo>
                    <a:pt x="932" y="3866"/>
                  </a:lnTo>
                  <a:lnTo>
                    <a:pt x="890" y="3838"/>
                  </a:lnTo>
                  <a:lnTo>
                    <a:pt x="849" y="3808"/>
                  </a:lnTo>
                  <a:lnTo>
                    <a:pt x="809" y="3777"/>
                  </a:lnTo>
                  <a:lnTo>
                    <a:pt x="769" y="3745"/>
                  </a:lnTo>
                  <a:lnTo>
                    <a:pt x="731" y="3712"/>
                  </a:lnTo>
                  <a:lnTo>
                    <a:pt x="693" y="3679"/>
                  </a:lnTo>
                  <a:lnTo>
                    <a:pt x="655" y="3644"/>
                  </a:lnTo>
                  <a:lnTo>
                    <a:pt x="619" y="3609"/>
                  </a:lnTo>
                  <a:lnTo>
                    <a:pt x="583" y="3573"/>
                  </a:lnTo>
                  <a:lnTo>
                    <a:pt x="549" y="3536"/>
                  </a:lnTo>
                  <a:lnTo>
                    <a:pt x="515" y="3498"/>
                  </a:lnTo>
                  <a:lnTo>
                    <a:pt x="482" y="3458"/>
                  </a:lnTo>
                  <a:lnTo>
                    <a:pt x="450" y="3419"/>
                  </a:lnTo>
                  <a:lnTo>
                    <a:pt x="419" y="3379"/>
                  </a:lnTo>
                  <a:lnTo>
                    <a:pt x="390" y="3338"/>
                  </a:lnTo>
                  <a:lnTo>
                    <a:pt x="361" y="3296"/>
                  </a:lnTo>
                  <a:lnTo>
                    <a:pt x="333" y="3253"/>
                  </a:lnTo>
                  <a:lnTo>
                    <a:pt x="306" y="3210"/>
                  </a:lnTo>
                  <a:lnTo>
                    <a:pt x="280" y="3166"/>
                  </a:lnTo>
                  <a:lnTo>
                    <a:pt x="255" y="3122"/>
                  </a:lnTo>
                  <a:lnTo>
                    <a:pt x="231" y="3076"/>
                  </a:lnTo>
                  <a:lnTo>
                    <a:pt x="208" y="3030"/>
                  </a:lnTo>
                  <a:lnTo>
                    <a:pt x="187" y="2984"/>
                  </a:lnTo>
                  <a:lnTo>
                    <a:pt x="166" y="2937"/>
                  </a:lnTo>
                  <a:lnTo>
                    <a:pt x="146" y="2889"/>
                  </a:lnTo>
                  <a:lnTo>
                    <a:pt x="128" y="2840"/>
                  </a:lnTo>
                  <a:lnTo>
                    <a:pt x="111" y="2792"/>
                  </a:lnTo>
                  <a:lnTo>
                    <a:pt x="95" y="2742"/>
                  </a:lnTo>
                  <a:lnTo>
                    <a:pt x="80" y="2693"/>
                  </a:lnTo>
                  <a:lnTo>
                    <a:pt x="66" y="2643"/>
                  </a:lnTo>
                  <a:lnTo>
                    <a:pt x="54" y="2591"/>
                  </a:lnTo>
                  <a:lnTo>
                    <a:pt x="42" y="2540"/>
                  </a:lnTo>
                  <a:lnTo>
                    <a:pt x="33" y="2488"/>
                  </a:lnTo>
                  <a:lnTo>
                    <a:pt x="24" y="2436"/>
                  </a:lnTo>
                  <a:lnTo>
                    <a:pt x="17" y="2383"/>
                  </a:lnTo>
                  <a:lnTo>
                    <a:pt x="10" y="2330"/>
                  </a:lnTo>
                  <a:lnTo>
                    <a:pt x="6" y="2277"/>
                  </a:lnTo>
                  <a:lnTo>
                    <a:pt x="2" y="2222"/>
                  </a:lnTo>
                  <a:lnTo>
                    <a:pt x="0" y="2169"/>
                  </a:lnTo>
                  <a:lnTo>
                    <a:pt x="0" y="2114"/>
                  </a:lnTo>
                  <a:lnTo>
                    <a:pt x="0" y="2114"/>
                  </a:lnTo>
                  <a:lnTo>
                    <a:pt x="0" y="2059"/>
                  </a:lnTo>
                  <a:lnTo>
                    <a:pt x="2" y="2005"/>
                  </a:lnTo>
                  <a:lnTo>
                    <a:pt x="6" y="1951"/>
                  </a:lnTo>
                  <a:lnTo>
                    <a:pt x="10" y="1898"/>
                  </a:lnTo>
                  <a:lnTo>
                    <a:pt x="17" y="1844"/>
                  </a:lnTo>
                  <a:lnTo>
                    <a:pt x="24" y="1792"/>
                  </a:lnTo>
                  <a:lnTo>
                    <a:pt x="33" y="1740"/>
                  </a:lnTo>
                  <a:lnTo>
                    <a:pt x="42" y="1688"/>
                  </a:lnTo>
                  <a:lnTo>
                    <a:pt x="54" y="1636"/>
                  </a:lnTo>
                  <a:lnTo>
                    <a:pt x="66" y="1586"/>
                  </a:lnTo>
                  <a:lnTo>
                    <a:pt x="80" y="1535"/>
                  </a:lnTo>
                  <a:lnTo>
                    <a:pt x="95" y="1486"/>
                  </a:lnTo>
                  <a:lnTo>
                    <a:pt x="111" y="1436"/>
                  </a:lnTo>
                  <a:lnTo>
                    <a:pt x="128" y="1387"/>
                  </a:lnTo>
                  <a:lnTo>
                    <a:pt x="146" y="1338"/>
                  </a:lnTo>
                  <a:lnTo>
                    <a:pt x="166" y="1291"/>
                  </a:lnTo>
                  <a:lnTo>
                    <a:pt x="187" y="1244"/>
                  </a:lnTo>
                  <a:lnTo>
                    <a:pt x="208" y="1197"/>
                  </a:lnTo>
                  <a:lnTo>
                    <a:pt x="231" y="1152"/>
                  </a:lnTo>
                  <a:lnTo>
                    <a:pt x="255" y="1107"/>
                  </a:lnTo>
                  <a:lnTo>
                    <a:pt x="280" y="1061"/>
                  </a:lnTo>
                  <a:lnTo>
                    <a:pt x="306" y="1018"/>
                  </a:lnTo>
                  <a:lnTo>
                    <a:pt x="333" y="975"/>
                  </a:lnTo>
                  <a:lnTo>
                    <a:pt x="361" y="932"/>
                  </a:lnTo>
                  <a:lnTo>
                    <a:pt x="390" y="890"/>
                  </a:lnTo>
                  <a:lnTo>
                    <a:pt x="419" y="849"/>
                  </a:lnTo>
                  <a:lnTo>
                    <a:pt x="450" y="809"/>
                  </a:lnTo>
                  <a:lnTo>
                    <a:pt x="482" y="770"/>
                  </a:lnTo>
                  <a:lnTo>
                    <a:pt x="515" y="731"/>
                  </a:lnTo>
                  <a:lnTo>
                    <a:pt x="549" y="692"/>
                  </a:lnTo>
                  <a:lnTo>
                    <a:pt x="583" y="655"/>
                  </a:lnTo>
                  <a:lnTo>
                    <a:pt x="619" y="619"/>
                  </a:lnTo>
                  <a:lnTo>
                    <a:pt x="655" y="583"/>
                  </a:lnTo>
                  <a:lnTo>
                    <a:pt x="693" y="549"/>
                  </a:lnTo>
                  <a:lnTo>
                    <a:pt x="731" y="515"/>
                  </a:lnTo>
                  <a:lnTo>
                    <a:pt x="769" y="482"/>
                  </a:lnTo>
                  <a:lnTo>
                    <a:pt x="809" y="451"/>
                  </a:lnTo>
                  <a:lnTo>
                    <a:pt x="849" y="420"/>
                  </a:lnTo>
                  <a:lnTo>
                    <a:pt x="890" y="390"/>
                  </a:lnTo>
                  <a:lnTo>
                    <a:pt x="932" y="361"/>
                  </a:lnTo>
                  <a:lnTo>
                    <a:pt x="975" y="333"/>
                  </a:lnTo>
                  <a:lnTo>
                    <a:pt x="1018" y="306"/>
                  </a:lnTo>
                  <a:lnTo>
                    <a:pt x="1061" y="280"/>
                  </a:lnTo>
                  <a:lnTo>
                    <a:pt x="1107" y="256"/>
                  </a:lnTo>
                  <a:lnTo>
                    <a:pt x="1152" y="231"/>
                  </a:lnTo>
                  <a:lnTo>
                    <a:pt x="1197" y="208"/>
                  </a:lnTo>
                  <a:lnTo>
                    <a:pt x="1244" y="187"/>
                  </a:lnTo>
                  <a:lnTo>
                    <a:pt x="1291" y="166"/>
                  </a:lnTo>
                  <a:lnTo>
                    <a:pt x="1339" y="146"/>
                  </a:lnTo>
                  <a:lnTo>
                    <a:pt x="1387" y="128"/>
                  </a:lnTo>
                  <a:lnTo>
                    <a:pt x="1436" y="111"/>
                  </a:lnTo>
                  <a:lnTo>
                    <a:pt x="1486" y="95"/>
                  </a:lnTo>
                  <a:lnTo>
                    <a:pt x="1535" y="81"/>
                  </a:lnTo>
                  <a:lnTo>
                    <a:pt x="1586" y="66"/>
                  </a:lnTo>
                  <a:lnTo>
                    <a:pt x="1636" y="54"/>
                  </a:lnTo>
                  <a:lnTo>
                    <a:pt x="1688" y="43"/>
                  </a:lnTo>
                  <a:lnTo>
                    <a:pt x="1739" y="33"/>
                  </a:lnTo>
                  <a:lnTo>
                    <a:pt x="1792" y="24"/>
                  </a:lnTo>
                  <a:lnTo>
                    <a:pt x="1845" y="17"/>
                  </a:lnTo>
                  <a:lnTo>
                    <a:pt x="1898" y="10"/>
                  </a:lnTo>
                  <a:lnTo>
                    <a:pt x="1952" y="6"/>
                  </a:lnTo>
                  <a:lnTo>
                    <a:pt x="2005" y="3"/>
                  </a:lnTo>
                  <a:lnTo>
                    <a:pt x="2060" y="1"/>
                  </a:lnTo>
                  <a:lnTo>
                    <a:pt x="2115" y="0"/>
                  </a:lnTo>
                  <a:lnTo>
                    <a:pt x="2115" y="0"/>
                  </a:lnTo>
                  <a:lnTo>
                    <a:pt x="2169" y="1"/>
                  </a:lnTo>
                  <a:lnTo>
                    <a:pt x="2223" y="3"/>
                  </a:lnTo>
                  <a:lnTo>
                    <a:pt x="2277" y="6"/>
                  </a:lnTo>
                  <a:lnTo>
                    <a:pt x="2331" y="10"/>
                  </a:lnTo>
                  <a:lnTo>
                    <a:pt x="2383" y="17"/>
                  </a:lnTo>
                  <a:lnTo>
                    <a:pt x="2436" y="24"/>
                  </a:lnTo>
                  <a:lnTo>
                    <a:pt x="2489" y="33"/>
                  </a:lnTo>
                  <a:lnTo>
                    <a:pt x="2540" y="43"/>
                  </a:lnTo>
                  <a:lnTo>
                    <a:pt x="2592" y="54"/>
                  </a:lnTo>
                  <a:lnTo>
                    <a:pt x="2643" y="66"/>
                  </a:lnTo>
                  <a:lnTo>
                    <a:pt x="2693" y="81"/>
                  </a:lnTo>
                  <a:lnTo>
                    <a:pt x="2743" y="95"/>
                  </a:lnTo>
                  <a:lnTo>
                    <a:pt x="2793" y="111"/>
                  </a:lnTo>
                  <a:lnTo>
                    <a:pt x="2841" y="128"/>
                  </a:lnTo>
                  <a:lnTo>
                    <a:pt x="2889" y="146"/>
                  </a:lnTo>
                  <a:lnTo>
                    <a:pt x="2937" y="166"/>
                  </a:lnTo>
                  <a:lnTo>
                    <a:pt x="2984" y="187"/>
                  </a:lnTo>
                  <a:lnTo>
                    <a:pt x="3031" y="208"/>
                  </a:lnTo>
                  <a:lnTo>
                    <a:pt x="3077" y="231"/>
                  </a:lnTo>
                  <a:lnTo>
                    <a:pt x="3122" y="256"/>
                  </a:lnTo>
                  <a:lnTo>
                    <a:pt x="3167" y="280"/>
                  </a:lnTo>
                  <a:lnTo>
                    <a:pt x="3211" y="306"/>
                  </a:lnTo>
                  <a:lnTo>
                    <a:pt x="3254" y="333"/>
                  </a:lnTo>
                  <a:lnTo>
                    <a:pt x="3296" y="361"/>
                  </a:lnTo>
                  <a:lnTo>
                    <a:pt x="3339" y="390"/>
                  </a:lnTo>
                  <a:lnTo>
                    <a:pt x="3379" y="420"/>
                  </a:lnTo>
                  <a:lnTo>
                    <a:pt x="3420" y="451"/>
                  </a:lnTo>
                  <a:lnTo>
                    <a:pt x="3459" y="482"/>
                  </a:lnTo>
                  <a:lnTo>
                    <a:pt x="3498" y="515"/>
                  </a:lnTo>
                  <a:lnTo>
                    <a:pt x="3535" y="549"/>
                  </a:lnTo>
                  <a:lnTo>
                    <a:pt x="3573" y="583"/>
                  </a:lnTo>
                  <a:lnTo>
                    <a:pt x="3610" y="619"/>
                  </a:lnTo>
                  <a:lnTo>
                    <a:pt x="3645" y="655"/>
                  </a:lnTo>
                  <a:lnTo>
                    <a:pt x="3680" y="692"/>
                  </a:lnTo>
                  <a:lnTo>
                    <a:pt x="3713" y="731"/>
                  </a:lnTo>
                  <a:lnTo>
                    <a:pt x="3746" y="770"/>
                  </a:lnTo>
                  <a:lnTo>
                    <a:pt x="3778" y="809"/>
                  </a:lnTo>
                  <a:lnTo>
                    <a:pt x="3809" y="849"/>
                  </a:lnTo>
                  <a:lnTo>
                    <a:pt x="3838" y="890"/>
                  </a:lnTo>
                  <a:lnTo>
                    <a:pt x="3867" y="932"/>
                  </a:lnTo>
                  <a:lnTo>
                    <a:pt x="3895" y="975"/>
                  </a:lnTo>
                  <a:lnTo>
                    <a:pt x="3923" y="1018"/>
                  </a:lnTo>
                  <a:lnTo>
                    <a:pt x="3949" y="1061"/>
                  </a:lnTo>
                  <a:lnTo>
                    <a:pt x="3973" y="1107"/>
                  </a:lnTo>
                  <a:lnTo>
                    <a:pt x="3997" y="1152"/>
                  </a:lnTo>
                  <a:lnTo>
                    <a:pt x="4020" y="1197"/>
                  </a:lnTo>
                  <a:lnTo>
                    <a:pt x="4041" y="1244"/>
                  </a:lnTo>
                  <a:lnTo>
                    <a:pt x="4062" y="1291"/>
                  </a:lnTo>
                  <a:lnTo>
                    <a:pt x="4082" y="1338"/>
                  </a:lnTo>
                  <a:lnTo>
                    <a:pt x="4100" y="1387"/>
                  </a:lnTo>
                  <a:lnTo>
                    <a:pt x="4118" y="1436"/>
                  </a:lnTo>
                  <a:lnTo>
                    <a:pt x="4133" y="1486"/>
                  </a:lnTo>
                  <a:lnTo>
                    <a:pt x="4149" y="1535"/>
                  </a:lnTo>
                  <a:lnTo>
                    <a:pt x="4162" y="1586"/>
                  </a:lnTo>
                  <a:lnTo>
                    <a:pt x="4174" y="1636"/>
                  </a:lnTo>
                  <a:lnTo>
                    <a:pt x="4186" y="1688"/>
                  </a:lnTo>
                  <a:lnTo>
                    <a:pt x="4196" y="1740"/>
                  </a:lnTo>
                  <a:lnTo>
                    <a:pt x="4204" y="1792"/>
                  </a:lnTo>
                  <a:lnTo>
                    <a:pt x="4211" y="1844"/>
                  </a:lnTo>
                  <a:lnTo>
                    <a:pt x="4218" y="1898"/>
                  </a:lnTo>
                  <a:lnTo>
                    <a:pt x="4223" y="1951"/>
                  </a:lnTo>
                  <a:lnTo>
                    <a:pt x="4226" y="2005"/>
                  </a:lnTo>
                  <a:lnTo>
                    <a:pt x="4228" y="2059"/>
                  </a:lnTo>
                  <a:lnTo>
                    <a:pt x="4229" y="2114"/>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5" name="Freeform 677">
              <a:extLst>
                <a:ext uri="{FF2B5EF4-FFF2-40B4-BE49-F238E27FC236}">
                  <a16:creationId xmlns:a16="http://schemas.microsoft.com/office/drawing/2014/main" id="{3CBF7C90-BE77-F6A4-7A65-F4FFEA82A621}"/>
                </a:ext>
              </a:extLst>
            </p:cNvPr>
            <p:cNvSpPr>
              <a:spLocks/>
            </p:cNvSpPr>
            <p:nvPr/>
          </p:nvSpPr>
          <p:spPr bwMode="auto">
            <a:xfrm>
              <a:off x="3524251" y="5205413"/>
              <a:ext cx="630238" cy="649288"/>
            </a:xfrm>
            <a:custGeom>
              <a:avLst/>
              <a:gdLst/>
              <a:ahLst/>
              <a:cxnLst>
                <a:cxn ang="0">
                  <a:pos x="1347" y="50"/>
                </a:cxn>
                <a:cxn ang="0">
                  <a:pos x="1307" y="31"/>
                </a:cxn>
                <a:cxn ang="0">
                  <a:pos x="1225" y="3"/>
                </a:cxn>
                <a:cxn ang="0">
                  <a:pos x="1144" y="0"/>
                </a:cxn>
                <a:cxn ang="0">
                  <a:pos x="1087" y="5"/>
                </a:cxn>
                <a:cxn ang="0">
                  <a:pos x="1034" y="22"/>
                </a:cxn>
                <a:cxn ang="0">
                  <a:pos x="987" y="48"/>
                </a:cxn>
                <a:cxn ang="0">
                  <a:pos x="945" y="83"/>
                </a:cxn>
                <a:cxn ang="0">
                  <a:pos x="911" y="124"/>
                </a:cxn>
                <a:cxn ang="0">
                  <a:pos x="885" y="171"/>
                </a:cxn>
                <a:cxn ang="0">
                  <a:pos x="869" y="224"/>
                </a:cxn>
                <a:cxn ang="0">
                  <a:pos x="863" y="281"/>
                </a:cxn>
                <a:cxn ang="0">
                  <a:pos x="866" y="324"/>
                </a:cxn>
                <a:cxn ang="0">
                  <a:pos x="880" y="377"/>
                </a:cxn>
                <a:cxn ang="0">
                  <a:pos x="904" y="427"/>
                </a:cxn>
                <a:cxn ang="0">
                  <a:pos x="935" y="470"/>
                </a:cxn>
                <a:cxn ang="0">
                  <a:pos x="963" y="498"/>
                </a:cxn>
                <a:cxn ang="0">
                  <a:pos x="1088" y="674"/>
                </a:cxn>
                <a:cxn ang="0">
                  <a:pos x="896" y="705"/>
                </a:cxn>
                <a:cxn ang="0">
                  <a:pos x="762" y="749"/>
                </a:cxn>
                <a:cxn ang="0">
                  <a:pos x="667" y="795"/>
                </a:cxn>
                <a:cxn ang="0">
                  <a:pos x="593" y="839"/>
                </a:cxn>
                <a:cxn ang="0">
                  <a:pos x="512" y="899"/>
                </a:cxn>
                <a:cxn ang="0">
                  <a:pos x="412" y="1000"/>
                </a:cxn>
                <a:cxn ang="0">
                  <a:pos x="355" y="1077"/>
                </a:cxn>
                <a:cxn ang="0">
                  <a:pos x="316" y="1145"/>
                </a:cxn>
                <a:cxn ang="0">
                  <a:pos x="273" y="1255"/>
                </a:cxn>
                <a:cxn ang="0">
                  <a:pos x="73" y="1255"/>
                </a:cxn>
                <a:cxn ang="0">
                  <a:pos x="45" y="1260"/>
                </a:cxn>
                <a:cxn ang="0">
                  <a:pos x="21" y="1277"/>
                </a:cxn>
                <a:cxn ang="0">
                  <a:pos x="6" y="1299"/>
                </a:cxn>
                <a:cxn ang="0">
                  <a:pos x="0" y="1328"/>
                </a:cxn>
                <a:cxn ang="0">
                  <a:pos x="0" y="1576"/>
                </a:cxn>
                <a:cxn ang="0">
                  <a:pos x="4" y="1600"/>
                </a:cxn>
                <a:cxn ang="0">
                  <a:pos x="18" y="1628"/>
                </a:cxn>
                <a:cxn ang="0">
                  <a:pos x="30" y="1640"/>
                </a:cxn>
                <a:cxn ang="0">
                  <a:pos x="605" y="2311"/>
                </a:cxn>
                <a:cxn ang="0">
                  <a:pos x="613" y="2337"/>
                </a:cxn>
                <a:cxn ang="0">
                  <a:pos x="624" y="2353"/>
                </a:cxn>
                <a:cxn ang="0">
                  <a:pos x="1540" y="3269"/>
                </a:cxn>
                <a:cxn ang="0">
                  <a:pos x="1687" y="3238"/>
                </a:cxn>
                <a:cxn ang="0">
                  <a:pos x="1873" y="3183"/>
                </a:cxn>
                <a:cxn ang="0">
                  <a:pos x="2052" y="3110"/>
                </a:cxn>
                <a:cxn ang="0">
                  <a:pos x="2223" y="3023"/>
                </a:cxn>
                <a:cxn ang="0">
                  <a:pos x="2383" y="2921"/>
                </a:cxn>
                <a:cxn ang="0">
                  <a:pos x="2535" y="2804"/>
                </a:cxn>
                <a:cxn ang="0">
                  <a:pos x="2674" y="2676"/>
                </a:cxn>
                <a:cxn ang="0">
                  <a:pos x="2802" y="2536"/>
                </a:cxn>
                <a:cxn ang="0">
                  <a:pos x="2889" y="2423"/>
                </a:cxn>
                <a:cxn ang="0">
                  <a:pos x="2975" y="2296"/>
                </a:cxn>
                <a:cxn ang="0">
                  <a:pos x="3050" y="2161"/>
                </a:cxn>
                <a:cxn ang="0">
                  <a:pos x="3117" y="2022"/>
                </a:cxn>
                <a:cxn ang="0">
                  <a:pos x="3173" y="1875"/>
                </a:cxn>
              </a:cxnLst>
              <a:rect l="0" t="0" r="r" b="b"/>
              <a:pathLst>
                <a:path w="3173" h="3269">
                  <a:moveTo>
                    <a:pt x="2137" y="840"/>
                  </a:moveTo>
                  <a:lnTo>
                    <a:pt x="1379" y="83"/>
                  </a:lnTo>
                  <a:lnTo>
                    <a:pt x="1361" y="64"/>
                  </a:lnTo>
                  <a:lnTo>
                    <a:pt x="1347" y="50"/>
                  </a:lnTo>
                  <a:lnTo>
                    <a:pt x="1345" y="53"/>
                  </a:lnTo>
                  <a:lnTo>
                    <a:pt x="1345" y="53"/>
                  </a:lnTo>
                  <a:lnTo>
                    <a:pt x="1326" y="42"/>
                  </a:lnTo>
                  <a:lnTo>
                    <a:pt x="1307" y="31"/>
                  </a:lnTo>
                  <a:lnTo>
                    <a:pt x="1288" y="22"/>
                  </a:lnTo>
                  <a:lnTo>
                    <a:pt x="1268" y="14"/>
                  </a:lnTo>
                  <a:lnTo>
                    <a:pt x="1247" y="9"/>
                  </a:lnTo>
                  <a:lnTo>
                    <a:pt x="1225" y="3"/>
                  </a:lnTo>
                  <a:lnTo>
                    <a:pt x="1203" y="1"/>
                  </a:lnTo>
                  <a:lnTo>
                    <a:pt x="1181" y="0"/>
                  </a:lnTo>
                  <a:lnTo>
                    <a:pt x="1144" y="0"/>
                  </a:lnTo>
                  <a:lnTo>
                    <a:pt x="1144" y="0"/>
                  </a:lnTo>
                  <a:lnTo>
                    <a:pt x="1129" y="0"/>
                  </a:lnTo>
                  <a:lnTo>
                    <a:pt x="1115" y="1"/>
                  </a:lnTo>
                  <a:lnTo>
                    <a:pt x="1101" y="3"/>
                  </a:lnTo>
                  <a:lnTo>
                    <a:pt x="1087" y="5"/>
                  </a:lnTo>
                  <a:lnTo>
                    <a:pt x="1074" y="9"/>
                  </a:lnTo>
                  <a:lnTo>
                    <a:pt x="1060" y="13"/>
                  </a:lnTo>
                  <a:lnTo>
                    <a:pt x="1047" y="17"/>
                  </a:lnTo>
                  <a:lnTo>
                    <a:pt x="1034" y="22"/>
                  </a:lnTo>
                  <a:lnTo>
                    <a:pt x="1022" y="28"/>
                  </a:lnTo>
                  <a:lnTo>
                    <a:pt x="1010" y="34"/>
                  </a:lnTo>
                  <a:lnTo>
                    <a:pt x="998" y="41"/>
                  </a:lnTo>
                  <a:lnTo>
                    <a:pt x="987" y="48"/>
                  </a:lnTo>
                  <a:lnTo>
                    <a:pt x="976" y="56"/>
                  </a:lnTo>
                  <a:lnTo>
                    <a:pt x="965" y="64"/>
                  </a:lnTo>
                  <a:lnTo>
                    <a:pt x="955" y="73"/>
                  </a:lnTo>
                  <a:lnTo>
                    <a:pt x="945" y="83"/>
                  </a:lnTo>
                  <a:lnTo>
                    <a:pt x="935" y="92"/>
                  </a:lnTo>
                  <a:lnTo>
                    <a:pt x="927" y="102"/>
                  </a:lnTo>
                  <a:lnTo>
                    <a:pt x="919" y="113"/>
                  </a:lnTo>
                  <a:lnTo>
                    <a:pt x="911" y="124"/>
                  </a:lnTo>
                  <a:lnTo>
                    <a:pt x="904" y="135"/>
                  </a:lnTo>
                  <a:lnTo>
                    <a:pt x="896" y="147"/>
                  </a:lnTo>
                  <a:lnTo>
                    <a:pt x="890" y="159"/>
                  </a:lnTo>
                  <a:lnTo>
                    <a:pt x="885" y="171"/>
                  </a:lnTo>
                  <a:lnTo>
                    <a:pt x="880" y="185"/>
                  </a:lnTo>
                  <a:lnTo>
                    <a:pt x="876" y="197"/>
                  </a:lnTo>
                  <a:lnTo>
                    <a:pt x="872" y="210"/>
                  </a:lnTo>
                  <a:lnTo>
                    <a:pt x="869" y="224"/>
                  </a:lnTo>
                  <a:lnTo>
                    <a:pt x="866" y="238"/>
                  </a:lnTo>
                  <a:lnTo>
                    <a:pt x="864" y="253"/>
                  </a:lnTo>
                  <a:lnTo>
                    <a:pt x="863" y="266"/>
                  </a:lnTo>
                  <a:lnTo>
                    <a:pt x="863" y="281"/>
                  </a:lnTo>
                  <a:lnTo>
                    <a:pt x="863" y="281"/>
                  </a:lnTo>
                  <a:lnTo>
                    <a:pt x="863" y="295"/>
                  </a:lnTo>
                  <a:lnTo>
                    <a:pt x="864" y="309"/>
                  </a:lnTo>
                  <a:lnTo>
                    <a:pt x="866" y="324"/>
                  </a:lnTo>
                  <a:lnTo>
                    <a:pt x="869" y="337"/>
                  </a:lnTo>
                  <a:lnTo>
                    <a:pt x="872" y="352"/>
                  </a:lnTo>
                  <a:lnTo>
                    <a:pt x="876" y="364"/>
                  </a:lnTo>
                  <a:lnTo>
                    <a:pt x="880" y="377"/>
                  </a:lnTo>
                  <a:lnTo>
                    <a:pt x="885" y="391"/>
                  </a:lnTo>
                  <a:lnTo>
                    <a:pt x="890" y="403"/>
                  </a:lnTo>
                  <a:lnTo>
                    <a:pt x="896" y="414"/>
                  </a:lnTo>
                  <a:lnTo>
                    <a:pt x="904" y="427"/>
                  </a:lnTo>
                  <a:lnTo>
                    <a:pt x="911" y="438"/>
                  </a:lnTo>
                  <a:lnTo>
                    <a:pt x="919" y="449"/>
                  </a:lnTo>
                  <a:lnTo>
                    <a:pt x="927" y="460"/>
                  </a:lnTo>
                  <a:lnTo>
                    <a:pt x="935" y="470"/>
                  </a:lnTo>
                  <a:lnTo>
                    <a:pt x="945" y="479"/>
                  </a:lnTo>
                  <a:lnTo>
                    <a:pt x="945" y="479"/>
                  </a:lnTo>
                  <a:lnTo>
                    <a:pt x="945" y="479"/>
                  </a:lnTo>
                  <a:lnTo>
                    <a:pt x="963" y="498"/>
                  </a:lnTo>
                  <a:lnTo>
                    <a:pt x="968" y="503"/>
                  </a:lnTo>
                  <a:lnTo>
                    <a:pt x="1137" y="672"/>
                  </a:lnTo>
                  <a:lnTo>
                    <a:pt x="1137" y="672"/>
                  </a:lnTo>
                  <a:lnTo>
                    <a:pt x="1088" y="674"/>
                  </a:lnTo>
                  <a:lnTo>
                    <a:pt x="1039" y="679"/>
                  </a:lnTo>
                  <a:lnTo>
                    <a:pt x="990" y="685"/>
                  </a:lnTo>
                  <a:lnTo>
                    <a:pt x="943" y="695"/>
                  </a:lnTo>
                  <a:lnTo>
                    <a:pt x="896" y="705"/>
                  </a:lnTo>
                  <a:lnTo>
                    <a:pt x="851" y="718"/>
                  </a:lnTo>
                  <a:lnTo>
                    <a:pt x="806" y="733"/>
                  </a:lnTo>
                  <a:lnTo>
                    <a:pt x="762" y="749"/>
                  </a:lnTo>
                  <a:lnTo>
                    <a:pt x="762" y="749"/>
                  </a:lnTo>
                  <a:lnTo>
                    <a:pt x="738" y="760"/>
                  </a:lnTo>
                  <a:lnTo>
                    <a:pt x="714" y="771"/>
                  </a:lnTo>
                  <a:lnTo>
                    <a:pt x="690" y="782"/>
                  </a:lnTo>
                  <a:lnTo>
                    <a:pt x="667" y="795"/>
                  </a:lnTo>
                  <a:lnTo>
                    <a:pt x="667" y="795"/>
                  </a:lnTo>
                  <a:lnTo>
                    <a:pt x="642" y="809"/>
                  </a:lnTo>
                  <a:lnTo>
                    <a:pt x="617" y="823"/>
                  </a:lnTo>
                  <a:lnTo>
                    <a:pt x="593" y="839"/>
                  </a:lnTo>
                  <a:lnTo>
                    <a:pt x="570" y="854"/>
                  </a:lnTo>
                  <a:lnTo>
                    <a:pt x="570" y="854"/>
                  </a:lnTo>
                  <a:lnTo>
                    <a:pt x="541" y="876"/>
                  </a:lnTo>
                  <a:lnTo>
                    <a:pt x="512" y="899"/>
                  </a:lnTo>
                  <a:lnTo>
                    <a:pt x="485" y="923"/>
                  </a:lnTo>
                  <a:lnTo>
                    <a:pt x="459" y="947"/>
                  </a:lnTo>
                  <a:lnTo>
                    <a:pt x="435" y="973"/>
                  </a:lnTo>
                  <a:lnTo>
                    <a:pt x="412" y="1000"/>
                  </a:lnTo>
                  <a:lnTo>
                    <a:pt x="390" y="1026"/>
                  </a:lnTo>
                  <a:lnTo>
                    <a:pt x="370" y="1055"/>
                  </a:lnTo>
                  <a:lnTo>
                    <a:pt x="370" y="1055"/>
                  </a:lnTo>
                  <a:lnTo>
                    <a:pt x="355" y="1077"/>
                  </a:lnTo>
                  <a:lnTo>
                    <a:pt x="341" y="1100"/>
                  </a:lnTo>
                  <a:lnTo>
                    <a:pt x="329" y="1122"/>
                  </a:lnTo>
                  <a:lnTo>
                    <a:pt x="316" y="1145"/>
                  </a:lnTo>
                  <a:lnTo>
                    <a:pt x="316" y="1145"/>
                  </a:lnTo>
                  <a:lnTo>
                    <a:pt x="304" y="1172"/>
                  </a:lnTo>
                  <a:lnTo>
                    <a:pt x="292" y="1199"/>
                  </a:lnTo>
                  <a:lnTo>
                    <a:pt x="282" y="1226"/>
                  </a:lnTo>
                  <a:lnTo>
                    <a:pt x="273" y="1255"/>
                  </a:lnTo>
                  <a:lnTo>
                    <a:pt x="207" y="1255"/>
                  </a:lnTo>
                  <a:lnTo>
                    <a:pt x="170" y="1255"/>
                  </a:lnTo>
                  <a:lnTo>
                    <a:pt x="73" y="1255"/>
                  </a:lnTo>
                  <a:lnTo>
                    <a:pt x="73" y="1255"/>
                  </a:lnTo>
                  <a:lnTo>
                    <a:pt x="66" y="1255"/>
                  </a:lnTo>
                  <a:lnTo>
                    <a:pt x="59" y="1256"/>
                  </a:lnTo>
                  <a:lnTo>
                    <a:pt x="51" y="1258"/>
                  </a:lnTo>
                  <a:lnTo>
                    <a:pt x="45" y="1260"/>
                  </a:lnTo>
                  <a:lnTo>
                    <a:pt x="39" y="1263"/>
                  </a:lnTo>
                  <a:lnTo>
                    <a:pt x="33" y="1267"/>
                  </a:lnTo>
                  <a:lnTo>
                    <a:pt x="27" y="1272"/>
                  </a:lnTo>
                  <a:lnTo>
                    <a:pt x="21" y="1277"/>
                  </a:lnTo>
                  <a:lnTo>
                    <a:pt x="16" y="1282"/>
                  </a:lnTo>
                  <a:lnTo>
                    <a:pt x="12" y="1287"/>
                  </a:lnTo>
                  <a:lnTo>
                    <a:pt x="9" y="1293"/>
                  </a:lnTo>
                  <a:lnTo>
                    <a:pt x="6" y="1299"/>
                  </a:lnTo>
                  <a:lnTo>
                    <a:pt x="3" y="1307"/>
                  </a:lnTo>
                  <a:lnTo>
                    <a:pt x="2" y="1314"/>
                  </a:lnTo>
                  <a:lnTo>
                    <a:pt x="1" y="1321"/>
                  </a:lnTo>
                  <a:lnTo>
                    <a:pt x="0" y="1328"/>
                  </a:lnTo>
                  <a:lnTo>
                    <a:pt x="0" y="1424"/>
                  </a:lnTo>
                  <a:lnTo>
                    <a:pt x="0" y="1436"/>
                  </a:lnTo>
                  <a:lnTo>
                    <a:pt x="0" y="1461"/>
                  </a:lnTo>
                  <a:lnTo>
                    <a:pt x="0" y="1576"/>
                  </a:lnTo>
                  <a:lnTo>
                    <a:pt x="0" y="1576"/>
                  </a:lnTo>
                  <a:lnTo>
                    <a:pt x="1" y="1584"/>
                  </a:lnTo>
                  <a:lnTo>
                    <a:pt x="2" y="1592"/>
                  </a:lnTo>
                  <a:lnTo>
                    <a:pt x="4" y="1600"/>
                  </a:lnTo>
                  <a:lnTo>
                    <a:pt x="6" y="1607"/>
                  </a:lnTo>
                  <a:lnTo>
                    <a:pt x="10" y="1615"/>
                  </a:lnTo>
                  <a:lnTo>
                    <a:pt x="14" y="1622"/>
                  </a:lnTo>
                  <a:lnTo>
                    <a:pt x="18" y="1628"/>
                  </a:lnTo>
                  <a:lnTo>
                    <a:pt x="24" y="1634"/>
                  </a:lnTo>
                  <a:lnTo>
                    <a:pt x="24" y="1634"/>
                  </a:lnTo>
                  <a:lnTo>
                    <a:pt x="25" y="1635"/>
                  </a:lnTo>
                  <a:lnTo>
                    <a:pt x="30" y="1640"/>
                  </a:lnTo>
                  <a:lnTo>
                    <a:pt x="585" y="2196"/>
                  </a:lnTo>
                  <a:lnTo>
                    <a:pt x="604" y="2304"/>
                  </a:lnTo>
                  <a:lnTo>
                    <a:pt x="604" y="2304"/>
                  </a:lnTo>
                  <a:lnTo>
                    <a:pt x="605" y="2311"/>
                  </a:lnTo>
                  <a:lnTo>
                    <a:pt x="606" y="2318"/>
                  </a:lnTo>
                  <a:lnTo>
                    <a:pt x="607" y="2324"/>
                  </a:lnTo>
                  <a:lnTo>
                    <a:pt x="610" y="2331"/>
                  </a:lnTo>
                  <a:lnTo>
                    <a:pt x="613" y="2337"/>
                  </a:lnTo>
                  <a:lnTo>
                    <a:pt x="616" y="2343"/>
                  </a:lnTo>
                  <a:lnTo>
                    <a:pt x="620" y="2348"/>
                  </a:lnTo>
                  <a:lnTo>
                    <a:pt x="624" y="2353"/>
                  </a:lnTo>
                  <a:lnTo>
                    <a:pt x="624" y="2353"/>
                  </a:lnTo>
                  <a:lnTo>
                    <a:pt x="624" y="2353"/>
                  </a:lnTo>
                  <a:lnTo>
                    <a:pt x="624" y="2353"/>
                  </a:lnTo>
                  <a:lnTo>
                    <a:pt x="1540" y="3269"/>
                  </a:lnTo>
                  <a:lnTo>
                    <a:pt x="1540" y="3269"/>
                  </a:lnTo>
                  <a:lnTo>
                    <a:pt x="1590" y="3260"/>
                  </a:lnTo>
                  <a:lnTo>
                    <a:pt x="1639" y="3249"/>
                  </a:lnTo>
                  <a:lnTo>
                    <a:pt x="1639" y="3249"/>
                  </a:lnTo>
                  <a:lnTo>
                    <a:pt x="1687" y="3238"/>
                  </a:lnTo>
                  <a:lnTo>
                    <a:pt x="1734" y="3226"/>
                  </a:lnTo>
                  <a:lnTo>
                    <a:pt x="1780" y="3212"/>
                  </a:lnTo>
                  <a:lnTo>
                    <a:pt x="1827" y="3198"/>
                  </a:lnTo>
                  <a:lnTo>
                    <a:pt x="1873" y="3183"/>
                  </a:lnTo>
                  <a:lnTo>
                    <a:pt x="1919" y="3166"/>
                  </a:lnTo>
                  <a:lnTo>
                    <a:pt x="1964" y="3149"/>
                  </a:lnTo>
                  <a:lnTo>
                    <a:pt x="2008" y="3130"/>
                  </a:lnTo>
                  <a:lnTo>
                    <a:pt x="2052" y="3110"/>
                  </a:lnTo>
                  <a:lnTo>
                    <a:pt x="2096" y="3090"/>
                  </a:lnTo>
                  <a:lnTo>
                    <a:pt x="2139" y="3068"/>
                  </a:lnTo>
                  <a:lnTo>
                    <a:pt x="2181" y="3046"/>
                  </a:lnTo>
                  <a:lnTo>
                    <a:pt x="2223" y="3023"/>
                  </a:lnTo>
                  <a:lnTo>
                    <a:pt x="2264" y="2998"/>
                  </a:lnTo>
                  <a:lnTo>
                    <a:pt x="2304" y="2973"/>
                  </a:lnTo>
                  <a:lnTo>
                    <a:pt x="2344" y="2948"/>
                  </a:lnTo>
                  <a:lnTo>
                    <a:pt x="2383" y="2921"/>
                  </a:lnTo>
                  <a:lnTo>
                    <a:pt x="2422" y="2893"/>
                  </a:lnTo>
                  <a:lnTo>
                    <a:pt x="2461" y="2864"/>
                  </a:lnTo>
                  <a:lnTo>
                    <a:pt x="2498" y="2834"/>
                  </a:lnTo>
                  <a:lnTo>
                    <a:pt x="2535" y="2804"/>
                  </a:lnTo>
                  <a:lnTo>
                    <a:pt x="2571" y="2774"/>
                  </a:lnTo>
                  <a:lnTo>
                    <a:pt x="2606" y="2742"/>
                  </a:lnTo>
                  <a:lnTo>
                    <a:pt x="2640" y="2710"/>
                  </a:lnTo>
                  <a:lnTo>
                    <a:pt x="2674" y="2676"/>
                  </a:lnTo>
                  <a:lnTo>
                    <a:pt x="2707" y="2642"/>
                  </a:lnTo>
                  <a:lnTo>
                    <a:pt x="2740" y="2608"/>
                  </a:lnTo>
                  <a:lnTo>
                    <a:pt x="2771" y="2572"/>
                  </a:lnTo>
                  <a:lnTo>
                    <a:pt x="2802" y="2536"/>
                  </a:lnTo>
                  <a:lnTo>
                    <a:pt x="2832" y="2498"/>
                  </a:lnTo>
                  <a:lnTo>
                    <a:pt x="2860" y="2461"/>
                  </a:lnTo>
                  <a:lnTo>
                    <a:pt x="2889" y="2423"/>
                  </a:lnTo>
                  <a:lnTo>
                    <a:pt x="2889" y="2423"/>
                  </a:lnTo>
                  <a:lnTo>
                    <a:pt x="2911" y="2391"/>
                  </a:lnTo>
                  <a:lnTo>
                    <a:pt x="2932" y="2359"/>
                  </a:lnTo>
                  <a:lnTo>
                    <a:pt x="2954" y="2327"/>
                  </a:lnTo>
                  <a:lnTo>
                    <a:pt x="2975" y="2296"/>
                  </a:lnTo>
                  <a:lnTo>
                    <a:pt x="2994" y="2263"/>
                  </a:lnTo>
                  <a:lnTo>
                    <a:pt x="3014" y="2229"/>
                  </a:lnTo>
                  <a:lnTo>
                    <a:pt x="3032" y="2195"/>
                  </a:lnTo>
                  <a:lnTo>
                    <a:pt x="3050" y="2161"/>
                  </a:lnTo>
                  <a:lnTo>
                    <a:pt x="3067" y="2127"/>
                  </a:lnTo>
                  <a:lnTo>
                    <a:pt x="3085" y="2092"/>
                  </a:lnTo>
                  <a:lnTo>
                    <a:pt x="3101" y="2057"/>
                  </a:lnTo>
                  <a:lnTo>
                    <a:pt x="3117" y="2022"/>
                  </a:lnTo>
                  <a:lnTo>
                    <a:pt x="3131" y="1985"/>
                  </a:lnTo>
                  <a:lnTo>
                    <a:pt x="3146" y="1949"/>
                  </a:lnTo>
                  <a:lnTo>
                    <a:pt x="3160" y="1912"/>
                  </a:lnTo>
                  <a:lnTo>
                    <a:pt x="3173" y="1875"/>
                  </a:lnTo>
                  <a:lnTo>
                    <a:pt x="2137" y="840"/>
                  </a:lnTo>
                  <a:close/>
                </a:path>
              </a:pathLst>
            </a:custGeom>
            <a:solidFill>
              <a:srgbClr val="3C9987"/>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6" name="Freeform 678">
              <a:extLst>
                <a:ext uri="{FF2B5EF4-FFF2-40B4-BE49-F238E27FC236}">
                  <a16:creationId xmlns:a16="http://schemas.microsoft.com/office/drawing/2014/main" id="{7C32FAEB-482E-A835-3EC4-05775340F798}"/>
                </a:ext>
              </a:extLst>
            </p:cNvPr>
            <p:cNvSpPr>
              <a:spLocks/>
            </p:cNvSpPr>
            <p:nvPr/>
          </p:nvSpPr>
          <p:spPr bwMode="auto">
            <a:xfrm>
              <a:off x="3524251" y="5205413"/>
              <a:ext cx="630238" cy="649288"/>
            </a:xfrm>
            <a:custGeom>
              <a:avLst/>
              <a:gdLst/>
              <a:ahLst/>
              <a:cxnLst>
                <a:cxn ang="0">
                  <a:pos x="1347" y="50"/>
                </a:cxn>
                <a:cxn ang="0">
                  <a:pos x="1307" y="31"/>
                </a:cxn>
                <a:cxn ang="0">
                  <a:pos x="1225" y="3"/>
                </a:cxn>
                <a:cxn ang="0">
                  <a:pos x="1144" y="0"/>
                </a:cxn>
                <a:cxn ang="0">
                  <a:pos x="1087" y="5"/>
                </a:cxn>
                <a:cxn ang="0">
                  <a:pos x="1034" y="22"/>
                </a:cxn>
                <a:cxn ang="0">
                  <a:pos x="987" y="48"/>
                </a:cxn>
                <a:cxn ang="0">
                  <a:pos x="945" y="83"/>
                </a:cxn>
                <a:cxn ang="0">
                  <a:pos x="911" y="124"/>
                </a:cxn>
                <a:cxn ang="0">
                  <a:pos x="885" y="171"/>
                </a:cxn>
                <a:cxn ang="0">
                  <a:pos x="869" y="224"/>
                </a:cxn>
                <a:cxn ang="0">
                  <a:pos x="863" y="281"/>
                </a:cxn>
                <a:cxn ang="0">
                  <a:pos x="866" y="324"/>
                </a:cxn>
                <a:cxn ang="0">
                  <a:pos x="880" y="377"/>
                </a:cxn>
                <a:cxn ang="0">
                  <a:pos x="904" y="427"/>
                </a:cxn>
                <a:cxn ang="0">
                  <a:pos x="935" y="470"/>
                </a:cxn>
                <a:cxn ang="0">
                  <a:pos x="963" y="498"/>
                </a:cxn>
                <a:cxn ang="0">
                  <a:pos x="1088" y="674"/>
                </a:cxn>
                <a:cxn ang="0">
                  <a:pos x="896" y="705"/>
                </a:cxn>
                <a:cxn ang="0">
                  <a:pos x="762" y="749"/>
                </a:cxn>
                <a:cxn ang="0">
                  <a:pos x="667" y="795"/>
                </a:cxn>
                <a:cxn ang="0">
                  <a:pos x="593" y="839"/>
                </a:cxn>
                <a:cxn ang="0">
                  <a:pos x="512" y="899"/>
                </a:cxn>
                <a:cxn ang="0">
                  <a:pos x="412" y="1000"/>
                </a:cxn>
                <a:cxn ang="0">
                  <a:pos x="355" y="1077"/>
                </a:cxn>
                <a:cxn ang="0">
                  <a:pos x="316" y="1145"/>
                </a:cxn>
                <a:cxn ang="0">
                  <a:pos x="273" y="1255"/>
                </a:cxn>
                <a:cxn ang="0">
                  <a:pos x="73" y="1255"/>
                </a:cxn>
                <a:cxn ang="0">
                  <a:pos x="45" y="1260"/>
                </a:cxn>
                <a:cxn ang="0">
                  <a:pos x="21" y="1277"/>
                </a:cxn>
                <a:cxn ang="0">
                  <a:pos x="6" y="1299"/>
                </a:cxn>
                <a:cxn ang="0">
                  <a:pos x="0" y="1328"/>
                </a:cxn>
                <a:cxn ang="0">
                  <a:pos x="0" y="1576"/>
                </a:cxn>
                <a:cxn ang="0">
                  <a:pos x="4" y="1600"/>
                </a:cxn>
                <a:cxn ang="0">
                  <a:pos x="18" y="1628"/>
                </a:cxn>
                <a:cxn ang="0">
                  <a:pos x="30" y="1640"/>
                </a:cxn>
                <a:cxn ang="0">
                  <a:pos x="605" y="2311"/>
                </a:cxn>
                <a:cxn ang="0">
                  <a:pos x="613" y="2337"/>
                </a:cxn>
                <a:cxn ang="0">
                  <a:pos x="624" y="2353"/>
                </a:cxn>
                <a:cxn ang="0">
                  <a:pos x="1540" y="3269"/>
                </a:cxn>
                <a:cxn ang="0">
                  <a:pos x="1687" y="3238"/>
                </a:cxn>
                <a:cxn ang="0">
                  <a:pos x="1873" y="3183"/>
                </a:cxn>
                <a:cxn ang="0">
                  <a:pos x="2052" y="3110"/>
                </a:cxn>
                <a:cxn ang="0">
                  <a:pos x="2223" y="3023"/>
                </a:cxn>
                <a:cxn ang="0">
                  <a:pos x="2383" y="2921"/>
                </a:cxn>
                <a:cxn ang="0">
                  <a:pos x="2535" y="2804"/>
                </a:cxn>
                <a:cxn ang="0">
                  <a:pos x="2674" y="2676"/>
                </a:cxn>
                <a:cxn ang="0">
                  <a:pos x="2802" y="2536"/>
                </a:cxn>
                <a:cxn ang="0">
                  <a:pos x="2889" y="2423"/>
                </a:cxn>
                <a:cxn ang="0">
                  <a:pos x="2975" y="2296"/>
                </a:cxn>
                <a:cxn ang="0">
                  <a:pos x="3050" y="2161"/>
                </a:cxn>
                <a:cxn ang="0">
                  <a:pos x="3117" y="2022"/>
                </a:cxn>
                <a:cxn ang="0">
                  <a:pos x="3173" y="1875"/>
                </a:cxn>
              </a:cxnLst>
              <a:rect l="0" t="0" r="r" b="b"/>
              <a:pathLst>
                <a:path w="3173" h="3269">
                  <a:moveTo>
                    <a:pt x="2137" y="840"/>
                  </a:moveTo>
                  <a:lnTo>
                    <a:pt x="1379" y="83"/>
                  </a:lnTo>
                  <a:lnTo>
                    <a:pt x="1361" y="64"/>
                  </a:lnTo>
                  <a:lnTo>
                    <a:pt x="1347" y="50"/>
                  </a:lnTo>
                  <a:lnTo>
                    <a:pt x="1345" y="53"/>
                  </a:lnTo>
                  <a:lnTo>
                    <a:pt x="1345" y="53"/>
                  </a:lnTo>
                  <a:lnTo>
                    <a:pt x="1326" y="42"/>
                  </a:lnTo>
                  <a:lnTo>
                    <a:pt x="1307" y="31"/>
                  </a:lnTo>
                  <a:lnTo>
                    <a:pt x="1288" y="22"/>
                  </a:lnTo>
                  <a:lnTo>
                    <a:pt x="1268" y="14"/>
                  </a:lnTo>
                  <a:lnTo>
                    <a:pt x="1247" y="9"/>
                  </a:lnTo>
                  <a:lnTo>
                    <a:pt x="1225" y="3"/>
                  </a:lnTo>
                  <a:lnTo>
                    <a:pt x="1203" y="1"/>
                  </a:lnTo>
                  <a:lnTo>
                    <a:pt x="1181" y="0"/>
                  </a:lnTo>
                  <a:lnTo>
                    <a:pt x="1144" y="0"/>
                  </a:lnTo>
                  <a:lnTo>
                    <a:pt x="1144" y="0"/>
                  </a:lnTo>
                  <a:lnTo>
                    <a:pt x="1129" y="0"/>
                  </a:lnTo>
                  <a:lnTo>
                    <a:pt x="1115" y="1"/>
                  </a:lnTo>
                  <a:lnTo>
                    <a:pt x="1101" y="3"/>
                  </a:lnTo>
                  <a:lnTo>
                    <a:pt x="1087" y="5"/>
                  </a:lnTo>
                  <a:lnTo>
                    <a:pt x="1074" y="9"/>
                  </a:lnTo>
                  <a:lnTo>
                    <a:pt x="1060" y="13"/>
                  </a:lnTo>
                  <a:lnTo>
                    <a:pt x="1047" y="17"/>
                  </a:lnTo>
                  <a:lnTo>
                    <a:pt x="1034" y="22"/>
                  </a:lnTo>
                  <a:lnTo>
                    <a:pt x="1022" y="28"/>
                  </a:lnTo>
                  <a:lnTo>
                    <a:pt x="1010" y="34"/>
                  </a:lnTo>
                  <a:lnTo>
                    <a:pt x="998" y="41"/>
                  </a:lnTo>
                  <a:lnTo>
                    <a:pt x="987" y="48"/>
                  </a:lnTo>
                  <a:lnTo>
                    <a:pt x="976" y="56"/>
                  </a:lnTo>
                  <a:lnTo>
                    <a:pt x="965" y="64"/>
                  </a:lnTo>
                  <a:lnTo>
                    <a:pt x="955" y="73"/>
                  </a:lnTo>
                  <a:lnTo>
                    <a:pt x="945" y="83"/>
                  </a:lnTo>
                  <a:lnTo>
                    <a:pt x="935" y="92"/>
                  </a:lnTo>
                  <a:lnTo>
                    <a:pt x="927" y="102"/>
                  </a:lnTo>
                  <a:lnTo>
                    <a:pt x="919" y="113"/>
                  </a:lnTo>
                  <a:lnTo>
                    <a:pt x="911" y="124"/>
                  </a:lnTo>
                  <a:lnTo>
                    <a:pt x="904" y="135"/>
                  </a:lnTo>
                  <a:lnTo>
                    <a:pt x="896" y="147"/>
                  </a:lnTo>
                  <a:lnTo>
                    <a:pt x="890" y="159"/>
                  </a:lnTo>
                  <a:lnTo>
                    <a:pt x="885" y="171"/>
                  </a:lnTo>
                  <a:lnTo>
                    <a:pt x="880" y="185"/>
                  </a:lnTo>
                  <a:lnTo>
                    <a:pt x="876" y="197"/>
                  </a:lnTo>
                  <a:lnTo>
                    <a:pt x="872" y="210"/>
                  </a:lnTo>
                  <a:lnTo>
                    <a:pt x="869" y="224"/>
                  </a:lnTo>
                  <a:lnTo>
                    <a:pt x="866" y="238"/>
                  </a:lnTo>
                  <a:lnTo>
                    <a:pt x="864" y="253"/>
                  </a:lnTo>
                  <a:lnTo>
                    <a:pt x="863" y="266"/>
                  </a:lnTo>
                  <a:lnTo>
                    <a:pt x="863" y="281"/>
                  </a:lnTo>
                  <a:lnTo>
                    <a:pt x="863" y="281"/>
                  </a:lnTo>
                  <a:lnTo>
                    <a:pt x="863" y="295"/>
                  </a:lnTo>
                  <a:lnTo>
                    <a:pt x="864" y="309"/>
                  </a:lnTo>
                  <a:lnTo>
                    <a:pt x="866" y="324"/>
                  </a:lnTo>
                  <a:lnTo>
                    <a:pt x="869" y="337"/>
                  </a:lnTo>
                  <a:lnTo>
                    <a:pt x="872" y="352"/>
                  </a:lnTo>
                  <a:lnTo>
                    <a:pt x="876" y="364"/>
                  </a:lnTo>
                  <a:lnTo>
                    <a:pt x="880" y="377"/>
                  </a:lnTo>
                  <a:lnTo>
                    <a:pt x="885" y="391"/>
                  </a:lnTo>
                  <a:lnTo>
                    <a:pt x="890" y="403"/>
                  </a:lnTo>
                  <a:lnTo>
                    <a:pt x="896" y="414"/>
                  </a:lnTo>
                  <a:lnTo>
                    <a:pt x="904" y="427"/>
                  </a:lnTo>
                  <a:lnTo>
                    <a:pt x="911" y="438"/>
                  </a:lnTo>
                  <a:lnTo>
                    <a:pt x="919" y="449"/>
                  </a:lnTo>
                  <a:lnTo>
                    <a:pt x="927" y="460"/>
                  </a:lnTo>
                  <a:lnTo>
                    <a:pt x="935" y="470"/>
                  </a:lnTo>
                  <a:lnTo>
                    <a:pt x="945" y="479"/>
                  </a:lnTo>
                  <a:lnTo>
                    <a:pt x="945" y="479"/>
                  </a:lnTo>
                  <a:lnTo>
                    <a:pt x="945" y="479"/>
                  </a:lnTo>
                  <a:lnTo>
                    <a:pt x="963" y="498"/>
                  </a:lnTo>
                  <a:lnTo>
                    <a:pt x="968" y="503"/>
                  </a:lnTo>
                  <a:lnTo>
                    <a:pt x="1137" y="672"/>
                  </a:lnTo>
                  <a:lnTo>
                    <a:pt x="1137" y="672"/>
                  </a:lnTo>
                  <a:lnTo>
                    <a:pt x="1088" y="674"/>
                  </a:lnTo>
                  <a:lnTo>
                    <a:pt x="1039" y="679"/>
                  </a:lnTo>
                  <a:lnTo>
                    <a:pt x="990" y="685"/>
                  </a:lnTo>
                  <a:lnTo>
                    <a:pt x="943" y="695"/>
                  </a:lnTo>
                  <a:lnTo>
                    <a:pt x="896" y="705"/>
                  </a:lnTo>
                  <a:lnTo>
                    <a:pt x="851" y="718"/>
                  </a:lnTo>
                  <a:lnTo>
                    <a:pt x="806" y="733"/>
                  </a:lnTo>
                  <a:lnTo>
                    <a:pt x="762" y="749"/>
                  </a:lnTo>
                  <a:lnTo>
                    <a:pt x="762" y="749"/>
                  </a:lnTo>
                  <a:lnTo>
                    <a:pt x="738" y="760"/>
                  </a:lnTo>
                  <a:lnTo>
                    <a:pt x="714" y="771"/>
                  </a:lnTo>
                  <a:lnTo>
                    <a:pt x="690" y="782"/>
                  </a:lnTo>
                  <a:lnTo>
                    <a:pt x="667" y="795"/>
                  </a:lnTo>
                  <a:lnTo>
                    <a:pt x="667" y="795"/>
                  </a:lnTo>
                  <a:lnTo>
                    <a:pt x="642" y="809"/>
                  </a:lnTo>
                  <a:lnTo>
                    <a:pt x="617" y="823"/>
                  </a:lnTo>
                  <a:lnTo>
                    <a:pt x="593" y="839"/>
                  </a:lnTo>
                  <a:lnTo>
                    <a:pt x="570" y="854"/>
                  </a:lnTo>
                  <a:lnTo>
                    <a:pt x="570" y="854"/>
                  </a:lnTo>
                  <a:lnTo>
                    <a:pt x="541" y="876"/>
                  </a:lnTo>
                  <a:lnTo>
                    <a:pt x="512" y="899"/>
                  </a:lnTo>
                  <a:lnTo>
                    <a:pt x="485" y="923"/>
                  </a:lnTo>
                  <a:lnTo>
                    <a:pt x="459" y="947"/>
                  </a:lnTo>
                  <a:lnTo>
                    <a:pt x="435" y="973"/>
                  </a:lnTo>
                  <a:lnTo>
                    <a:pt x="412" y="1000"/>
                  </a:lnTo>
                  <a:lnTo>
                    <a:pt x="390" y="1026"/>
                  </a:lnTo>
                  <a:lnTo>
                    <a:pt x="370" y="1055"/>
                  </a:lnTo>
                  <a:lnTo>
                    <a:pt x="370" y="1055"/>
                  </a:lnTo>
                  <a:lnTo>
                    <a:pt x="355" y="1077"/>
                  </a:lnTo>
                  <a:lnTo>
                    <a:pt x="341" y="1100"/>
                  </a:lnTo>
                  <a:lnTo>
                    <a:pt x="329" y="1122"/>
                  </a:lnTo>
                  <a:lnTo>
                    <a:pt x="316" y="1145"/>
                  </a:lnTo>
                  <a:lnTo>
                    <a:pt x="316" y="1145"/>
                  </a:lnTo>
                  <a:lnTo>
                    <a:pt x="304" y="1172"/>
                  </a:lnTo>
                  <a:lnTo>
                    <a:pt x="292" y="1199"/>
                  </a:lnTo>
                  <a:lnTo>
                    <a:pt x="282" y="1226"/>
                  </a:lnTo>
                  <a:lnTo>
                    <a:pt x="273" y="1255"/>
                  </a:lnTo>
                  <a:lnTo>
                    <a:pt x="207" y="1255"/>
                  </a:lnTo>
                  <a:lnTo>
                    <a:pt x="170" y="1255"/>
                  </a:lnTo>
                  <a:lnTo>
                    <a:pt x="73" y="1255"/>
                  </a:lnTo>
                  <a:lnTo>
                    <a:pt x="73" y="1255"/>
                  </a:lnTo>
                  <a:lnTo>
                    <a:pt x="66" y="1255"/>
                  </a:lnTo>
                  <a:lnTo>
                    <a:pt x="59" y="1256"/>
                  </a:lnTo>
                  <a:lnTo>
                    <a:pt x="51" y="1258"/>
                  </a:lnTo>
                  <a:lnTo>
                    <a:pt x="45" y="1260"/>
                  </a:lnTo>
                  <a:lnTo>
                    <a:pt x="39" y="1263"/>
                  </a:lnTo>
                  <a:lnTo>
                    <a:pt x="33" y="1267"/>
                  </a:lnTo>
                  <a:lnTo>
                    <a:pt x="27" y="1272"/>
                  </a:lnTo>
                  <a:lnTo>
                    <a:pt x="21" y="1277"/>
                  </a:lnTo>
                  <a:lnTo>
                    <a:pt x="16" y="1282"/>
                  </a:lnTo>
                  <a:lnTo>
                    <a:pt x="12" y="1287"/>
                  </a:lnTo>
                  <a:lnTo>
                    <a:pt x="9" y="1293"/>
                  </a:lnTo>
                  <a:lnTo>
                    <a:pt x="6" y="1299"/>
                  </a:lnTo>
                  <a:lnTo>
                    <a:pt x="3" y="1307"/>
                  </a:lnTo>
                  <a:lnTo>
                    <a:pt x="2" y="1314"/>
                  </a:lnTo>
                  <a:lnTo>
                    <a:pt x="1" y="1321"/>
                  </a:lnTo>
                  <a:lnTo>
                    <a:pt x="0" y="1328"/>
                  </a:lnTo>
                  <a:lnTo>
                    <a:pt x="0" y="1424"/>
                  </a:lnTo>
                  <a:lnTo>
                    <a:pt x="0" y="1436"/>
                  </a:lnTo>
                  <a:lnTo>
                    <a:pt x="0" y="1461"/>
                  </a:lnTo>
                  <a:lnTo>
                    <a:pt x="0" y="1576"/>
                  </a:lnTo>
                  <a:lnTo>
                    <a:pt x="0" y="1576"/>
                  </a:lnTo>
                  <a:lnTo>
                    <a:pt x="1" y="1584"/>
                  </a:lnTo>
                  <a:lnTo>
                    <a:pt x="2" y="1592"/>
                  </a:lnTo>
                  <a:lnTo>
                    <a:pt x="4" y="1600"/>
                  </a:lnTo>
                  <a:lnTo>
                    <a:pt x="6" y="1607"/>
                  </a:lnTo>
                  <a:lnTo>
                    <a:pt x="10" y="1615"/>
                  </a:lnTo>
                  <a:lnTo>
                    <a:pt x="14" y="1622"/>
                  </a:lnTo>
                  <a:lnTo>
                    <a:pt x="18" y="1628"/>
                  </a:lnTo>
                  <a:lnTo>
                    <a:pt x="24" y="1634"/>
                  </a:lnTo>
                  <a:lnTo>
                    <a:pt x="24" y="1634"/>
                  </a:lnTo>
                  <a:lnTo>
                    <a:pt x="25" y="1635"/>
                  </a:lnTo>
                  <a:lnTo>
                    <a:pt x="30" y="1640"/>
                  </a:lnTo>
                  <a:lnTo>
                    <a:pt x="585" y="2196"/>
                  </a:lnTo>
                  <a:lnTo>
                    <a:pt x="604" y="2304"/>
                  </a:lnTo>
                  <a:lnTo>
                    <a:pt x="604" y="2304"/>
                  </a:lnTo>
                  <a:lnTo>
                    <a:pt x="605" y="2311"/>
                  </a:lnTo>
                  <a:lnTo>
                    <a:pt x="606" y="2318"/>
                  </a:lnTo>
                  <a:lnTo>
                    <a:pt x="607" y="2324"/>
                  </a:lnTo>
                  <a:lnTo>
                    <a:pt x="610" y="2331"/>
                  </a:lnTo>
                  <a:lnTo>
                    <a:pt x="613" y="2337"/>
                  </a:lnTo>
                  <a:lnTo>
                    <a:pt x="616" y="2343"/>
                  </a:lnTo>
                  <a:lnTo>
                    <a:pt x="620" y="2348"/>
                  </a:lnTo>
                  <a:lnTo>
                    <a:pt x="624" y="2353"/>
                  </a:lnTo>
                  <a:lnTo>
                    <a:pt x="624" y="2353"/>
                  </a:lnTo>
                  <a:lnTo>
                    <a:pt x="624" y="2353"/>
                  </a:lnTo>
                  <a:lnTo>
                    <a:pt x="624" y="2353"/>
                  </a:lnTo>
                  <a:lnTo>
                    <a:pt x="1540" y="3269"/>
                  </a:lnTo>
                  <a:lnTo>
                    <a:pt x="1540" y="3269"/>
                  </a:lnTo>
                  <a:lnTo>
                    <a:pt x="1590" y="3260"/>
                  </a:lnTo>
                  <a:lnTo>
                    <a:pt x="1639" y="3249"/>
                  </a:lnTo>
                  <a:lnTo>
                    <a:pt x="1639" y="3249"/>
                  </a:lnTo>
                  <a:lnTo>
                    <a:pt x="1687" y="3238"/>
                  </a:lnTo>
                  <a:lnTo>
                    <a:pt x="1734" y="3226"/>
                  </a:lnTo>
                  <a:lnTo>
                    <a:pt x="1780" y="3212"/>
                  </a:lnTo>
                  <a:lnTo>
                    <a:pt x="1827" y="3198"/>
                  </a:lnTo>
                  <a:lnTo>
                    <a:pt x="1873" y="3183"/>
                  </a:lnTo>
                  <a:lnTo>
                    <a:pt x="1919" y="3166"/>
                  </a:lnTo>
                  <a:lnTo>
                    <a:pt x="1964" y="3149"/>
                  </a:lnTo>
                  <a:lnTo>
                    <a:pt x="2008" y="3130"/>
                  </a:lnTo>
                  <a:lnTo>
                    <a:pt x="2052" y="3110"/>
                  </a:lnTo>
                  <a:lnTo>
                    <a:pt x="2096" y="3090"/>
                  </a:lnTo>
                  <a:lnTo>
                    <a:pt x="2139" y="3068"/>
                  </a:lnTo>
                  <a:lnTo>
                    <a:pt x="2181" y="3046"/>
                  </a:lnTo>
                  <a:lnTo>
                    <a:pt x="2223" y="3023"/>
                  </a:lnTo>
                  <a:lnTo>
                    <a:pt x="2264" y="2998"/>
                  </a:lnTo>
                  <a:lnTo>
                    <a:pt x="2304" y="2973"/>
                  </a:lnTo>
                  <a:lnTo>
                    <a:pt x="2344" y="2948"/>
                  </a:lnTo>
                  <a:lnTo>
                    <a:pt x="2383" y="2921"/>
                  </a:lnTo>
                  <a:lnTo>
                    <a:pt x="2422" y="2893"/>
                  </a:lnTo>
                  <a:lnTo>
                    <a:pt x="2461" y="2864"/>
                  </a:lnTo>
                  <a:lnTo>
                    <a:pt x="2498" y="2834"/>
                  </a:lnTo>
                  <a:lnTo>
                    <a:pt x="2535" y="2804"/>
                  </a:lnTo>
                  <a:lnTo>
                    <a:pt x="2571" y="2774"/>
                  </a:lnTo>
                  <a:lnTo>
                    <a:pt x="2606" y="2742"/>
                  </a:lnTo>
                  <a:lnTo>
                    <a:pt x="2640" y="2710"/>
                  </a:lnTo>
                  <a:lnTo>
                    <a:pt x="2674" y="2676"/>
                  </a:lnTo>
                  <a:lnTo>
                    <a:pt x="2707" y="2642"/>
                  </a:lnTo>
                  <a:lnTo>
                    <a:pt x="2740" y="2608"/>
                  </a:lnTo>
                  <a:lnTo>
                    <a:pt x="2771" y="2572"/>
                  </a:lnTo>
                  <a:lnTo>
                    <a:pt x="2802" y="2536"/>
                  </a:lnTo>
                  <a:lnTo>
                    <a:pt x="2832" y="2498"/>
                  </a:lnTo>
                  <a:lnTo>
                    <a:pt x="2860" y="2461"/>
                  </a:lnTo>
                  <a:lnTo>
                    <a:pt x="2889" y="2423"/>
                  </a:lnTo>
                  <a:lnTo>
                    <a:pt x="2889" y="2423"/>
                  </a:lnTo>
                  <a:lnTo>
                    <a:pt x="2911" y="2391"/>
                  </a:lnTo>
                  <a:lnTo>
                    <a:pt x="2932" y="2359"/>
                  </a:lnTo>
                  <a:lnTo>
                    <a:pt x="2954" y="2327"/>
                  </a:lnTo>
                  <a:lnTo>
                    <a:pt x="2975" y="2296"/>
                  </a:lnTo>
                  <a:lnTo>
                    <a:pt x="2994" y="2263"/>
                  </a:lnTo>
                  <a:lnTo>
                    <a:pt x="3014" y="2229"/>
                  </a:lnTo>
                  <a:lnTo>
                    <a:pt x="3032" y="2195"/>
                  </a:lnTo>
                  <a:lnTo>
                    <a:pt x="3050" y="2161"/>
                  </a:lnTo>
                  <a:lnTo>
                    <a:pt x="3067" y="2127"/>
                  </a:lnTo>
                  <a:lnTo>
                    <a:pt x="3085" y="2092"/>
                  </a:lnTo>
                  <a:lnTo>
                    <a:pt x="3101" y="2057"/>
                  </a:lnTo>
                  <a:lnTo>
                    <a:pt x="3117" y="2022"/>
                  </a:lnTo>
                  <a:lnTo>
                    <a:pt x="3131" y="1985"/>
                  </a:lnTo>
                  <a:lnTo>
                    <a:pt x="3146" y="1949"/>
                  </a:lnTo>
                  <a:lnTo>
                    <a:pt x="3160" y="1912"/>
                  </a:lnTo>
                  <a:lnTo>
                    <a:pt x="3173" y="1875"/>
                  </a:lnTo>
                  <a:lnTo>
                    <a:pt x="2137" y="84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7" name="Freeform 679">
              <a:extLst>
                <a:ext uri="{FF2B5EF4-FFF2-40B4-BE49-F238E27FC236}">
                  <a16:creationId xmlns:a16="http://schemas.microsoft.com/office/drawing/2014/main" id="{179B815D-424E-6E62-3BDB-CEEED89C1728}"/>
                </a:ext>
              </a:extLst>
            </p:cNvPr>
            <p:cNvSpPr>
              <a:spLocks noEditPoints="1"/>
            </p:cNvSpPr>
            <p:nvPr/>
          </p:nvSpPr>
          <p:spPr bwMode="auto">
            <a:xfrm>
              <a:off x="3524251" y="5338763"/>
              <a:ext cx="466725" cy="338138"/>
            </a:xfrm>
            <a:custGeom>
              <a:avLst/>
              <a:gdLst/>
              <a:ahLst/>
              <a:cxnLst>
                <a:cxn ang="0">
                  <a:pos x="2322" y="803"/>
                </a:cxn>
                <a:cxn ang="0">
                  <a:pos x="2272" y="799"/>
                </a:cxn>
                <a:cxn ang="0">
                  <a:pos x="2229" y="763"/>
                </a:cxn>
                <a:cxn ang="0">
                  <a:pos x="2279" y="707"/>
                </a:cxn>
                <a:cxn ang="0">
                  <a:pos x="2301" y="633"/>
                </a:cxn>
                <a:cxn ang="0">
                  <a:pos x="2281" y="565"/>
                </a:cxn>
                <a:cxn ang="0">
                  <a:pos x="2231" y="543"/>
                </a:cxn>
                <a:cxn ang="0">
                  <a:pos x="2169" y="584"/>
                </a:cxn>
                <a:cxn ang="0">
                  <a:pos x="2140" y="680"/>
                </a:cxn>
                <a:cxn ang="0">
                  <a:pos x="2086" y="742"/>
                </a:cxn>
                <a:cxn ang="0">
                  <a:pos x="2007" y="452"/>
                </a:cxn>
                <a:cxn ang="0">
                  <a:pos x="1808" y="216"/>
                </a:cxn>
                <a:cxn ang="0">
                  <a:pos x="1519" y="58"/>
                </a:cxn>
                <a:cxn ang="0">
                  <a:pos x="1166" y="0"/>
                </a:cxn>
                <a:cxn ang="0">
                  <a:pos x="895" y="34"/>
                </a:cxn>
                <a:cxn ang="0">
                  <a:pos x="624" y="146"/>
                </a:cxn>
                <a:cxn ang="0">
                  <a:pos x="414" y="325"/>
                </a:cxn>
                <a:cxn ang="0">
                  <a:pos x="283" y="551"/>
                </a:cxn>
                <a:cxn ang="0">
                  <a:pos x="39" y="591"/>
                </a:cxn>
                <a:cxn ang="0">
                  <a:pos x="3" y="635"/>
                </a:cxn>
                <a:cxn ang="0">
                  <a:pos x="2" y="919"/>
                </a:cxn>
                <a:cxn ang="0">
                  <a:pos x="44" y="980"/>
                </a:cxn>
                <a:cxn ang="0">
                  <a:pos x="315" y="1055"/>
                </a:cxn>
                <a:cxn ang="0">
                  <a:pos x="364" y="1137"/>
                </a:cxn>
                <a:cxn ang="0">
                  <a:pos x="421" y="1213"/>
                </a:cxn>
                <a:cxn ang="0">
                  <a:pos x="456" y="1251"/>
                </a:cxn>
                <a:cxn ang="0">
                  <a:pos x="509" y="1299"/>
                </a:cxn>
                <a:cxn ang="0">
                  <a:pos x="605" y="1639"/>
                </a:cxn>
                <a:cxn ang="0">
                  <a:pos x="629" y="1685"/>
                </a:cxn>
                <a:cxn ang="0">
                  <a:pos x="806" y="1702"/>
                </a:cxn>
                <a:cxn ang="0">
                  <a:pos x="849" y="1685"/>
                </a:cxn>
                <a:cxn ang="0">
                  <a:pos x="875" y="1639"/>
                </a:cxn>
                <a:cxn ang="0">
                  <a:pos x="991" y="1515"/>
                </a:cxn>
                <a:cxn ang="0">
                  <a:pos x="1029" y="1521"/>
                </a:cxn>
                <a:cxn ang="0">
                  <a:pos x="1077" y="1526"/>
                </a:cxn>
                <a:cxn ang="0">
                  <a:pos x="1124" y="1528"/>
                </a:cxn>
                <a:cxn ang="0">
                  <a:pos x="1188" y="1529"/>
                </a:cxn>
                <a:cxn ang="0">
                  <a:pos x="1236" y="1527"/>
                </a:cxn>
                <a:cxn ang="0">
                  <a:pos x="1276" y="1524"/>
                </a:cxn>
                <a:cxn ang="0">
                  <a:pos x="1404" y="1503"/>
                </a:cxn>
                <a:cxn ang="0">
                  <a:pos x="1464" y="1665"/>
                </a:cxn>
                <a:cxn ang="0">
                  <a:pos x="1505" y="1699"/>
                </a:cxn>
                <a:cxn ang="0">
                  <a:pos x="1677" y="1699"/>
                </a:cxn>
                <a:cxn ang="0">
                  <a:pos x="1719" y="1665"/>
                </a:cxn>
                <a:cxn ang="0">
                  <a:pos x="1800" y="1320"/>
                </a:cxn>
                <a:cxn ang="0">
                  <a:pos x="1922" y="1202"/>
                </a:cxn>
                <a:cxn ang="0">
                  <a:pos x="1948" y="1168"/>
                </a:cxn>
                <a:cxn ang="0">
                  <a:pos x="1972" y="1134"/>
                </a:cxn>
                <a:cxn ang="0">
                  <a:pos x="1994" y="1099"/>
                </a:cxn>
                <a:cxn ang="0">
                  <a:pos x="2040" y="1005"/>
                </a:cxn>
                <a:cxn ang="0">
                  <a:pos x="2055" y="964"/>
                </a:cxn>
                <a:cxn ang="0">
                  <a:pos x="2066" y="925"/>
                </a:cxn>
                <a:cxn ang="0">
                  <a:pos x="2075" y="886"/>
                </a:cxn>
                <a:cxn ang="0">
                  <a:pos x="2081" y="846"/>
                </a:cxn>
                <a:cxn ang="0">
                  <a:pos x="2085" y="806"/>
                </a:cxn>
                <a:cxn ang="0">
                  <a:pos x="2174" y="788"/>
                </a:cxn>
                <a:cxn ang="0">
                  <a:pos x="2264" y="858"/>
                </a:cxn>
                <a:cxn ang="0">
                  <a:pos x="2334" y="855"/>
                </a:cxn>
                <a:cxn ang="0">
                  <a:pos x="2210" y="627"/>
                </a:cxn>
                <a:cxn ang="0">
                  <a:pos x="2241" y="614"/>
                </a:cxn>
                <a:cxn ang="0">
                  <a:pos x="2235" y="662"/>
                </a:cxn>
                <a:cxn ang="0">
                  <a:pos x="2198" y="675"/>
                </a:cxn>
              </a:cxnLst>
              <a:rect l="0" t="0" r="r" b="b"/>
              <a:pathLst>
                <a:path w="2346" h="1702">
                  <a:moveTo>
                    <a:pt x="2346" y="825"/>
                  </a:moveTo>
                  <a:lnTo>
                    <a:pt x="2346" y="825"/>
                  </a:lnTo>
                  <a:lnTo>
                    <a:pt x="2344" y="820"/>
                  </a:lnTo>
                  <a:lnTo>
                    <a:pt x="2341" y="815"/>
                  </a:lnTo>
                  <a:lnTo>
                    <a:pt x="2338" y="810"/>
                  </a:lnTo>
                  <a:lnTo>
                    <a:pt x="2333" y="807"/>
                  </a:lnTo>
                  <a:lnTo>
                    <a:pt x="2328" y="805"/>
                  </a:lnTo>
                  <a:lnTo>
                    <a:pt x="2322" y="803"/>
                  </a:lnTo>
                  <a:lnTo>
                    <a:pt x="2317" y="801"/>
                  </a:lnTo>
                  <a:lnTo>
                    <a:pt x="2311" y="803"/>
                  </a:lnTo>
                  <a:lnTo>
                    <a:pt x="2311" y="803"/>
                  </a:lnTo>
                  <a:lnTo>
                    <a:pt x="2304" y="804"/>
                  </a:lnTo>
                  <a:lnTo>
                    <a:pt x="2297" y="805"/>
                  </a:lnTo>
                  <a:lnTo>
                    <a:pt x="2291" y="804"/>
                  </a:lnTo>
                  <a:lnTo>
                    <a:pt x="2283" y="803"/>
                  </a:lnTo>
                  <a:lnTo>
                    <a:pt x="2272" y="799"/>
                  </a:lnTo>
                  <a:lnTo>
                    <a:pt x="2261" y="794"/>
                  </a:lnTo>
                  <a:lnTo>
                    <a:pt x="2251" y="787"/>
                  </a:lnTo>
                  <a:lnTo>
                    <a:pt x="2243" y="780"/>
                  </a:lnTo>
                  <a:lnTo>
                    <a:pt x="2235" y="772"/>
                  </a:lnTo>
                  <a:lnTo>
                    <a:pt x="2230" y="764"/>
                  </a:lnTo>
                  <a:lnTo>
                    <a:pt x="2230" y="764"/>
                  </a:lnTo>
                  <a:lnTo>
                    <a:pt x="2229" y="763"/>
                  </a:lnTo>
                  <a:lnTo>
                    <a:pt x="2229" y="763"/>
                  </a:lnTo>
                  <a:lnTo>
                    <a:pt x="2237" y="757"/>
                  </a:lnTo>
                  <a:lnTo>
                    <a:pt x="2237" y="757"/>
                  </a:lnTo>
                  <a:lnTo>
                    <a:pt x="2245" y="751"/>
                  </a:lnTo>
                  <a:lnTo>
                    <a:pt x="2252" y="743"/>
                  </a:lnTo>
                  <a:lnTo>
                    <a:pt x="2260" y="736"/>
                  </a:lnTo>
                  <a:lnTo>
                    <a:pt x="2267" y="726"/>
                  </a:lnTo>
                  <a:lnTo>
                    <a:pt x="2273" y="717"/>
                  </a:lnTo>
                  <a:lnTo>
                    <a:pt x="2279" y="707"/>
                  </a:lnTo>
                  <a:lnTo>
                    <a:pt x="2284" y="696"/>
                  </a:lnTo>
                  <a:lnTo>
                    <a:pt x="2289" y="684"/>
                  </a:lnTo>
                  <a:lnTo>
                    <a:pt x="2289" y="684"/>
                  </a:lnTo>
                  <a:lnTo>
                    <a:pt x="2294" y="674"/>
                  </a:lnTo>
                  <a:lnTo>
                    <a:pt x="2297" y="663"/>
                  </a:lnTo>
                  <a:lnTo>
                    <a:pt x="2299" y="653"/>
                  </a:lnTo>
                  <a:lnTo>
                    <a:pt x="2300" y="643"/>
                  </a:lnTo>
                  <a:lnTo>
                    <a:pt x="2301" y="633"/>
                  </a:lnTo>
                  <a:lnTo>
                    <a:pt x="2301" y="622"/>
                  </a:lnTo>
                  <a:lnTo>
                    <a:pt x="2301" y="613"/>
                  </a:lnTo>
                  <a:lnTo>
                    <a:pt x="2299" y="604"/>
                  </a:lnTo>
                  <a:lnTo>
                    <a:pt x="2297" y="594"/>
                  </a:lnTo>
                  <a:lnTo>
                    <a:pt x="2294" y="586"/>
                  </a:lnTo>
                  <a:lnTo>
                    <a:pt x="2291" y="578"/>
                  </a:lnTo>
                  <a:lnTo>
                    <a:pt x="2286" y="571"/>
                  </a:lnTo>
                  <a:lnTo>
                    <a:pt x="2281" y="565"/>
                  </a:lnTo>
                  <a:lnTo>
                    <a:pt x="2276" y="558"/>
                  </a:lnTo>
                  <a:lnTo>
                    <a:pt x="2270" y="553"/>
                  </a:lnTo>
                  <a:lnTo>
                    <a:pt x="2263" y="549"/>
                  </a:lnTo>
                  <a:lnTo>
                    <a:pt x="2263" y="549"/>
                  </a:lnTo>
                  <a:lnTo>
                    <a:pt x="2257" y="547"/>
                  </a:lnTo>
                  <a:lnTo>
                    <a:pt x="2248" y="544"/>
                  </a:lnTo>
                  <a:lnTo>
                    <a:pt x="2237" y="543"/>
                  </a:lnTo>
                  <a:lnTo>
                    <a:pt x="2231" y="543"/>
                  </a:lnTo>
                  <a:lnTo>
                    <a:pt x="2224" y="544"/>
                  </a:lnTo>
                  <a:lnTo>
                    <a:pt x="2216" y="546"/>
                  </a:lnTo>
                  <a:lnTo>
                    <a:pt x="2209" y="549"/>
                  </a:lnTo>
                  <a:lnTo>
                    <a:pt x="2202" y="553"/>
                  </a:lnTo>
                  <a:lnTo>
                    <a:pt x="2194" y="558"/>
                  </a:lnTo>
                  <a:lnTo>
                    <a:pt x="2185" y="566"/>
                  </a:lnTo>
                  <a:lnTo>
                    <a:pt x="2177" y="574"/>
                  </a:lnTo>
                  <a:lnTo>
                    <a:pt x="2169" y="584"/>
                  </a:lnTo>
                  <a:lnTo>
                    <a:pt x="2161" y="595"/>
                  </a:lnTo>
                  <a:lnTo>
                    <a:pt x="2161" y="595"/>
                  </a:lnTo>
                  <a:lnTo>
                    <a:pt x="2156" y="604"/>
                  </a:lnTo>
                  <a:lnTo>
                    <a:pt x="2152" y="611"/>
                  </a:lnTo>
                  <a:lnTo>
                    <a:pt x="2146" y="627"/>
                  </a:lnTo>
                  <a:lnTo>
                    <a:pt x="2142" y="645"/>
                  </a:lnTo>
                  <a:lnTo>
                    <a:pt x="2140" y="662"/>
                  </a:lnTo>
                  <a:lnTo>
                    <a:pt x="2140" y="680"/>
                  </a:lnTo>
                  <a:lnTo>
                    <a:pt x="2141" y="698"/>
                  </a:lnTo>
                  <a:lnTo>
                    <a:pt x="2144" y="716"/>
                  </a:lnTo>
                  <a:lnTo>
                    <a:pt x="2149" y="733"/>
                  </a:lnTo>
                  <a:lnTo>
                    <a:pt x="2149" y="733"/>
                  </a:lnTo>
                  <a:lnTo>
                    <a:pt x="2135" y="737"/>
                  </a:lnTo>
                  <a:lnTo>
                    <a:pt x="2119" y="739"/>
                  </a:lnTo>
                  <a:lnTo>
                    <a:pt x="2086" y="742"/>
                  </a:lnTo>
                  <a:lnTo>
                    <a:pt x="2086" y="742"/>
                  </a:lnTo>
                  <a:lnTo>
                    <a:pt x="2083" y="704"/>
                  </a:lnTo>
                  <a:lnTo>
                    <a:pt x="2079" y="665"/>
                  </a:lnTo>
                  <a:lnTo>
                    <a:pt x="2072" y="628"/>
                  </a:lnTo>
                  <a:lnTo>
                    <a:pt x="2063" y="591"/>
                  </a:lnTo>
                  <a:lnTo>
                    <a:pt x="2051" y="555"/>
                  </a:lnTo>
                  <a:lnTo>
                    <a:pt x="2039" y="520"/>
                  </a:lnTo>
                  <a:lnTo>
                    <a:pt x="2024" y="486"/>
                  </a:lnTo>
                  <a:lnTo>
                    <a:pt x="2007" y="452"/>
                  </a:lnTo>
                  <a:lnTo>
                    <a:pt x="1988" y="419"/>
                  </a:lnTo>
                  <a:lnTo>
                    <a:pt x="1967" y="387"/>
                  </a:lnTo>
                  <a:lnTo>
                    <a:pt x="1944" y="356"/>
                  </a:lnTo>
                  <a:lnTo>
                    <a:pt x="1921" y="327"/>
                  </a:lnTo>
                  <a:lnTo>
                    <a:pt x="1895" y="297"/>
                  </a:lnTo>
                  <a:lnTo>
                    <a:pt x="1867" y="269"/>
                  </a:lnTo>
                  <a:lnTo>
                    <a:pt x="1838" y="242"/>
                  </a:lnTo>
                  <a:lnTo>
                    <a:pt x="1808" y="216"/>
                  </a:lnTo>
                  <a:lnTo>
                    <a:pt x="1776" y="192"/>
                  </a:lnTo>
                  <a:lnTo>
                    <a:pt x="1743" y="169"/>
                  </a:lnTo>
                  <a:lnTo>
                    <a:pt x="1709" y="146"/>
                  </a:lnTo>
                  <a:lnTo>
                    <a:pt x="1673" y="126"/>
                  </a:lnTo>
                  <a:lnTo>
                    <a:pt x="1636" y="107"/>
                  </a:lnTo>
                  <a:lnTo>
                    <a:pt x="1598" y="89"/>
                  </a:lnTo>
                  <a:lnTo>
                    <a:pt x="1559" y="72"/>
                  </a:lnTo>
                  <a:lnTo>
                    <a:pt x="1519" y="58"/>
                  </a:lnTo>
                  <a:lnTo>
                    <a:pt x="1478" y="44"/>
                  </a:lnTo>
                  <a:lnTo>
                    <a:pt x="1435" y="33"/>
                  </a:lnTo>
                  <a:lnTo>
                    <a:pt x="1393" y="23"/>
                  </a:lnTo>
                  <a:lnTo>
                    <a:pt x="1349" y="14"/>
                  </a:lnTo>
                  <a:lnTo>
                    <a:pt x="1304" y="8"/>
                  </a:lnTo>
                  <a:lnTo>
                    <a:pt x="1259" y="3"/>
                  </a:lnTo>
                  <a:lnTo>
                    <a:pt x="1214" y="1"/>
                  </a:lnTo>
                  <a:lnTo>
                    <a:pt x="1166" y="0"/>
                  </a:lnTo>
                  <a:lnTo>
                    <a:pt x="1166" y="0"/>
                  </a:lnTo>
                  <a:lnTo>
                    <a:pt x="1126" y="0"/>
                  </a:lnTo>
                  <a:lnTo>
                    <a:pt x="1087" y="3"/>
                  </a:lnTo>
                  <a:lnTo>
                    <a:pt x="1047" y="6"/>
                  </a:lnTo>
                  <a:lnTo>
                    <a:pt x="1009" y="11"/>
                  </a:lnTo>
                  <a:lnTo>
                    <a:pt x="969" y="18"/>
                  </a:lnTo>
                  <a:lnTo>
                    <a:pt x="932" y="25"/>
                  </a:lnTo>
                  <a:lnTo>
                    <a:pt x="895" y="34"/>
                  </a:lnTo>
                  <a:lnTo>
                    <a:pt x="858" y="43"/>
                  </a:lnTo>
                  <a:lnTo>
                    <a:pt x="822" y="55"/>
                  </a:lnTo>
                  <a:lnTo>
                    <a:pt x="787" y="68"/>
                  </a:lnTo>
                  <a:lnTo>
                    <a:pt x="753" y="81"/>
                  </a:lnTo>
                  <a:lnTo>
                    <a:pt x="720" y="96"/>
                  </a:lnTo>
                  <a:lnTo>
                    <a:pt x="687" y="112"/>
                  </a:lnTo>
                  <a:lnTo>
                    <a:pt x="655" y="129"/>
                  </a:lnTo>
                  <a:lnTo>
                    <a:pt x="624" y="146"/>
                  </a:lnTo>
                  <a:lnTo>
                    <a:pt x="594" y="166"/>
                  </a:lnTo>
                  <a:lnTo>
                    <a:pt x="566" y="185"/>
                  </a:lnTo>
                  <a:lnTo>
                    <a:pt x="538" y="207"/>
                  </a:lnTo>
                  <a:lnTo>
                    <a:pt x="511" y="229"/>
                  </a:lnTo>
                  <a:lnTo>
                    <a:pt x="485" y="251"/>
                  </a:lnTo>
                  <a:lnTo>
                    <a:pt x="460" y="275"/>
                  </a:lnTo>
                  <a:lnTo>
                    <a:pt x="437" y="299"/>
                  </a:lnTo>
                  <a:lnTo>
                    <a:pt x="414" y="325"/>
                  </a:lnTo>
                  <a:lnTo>
                    <a:pt x="393" y="350"/>
                  </a:lnTo>
                  <a:lnTo>
                    <a:pt x="374" y="377"/>
                  </a:lnTo>
                  <a:lnTo>
                    <a:pt x="355" y="405"/>
                  </a:lnTo>
                  <a:lnTo>
                    <a:pt x="338" y="433"/>
                  </a:lnTo>
                  <a:lnTo>
                    <a:pt x="322" y="462"/>
                  </a:lnTo>
                  <a:lnTo>
                    <a:pt x="308" y="491"/>
                  </a:lnTo>
                  <a:lnTo>
                    <a:pt x="295" y="521"/>
                  </a:lnTo>
                  <a:lnTo>
                    <a:pt x="283" y="551"/>
                  </a:lnTo>
                  <a:lnTo>
                    <a:pt x="273" y="583"/>
                  </a:lnTo>
                  <a:lnTo>
                    <a:pt x="73" y="583"/>
                  </a:lnTo>
                  <a:lnTo>
                    <a:pt x="73" y="583"/>
                  </a:lnTo>
                  <a:lnTo>
                    <a:pt x="66" y="583"/>
                  </a:lnTo>
                  <a:lnTo>
                    <a:pt x="59" y="584"/>
                  </a:lnTo>
                  <a:lnTo>
                    <a:pt x="51" y="586"/>
                  </a:lnTo>
                  <a:lnTo>
                    <a:pt x="45" y="588"/>
                  </a:lnTo>
                  <a:lnTo>
                    <a:pt x="39" y="591"/>
                  </a:lnTo>
                  <a:lnTo>
                    <a:pt x="33" y="595"/>
                  </a:lnTo>
                  <a:lnTo>
                    <a:pt x="27" y="600"/>
                  </a:lnTo>
                  <a:lnTo>
                    <a:pt x="21" y="605"/>
                  </a:lnTo>
                  <a:lnTo>
                    <a:pt x="16" y="610"/>
                  </a:lnTo>
                  <a:lnTo>
                    <a:pt x="12" y="615"/>
                  </a:lnTo>
                  <a:lnTo>
                    <a:pt x="9" y="621"/>
                  </a:lnTo>
                  <a:lnTo>
                    <a:pt x="6" y="627"/>
                  </a:lnTo>
                  <a:lnTo>
                    <a:pt x="3" y="635"/>
                  </a:lnTo>
                  <a:lnTo>
                    <a:pt x="2" y="642"/>
                  </a:lnTo>
                  <a:lnTo>
                    <a:pt x="1" y="649"/>
                  </a:lnTo>
                  <a:lnTo>
                    <a:pt x="0" y="656"/>
                  </a:lnTo>
                  <a:lnTo>
                    <a:pt x="0" y="764"/>
                  </a:lnTo>
                  <a:lnTo>
                    <a:pt x="0" y="904"/>
                  </a:lnTo>
                  <a:lnTo>
                    <a:pt x="0" y="904"/>
                  </a:lnTo>
                  <a:lnTo>
                    <a:pt x="1" y="912"/>
                  </a:lnTo>
                  <a:lnTo>
                    <a:pt x="2" y="919"/>
                  </a:lnTo>
                  <a:lnTo>
                    <a:pt x="3" y="926"/>
                  </a:lnTo>
                  <a:lnTo>
                    <a:pt x="6" y="933"/>
                  </a:lnTo>
                  <a:lnTo>
                    <a:pt x="9" y="941"/>
                  </a:lnTo>
                  <a:lnTo>
                    <a:pt x="12" y="948"/>
                  </a:lnTo>
                  <a:lnTo>
                    <a:pt x="21" y="960"/>
                  </a:lnTo>
                  <a:lnTo>
                    <a:pt x="32" y="970"/>
                  </a:lnTo>
                  <a:lnTo>
                    <a:pt x="38" y="976"/>
                  </a:lnTo>
                  <a:lnTo>
                    <a:pt x="44" y="980"/>
                  </a:lnTo>
                  <a:lnTo>
                    <a:pt x="51" y="984"/>
                  </a:lnTo>
                  <a:lnTo>
                    <a:pt x="58" y="987"/>
                  </a:lnTo>
                  <a:lnTo>
                    <a:pt x="65" y="989"/>
                  </a:lnTo>
                  <a:lnTo>
                    <a:pt x="72" y="991"/>
                  </a:lnTo>
                  <a:lnTo>
                    <a:pt x="305" y="1033"/>
                  </a:lnTo>
                  <a:lnTo>
                    <a:pt x="305" y="1033"/>
                  </a:lnTo>
                  <a:lnTo>
                    <a:pt x="315" y="1054"/>
                  </a:lnTo>
                  <a:lnTo>
                    <a:pt x="315" y="1055"/>
                  </a:lnTo>
                  <a:lnTo>
                    <a:pt x="315" y="1055"/>
                  </a:lnTo>
                  <a:lnTo>
                    <a:pt x="326" y="1076"/>
                  </a:lnTo>
                  <a:lnTo>
                    <a:pt x="338" y="1096"/>
                  </a:lnTo>
                  <a:lnTo>
                    <a:pt x="350" y="1117"/>
                  </a:lnTo>
                  <a:lnTo>
                    <a:pt x="363" y="1136"/>
                  </a:lnTo>
                  <a:lnTo>
                    <a:pt x="363" y="1136"/>
                  </a:lnTo>
                  <a:lnTo>
                    <a:pt x="364" y="1137"/>
                  </a:lnTo>
                  <a:lnTo>
                    <a:pt x="364" y="1137"/>
                  </a:lnTo>
                  <a:lnTo>
                    <a:pt x="377" y="1157"/>
                  </a:lnTo>
                  <a:lnTo>
                    <a:pt x="377" y="1157"/>
                  </a:lnTo>
                  <a:lnTo>
                    <a:pt x="377" y="1157"/>
                  </a:lnTo>
                  <a:lnTo>
                    <a:pt x="391" y="1176"/>
                  </a:lnTo>
                  <a:lnTo>
                    <a:pt x="407" y="1195"/>
                  </a:lnTo>
                  <a:lnTo>
                    <a:pt x="407" y="1196"/>
                  </a:lnTo>
                  <a:lnTo>
                    <a:pt x="407" y="1196"/>
                  </a:lnTo>
                  <a:lnTo>
                    <a:pt x="421" y="1213"/>
                  </a:lnTo>
                  <a:lnTo>
                    <a:pt x="421" y="1213"/>
                  </a:lnTo>
                  <a:lnTo>
                    <a:pt x="423" y="1216"/>
                  </a:lnTo>
                  <a:lnTo>
                    <a:pt x="423" y="1216"/>
                  </a:lnTo>
                  <a:lnTo>
                    <a:pt x="438" y="1231"/>
                  </a:lnTo>
                  <a:lnTo>
                    <a:pt x="438" y="1231"/>
                  </a:lnTo>
                  <a:lnTo>
                    <a:pt x="440" y="1233"/>
                  </a:lnTo>
                  <a:lnTo>
                    <a:pt x="440" y="1233"/>
                  </a:lnTo>
                  <a:lnTo>
                    <a:pt x="456" y="1251"/>
                  </a:lnTo>
                  <a:lnTo>
                    <a:pt x="474" y="1267"/>
                  </a:lnTo>
                  <a:lnTo>
                    <a:pt x="474" y="1267"/>
                  </a:lnTo>
                  <a:lnTo>
                    <a:pt x="474" y="1267"/>
                  </a:lnTo>
                  <a:lnTo>
                    <a:pt x="490" y="1283"/>
                  </a:lnTo>
                  <a:lnTo>
                    <a:pt x="490" y="1283"/>
                  </a:lnTo>
                  <a:lnTo>
                    <a:pt x="493" y="1286"/>
                  </a:lnTo>
                  <a:lnTo>
                    <a:pt x="493" y="1286"/>
                  </a:lnTo>
                  <a:lnTo>
                    <a:pt x="509" y="1299"/>
                  </a:lnTo>
                  <a:lnTo>
                    <a:pt x="509" y="1299"/>
                  </a:lnTo>
                  <a:lnTo>
                    <a:pt x="512" y="1301"/>
                  </a:lnTo>
                  <a:lnTo>
                    <a:pt x="512" y="1301"/>
                  </a:lnTo>
                  <a:lnTo>
                    <a:pt x="531" y="1317"/>
                  </a:lnTo>
                  <a:lnTo>
                    <a:pt x="550" y="1332"/>
                  </a:lnTo>
                  <a:lnTo>
                    <a:pt x="604" y="1632"/>
                  </a:lnTo>
                  <a:lnTo>
                    <a:pt x="604" y="1632"/>
                  </a:lnTo>
                  <a:lnTo>
                    <a:pt x="605" y="1639"/>
                  </a:lnTo>
                  <a:lnTo>
                    <a:pt x="606" y="1646"/>
                  </a:lnTo>
                  <a:lnTo>
                    <a:pt x="607" y="1652"/>
                  </a:lnTo>
                  <a:lnTo>
                    <a:pt x="610" y="1659"/>
                  </a:lnTo>
                  <a:lnTo>
                    <a:pt x="613" y="1665"/>
                  </a:lnTo>
                  <a:lnTo>
                    <a:pt x="616" y="1671"/>
                  </a:lnTo>
                  <a:lnTo>
                    <a:pt x="620" y="1676"/>
                  </a:lnTo>
                  <a:lnTo>
                    <a:pt x="624" y="1681"/>
                  </a:lnTo>
                  <a:lnTo>
                    <a:pt x="629" y="1685"/>
                  </a:lnTo>
                  <a:lnTo>
                    <a:pt x="635" y="1689"/>
                  </a:lnTo>
                  <a:lnTo>
                    <a:pt x="641" y="1694"/>
                  </a:lnTo>
                  <a:lnTo>
                    <a:pt x="647" y="1697"/>
                  </a:lnTo>
                  <a:lnTo>
                    <a:pt x="653" y="1699"/>
                  </a:lnTo>
                  <a:lnTo>
                    <a:pt x="659" y="1700"/>
                  </a:lnTo>
                  <a:lnTo>
                    <a:pt x="667" y="1701"/>
                  </a:lnTo>
                  <a:lnTo>
                    <a:pt x="674" y="1702"/>
                  </a:lnTo>
                  <a:lnTo>
                    <a:pt x="806" y="1702"/>
                  </a:lnTo>
                  <a:lnTo>
                    <a:pt x="806" y="1702"/>
                  </a:lnTo>
                  <a:lnTo>
                    <a:pt x="812" y="1701"/>
                  </a:lnTo>
                  <a:lnTo>
                    <a:pt x="819" y="1700"/>
                  </a:lnTo>
                  <a:lnTo>
                    <a:pt x="826" y="1699"/>
                  </a:lnTo>
                  <a:lnTo>
                    <a:pt x="832" y="1697"/>
                  </a:lnTo>
                  <a:lnTo>
                    <a:pt x="839" y="1694"/>
                  </a:lnTo>
                  <a:lnTo>
                    <a:pt x="844" y="1689"/>
                  </a:lnTo>
                  <a:lnTo>
                    <a:pt x="849" y="1685"/>
                  </a:lnTo>
                  <a:lnTo>
                    <a:pt x="854" y="1681"/>
                  </a:lnTo>
                  <a:lnTo>
                    <a:pt x="859" y="1676"/>
                  </a:lnTo>
                  <a:lnTo>
                    <a:pt x="863" y="1671"/>
                  </a:lnTo>
                  <a:lnTo>
                    <a:pt x="866" y="1665"/>
                  </a:lnTo>
                  <a:lnTo>
                    <a:pt x="870" y="1659"/>
                  </a:lnTo>
                  <a:lnTo>
                    <a:pt x="872" y="1652"/>
                  </a:lnTo>
                  <a:lnTo>
                    <a:pt x="874" y="1646"/>
                  </a:lnTo>
                  <a:lnTo>
                    <a:pt x="875" y="1639"/>
                  </a:lnTo>
                  <a:lnTo>
                    <a:pt x="875" y="1632"/>
                  </a:lnTo>
                  <a:lnTo>
                    <a:pt x="899" y="1496"/>
                  </a:lnTo>
                  <a:lnTo>
                    <a:pt x="899" y="1496"/>
                  </a:lnTo>
                  <a:lnTo>
                    <a:pt x="946" y="1507"/>
                  </a:lnTo>
                  <a:lnTo>
                    <a:pt x="946" y="1507"/>
                  </a:lnTo>
                  <a:lnTo>
                    <a:pt x="949" y="1507"/>
                  </a:lnTo>
                  <a:lnTo>
                    <a:pt x="949" y="1507"/>
                  </a:lnTo>
                  <a:lnTo>
                    <a:pt x="991" y="1515"/>
                  </a:lnTo>
                  <a:lnTo>
                    <a:pt x="991" y="1515"/>
                  </a:lnTo>
                  <a:lnTo>
                    <a:pt x="998" y="1516"/>
                  </a:lnTo>
                  <a:lnTo>
                    <a:pt x="998" y="1516"/>
                  </a:lnTo>
                  <a:lnTo>
                    <a:pt x="1010" y="1518"/>
                  </a:lnTo>
                  <a:lnTo>
                    <a:pt x="1010" y="1518"/>
                  </a:lnTo>
                  <a:lnTo>
                    <a:pt x="1019" y="1520"/>
                  </a:lnTo>
                  <a:lnTo>
                    <a:pt x="1019" y="1520"/>
                  </a:lnTo>
                  <a:lnTo>
                    <a:pt x="1029" y="1521"/>
                  </a:lnTo>
                  <a:lnTo>
                    <a:pt x="1029" y="1521"/>
                  </a:lnTo>
                  <a:lnTo>
                    <a:pt x="1048" y="1523"/>
                  </a:lnTo>
                  <a:lnTo>
                    <a:pt x="1048" y="1523"/>
                  </a:lnTo>
                  <a:lnTo>
                    <a:pt x="1056" y="1524"/>
                  </a:lnTo>
                  <a:lnTo>
                    <a:pt x="1056" y="1524"/>
                  </a:lnTo>
                  <a:lnTo>
                    <a:pt x="1068" y="1525"/>
                  </a:lnTo>
                  <a:lnTo>
                    <a:pt x="1068" y="1525"/>
                  </a:lnTo>
                  <a:lnTo>
                    <a:pt x="1077" y="1526"/>
                  </a:lnTo>
                  <a:lnTo>
                    <a:pt x="1077" y="1526"/>
                  </a:lnTo>
                  <a:lnTo>
                    <a:pt x="1092" y="1527"/>
                  </a:lnTo>
                  <a:lnTo>
                    <a:pt x="1092" y="1527"/>
                  </a:lnTo>
                  <a:lnTo>
                    <a:pt x="1097" y="1527"/>
                  </a:lnTo>
                  <a:lnTo>
                    <a:pt x="1097" y="1527"/>
                  </a:lnTo>
                  <a:lnTo>
                    <a:pt x="1117" y="1528"/>
                  </a:lnTo>
                  <a:lnTo>
                    <a:pt x="1117" y="1528"/>
                  </a:lnTo>
                  <a:lnTo>
                    <a:pt x="1124" y="1528"/>
                  </a:lnTo>
                  <a:lnTo>
                    <a:pt x="1124" y="1528"/>
                  </a:lnTo>
                  <a:lnTo>
                    <a:pt x="1140" y="1529"/>
                  </a:lnTo>
                  <a:lnTo>
                    <a:pt x="1140" y="1529"/>
                  </a:lnTo>
                  <a:lnTo>
                    <a:pt x="1146" y="1529"/>
                  </a:lnTo>
                  <a:lnTo>
                    <a:pt x="1146" y="1529"/>
                  </a:lnTo>
                  <a:lnTo>
                    <a:pt x="1166" y="1529"/>
                  </a:lnTo>
                  <a:lnTo>
                    <a:pt x="1166" y="1529"/>
                  </a:lnTo>
                  <a:lnTo>
                    <a:pt x="1188" y="1529"/>
                  </a:lnTo>
                  <a:lnTo>
                    <a:pt x="1188" y="1529"/>
                  </a:lnTo>
                  <a:lnTo>
                    <a:pt x="1194" y="1529"/>
                  </a:lnTo>
                  <a:lnTo>
                    <a:pt x="1194" y="1529"/>
                  </a:lnTo>
                  <a:lnTo>
                    <a:pt x="1210" y="1529"/>
                  </a:lnTo>
                  <a:lnTo>
                    <a:pt x="1210" y="1529"/>
                  </a:lnTo>
                  <a:lnTo>
                    <a:pt x="1216" y="1528"/>
                  </a:lnTo>
                  <a:lnTo>
                    <a:pt x="1216" y="1528"/>
                  </a:lnTo>
                  <a:lnTo>
                    <a:pt x="1236" y="1527"/>
                  </a:lnTo>
                  <a:lnTo>
                    <a:pt x="1236" y="1527"/>
                  </a:lnTo>
                  <a:lnTo>
                    <a:pt x="1244" y="1527"/>
                  </a:lnTo>
                  <a:lnTo>
                    <a:pt x="1244" y="1527"/>
                  </a:lnTo>
                  <a:lnTo>
                    <a:pt x="1256" y="1526"/>
                  </a:lnTo>
                  <a:lnTo>
                    <a:pt x="1256" y="1526"/>
                  </a:lnTo>
                  <a:lnTo>
                    <a:pt x="1266" y="1525"/>
                  </a:lnTo>
                  <a:lnTo>
                    <a:pt x="1266" y="1525"/>
                  </a:lnTo>
                  <a:lnTo>
                    <a:pt x="1276" y="1524"/>
                  </a:lnTo>
                  <a:lnTo>
                    <a:pt x="1276" y="1524"/>
                  </a:lnTo>
                  <a:lnTo>
                    <a:pt x="1317" y="1518"/>
                  </a:lnTo>
                  <a:lnTo>
                    <a:pt x="1317" y="1518"/>
                  </a:lnTo>
                  <a:lnTo>
                    <a:pt x="1320" y="1518"/>
                  </a:lnTo>
                  <a:lnTo>
                    <a:pt x="1320" y="1518"/>
                  </a:lnTo>
                  <a:lnTo>
                    <a:pt x="1349" y="1514"/>
                  </a:lnTo>
                  <a:lnTo>
                    <a:pt x="1377" y="1509"/>
                  </a:lnTo>
                  <a:lnTo>
                    <a:pt x="1404" y="1503"/>
                  </a:lnTo>
                  <a:lnTo>
                    <a:pt x="1432" y="1497"/>
                  </a:lnTo>
                  <a:lnTo>
                    <a:pt x="1456" y="1632"/>
                  </a:lnTo>
                  <a:lnTo>
                    <a:pt x="1456" y="1632"/>
                  </a:lnTo>
                  <a:lnTo>
                    <a:pt x="1456" y="1639"/>
                  </a:lnTo>
                  <a:lnTo>
                    <a:pt x="1457" y="1646"/>
                  </a:lnTo>
                  <a:lnTo>
                    <a:pt x="1459" y="1652"/>
                  </a:lnTo>
                  <a:lnTo>
                    <a:pt x="1461" y="1659"/>
                  </a:lnTo>
                  <a:lnTo>
                    <a:pt x="1464" y="1665"/>
                  </a:lnTo>
                  <a:lnTo>
                    <a:pt x="1468" y="1671"/>
                  </a:lnTo>
                  <a:lnTo>
                    <a:pt x="1472" y="1676"/>
                  </a:lnTo>
                  <a:lnTo>
                    <a:pt x="1476" y="1681"/>
                  </a:lnTo>
                  <a:lnTo>
                    <a:pt x="1482" y="1685"/>
                  </a:lnTo>
                  <a:lnTo>
                    <a:pt x="1487" y="1689"/>
                  </a:lnTo>
                  <a:lnTo>
                    <a:pt x="1492" y="1694"/>
                  </a:lnTo>
                  <a:lnTo>
                    <a:pt x="1498" y="1697"/>
                  </a:lnTo>
                  <a:lnTo>
                    <a:pt x="1505" y="1699"/>
                  </a:lnTo>
                  <a:lnTo>
                    <a:pt x="1512" y="1700"/>
                  </a:lnTo>
                  <a:lnTo>
                    <a:pt x="1519" y="1701"/>
                  </a:lnTo>
                  <a:lnTo>
                    <a:pt x="1526" y="1702"/>
                  </a:lnTo>
                  <a:lnTo>
                    <a:pt x="1657" y="1702"/>
                  </a:lnTo>
                  <a:lnTo>
                    <a:pt x="1657" y="1702"/>
                  </a:lnTo>
                  <a:lnTo>
                    <a:pt x="1664" y="1701"/>
                  </a:lnTo>
                  <a:lnTo>
                    <a:pt x="1671" y="1700"/>
                  </a:lnTo>
                  <a:lnTo>
                    <a:pt x="1677" y="1699"/>
                  </a:lnTo>
                  <a:lnTo>
                    <a:pt x="1684" y="1697"/>
                  </a:lnTo>
                  <a:lnTo>
                    <a:pt x="1690" y="1694"/>
                  </a:lnTo>
                  <a:lnTo>
                    <a:pt x="1696" y="1689"/>
                  </a:lnTo>
                  <a:lnTo>
                    <a:pt x="1701" y="1685"/>
                  </a:lnTo>
                  <a:lnTo>
                    <a:pt x="1706" y="1681"/>
                  </a:lnTo>
                  <a:lnTo>
                    <a:pt x="1710" y="1676"/>
                  </a:lnTo>
                  <a:lnTo>
                    <a:pt x="1715" y="1671"/>
                  </a:lnTo>
                  <a:lnTo>
                    <a:pt x="1719" y="1665"/>
                  </a:lnTo>
                  <a:lnTo>
                    <a:pt x="1721" y="1659"/>
                  </a:lnTo>
                  <a:lnTo>
                    <a:pt x="1724" y="1652"/>
                  </a:lnTo>
                  <a:lnTo>
                    <a:pt x="1725" y="1646"/>
                  </a:lnTo>
                  <a:lnTo>
                    <a:pt x="1726" y="1639"/>
                  </a:lnTo>
                  <a:lnTo>
                    <a:pt x="1727" y="1632"/>
                  </a:lnTo>
                  <a:lnTo>
                    <a:pt x="1780" y="1334"/>
                  </a:lnTo>
                  <a:lnTo>
                    <a:pt x="1780" y="1334"/>
                  </a:lnTo>
                  <a:lnTo>
                    <a:pt x="1800" y="1320"/>
                  </a:lnTo>
                  <a:lnTo>
                    <a:pt x="1819" y="1304"/>
                  </a:lnTo>
                  <a:lnTo>
                    <a:pt x="1837" y="1288"/>
                  </a:lnTo>
                  <a:lnTo>
                    <a:pt x="1855" y="1271"/>
                  </a:lnTo>
                  <a:lnTo>
                    <a:pt x="1872" y="1255"/>
                  </a:lnTo>
                  <a:lnTo>
                    <a:pt x="1890" y="1237"/>
                  </a:lnTo>
                  <a:lnTo>
                    <a:pt x="1905" y="1220"/>
                  </a:lnTo>
                  <a:lnTo>
                    <a:pt x="1921" y="1202"/>
                  </a:lnTo>
                  <a:lnTo>
                    <a:pt x="1922" y="1202"/>
                  </a:lnTo>
                  <a:lnTo>
                    <a:pt x="1922" y="1202"/>
                  </a:lnTo>
                  <a:lnTo>
                    <a:pt x="1934" y="1186"/>
                  </a:lnTo>
                  <a:lnTo>
                    <a:pt x="1935" y="1185"/>
                  </a:lnTo>
                  <a:lnTo>
                    <a:pt x="1935" y="1185"/>
                  </a:lnTo>
                  <a:lnTo>
                    <a:pt x="1946" y="1170"/>
                  </a:lnTo>
                  <a:lnTo>
                    <a:pt x="1946" y="1170"/>
                  </a:lnTo>
                  <a:lnTo>
                    <a:pt x="1948" y="1168"/>
                  </a:lnTo>
                  <a:lnTo>
                    <a:pt x="1948" y="1168"/>
                  </a:lnTo>
                  <a:lnTo>
                    <a:pt x="1959" y="1153"/>
                  </a:lnTo>
                  <a:lnTo>
                    <a:pt x="1959" y="1153"/>
                  </a:lnTo>
                  <a:lnTo>
                    <a:pt x="1961" y="1152"/>
                  </a:lnTo>
                  <a:lnTo>
                    <a:pt x="1961" y="1152"/>
                  </a:lnTo>
                  <a:lnTo>
                    <a:pt x="1971" y="1136"/>
                  </a:lnTo>
                  <a:lnTo>
                    <a:pt x="1971" y="1136"/>
                  </a:lnTo>
                  <a:lnTo>
                    <a:pt x="1972" y="1134"/>
                  </a:lnTo>
                  <a:lnTo>
                    <a:pt x="1972" y="1134"/>
                  </a:lnTo>
                  <a:lnTo>
                    <a:pt x="1982" y="1119"/>
                  </a:lnTo>
                  <a:lnTo>
                    <a:pt x="1982" y="1119"/>
                  </a:lnTo>
                  <a:lnTo>
                    <a:pt x="1983" y="1117"/>
                  </a:lnTo>
                  <a:lnTo>
                    <a:pt x="1983" y="1117"/>
                  </a:lnTo>
                  <a:lnTo>
                    <a:pt x="1993" y="1101"/>
                  </a:lnTo>
                  <a:lnTo>
                    <a:pt x="1993" y="1101"/>
                  </a:lnTo>
                  <a:lnTo>
                    <a:pt x="1994" y="1099"/>
                  </a:lnTo>
                  <a:lnTo>
                    <a:pt x="1994" y="1099"/>
                  </a:lnTo>
                  <a:lnTo>
                    <a:pt x="2004" y="1082"/>
                  </a:lnTo>
                  <a:lnTo>
                    <a:pt x="2004" y="1082"/>
                  </a:lnTo>
                  <a:lnTo>
                    <a:pt x="2004" y="1082"/>
                  </a:lnTo>
                  <a:lnTo>
                    <a:pt x="2023" y="1046"/>
                  </a:lnTo>
                  <a:lnTo>
                    <a:pt x="2031" y="1026"/>
                  </a:lnTo>
                  <a:lnTo>
                    <a:pt x="2039" y="1008"/>
                  </a:lnTo>
                  <a:lnTo>
                    <a:pt x="2039" y="1008"/>
                  </a:lnTo>
                  <a:lnTo>
                    <a:pt x="2040" y="1005"/>
                  </a:lnTo>
                  <a:lnTo>
                    <a:pt x="2040" y="1005"/>
                  </a:lnTo>
                  <a:lnTo>
                    <a:pt x="2046" y="989"/>
                  </a:lnTo>
                  <a:lnTo>
                    <a:pt x="2046" y="989"/>
                  </a:lnTo>
                  <a:lnTo>
                    <a:pt x="2047" y="985"/>
                  </a:lnTo>
                  <a:lnTo>
                    <a:pt x="2047" y="985"/>
                  </a:lnTo>
                  <a:lnTo>
                    <a:pt x="2052" y="970"/>
                  </a:lnTo>
                  <a:lnTo>
                    <a:pt x="2052" y="970"/>
                  </a:lnTo>
                  <a:lnTo>
                    <a:pt x="2055" y="964"/>
                  </a:lnTo>
                  <a:lnTo>
                    <a:pt x="2055" y="964"/>
                  </a:lnTo>
                  <a:lnTo>
                    <a:pt x="2059" y="952"/>
                  </a:lnTo>
                  <a:lnTo>
                    <a:pt x="2059" y="952"/>
                  </a:lnTo>
                  <a:lnTo>
                    <a:pt x="2061" y="945"/>
                  </a:lnTo>
                  <a:lnTo>
                    <a:pt x="2061" y="945"/>
                  </a:lnTo>
                  <a:lnTo>
                    <a:pt x="2064" y="932"/>
                  </a:lnTo>
                  <a:lnTo>
                    <a:pt x="2064" y="932"/>
                  </a:lnTo>
                  <a:lnTo>
                    <a:pt x="2066" y="925"/>
                  </a:lnTo>
                  <a:lnTo>
                    <a:pt x="2066" y="925"/>
                  </a:lnTo>
                  <a:lnTo>
                    <a:pt x="2069" y="913"/>
                  </a:lnTo>
                  <a:lnTo>
                    <a:pt x="2069" y="913"/>
                  </a:lnTo>
                  <a:lnTo>
                    <a:pt x="2071" y="906"/>
                  </a:lnTo>
                  <a:lnTo>
                    <a:pt x="2071" y="906"/>
                  </a:lnTo>
                  <a:lnTo>
                    <a:pt x="2073" y="893"/>
                  </a:lnTo>
                  <a:lnTo>
                    <a:pt x="2073" y="893"/>
                  </a:lnTo>
                  <a:lnTo>
                    <a:pt x="2075" y="886"/>
                  </a:lnTo>
                  <a:lnTo>
                    <a:pt x="2075" y="886"/>
                  </a:lnTo>
                  <a:lnTo>
                    <a:pt x="2077" y="874"/>
                  </a:lnTo>
                  <a:lnTo>
                    <a:pt x="2077" y="874"/>
                  </a:lnTo>
                  <a:lnTo>
                    <a:pt x="2078" y="865"/>
                  </a:lnTo>
                  <a:lnTo>
                    <a:pt x="2078" y="865"/>
                  </a:lnTo>
                  <a:lnTo>
                    <a:pt x="2080" y="854"/>
                  </a:lnTo>
                  <a:lnTo>
                    <a:pt x="2080" y="854"/>
                  </a:lnTo>
                  <a:lnTo>
                    <a:pt x="2081" y="846"/>
                  </a:lnTo>
                  <a:lnTo>
                    <a:pt x="2081" y="846"/>
                  </a:lnTo>
                  <a:lnTo>
                    <a:pt x="2082" y="833"/>
                  </a:lnTo>
                  <a:lnTo>
                    <a:pt x="2082" y="833"/>
                  </a:lnTo>
                  <a:lnTo>
                    <a:pt x="2083" y="825"/>
                  </a:lnTo>
                  <a:lnTo>
                    <a:pt x="2083" y="825"/>
                  </a:lnTo>
                  <a:lnTo>
                    <a:pt x="2084" y="813"/>
                  </a:lnTo>
                  <a:lnTo>
                    <a:pt x="2084" y="813"/>
                  </a:lnTo>
                  <a:lnTo>
                    <a:pt x="2085" y="806"/>
                  </a:lnTo>
                  <a:lnTo>
                    <a:pt x="2085" y="806"/>
                  </a:lnTo>
                  <a:lnTo>
                    <a:pt x="2085" y="800"/>
                  </a:lnTo>
                  <a:lnTo>
                    <a:pt x="2085" y="800"/>
                  </a:lnTo>
                  <a:lnTo>
                    <a:pt x="2108" y="799"/>
                  </a:lnTo>
                  <a:lnTo>
                    <a:pt x="2130" y="796"/>
                  </a:lnTo>
                  <a:lnTo>
                    <a:pt x="2152" y="793"/>
                  </a:lnTo>
                  <a:lnTo>
                    <a:pt x="2174" y="788"/>
                  </a:lnTo>
                  <a:lnTo>
                    <a:pt x="2174" y="788"/>
                  </a:lnTo>
                  <a:lnTo>
                    <a:pt x="2178" y="793"/>
                  </a:lnTo>
                  <a:lnTo>
                    <a:pt x="2178" y="793"/>
                  </a:lnTo>
                  <a:lnTo>
                    <a:pt x="2190" y="810"/>
                  </a:lnTo>
                  <a:lnTo>
                    <a:pt x="2203" y="823"/>
                  </a:lnTo>
                  <a:lnTo>
                    <a:pt x="2217" y="835"/>
                  </a:lnTo>
                  <a:lnTo>
                    <a:pt x="2232" y="845"/>
                  </a:lnTo>
                  <a:lnTo>
                    <a:pt x="2247" y="853"/>
                  </a:lnTo>
                  <a:lnTo>
                    <a:pt x="2264" y="858"/>
                  </a:lnTo>
                  <a:lnTo>
                    <a:pt x="2280" y="861"/>
                  </a:lnTo>
                  <a:lnTo>
                    <a:pt x="2297" y="863"/>
                  </a:lnTo>
                  <a:lnTo>
                    <a:pt x="2297" y="863"/>
                  </a:lnTo>
                  <a:lnTo>
                    <a:pt x="2310" y="862"/>
                  </a:lnTo>
                  <a:lnTo>
                    <a:pt x="2323" y="860"/>
                  </a:lnTo>
                  <a:lnTo>
                    <a:pt x="2323" y="860"/>
                  </a:lnTo>
                  <a:lnTo>
                    <a:pt x="2329" y="858"/>
                  </a:lnTo>
                  <a:lnTo>
                    <a:pt x="2334" y="855"/>
                  </a:lnTo>
                  <a:lnTo>
                    <a:pt x="2338" y="852"/>
                  </a:lnTo>
                  <a:lnTo>
                    <a:pt x="2342" y="847"/>
                  </a:lnTo>
                  <a:lnTo>
                    <a:pt x="2344" y="843"/>
                  </a:lnTo>
                  <a:lnTo>
                    <a:pt x="2346" y="837"/>
                  </a:lnTo>
                  <a:lnTo>
                    <a:pt x="2346" y="831"/>
                  </a:lnTo>
                  <a:lnTo>
                    <a:pt x="2346" y="825"/>
                  </a:lnTo>
                  <a:close/>
                  <a:moveTo>
                    <a:pt x="2210" y="627"/>
                  </a:moveTo>
                  <a:lnTo>
                    <a:pt x="2210" y="627"/>
                  </a:lnTo>
                  <a:lnTo>
                    <a:pt x="2219" y="615"/>
                  </a:lnTo>
                  <a:lnTo>
                    <a:pt x="2228" y="607"/>
                  </a:lnTo>
                  <a:lnTo>
                    <a:pt x="2233" y="603"/>
                  </a:lnTo>
                  <a:lnTo>
                    <a:pt x="2236" y="602"/>
                  </a:lnTo>
                  <a:lnTo>
                    <a:pt x="2236" y="602"/>
                  </a:lnTo>
                  <a:lnTo>
                    <a:pt x="2238" y="604"/>
                  </a:lnTo>
                  <a:lnTo>
                    <a:pt x="2240" y="608"/>
                  </a:lnTo>
                  <a:lnTo>
                    <a:pt x="2241" y="614"/>
                  </a:lnTo>
                  <a:lnTo>
                    <a:pt x="2242" y="621"/>
                  </a:lnTo>
                  <a:lnTo>
                    <a:pt x="2242" y="629"/>
                  </a:lnTo>
                  <a:lnTo>
                    <a:pt x="2241" y="640"/>
                  </a:lnTo>
                  <a:lnTo>
                    <a:pt x="2239" y="650"/>
                  </a:lnTo>
                  <a:lnTo>
                    <a:pt x="2235" y="661"/>
                  </a:lnTo>
                  <a:lnTo>
                    <a:pt x="2235" y="661"/>
                  </a:lnTo>
                  <a:lnTo>
                    <a:pt x="2235" y="662"/>
                  </a:lnTo>
                  <a:lnTo>
                    <a:pt x="2235" y="662"/>
                  </a:lnTo>
                  <a:lnTo>
                    <a:pt x="2229" y="677"/>
                  </a:lnTo>
                  <a:lnTo>
                    <a:pt x="2220" y="689"/>
                  </a:lnTo>
                  <a:lnTo>
                    <a:pt x="2212" y="701"/>
                  </a:lnTo>
                  <a:lnTo>
                    <a:pt x="2203" y="709"/>
                  </a:lnTo>
                  <a:lnTo>
                    <a:pt x="2203" y="709"/>
                  </a:lnTo>
                  <a:lnTo>
                    <a:pt x="2201" y="697"/>
                  </a:lnTo>
                  <a:lnTo>
                    <a:pt x="2199" y="686"/>
                  </a:lnTo>
                  <a:lnTo>
                    <a:pt x="2198" y="675"/>
                  </a:lnTo>
                  <a:lnTo>
                    <a:pt x="2199" y="664"/>
                  </a:lnTo>
                  <a:lnTo>
                    <a:pt x="2200" y="654"/>
                  </a:lnTo>
                  <a:lnTo>
                    <a:pt x="2202" y="645"/>
                  </a:lnTo>
                  <a:lnTo>
                    <a:pt x="2205" y="636"/>
                  </a:lnTo>
                  <a:lnTo>
                    <a:pt x="2210" y="627"/>
                  </a:lnTo>
                  <a:close/>
                </a:path>
              </a:pathLst>
            </a:custGeom>
            <a:solidFill>
              <a:srgbClr val="FAAB1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8" name="Freeform 680">
              <a:extLst>
                <a:ext uri="{FF2B5EF4-FFF2-40B4-BE49-F238E27FC236}">
                  <a16:creationId xmlns:a16="http://schemas.microsoft.com/office/drawing/2014/main" id="{71F598A3-D9B1-14DE-1868-4FC00F09BEFB}"/>
                </a:ext>
              </a:extLst>
            </p:cNvPr>
            <p:cNvSpPr>
              <a:spLocks/>
            </p:cNvSpPr>
            <p:nvPr/>
          </p:nvSpPr>
          <p:spPr bwMode="auto">
            <a:xfrm>
              <a:off x="3524251" y="5338763"/>
              <a:ext cx="466725" cy="338138"/>
            </a:xfrm>
            <a:custGeom>
              <a:avLst/>
              <a:gdLst/>
              <a:ahLst/>
              <a:cxnLst>
                <a:cxn ang="0">
                  <a:pos x="2322" y="803"/>
                </a:cxn>
                <a:cxn ang="0">
                  <a:pos x="2272" y="799"/>
                </a:cxn>
                <a:cxn ang="0">
                  <a:pos x="2229" y="763"/>
                </a:cxn>
                <a:cxn ang="0">
                  <a:pos x="2279" y="707"/>
                </a:cxn>
                <a:cxn ang="0">
                  <a:pos x="2301" y="633"/>
                </a:cxn>
                <a:cxn ang="0">
                  <a:pos x="2281" y="565"/>
                </a:cxn>
                <a:cxn ang="0">
                  <a:pos x="2231" y="543"/>
                </a:cxn>
                <a:cxn ang="0">
                  <a:pos x="2169" y="584"/>
                </a:cxn>
                <a:cxn ang="0">
                  <a:pos x="2140" y="680"/>
                </a:cxn>
                <a:cxn ang="0">
                  <a:pos x="2086" y="742"/>
                </a:cxn>
                <a:cxn ang="0">
                  <a:pos x="2007" y="452"/>
                </a:cxn>
                <a:cxn ang="0">
                  <a:pos x="1808" y="216"/>
                </a:cxn>
                <a:cxn ang="0">
                  <a:pos x="1519" y="58"/>
                </a:cxn>
                <a:cxn ang="0">
                  <a:pos x="1166" y="0"/>
                </a:cxn>
                <a:cxn ang="0">
                  <a:pos x="895" y="34"/>
                </a:cxn>
                <a:cxn ang="0">
                  <a:pos x="624" y="146"/>
                </a:cxn>
                <a:cxn ang="0">
                  <a:pos x="414" y="325"/>
                </a:cxn>
                <a:cxn ang="0">
                  <a:pos x="283" y="551"/>
                </a:cxn>
                <a:cxn ang="0">
                  <a:pos x="39" y="591"/>
                </a:cxn>
                <a:cxn ang="0">
                  <a:pos x="3" y="635"/>
                </a:cxn>
                <a:cxn ang="0">
                  <a:pos x="2" y="919"/>
                </a:cxn>
                <a:cxn ang="0">
                  <a:pos x="44" y="980"/>
                </a:cxn>
                <a:cxn ang="0">
                  <a:pos x="315" y="1055"/>
                </a:cxn>
                <a:cxn ang="0">
                  <a:pos x="364" y="1137"/>
                </a:cxn>
                <a:cxn ang="0">
                  <a:pos x="421" y="1213"/>
                </a:cxn>
                <a:cxn ang="0">
                  <a:pos x="456" y="1251"/>
                </a:cxn>
                <a:cxn ang="0">
                  <a:pos x="509" y="1299"/>
                </a:cxn>
                <a:cxn ang="0">
                  <a:pos x="605" y="1639"/>
                </a:cxn>
                <a:cxn ang="0">
                  <a:pos x="629" y="1685"/>
                </a:cxn>
                <a:cxn ang="0">
                  <a:pos x="806" y="1702"/>
                </a:cxn>
                <a:cxn ang="0">
                  <a:pos x="849" y="1685"/>
                </a:cxn>
                <a:cxn ang="0">
                  <a:pos x="875" y="1639"/>
                </a:cxn>
                <a:cxn ang="0">
                  <a:pos x="991" y="1515"/>
                </a:cxn>
                <a:cxn ang="0">
                  <a:pos x="1029" y="1521"/>
                </a:cxn>
                <a:cxn ang="0">
                  <a:pos x="1077" y="1526"/>
                </a:cxn>
                <a:cxn ang="0">
                  <a:pos x="1124" y="1528"/>
                </a:cxn>
                <a:cxn ang="0">
                  <a:pos x="1188" y="1529"/>
                </a:cxn>
                <a:cxn ang="0">
                  <a:pos x="1236" y="1527"/>
                </a:cxn>
                <a:cxn ang="0">
                  <a:pos x="1276" y="1524"/>
                </a:cxn>
                <a:cxn ang="0">
                  <a:pos x="1404" y="1503"/>
                </a:cxn>
                <a:cxn ang="0">
                  <a:pos x="1464" y="1665"/>
                </a:cxn>
                <a:cxn ang="0">
                  <a:pos x="1505" y="1699"/>
                </a:cxn>
                <a:cxn ang="0">
                  <a:pos x="1677" y="1699"/>
                </a:cxn>
                <a:cxn ang="0">
                  <a:pos x="1719" y="1665"/>
                </a:cxn>
                <a:cxn ang="0">
                  <a:pos x="1800" y="1320"/>
                </a:cxn>
                <a:cxn ang="0">
                  <a:pos x="1922" y="1202"/>
                </a:cxn>
                <a:cxn ang="0">
                  <a:pos x="1948" y="1168"/>
                </a:cxn>
                <a:cxn ang="0">
                  <a:pos x="1972" y="1134"/>
                </a:cxn>
                <a:cxn ang="0">
                  <a:pos x="1994" y="1099"/>
                </a:cxn>
                <a:cxn ang="0">
                  <a:pos x="2040" y="1005"/>
                </a:cxn>
                <a:cxn ang="0">
                  <a:pos x="2055" y="964"/>
                </a:cxn>
                <a:cxn ang="0">
                  <a:pos x="2066" y="925"/>
                </a:cxn>
                <a:cxn ang="0">
                  <a:pos x="2075" y="886"/>
                </a:cxn>
                <a:cxn ang="0">
                  <a:pos x="2081" y="846"/>
                </a:cxn>
                <a:cxn ang="0">
                  <a:pos x="2085" y="806"/>
                </a:cxn>
                <a:cxn ang="0">
                  <a:pos x="2174" y="788"/>
                </a:cxn>
                <a:cxn ang="0">
                  <a:pos x="2264" y="858"/>
                </a:cxn>
                <a:cxn ang="0">
                  <a:pos x="2334" y="855"/>
                </a:cxn>
              </a:cxnLst>
              <a:rect l="0" t="0" r="r" b="b"/>
              <a:pathLst>
                <a:path w="2346" h="1702">
                  <a:moveTo>
                    <a:pt x="2346" y="825"/>
                  </a:moveTo>
                  <a:lnTo>
                    <a:pt x="2346" y="825"/>
                  </a:lnTo>
                  <a:lnTo>
                    <a:pt x="2344" y="820"/>
                  </a:lnTo>
                  <a:lnTo>
                    <a:pt x="2341" y="815"/>
                  </a:lnTo>
                  <a:lnTo>
                    <a:pt x="2338" y="810"/>
                  </a:lnTo>
                  <a:lnTo>
                    <a:pt x="2333" y="807"/>
                  </a:lnTo>
                  <a:lnTo>
                    <a:pt x="2328" y="805"/>
                  </a:lnTo>
                  <a:lnTo>
                    <a:pt x="2322" y="803"/>
                  </a:lnTo>
                  <a:lnTo>
                    <a:pt x="2317" y="801"/>
                  </a:lnTo>
                  <a:lnTo>
                    <a:pt x="2311" y="803"/>
                  </a:lnTo>
                  <a:lnTo>
                    <a:pt x="2311" y="803"/>
                  </a:lnTo>
                  <a:lnTo>
                    <a:pt x="2304" y="804"/>
                  </a:lnTo>
                  <a:lnTo>
                    <a:pt x="2297" y="805"/>
                  </a:lnTo>
                  <a:lnTo>
                    <a:pt x="2291" y="804"/>
                  </a:lnTo>
                  <a:lnTo>
                    <a:pt x="2283" y="803"/>
                  </a:lnTo>
                  <a:lnTo>
                    <a:pt x="2272" y="799"/>
                  </a:lnTo>
                  <a:lnTo>
                    <a:pt x="2261" y="794"/>
                  </a:lnTo>
                  <a:lnTo>
                    <a:pt x="2251" y="787"/>
                  </a:lnTo>
                  <a:lnTo>
                    <a:pt x="2243" y="780"/>
                  </a:lnTo>
                  <a:lnTo>
                    <a:pt x="2235" y="772"/>
                  </a:lnTo>
                  <a:lnTo>
                    <a:pt x="2230" y="764"/>
                  </a:lnTo>
                  <a:lnTo>
                    <a:pt x="2230" y="764"/>
                  </a:lnTo>
                  <a:lnTo>
                    <a:pt x="2229" y="763"/>
                  </a:lnTo>
                  <a:lnTo>
                    <a:pt x="2229" y="763"/>
                  </a:lnTo>
                  <a:lnTo>
                    <a:pt x="2237" y="757"/>
                  </a:lnTo>
                  <a:lnTo>
                    <a:pt x="2237" y="757"/>
                  </a:lnTo>
                  <a:lnTo>
                    <a:pt x="2245" y="751"/>
                  </a:lnTo>
                  <a:lnTo>
                    <a:pt x="2252" y="743"/>
                  </a:lnTo>
                  <a:lnTo>
                    <a:pt x="2260" y="736"/>
                  </a:lnTo>
                  <a:lnTo>
                    <a:pt x="2267" y="726"/>
                  </a:lnTo>
                  <a:lnTo>
                    <a:pt x="2273" y="717"/>
                  </a:lnTo>
                  <a:lnTo>
                    <a:pt x="2279" y="707"/>
                  </a:lnTo>
                  <a:lnTo>
                    <a:pt x="2284" y="696"/>
                  </a:lnTo>
                  <a:lnTo>
                    <a:pt x="2289" y="684"/>
                  </a:lnTo>
                  <a:lnTo>
                    <a:pt x="2289" y="684"/>
                  </a:lnTo>
                  <a:lnTo>
                    <a:pt x="2294" y="674"/>
                  </a:lnTo>
                  <a:lnTo>
                    <a:pt x="2297" y="663"/>
                  </a:lnTo>
                  <a:lnTo>
                    <a:pt x="2299" y="653"/>
                  </a:lnTo>
                  <a:lnTo>
                    <a:pt x="2300" y="643"/>
                  </a:lnTo>
                  <a:lnTo>
                    <a:pt x="2301" y="633"/>
                  </a:lnTo>
                  <a:lnTo>
                    <a:pt x="2301" y="622"/>
                  </a:lnTo>
                  <a:lnTo>
                    <a:pt x="2301" y="613"/>
                  </a:lnTo>
                  <a:lnTo>
                    <a:pt x="2299" y="604"/>
                  </a:lnTo>
                  <a:lnTo>
                    <a:pt x="2297" y="594"/>
                  </a:lnTo>
                  <a:lnTo>
                    <a:pt x="2294" y="586"/>
                  </a:lnTo>
                  <a:lnTo>
                    <a:pt x="2291" y="578"/>
                  </a:lnTo>
                  <a:lnTo>
                    <a:pt x="2286" y="571"/>
                  </a:lnTo>
                  <a:lnTo>
                    <a:pt x="2281" y="565"/>
                  </a:lnTo>
                  <a:lnTo>
                    <a:pt x="2276" y="558"/>
                  </a:lnTo>
                  <a:lnTo>
                    <a:pt x="2270" y="553"/>
                  </a:lnTo>
                  <a:lnTo>
                    <a:pt x="2263" y="549"/>
                  </a:lnTo>
                  <a:lnTo>
                    <a:pt x="2263" y="549"/>
                  </a:lnTo>
                  <a:lnTo>
                    <a:pt x="2257" y="547"/>
                  </a:lnTo>
                  <a:lnTo>
                    <a:pt x="2248" y="544"/>
                  </a:lnTo>
                  <a:lnTo>
                    <a:pt x="2237" y="543"/>
                  </a:lnTo>
                  <a:lnTo>
                    <a:pt x="2231" y="543"/>
                  </a:lnTo>
                  <a:lnTo>
                    <a:pt x="2224" y="544"/>
                  </a:lnTo>
                  <a:lnTo>
                    <a:pt x="2216" y="546"/>
                  </a:lnTo>
                  <a:lnTo>
                    <a:pt x="2209" y="549"/>
                  </a:lnTo>
                  <a:lnTo>
                    <a:pt x="2202" y="553"/>
                  </a:lnTo>
                  <a:lnTo>
                    <a:pt x="2194" y="558"/>
                  </a:lnTo>
                  <a:lnTo>
                    <a:pt x="2185" y="566"/>
                  </a:lnTo>
                  <a:lnTo>
                    <a:pt x="2177" y="574"/>
                  </a:lnTo>
                  <a:lnTo>
                    <a:pt x="2169" y="584"/>
                  </a:lnTo>
                  <a:lnTo>
                    <a:pt x="2161" y="595"/>
                  </a:lnTo>
                  <a:lnTo>
                    <a:pt x="2161" y="595"/>
                  </a:lnTo>
                  <a:lnTo>
                    <a:pt x="2156" y="604"/>
                  </a:lnTo>
                  <a:lnTo>
                    <a:pt x="2152" y="611"/>
                  </a:lnTo>
                  <a:lnTo>
                    <a:pt x="2146" y="627"/>
                  </a:lnTo>
                  <a:lnTo>
                    <a:pt x="2142" y="645"/>
                  </a:lnTo>
                  <a:lnTo>
                    <a:pt x="2140" y="662"/>
                  </a:lnTo>
                  <a:lnTo>
                    <a:pt x="2140" y="680"/>
                  </a:lnTo>
                  <a:lnTo>
                    <a:pt x="2141" y="698"/>
                  </a:lnTo>
                  <a:lnTo>
                    <a:pt x="2144" y="716"/>
                  </a:lnTo>
                  <a:lnTo>
                    <a:pt x="2149" y="733"/>
                  </a:lnTo>
                  <a:lnTo>
                    <a:pt x="2149" y="733"/>
                  </a:lnTo>
                  <a:lnTo>
                    <a:pt x="2135" y="737"/>
                  </a:lnTo>
                  <a:lnTo>
                    <a:pt x="2119" y="739"/>
                  </a:lnTo>
                  <a:lnTo>
                    <a:pt x="2086" y="742"/>
                  </a:lnTo>
                  <a:lnTo>
                    <a:pt x="2086" y="742"/>
                  </a:lnTo>
                  <a:lnTo>
                    <a:pt x="2083" y="704"/>
                  </a:lnTo>
                  <a:lnTo>
                    <a:pt x="2079" y="665"/>
                  </a:lnTo>
                  <a:lnTo>
                    <a:pt x="2072" y="628"/>
                  </a:lnTo>
                  <a:lnTo>
                    <a:pt x="2063" y="591"/>
                  </a:lnTo>
                  <a:lnTo>
                    <a:pt x="2051" y="555"/>
                  </a:lnTo>
                  <a:lnTo>
                    <a:pt x="2039" y="520"/>
                  </a:lnTo>
                  <a:lnTo>
                    <a:pt x="2024" y="486"/>
                  </a:lnTo>
                  <a:lnTo>
                    <a:pt x="2007" y="452"/>
                  </a:lnTo>
                  <a:lnTo>
                    <a:pt x="1988" y="419"/>
                  </a:lnTo>
                  <a:lnTo>
                    <a:pt x="1967" y="387"/>
                  </a:lnTo>
                  <a:lnTo>
                    <a:pt x="1944" y="356"/>
                  </a:lnTo>
                  <a:lnTo>
                    <a:pt x="1921" y="327"/>
                  </a:lnTo>
                  <a:lnTo>
                    <a:pt x="1895" y="297"/>
                  </a:lnTo>
                  <a:lnTo>
                    <a:pt x="1867" y="269"/>
                  </a:lnTo>
                  <a:lnTo>
                    <a:pt x="1838" y="242"/>
                  </a:lnTo>
                  <a:lnTo>
                    <a:pt x="1808" y="216"/>
                  </a:lnTo>
                  <a:lnTo>
                    <a:pt x="1776" y="192"/>
                  </a:lnTo>
                  <a:lnTo>
                    <a:pt x="1743" y="169"/>
                  </a:lnTo>
                  <a:lnTo>
                    <a:pt x="1709" y="146"/>
                  </a:lnTo>
                  <a:lnTo>
                    <a:pt x="1673" y="126"/>
                  </a:lnTo>
                  <a:lnTo>
                    <a:pt x="1636" y="107"/>
                  </a:lnTo>
                  <a:lnTo>
                    <a:pt x="1598" y="89"/>
                  </a:lnTo>
                  <a:lnTo>
                    <a:pt x="1559" y="72"/>
                  </a:lnTo>
                  <a:lnTo>
                    <a:pt x="1519" y="58"/>
                  </a:lnTo>
                  <a:lnTo>
                    <a:pt x="1478" y="44"/>
                  </a:lnTo>
                  <a:lnTo>
                    <a:pt x="1435" y="33"/>
                  </a:lnTo>
                  <a:lnTo>
                    <a:pt x="1393" y="23"/>
                  </a:lnTo>
                  <a:lnTo>
                    <a:pt x="1349" y="14"/>
                  </a:lnTo>
                  <a:lnTo>
                    <a:pt x="1304" y="8"/>
                  </a:lnTo>
                  <a:lnTo>
                    <a:pt x="1259" y="3"/>
                  </a:lnTo>
                  <a:lnTo>
                    <a:pt x="1214" y="1"/>
                  </a:lnTo>
                  <a:lnTo>
                    <a:pt x="1166" y="0"/>
                  </a:lnTo>
                  <a:lnTo>
                    <a:pt x="1166" y="0"/>
                  </a:lnTo>
                  <a:lnTo>
                    <a:pt x="1126" y="0"/>
                  </a:lnTo>
                  <a:lnTo>
                    <a:pt x="1087" y="3"/>
                  </a:lnTo>
                  <a:lnTo>
                    <a:pt x="1047" y="6"/>
                  </a:lnTo>
                  <a:lnTo>
                    <a:pt x="1009" y="11"/>
                  </a:lnTo>
                  <a:lnTo>
                    <a:pt x="969" y="18"/>
                  </a:lnTo>
                  <a:lnTo>
                    <a:pt x="932" y="25"/>
                  </a:lnTo>
                  <a:lnTo>
                    <a:pt x="895" y="34"/>
                  </a:lnTo>
                  <a:lnTo>
                    <a:pt x="858" y="43"/>
                  </a:lnTo>
                  <a:lnTo>
                    <a:pt x="822" y="55"/>
                  </a:lnTo>
                  <a:lnTo>
                    <a:pt x="787" y="68"/>
                  </a:lnTo>
                  <a:lnTo>
                    <a:pt x="753" y="81"/>
                  </a:lnTo>
                  <a:lnTo>
                    <a:pt x="720" y="96"/>
                  </a:lnTo>
                  <a:lnTo>
                    <a:pt x="687" y="112"/>
                  </a:lnTo>
                  <a:lnTo>
                    <a:pt x="655" y="129"/>
                  </a:lnTo>
                  <a:lnTo>
                    <a:pt x="624" y="146"/>
                  </a:lnTo>
                  <a:lnTo>
                    <a:pt x="594" y="166"/>
                  </a:lnTo>
                  <a:lnTo>
                    <a:pt x="566" y="185"/>
                  </a:lnTo>
                  <a:lnTo>
                    <a:pt x="538" y="207"/>
                  </a:lnTo>
                  <a:lnTo>
                    <a:pt x="511" y="229"/>
                  </a:lnTo>
                  <a:lnTo>
                    <a:pt x="485" y="251"/>
                  </a:lnTo>
                  <a:lnTo>
                    <a:pt x="460" y="275"/>
                  </a:lnTo>
                  <a:lnTo>
                    <a:pt x="437" y="299"/>
                  </a:lnTo>
                  <a:lnTo>
                    <a:pt x="414" y="325"/>
                  </a:lnTo>
                  <a:lnTo>
                    <a:pt x="393" y="350"/>
                  </a:lnTo>
                  <a:lnTo>
                    <a:pt x="374" y="377"/>
                  </a:lnTo>
                  <a:lnTo>
                    <a:pt x="355" y="405"/>
                  </a:lnTo>
                  <a:lnTo>
                    <a:pt x="338" y="433"/>
                  </a:lnTo>
                  <a:lnTo>
                    <a:pt x="322" y="462"/>
                  </a:lnTo>
                  <a:lnTo>
                    <a:pt x="308" y="491"/>
                  </a:lnTo>
                  <a:lnTo>
                    <a:pt x="295" y="521"/>
                  </a:lnTo>
                  <a:lnTo>
                    <a:pt x="283" y="551"/>
                  </a:lnTo>
                  <a:lnTo>
                    <a:pt x="273" y="583"/>
                  </a:lnTo>
                  <a:lnTo>
                    <a:pt x="73" y="583"/>
                  </a:lnTo>
                  <a:lnTo>
                    <a:pt x="73" y="583"/>
                  </a:lnTo>
                  <a:lnTo>
                    <a:pt x="66" y="583"/>
                  </a:lnTo>
                  <a:lnTo>
                    <a:pt x="59" y="584"/>
                  </a:lnTo>
                  <a:lnTo>
                    <a:pt x="51" y="586"/>
                  </a:lnTo>
                  <a:lnTo>
                    <a:pt x="45" y="588"/>
                  </a:lnTo>
                  <a:lnTo>
                    <a:pt x="39" y="591"/>
                  </a:lnTo>
                  <a:lnTo>
                    <a:pt x="33" y="595"/>
                  </a:lnTo>
                  <a:lnTo>
                    <a:pt x="27" y="600"/>
                  </a:lnTo>
                  <a:lnTo>
                    <a:pt x="21" y="605"/>
                  </a:lnTo>
                  <a:lnTo>
                    <a:pt x="16" y="610"/>
                  </a:lnTo>
                  <a:lnTo>
                    <a:pt x="12" y="615"/>
                  </a:lnTo>
                  <a:lnTo>
                    <a:pt x="9" y="621"/>
                  </a:lnTo>
                  <a:lnTo>
                    <a:pt x="6" y="627"/>
                  </a:lnTo>
                  <a:lnTo>
                    <a:pt x="3" y="635"/>
                  </a:lnTo>
                  <a:lnTo>
                    <a:pt x="2" y="642"/>
                  </a:lnTo>
                  <a:lnTo>
                    <a:pt x="1" y="649"/>
                  </a:lnTo>
                  <a:lnTo>
                    <a:pt x="0" y="656"/>
                  </a:lnTo>
                  <a:lnTo>
                    <a:pt x="0" y="764"/>
                  </a:lnTo>
                  <a:lnTo>
                    <a:pt x="0" y="904"/>
                  </a:lnTo>
                  <a:lnTo>
                    <a:pt x="0" y="904"/>
                  </a:lnTo>
                  <a:lnTo>
                    <a:pt x="1" y="912"/>
                  </a:lnTo>
                  <a:lnTo>
                    <a:pt x="2" y="919"/>
                  </a:lnTo>
                  <a:lnTo>
                    <a:pt x="3" y="926"/>
                  </a:lnTo>
                  <a:lnTo>
                    <a:pt x="6" y="933"/>
                  </a:lnTo>
                  <a:lnTo>
                    <a:pt x="9" y="941"/>
                  </a:lnTo>
                  <a:lnTo>
                    <a:pt x="12" y="948"/>
                  </a:lnTo>
                  <a:lnTo>
                    <a:pt x="21" y="960"/>
                  </a:lnTo>
                  <a:lnTo>
                    <a:pt x="32" y="970"/>
                  </a:lnTo>
                  <a:lnTo>
                    <a:pt x="38" y="976"/>
                  </a:lnTo>
                  <a:lnTo>
                    <a:pt x="44" y="980"/>
                  </a:lnTo>
                  <a:lnTo>
                    <a:pt x="51" y="984"/>
                  </a:lnTo>
                  <a:lnTo>
                    <a:pt x="58" y="987"/>
                  </a:lnTo>
                  <a:lnTo>
                    <a:pt x="65" y="989"/>
                  </a:lnTo>
                  <a:lnTo>
                    <a:pt x="72" y="991"/>
                  </a:lnTo>
                  <a:lnTo>
                    <a:pt x="305" y="1033"/>
                  </a:lnTo>
                  <a:lnTo>
                    <a:pt x="305" y="1033"/>
                  </a:lnTo>
                  <a:lnTo>
                    <a:pt x="315" y="1054"/>
                  </a:lnTo>
                  <a:lnTo>
                    <a:pt x="315" y="1055"/>
                  </a:lnTo>
                  <a:lnTo>
                    <a:pt x="315" y="1055"/>
                  </a:lnTo>
                  <a:lnTo>
                    <a:pt x="326" y="1076"/>
                  </a:lnTo>
                  <a:lnTo>
                    <a:pt x="338" y="1096"/>
                  </a:lnTo>
                  <a:lnTo>
                    <a:pt x="350" y="1117"/>
                  </a:lnTo>
                  <a:lnTo>
                    <a:pt x="363" y="1136"/>
                  </a:lnTo>
                  <a:lnTo>
                    <a:pt x="363" y="1136"/>
                  </a:lnTo>
                  <a:lnTo>
                    <a:pt x="364" y="1137"/>
                  </a:lnTo>
                  <a:lnTo>
                    <a:pt x="364" y="1137"/>
                  </a:lnTo>
                  <a:lnTo>
                    <a:pt x="377" y="1157"/>
                  </a:lnTo>
                  <a:lnTo>
                    <a:pt x="377" y="1157"/>
                  </a:lnTo>
                  <a:lnTo>
                    <a:pt x="377" y="1157"/>
                  </a:lnTo>
                  <a:lnTo>
                    <a:pt x="391" y="1176"/>
                  </a:lnTo>
                  <a:lnTo>
                    <a:pt x="407" y="1195"/>
                  </a:lnTo>
                  <a:lnTo>
                    <a:pt x="407" y="1196"/>
                  </a:lnTo>
                  <a:lnTo>
                    <a:pt x="407" y="1196"/>
                  </a:lnTo>
                  <a:lnTo>
                    <a:pt x="421" y="1213"/>
                  </a:lnTo>
                  <a:lnTo>
                    <a:pt x="421" y="1213"/>
                  </a:lnTo>
                  <a:lnTo>
                    <a:pt x="423" y="1216"/>
                  </a:lnTo>
                  <a:lnTo>
                    <a:pt x="423" y="1216"/>
                  </a:lnTo>
                  <a:lnTo>
                    <a:pt x="438" y="1231"/>
                  </a:lnTo>
                  <a:lnTo>
                    <a:pt x="438" y="1231"/>
                  </a:lnTo>
                  <a:lnTo>
                    <a:pt x="440" y="1233"/>
                  </a:lnTo>
                  <a:lnTo>
                    <a:pt x="440" y="1233"/>
                  </a:lnTo>
                  <a:lnTo>
                    <a:pt x="456" y="1251"/>
                  </a:lnTo>
                  <a:lnTo>
                    <a:pt x="474" y="1267"/>
                  </a:lnTo>
                  <a:lnTo>
                    <a:pt x="474" y="1267"/>
                  </a:lnTo>
                  <a:lnTo>
                    <a:pt x="474" y="1267"/>
                  </a:lnTo>
                  <a:lnTo>
                    <a:pt x="490" y="1283"/>
                  </a:lnTo>
                  <a:lnTo>
                    <a:pt x="490" y="1283"/>
                  </a:lnTo>
                  <a:lnTo>
                    <a:pt x="493" y="1286"/>
                  </a:lnTo>
                  <a:lnTo>
                    <a:pt x="493" y="1286"/>
                  </a:lnTo>
                  <a:lnTo>
                    <a:pt x="509" y="1299"/>
                  </a:lnTo>
                  <a:lnTo>
                    <a:pt x="509" y="1299"/>
                  </a:lnTo>
                  <a:lnTo>
                    <a:pt x="512" y="1301"/>
                  </a:lnTo>
                  <a:lnTo>
                    <a:pt x="512" y="1301"/>
                  </a:lnTo>
                  <a:lnTo>
                    <a:pt x="531" y="1317"/>
                  </a:lnTo>
                  <a:lnTo>
                    <a:pt x="550" y="1332"/>
                  </a:lnTo>
                  <a:lnTo>
                    <a:pt x="604" y="1632"/>
                  </a:lnTo>
                  <a:lnTo>
                    <a:pt x="604" y="1632"/>
                  </a:lnTo>
                  <a:lnTo>
                    <a:pt x="605" y="1639"/>
                  </a:lnTo>
                  <a:lnTo>
                    <a:pt x="606" y="1646"/>
                  </a:lnTo>
                  <a:lnTo>
                    <a:pt x="607" y="1652"/>
                  </a:lnTo>
                  <a:lnTo>
                    <a:pt x="610" y="1659"/>
                  </a:lnTo>
                  <a:lnTo>
                    <a:pt x="613" y="1665"/>
                  </a:lnTo>
                  <a:lnTo>
                    <a:pt x="616" y="1671"/>
                  </a:lnTo>
                  <a:lnTo>
                    <a:pt x="620" y="1676"/>
                  </a:lnTo>
                  <a:lnTo>
                    <a:pt x="624" y="1681"/>
                  </a:lnTo>
                  <a:lnTo>
                    <a:pt x="629" y="1685"/>
                  </a:lnTo>
                  <a:lnTo>
                    <a:pt x="635" y="1689"/>
                  </a:lnTo>
                  <a:lnTo>
                    <a:pt x="641" y="1694"/>
                  </a:lnTo>
                  <a:lnTo>
                    <a:pt x="647" y="1697"/>
                  </a:lnTo>
                  <a:lnTo>
                    <a:pt x="653" y="1699"/>
                  </a:lnTo>
                  <a:lnTo>
                    <a:pt x="659" y="1700"/>
                  </a:lnTo>
                  <a:lnTo>
                    <a:pt x="667" y="1701"/>
                  </a:lnTo>
                  <a:lnTo>
                    <a:pt x="674" y="1702"/>
                  </a:lnTo>
                  <a:lnTo>
                    <a:pt x="806" y="1702"/>
                  </a:lnTo>
                  <a:lnTo>
                    <a:pt x="806" y="1702"/>
                  </a:lnTo>
                  <a:lnTo>
                    <a:pt x="812" y="1701"/>
                  </a:lnTo>
                  <a:lnTo>
                    <a:pt x="819" y="1700"/>
                  </a:lnTo>
                  <a:lnTo>
                    <a:pt x="826" y="1699"/>
                  </a:lnTo>
                  <a:lnTo>
                    <a:pt x="832" y="1697"/>
                  </a:lnTo>
                  <a:lnTo>
                    <a:pt x="839" y="1694"/>
                  </a:lnTo>
                  <a:lnTo>
                    <a:pt x="844" y="1689"/>
                  </a:lnTo>
                  <a:lnTo>
                    <a:pt x="849" y="1685"/>
                  </a:lnTo>
                  <a:lnTo>
                    <a:pt x="854" y="1681"/>
                  </a:lnTo>
                  <a:lnTo>
                    <a:pt x="859" y="1676"/>
                  </a:lnTo>
                  <a:lnTo>
                    <a:pt x="863" y="1671"/>
                  </a:lnTo>
                  <a:lnTo>
                    <a:pt x="866" y="1665"/>
                  </a:lnTo>
                  <a:lnTo>
                    <a:pt x="870" y="1659"/>
                  </a:lnTo>
                  <a:lnTo>
                    <a:pt x="872" y="1652"/>
                  </a:lnTo>
                  <a:lnTo>
                    <a:pt x="874" y="1646"/>
                  </a:lnTo>
                  <a:lnTo>
                    <a:pt x="875" y="1639"/>
                  </a:lnTo>
                  <a:lnTo>
                    <a:pt x="875" y="1632"/>
                  </a:lnTo>
                  <a:lnTo>
                    <a:pt x="899" y="1496"/>
                  </a:lnTo>
                  <a:lnTo>
                    <a:pt x="899" y="1496"/>
                  </a:lnTo>
                  <a:lnTo>
                    <a:pt x="946" y="1507"/>
                  </a:lnTo>
                  <a:lnTo>
                    <a:pt x="946" y="1507"/>
                  </a:lnTo>
                  <a:lnTo>
                    <a:pt x="949" y="1507"/>
                  </a:lnTo>
                  <a:lnTo>
                    <a:pt x="949" y="1507"/>
                  </a:lnTo>
                  <a:lnTo>
                    <a:pt x="991" y="1515"/>
                  </a:lnTo>
                  <a:lnTo>
                    <a:pt x="991" y="1515"/>
                  </a:lnTo>
                  <a:lnTo>
                    <a:pt x="998" y="1516"/>
                  </a:lnTo>
                  <a:lnTo>
                    <a:pt x="998" y="1516"/>
                  </a:lnTo>
                  <a:lnTo>
                    <a:pt x="1010" y="1518"/>
                  </a:lnTo>
                  <a:lnTo>
                    <a:pt x="1010" y="1518"/>
                  </a:lnTo>
                  <a:lnTo>
                    <a:pt x="1019" y="1520"/>
                  </a:lnTo>
                  <a:lnTo>
                    <a:pt x="1019" y="1520"/>
                  </a:lnTo>
                  <a:lnTo>
                    <a:pt x="1029" y="1521"/>
                  </a:lnTo>
                  <a:lnTo>
                    <a:pt x="1029" y="1521"/>
                  </a:lnTo>
                  <a:lnTo>
                    <a:pt x="1048" y="1523"/>
                  </a:lnTo>
                  <a:lnTo>
                    <a:pt x="1048" y="1523"/>
                  </a:lnTo>
                  <a:lnTo>
                    <a:pt x="1056" y="1524"/>
                  </a:lnTo>
                  <a:lnTo>
                    <a:pt x="1056" y="1524"/>
                  </a:lnTo>
                  <a:lnTo>
                    <a:pt x="1068" y="1525"/>
                  </a:lnTo>
                  <a:lnTo>
                    <a:pt x="1068" y="1525"/>
                  </a:lnTo>
                  <a:lnTo>
                    <a:pt x="1077" y="1526"/>
                  </a:lnTo>
                  <a:lnTo>
                    <a:pt x="1077" y="1526"/>
                  </a:lnTo>
                  <a:lnTo>
                    <a:pt x="1092" y="1527"/>
                  </a:lnTo>
                  <a:lnTo>
                    <a:pt x="1092" y="1527"/>
                  </a:lnTo>
                  <a:lnTo>
                    <a:pt x="1097" y="1527"/>
                  </a:lnTo>
                  <a:lnTo>
                    <a:pt x="1097" y="1527"/>
                  </a:lnTo>
                  <a:lnTo>
                    <a:pt x="1117" y="1528"/>
                  </a:lnTo>
                  <a:lnTo>
                    <a:pt x="1117" y="1528"/>
                  </a:lnTo>
                  <a:lnTo>
                    <a:pt x="1124" y="1528"/>
                  </a:lnTo>
                  <a:lnTo>
                    <a:pt x="1124" y="1528"/>
                  </a:lnTo>
                  <a:lnTo>
                    <a:pt x="1140" y="1529"/>
                  </a:lnTo>
                  <a:lnTo>
                    <a:pt x="1140" y="1529"/>
                  </a:lnTo>
                  <a:lnTo>
                    <a:pt x="1146" y="1529"/>
                  </a:lnTo>
                  <a:lnTo>
                    <a:pt x="1146" y="1529"/>
                  </a:lnTo>
                  <a:lnTo>
                    <a:pt x="1166" y="1529"/>
                  </a:lnTo>
                  <a:lnTo>
                    <a:pt x="1166" y="1529"/>
                  </a:lnTo>
                  <a:lnTo>
                    <a:pt x="1188" y="1529"/>
                  </a:lnTo>
                  <a:lnTo>
                    <a:pt x="1188" y="1529"/>
                  </a:lnTo>
                  <a:lnTo>
                    <a:pt x="1194" y="1529"/>
                  </a:lnTo>
                  <a:lnTo>
                    <a:pt x="1194" y="1529"/>
                  </a:lnTo>
                  <a:lnTo>
                    <a:pt x="1210" y="1529"/>
                  </a:lnTo>
                  <a:lnTo>
                    <a:pt x="1210" y="1529"/>
                  </a:lnTo>
                  <a:lnTo>
                    <a:pt x="1216" y="1528"/>
                  </a:lnTo>
                  <a:lnTo>
                    <a:pt x="1216" y="1528"/>
                  </a:lnTo>
                  <a:lnTo>
                    <a:pt x="1236" y="1527"/>
                  </a:lnTo>
                  <a:lnTo>
                    <a:pt x="1236" y="1527"/>
                  </a:lnTo>
                  <a:lnTo>
                    <a:pt x="1244" y="1527"/>
                  </a:lnTo>
                  <a:lnTo>
                    <a:pt x="1244" y="1527"/>
                  </a:lnTo>
                  <a:lnTo>
                    <a:pt x="1256" y="1526"/>
                  </a:lnTo>
                  <a:lnTo>
                    <a:pt x="1256" y="1526"/>
                  </a:lnTo>
                  <a:lnTo>
                    <a:pt x="1266" y="1525"/>
                  </a:lnTo>
                  <a:lnTo>
                    <a:pt x="1266" y="1525"/>
                  </a:lnTo>
                  <a:lnTo>
                    <a:pt x="1276" y="1524"/>
                  </a:lnTo>
                  <a:lnTo>
                    <a:pt x="1276" y="1524"/>
                  </a:lnTo>
                  <a:lnTo>
                    <a:pt x="1317" y="1518"/>
                  </a:lnTo>
                  <a:lnTo>
                    <a:pt x="1317" y="1518"/>
                  </a:lnTo>
                  <a:lnTo>
                    <a:pt x="1320" y="1518"/>
                  </a:lnTo>
                  <a:lnTo>
                    <a:pt x="1320" y="1518"/>
                  </a:lnTo>
                  <a:lnTo>
                    <a:pt x="1349" y="1514"/>
                  </a:lnTo>
                  <a:lnTo>
                    <a:pt x="1377" y="1509"/>
                  </a:lnTo>
                  <a:lnTo>
                    <a:pt x="1404" y="1503"/>
                  </a:lnTo>
                  <a:lnTo>
                    <a:pt x="1432" y="1497"/>
                  </a:lnTo>
                  <a:lnTo>
                    <a:pt x="1456" y="1632"/>
                  </a:lnTo>
                  <a:lnTo>
                    <a:pt x="1456" y="1632"/>
                  </a:lnTo>
                  <a:lnTo>
                    <a:pt x="1456" y="1639"/>
                  </a:lnTo>
                  <a:lnTo>
                    <a:pt x="1457" y="1646"/>
                  </a:lnTo>
                  <a:lnTo>
                    <a:pt x="1459" y="1652"/>
                  </a:lnTo>
                  <a:lnTo>
                    <a:pt x="1461" y="1659"/>
                  </a:lnTo>
                  <a:lnTo>
                    <a:pt x="1464" y="1665"/>
                  </a:lnTo>
                  <a:lnTo>
                    <a:pt x="1468" y="1671"/>
                  </a:lnTo>
                  <a:lnTo>
                    <a:pt x="1472" y="1676"/>
                  </a:lnTo>
                  <a:lnTo>
                    <a:pt x="1476" y="1681"/>
                  </a:lnTo>
                  <a:lnTo>
                    <a:pt x="1482" y="1685"/>
                  </a:lnTo>
                  <a:lnTo>
                    <a:pt x="1487" y="1689"/>
                  </a:lnTo>
                  <a:lnTo>
                    <a:pt x="1492" y="1694"/>
                  </a:lnTo>
                  <a:lnTo>
                    <a:pt x="1498" y="1697"/>
                  </a:lnTo>
                  <a:lnTo>
                    <a:pt x="1505" y="1699"/>
                  </a:lnTo>
                  <a:lnTo>
                    <a:pt x="1512" y="1700"/>
                  </a:lnTo>
                  <a:lnTo>
                    <a:pt x="1519" y="1701"/>
                  </a:lnTo>
                  <a:lnTo>
                    <a:pt x="1526" y="1702"/>
                  </a:lnTo>
                  <a:lnTo>
                    <a:pt x="1657" y="1702"/>
                  </a:lnTo>
                  <a:lnTo>
                    <a:pt x="1657" y="1702"/>
                  </a:lnTo>
                  <a:lnTo>
                    <a:pt x="1664" y="1701"/>
                  </a:lnTo>
                  <a:lnTo>
                    <a:pt x="1671" y="1700"/>
                  </a:lnTo>
                  <a:lnTo>
                    <a:pt x="1677" y="1699"/>
                  </a:lnTo>
                  <a:lnTo>
                    <a:pt x="1684" y="1697"/>
                  </a:lnTo>
                  <a:lnTo>
                    <a:pt x="1690" y="1694"/>
                  </a:lnTo>
                  <a:lnTo>
                    <a:pt x="1696" y="1689"/>
                  </a:lnTo>
                  <a:lnTo>
                    <a:pt x="1701" y="1685"/>
                  </a:lnTo>
                  <a:lnTo>
                    <a:pt x="1706" y="1681"/>
                  </a:lnTo>
                  <a:lnTo>
                    <a:pt x="1710" y="1676"/>
                  </a:lnTo>
                  <a:lnTo>
                    <a:pt x="1715" y="1671"/>
                  </a:lnTo>
                  <a:lnTo>
                    <a:pt x="1719" y="1665"/>
                  </a:lnTo>
                  <a:lnTo>
                    <a:pt x="1721" y="1659"/>
                  </a:lnTo>
                  <a:lnTo>
                    <a:pt x="1724" y="1652"/>
                  </a:lnTo>
                  <a:lnTo>
                    <a:pt x="1725" y="1646"/>
                  </a:lnTo>
                  <a:lnTo>
                    <a:pt x="1726" y="1639"/>
                  </a:lnTo>
                  <a:lnTo>
                    <a:pt x="1727" y="1632"/>
                  </a:lnTo>
                  <a:lnTo>
                    <a:pt x="1780" y="1334"/>
                  </a:lnTo>
                  <a:lnTo>
                    <a:pt x="1780" y="1334"/>
                  </a:lnTo>
                  <a:lnTo>
                    <a:pt x="1800" y="1320"/>
                  </a:lnTo>
                  <a:lnTo>
                    <a:pt x="1819" y="1304"/>
                  </a:lnTo>
                  <a:lnTo>
                    <a:pt x="1837" y="1288"/>
                  </a:lnTo>
                  <a:lnTo>
                    <a:pt x="1855" y="1271"/>
                  </a:lnTo>
                  <a:lnTo>
                    <a:pt x="1872" y="1255"/>
                  </a:lnTo>
                  <a:lnTo>
                    <a:pt x="1890" y="1237"/>
                  </a:lnTo>
                  <a:lnTo>
                    <a:pt x="1905" y="1220"/>
                  </a:lnTo>
                  <a:lnTo>
                    <a:pt x="1921" y="1202"/>
                  </a:lnTo>
                  <a:lnTo>
                    <a:pt x="1922" y="1202"/>
                  </a:lnTo>
                  <a:lnTo>
                    <a:pt x="1922" y="1202"/>
                  </a:lnTo>
                  <a:lnTo>
                    <a:pt x="1934" y="1186"/>
                  </a:lnTo>
                  <a:lnTo>
                    <a:pt x="1935" y="1185"/>
                  </a:lnTo>
                  <a:lnTo>
                    <a:pt x="1935" y="1185"/>
                  </a:lnTo>
                  <a:lnTo>
                    <a:pt x="1946" y="1170"/>
                  </a:lnTo>
                  <a:lnTo>
                    <a:pt x="1946" y="1170"/>
                  </a:lnTo>
                  <a:lnTo>
                    <a:pt x="1948" y="1168"/>
                  </a:lnTo>
                  <a:lnTo>
                    <a:pt x="1948" y="1168"/>
                  </a:lnTo>
                  <a:lnTo>
                    <a:pt x="1959" y="1153"/>
                  </a:lnTo>
                  <a:lnTo>
                    <a:pt x="1959" y="1153"/>
                  </a:lnTo>
                  <a:lnTo>
                    <a:pt x="1961" y="1152"/>
                  </a:lnTo>
                  <a:lnTo>
                    <a:pt x="1961" y="1152"/>
                  </a:lnTo>
                  <a:lnTo>
                    <a:pt x="1971" y="1136"/>
                  </a:lnTo>
                  <a:lnTo>
                    <a:pt x="1971" y="1136"/>
                  </a:lnTo>
                  <a:lnTo>
                    <a:pt x="1972" y="1134"/>
                  </a:lnTo>
                  <a:lnTo>
                    <a:pt x="1972" y="1134"/>
                  </a:lnTo>
                  <a:lnTo>
                    <a:pt x="1982" y="1119"/>
                  </a:lnTo>
                  <a:lnTo>
                    <a:pt x="1982" y="1119"/>
                  </a:lnTo>
                  <a:lnTo>
                    <a:pt x="1983" y="1117"/>
                  </a:lnTo>
                  <a:lnTo>
                    <a:pt x="1983" y="1117"/>
                  </a:lnTo>
                  <a:lnTo>
                    <a:pt x="1993" y="1101"/>
                  </a:lnTo>
                  <a:lnTo>
                    <a:pt x="1993" y="1101"/>
                  </a:lnTo>
                  <a:lnTo>
                    <a:pt x="1994" y="1099"/>
                  </a:lnTo>
                  <a:lnTo>
                    <a:pt x="1994" y="1099"/>
                  </a:lnTo>
                  <a:lnTo>
                    <a:pt x="2004" y="1082"/>
                  </a:lnTo>
                  <a:lnTo>
                    <a:pt x="2004" y="1082"/>
                  </a:lnTo>
                  <a:lnTo>
                    <a:pt x="2004" y="1082"/>
                  </a:lnTo>
                  <a:lnTo>
                    <a:pt x="2023" y="1046"/>
                  </a:lnTo>
                  <a:lnTo>
                    <a:pt x="2031" y="1026"/>
                  </a:lnTo>
                  <a:lnTo>
                    <a:pt x="2039" y="1008"/>
                  </a:lnTo>
                  <a:lnTo>
                    <a:pt x="2039" y="1008"/>
                  </a:lnTo>
                  <a:lnTo>
                    <a:pt x="2040" y="1005"/>
                  </a:lnTo>
                  <a:lnTo>
                    <a:pt x="2040" y="1005"/>
                  </a:lnTo>
                  <a:lnTo>
                    <a:pt x="2046" y="989"/>
                  </a:lnTo>
                  <a:lnTo>
                    <a:pt x="2046" y="989"/>
                  </a:lnTo>
                  <a:lnTo>
                    <a:pt x="2047" y="985"/>
                  </a:lnTo>
                  <a:lnTo>
                    <a:pt x="2047" y="985"/>
                  </a:lnTo>
                  <a:lnTo>
                    <a:pt x="2052" y="970"/>
                  </a:lnTo>
                  <a:lnTo>
                    <a:pt x="2052" y="970"/>
                  </a:lnTo>
                  <a:lnTo>
                    <a:pt x="2055" y="964"/>
                  </a:lnTo>
                  <a:lnTo>
                    <a:pt x="2055" y="964"/>
                  </a:lnTo>
                  <a:lnTo>
                    <a:pt x="2059" y="952"/>
                  </a:lnTo>
                  <a:lnTo>
                    <a:pt x="2059" y="952"/>
                  </a:lnTo>
                  <a:lnTo>
                    <a:pt x="2061" y="945"/>
                  </a:lnTo>
                  <a:lnTo>
                    <a:pt x="2061" y="945"/>
                  </a:lnTo>
                  <a:lnTo>
                    <a:pt x="2064" y="932"/>
                  </a:lnTo>
                  <a:lnTo>
                    <a:pt x="2064" y="932"/>
                  </a:lnTo>
                  <a:lnTo>
                    <a:pt x="2066" y="925"/>
                  </a:lnTo>
                  <a:lnTo>
                    <a:pt x="2066" y="925"/>
                  </a:lnTo>
                  <a:lnTo>
                    <a:pt x="2069" y="913"/>
                  </a:lnTo>
                  <a:lnTo>
                    <a:pt x="2069" y="913"/>
                  </a:lnTo>
                  <a:lnTo>
                    <a:pt x="2071" y="906"/>
                  </a:lnTo>
                  <a:lnTo>
                    <a:pt x="2071" y="906"/>
                  </a:lnTo>
                  <a:lnTo>
                    <a:pt x="2073" y="893"/>
                  </a:lnTo>
                  <a:lnTo>
                    <a:pt x="2073" y="893"/>
                  </a:lnTo>
                  <a:lnTo>
                    <a:pt x="2075" y="886"/>
                  </a:lnTo>
                  <a:lnTo>
                    <a:pt x="2075" y="886"/>
                  </a:lnTo>
                  <a:lnTo>
                    <a:pt x="2077" y="874"/>
                  </a:lnTo>
                  <a:lnTo>
                    <a:pt x="2077" y="874"/>
                  </a:lnTo>
                  <a:lnTo>
                    <a:pt x="2078" y="865"/>
                  </a:lnTo>
                  <a:lnTo>
                    <a:pt x="2078" y="865"/>
                  </a:lnTo>
                  <a:lnTo>
                    <a:pt x="2080" y="854"/>
                  </a:lnTo>
                  <a:lnTo>
                    <a:pt x="2080" y="854"/>
                  </a:lnTo>
                  <a:lnTo>
                    <a:pt x="2081" y="846"/>
                  </a:lnTo>
                  <a:lnTo>
                    <a:pt x="2081" y="846"/>
                  </a:lnTo>
                  <a:lnTo>
                    <a:pt x="2082" y="833"/>
                  </a:lnTo>
                  <a:lnTo>
                    <a:pt x="2082" y="833"/>
                  </a:lnTo>
                  <a:lnTo>
                    <a:pt x="2083" y="825"/>
                  </a:lnTo>
                  <a:lnTo>
                    <a:pt x="2083" y="825"/>
                  </a:lnTo>
                  <a:lnTo>
                    <a:pt x="2084" y="813"/>
                  </a:lnTo>
                  <a:lnTo>
                    <a:pt x="2084" y="813"/>
                  </a:lnTo>
                  <a:lnTo>
                    <a:pt x="2085" y="806"/>
                  </a:lnTo>
                  <a:lnTo>
                    <a:pt x="2085" y="806"/>
                  </a:lnTo>
                  <a:lnTo>
                    <a:pt x="2085" y="800"/>
                  </a:lnTo>
                  <a:lnTo>
                    <a:pt x="2085" y="800"/>
                  </a:lnTo>
                  <a:lnTo>
                    <a:pt x="2108" y="799"/>
                  </a:lnTo>
                  <a:lnTo>
                    <a:pt x="2130" y="796"/>
                  </a:lnTo>
                  <a:lnTo>
                    <a:pt x="2152" y="793"/>
                  </a:lnTo>
                  <a:lnTo>
                    <a:pt x="2174" y="788"/>
                  </a:lnTo>
                  <a:lnTo>
                    <a:pt x="2174" y="788"/>
                  </a:lnTo>
                  <a:lnTo>
                    <a:pt x="2178" y="793"/>
                  </a:lnTo>
                  <a:lnTo>
                    <a:pt x="2178" y="793"/>
                  </a:lnTo>
                  <a:lnTo>
                    <a:pt x="2190" y="810"/>
                  </a:lnTo>
                  <a:lnTo>
                    <a:pt x="2203" y="823"/>
                  </a:lnTo>
                  <a:lnTo>
                    <a:pt x="2217" y="835"/>
                  </a:lnTo>
                  <a:lnTo>
                    <a:pt x="2232" y="845"/>
                  </a:lnTo>
                  <a:lnTo>
                    <a:pt x="2247" y="853"/>
                  </a:lnTo>
                  <a:lnTo>
                    <a:pt x="2264" y="858"/>
                  </a:lnTo>
                  <a:lnTo>
                    <a:pt x="2280" y="861"/>
                  </a:lnTo>
                  <a:lnTo>
                    <a:pt x="2297" y="863"/>
                  </a:lnTo>
                  <a:lnTo>
                    <a:pt x="2297" y="863"/>
                  </a:lnTo>
                  <a:lnTo>
                    <a:pt x="2310" y="862"/>
                  </a:lnTo>
                  <a:lnTo>
                    <a:pt x="2323" y="860"/>
                  </a:lnTo>
                  <a:lnTo>
                    <a:pt x="2323" y="860"/>
                  </a:lnTo>
                  <a:lnTo>
                    <a:pt x="2329" y="858"/>
                  </a:lnTo>
                  <a:lnTo>
                    <a:pt x="2334" y="855"/>
                  </a:lnTo>
                  <a:lnTo>
                    <a:pt x="2338" y="852"/>
                  </a:lnTo>
                  <a:lnTo>
                    <a:pt x="2342" y="847"/>
                  </a:lnTo>
                  <a:lnTo>
                    <a:pt x="2344" y="843"/>
                  </a:lnTo>
                  <a:lnTo>
                    <a:pt x="2346" y="837"/>
                  </a:lnTo>
                  <a:lnTo>
                    <a:pt x="2346" y="831"/>
                  </a:lnTo>
                  <a:lnTo>
                    <a:pt x="2346" y="825"/>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4" name="Freeform 681">
              <a:extLst>
                <a:ext uri="{FF2B5EF4-FFF2-40B4-BE49-F238E27FC236}">
                  <a16:creationId xmlns:a16="http://schemas.microsoft.com/office/drawing/2014/main" id="{100AA73C-1AAC-9E78-F9F7-E0099BA101A3}"/>
                </a:ext>
              </a:extLst>
            </p:cNvPr>
            <p:cNvSpPr>
              <a:spLocks/>
            </p:cNvSpPr>
            <p:nvPr/>
          </p:nvSpPr>
          <p:spPr bwMode="auto">
            <a:xfrm>
              <a:off x="3960813" y="5459413"/>
              <a:ext cx="9525" cy="20638"/>
            </a:xfrm>
            <a:custGeom>
              <a:avLst/>
              <a:gdLst/>
              <a:ahLst/>
              <a:cxnLst>
                <a:cxn ang="0">
                  <a:pos x="12" y="25"/>
                </a:cxn>
                <a:cxn ang="0">
                  <a:pos x="12" y="25"/>
                </a:cxn>
                <a:cxn ang="0">
                  <a:pos x="21" y="13"/>
                </a:cxn>
                <a:cxn ang="0">
                  <a:pos x="30" y="5"/>
                </a:cxn>
                <a:cxn ang="0">
                  <a:pos x="35" y="1"/>
                </a:cxn>
                <a:cxn ang="0">
                  <a:pos x="38" y="0"/>
                </a:cxn>
                <a:cxn ang="0">
                  <a:pos x="38" y="0"/>
                </a:cxn>
                <a:cxn ang="0">
                  <a:pos x="40" y="2"/>
                </a:cxn>
                <a:cxn ang="0">
                  <a:pos x="42" y="6"/>
                </a:cxn>
                <a:cxn ang="0">
                  <a:pos x="43" y="12"/>
                </a:cxn>
                <a:cxn ang="0">
                  <a:pos x="44" y="19"/>
                </a:cxn>
                <a:cxn ang="0">
                  <a:pos x="44" y="27"/>
                </a:cxn>
                <a:cxn ang="0">
                  <a:pos x="43" y="38"/>
                </a:cxn>
                <a:cxn ang="0">
                  <a:pos x="41" y="48"/>
                </a:cxn>
                <a:cxn ang="0">
                  <a:pos x="37" y="59"/>
                </a:cxn>
                <a:cxn ang="0">
                  <a:pos x="37" y="59"/>
                </a:cxn>
                <a:cxn ang="0">
                  <a:pos x="37" y="60"/>
                </a:cxn>
                <a:cxn ang="0">
                  <a:pos x="37" y="60"/>
                </a:cxn>
                <a:cxn ang="0">
                  <a:pos x="31" y="75"/>
                </a:cxn>
                <a:cxn ang="0">
                  <a:pos x="22" y="87"/>
                </a:cxn>
                <a:cxn ang="0">
                  <a:pos x="14" y="99"/>
                </a:cxn>
                <a:cxn ang="0">
                  <a:pos x="5" y="107"/>
                </a:cxn>
                <a:cxn ang="0">
                  <a:pos x="5" y="107"/>
                </a:cxn>
                <a:cxn ang="0">
                  <a:pos x="3" y="95"/>
                </a:cxn>
                <a:cxn ang="0">
                  <a:pos x="1" y="84"/>
                </a:cxn>
                <a:cxn ang="0">
                  <a:pos x="0" y="73"/>
                </a:cxn>
                <a:cxn ang="0">
                  <a:pos x="1" y="62"/>
                </a:cxn>
                <a:cxn ang="0">
                  <a:pos x="2" y="52"/>
                </a:cxn>
                <a:cxn ang="0">
                  <a:pos x="4" y="43"/>
                </a:cxn>
                <a:cxn ang="0">
                  <a:pos x="7" y="34"/>
                </a:cxn>
                <a:cxn ang="0">
                  <a:pos x="12" y="25"/>
                </a:cxn>
              </a:cxnLst>
              <a:rect l="0" t="0" r="r" b="b"/>
              <a:pathLst>
                <a:path w="44" h="107">
                  <a:moveTo>
                    <a:pt x="12" y="25"/>
                  </a:moveTo>
                  <a:lnTo>
                    <a:pt x="12" y="25"/>
                  </a:lnTo>
                  <a:lnTo>
                    <a:pt x="21" y="13"/>
                  </a:lnTo>
                  <a:lnTo>
                    <a:pt x="30" y="5"/>
                  </a:lnTo>
                  <a:lnTo>
                    <a:pt x="35" y="1"/>
                  </a:lnTo>
                  <a:lnTo>
                    <a:pt x="38" y="0"/>
                  </a:lnTo>
                  <a:lnTo>
                    <a:pt x="38" y="0"/>
                  </a:lnTo>
                  <a:lnTo>
                    <a:pt x="40" y="2"/>
                  </a:lnTo>
                  <a:lnTo>
                    <a:pt x="42" y="6"/>
                  </a:lnTo>
                  <a:lnTo>
                    <a:pt x="43" y="12"/>
                  </a:lnTo>
                  <a:lnTo>
                    <a:pt x="44" y="19"/>
                  </a:lnTo>
                  <a:lnTo>
                    <a:pt x="44" y="27"/>
                  </a:lnTo>
                  <a:lnTo>
                    <a:pt x="43" y="38"/>
                  </a:lnTo>
                  <a:lnTo>
                    <a:pt x="41" y="48"/>
                  </a:lnTo>
                  <a:lnTo>
                    <a:pt x="37" y="59"/>
                  </a:lnTo>
                  <a:lnTo>
                    <a:pt x="37" y="59"/>
                  </a:lnTo>
                  <a:lnTo>
                    <a:pt x="37" y="60"/>
                  </a:lnTo>
                  <a:lnTo>
                    <a:pt x="37" y="60"/>
                  </a:lnTo>
                  <a:lnTo>
                    <a:pt x="31" y="75"/>
                  </a:lnTo>
                  <a:lnTo>
                    <a:pt x="22" y="87"/>
                  </a:lnTo>
                  <a:lnTo>
                    <a:pt x="14" y="99"/>
                  </a:lnTo>
                  <a:lnTo>
                    <a:pt x="5" y="107"/>
                  </a:lnTo>
                  <a:lnTo>
                    <a:pt x="5" y="107"/>
                  </a:lnTo>
                  <a:lnTo>
                    <a:pt x="3" y="95"/>
                  </a:lnTo>
                  <a:lnTo>
                    <a:pt x="1" y="84"/>
                  </a:lnTo>
                  <a:lnTo>
                    <a:pt x="0" y="73"/>
                  </a:lnTo>
                  <a:lnTo>
                    <a:pt x="1" y="62"/>
                  </a:lnTo>
                  <a:lnTo>
                    <a:pt x="2" y="52"/>
                  </a:lnTo>
                  <a:lnTo>
                    <a:pt x="4" y="43"/>
                  </a:lnTo>
                  <a:lnTo>
                    <a:pt x="7" y="34"/>
                  </a:lnTo>
                  <a:lnTo>
                    <a:pt x="12" y="25"/>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5" name="Rectangle 682">
              <a:extLst>
                <a:ext uri="{FF2B5EF4-FFF2-40B4-BE49-F238E27FC236}">
                  <a16:creationId xmlns:a16="http://schemas.microsoft.com/office/drawing/2014/main" id="{FF5231E9-B76F-36E5-B9D7-1754D63DF1FC}"/>
                </a:ext>
              </a:extLst>
            </p:cNvPr>
            <p:cNvSpPr>
              <a:spLocks noChangeArrowheads="1"/>
            </p:cNvSpPr>
            <p:nvPr/>
          </p:nvSpPr>
          <p:spPr bwMode="auto">
            <a:xfrm>
              <a:off x="3751263" y="5205413"/>
              <a:ext cx="7938" cy="112713"/>
            </a:xfrm>
            <a:prstGeom prst="rect">
              <a:avLst/>
            </a:prstGeom>
            <a:solidFill>
              <a:srgbClr val="FAAB1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6" name="Rectangle 683">
              <a:extLst>
                <a:ext uri="{FF2B5EF4-FFF2-40B4-BE49-F238E27FC236}">
                  <a16:creationId xmlns:a16="http://schemas.microsoft.com/office/drawing/2014/main" id="{39D6EFBD-3B8C-D55D-04BA-17E775B44734}"/>
                </a:ext>
              </a:extLst>
            </p:cNvPr>
            <p:cNvSpPr>
              <a:spLocks noChangeArrowheads="1"/>
            </p:cNvSpPr>
            <p:nvPr/>
          </p:nvSpPr>
          <p:spPr bwMode="auto">
            <a:xfrm>
              <a:off x="3751263" y="5205413"/>
              <a:ext cx="7938" cy="1127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7" name="Freeform 684">
              <a:extLst>
                <a:ext uri="{FF2B5EF4-FFF2-40B4-BE49-F238E27FC236}">
                  <a16:creationId xmlns:a16="http://schemas.microsoft.com/office/drawing/2014/main" id="{0C613F40-347C-2F3B-5897-BD7E75BED90C}"/>
                </a:ext>
              </a:extLst>
            </p:cNvPr>
            <p:cNvSpPr>
              <a:spLocks/>
            </p:cNvSpPr>
            <p:nvPr/>
          </p:nvSpPr>
          <p:spPr bwMode="auto">
            <a:xfrm>
              <a:off x="3703638" y="5205413"/>
              <a:ext cx="111125" cy="112713"/>
            </a:xfrm>
            <a:custGeom>
              <a:avLst/>
              <a:gdLst/>
              <a:ahLst/>
              <a:cxnLst>
                <a:cxn ang="0">
                  <a:pos x="562" y="295"/>
                </a:cxn>
                <a:cxn ang="0">
                  <a:pos x="557" y="337"/>
                </a:cxn>
                <a:cxn ang="0">
                  <a:pos x="546" y="377"/>
                </a:cxn>
                <a:cxn ang="0">
                  <a:pos x="528" y="414"/>
                </a:cxn>
                <a:cxn ang="0">
                  <a:pos x="506" y="449"/>
                </a:cxn>
                <a:cxn ang="0">
                  <a:pos x="480" y="479"/>
                </a:cxn>
                <a:cxn ang="0">
                  <a:pos x="450" y="506"/>
                </a:cxn>
                <a:cxn ang="0">
                  <a:pos x="416" y="528"/>
                </a:cxn>
                <a:cxn ang="0">
                  <a:pos x="378" y="544"/>
                </a:cxn>
                <a:cxn ang="0">
                  <a:pos x="338" y="556"/>
                </a:cxn>
                <a:cxn ang="0">
                  <a:pos x="296" y="562"/>
                </a:cxn>
                <a:cxn ang="0">
                  <a:pos x="267" y="562"/>
                </a:cxn>
                <a:cxn ang="0">
                  <a:pos x="225" y="556"/>
                </a:cxn>
                <a:cxn ang="0">
                  <a:pos x="185" y="544"/>
                </a:cxn>
                <a:cxn ang="0">
                  <a:pos x="148" y="528"/>
                </a:cxn>
                <a:cxn ang="0">
                  <a:pos x="114" y="506"/>
                </a:cxn>
                <a:cxn ang="0">
                  <a:pos x="83" y="479"/>
                </a:cxn>
                <a:cxn ang="0">
                  <a:pos x="56" y="449"/>
                </a:cxn>
                <a:cxn ang="0">
                  <a:pos x="34" y="414"/>
                </a:cxn>
                <a:cxn ang="0">
                  <a:pos x="18" y="377"/>
                </a:cxn>
                <a:cxn ang="0">
                  <a:pos x="7" y="337"/>
                </a:cxn>
                <a:cxn ang="0">
                  <a:pos x="0" y="295"/>
                </a:cxn>
                <a:cxn ang="0">
                  <a:pos x="0" y="266"/>
                </a:cxn>
                <a:cxn ang="0">
                  <a:pos x="7" y="224"/>
                </a:cxn>
                <a:cxn ang="0">
                  <a:pos x="18" y="185"/>
                </a:cxn>
                <a:cxn ang="0">
                  <a:pos x="34" y="147"/>
                </a:cxn>
                <a:cxn ang="0">
                  <a:pos x="56" y="113"/>
                </a:cxn>
                <a:cxn ang="0">
                  <a:pos x="83" y="83"/>
                </a:cxn>
                <a:cxn ang="0">
                  <a:pos x="114" y="56"/>
                </a:cxn>
                <a:cxn ang="0">
                  <a:pos x="148" y="34"/>
                </a:cxn>
                <a:cxn ang="0">
                  <a:pos x="185" y="17"/>
                </a:cxn>
                <a:cxn ang="0">
                  <a:pos x="225" y="5"/>
                </a:cxn>
                <a:cxn ang="0">
                  <a:pos x="267" y="0"/>
                </a:cxn>
                <a:cxn ang="0">
                  <a:pos x="296" y="0"/>
                </a:cxn>
                <a:cxn ang="0">
                  <a:pos x="338" y="5"/>
                </a:cxn>
                <a:cxn ang="0">
                  <a:pos x="378" y="17"/>
                </a:cxn>
                <a:cxn ang="0">
                  <a:pos x="416" y="34"/>
                </a:cxn>
                <a:cxn ang="0">
                  <a:pos x="450" y="56"/>
                </a:cxn>
                <a:cxn ang="0">
                  <a:pos x="480" y="83"/>
                </a:cxn>
                <a:cxn ang="0">
                  <a:pos x="506" y="113"/>
                </a:cxn>
                <a:cxn ang="0">
                  <a:pos x="528" y="147"/>
                </a:cxn>
                <a:cxn ang="0">
                  <a:pos x="546" y="185"/>
                </a:cxn>
                <a:cxn ang="0">
                  <a:pos x="557" y="224"/>
                </a:cxn>
                <a:cxn ang="0">
                  <a:pos x="562" y="266"/>
                </a:cxn>
              </a:cxnLst>
              <a:rect l="0" t="0" r="r" b="b"/>
              <a:pathLst>
                <a:path w="562" h="562">
                  <a:moveTo>
                    <a:pt x="562" y="281"/>
                  </a:moveTo>
                  <a:lnTo>
                    <a:pt x="562" y="281"/>
                  </a:lnTo>
                  <a:lnTo>
                    <a:pt x="562" y="295"/>
                  </a:lnTo>
                  <a:lnTo>
                    <a:pt x="561" y="309"/>
                  </a:lnTo>
                  <a:lnTo>
                    <a:pt x="559" y="324"/>
                  </a:lnTo>
                  <a:lnTo>
                    <a:pt x="557" y="337"/>
                  </a:lnTo>
                  <a:lnTo>
                    <a:pt x="554" y="352"/>
                  </a:lnTo>
                  <a:lnTo>
                    <a:pt x="550" y="364"/>
                  </a:lnTo>
                  <a:lnTo>
                    <a:pt x="546" y="377"/>
                  </a:lnTo>
                  <a:lnTo>
                    <a:pt x="540" y="391"/>
                  </a:lnTo>
                  <a:lnTo>
                    <a:pt x="534" y="403"/>
                  </a:lnTo>
                  <a:lnTo>
                    <a:pt x="528" y="414"/>
                  </a:lnTo>
                  <a:lnTo>
                    <a:pt x="522" y="427"/>
                  </a:lnTo>
                  <a:lnTo>
                    <a:pt x="515" y="438"/>
                  </a:lnTo>
                  <a:lnTo>
                    <a:pt x="506" y="449"/>
                  </a:lnTo>
                  <a:lnTo>
                    <a:pt x="498" y="460"/>
                  </a:lnTo>
                  <a:lnTo>
                    <a:pt x="489" y="470"/>
                  </a:lnTo>
                  <a:lnTo>
                    <a:pt x="480" y="479"/>
                  </a:lnTo>
                  <a:lnTo>
                    <a:pt x="470" y="489"/>
                  </a:lnTo>
                  <a:lnTo>
                    <a:pt x="460" y="498"/>
                  </a:lnTo>
                  <a:lnTo>
                    <a:pt x="450" y="506"/>
                  </a:lnTo>
                  <a:lnTo>
                    <a:pt x="438" y="513"/>
                  </a:lnTo>
                  <a:lnTo>
                    <a:pt x="427" y="522"/>
                  </a:lnTo>
                  <a:lnTo>
                    <a:pt x="416" y="528"/>
                  </a:lnTo>
                  <a:lnTo>
                    <a:pt x="403" y="534"/>
                  </a:lnTo>
                  <a:lnTo>
                    <a:pt x="391" y="540"/>
                  </a:lnTo>
                  <a:lnTo>
                    <a:pt x="378" y="544"/>
                  </a:lnTo>
                  <a:lnTo>
                    <a:pt x="365" y="549"/>
                  </a:lnTo>
                  <a:lnTo>
                    <a:pt x="352" y="553"/>
                  </a:lnTo>
                  <a:lnTo>
                    <a:pt x="338" y="556"/>
                  </a:lnTo>
                  <a:lnTo>
                    <a:pt x="324" y="559"/>
                  </a:lnTo>
                  <a:lnTo>
                    <a:pt x="311" y="561"/>
                  </a:lnTo>
                  <a:lnTo>
                    <a:pt x="296" y="562"/>
                  </a:lnTo>
                  <a:lnTo>
                    <a:pt x="282" y="562"/>
                  </a:lnTo>
                  <a:lnTo>
                    <a:pt x="282" y="562"/>
                  </a:lnTo>
                  <a:lnTo>
                    <a:pt x="267" y="562"/>
                  </a:lnTo>
                  <a:lnTo>
                    <a:pt x="253" y="561"/>
                  </a:lnTo>
                  <a:lnTo>
                    <a:pt x="238" y="559"/>
                  </a:lnTo>
                  <a:lnTo>
                    <a:pt x="225" y="556"/>
                  </a:lnTo>
                  <a:lnTo>
                    <a:pt x="212" y="553"/>
                  </a:lnTo>
                  <a:lnTo>
                    <a:pt x="198" y="549"/>
                  </a:lnTo>
                  <a:lnTo>
                    <a:pt x="185" y="544"/>
                  </a:lnTo>
                  <a:lnTo>
                    <a:pt x="173" y="540"/>
                  </a:lnTo>
                  <a:lnTo>
                    <a:pt x="160" y="534"/>
                  </a:lnTo>
                  <a:lnTo>
                    <a:pt x="148" y="528"/>
                  </a:lnTo>
                  <a:lnTo>
                    <a:pt x="135" y="522"/>
                  </a:lnTo>
                  <a:lnTo>
                    <a:pt x="124" y="513"/>
                  </a:lnTo>
                  <a:lnTo>
                    <a:pt x="114" y="506"/>
                  </a:lnTo>
                  <a:lnTo>
                    <a:pt x="102" y="498"/>
                  </a:lnTo>
                  <a:lnTo>
                    <a:pt x="92" y="489"/>
                  </a:lnTo>
                  <a:lnTo>
                    <a:pt x="83" y="479"/>
                  </a:lnTo>
                  <a:lnTo>
                    <a:pt x="74" y="470"/>
                  </a:lnTo>
                  <a:lnTo>
                    <a:pt x="64" y="460"/>
                  </a:lnTo>
                  <a:lnTo>
                    <a:pt x="56" y="449"/>
                  </a:lnTo>
                  <a:lnTo>
                    <a:pt x="49" y="438"/>
                  </a:lnTo>
                  <a:lnTo>
                    <a:pt x="42" y="427"/>
                  </a:lnTo>
                  <a:lnTo>
                    <a:pt x="34" y="414"/>
                  </a:lnTo>
                  <a:lnTo>
                    <a:pt x="28" y="403"/>
                  </a:lnTo>
                  <a:lnTo>
                    <a:pt x="23" y="391"/>
                  </a:lnTo>
                  <a:lnTo>
                    <a:pt x="18" y="377"/>
                  </a:lnTo>
                  <a:lnTo>
                    <a:pt x="13" y="364"/>
                  </a:lnTo>
                  <a:lnTo>
                    <a:pt x="10" y="352"/>
                  </a:lnTo>
                  <a:lnTo>
                    <a:pt x="7" y="337"/>
                  </a:lnTo>
                  <a:lnTo>
                    <a:pt x="4" y="324"/>
                  </a:lnTo>
                  <a:lnTo>
                    <a:pt x="2" y="309"/>
                  </a:lnTo>
                  <a:lnTo>
                    <a:pt x="0" y="295"/>
                  </a:lnTo>
                  <a:lnTo>
                    <a:pt x="0" y="281"/>
                  </a:lnTo>
                  <a:lnTo>
                    <a:pt x="0" y="281"/>
                  </a:lnTo>
                  <a:lnTo>
                    <a:pt x="0" y="266"/>
                  </a:lnTo>
                  <a:lnTo>
                    <a:pt x="2" y="253"/>
                  </a:lnTo>
                  <a:lnTo>
                    <a:pt x="4" y="238"/>
                  </a:lnTo>
                  <a:lnTo>
                    <a:pt x="7" y="224"/>
                  </a:lnTo>
                  <a:lnTo>
                    <a:pt x="10" y="210"/>
                  </a:lnTo>
                  <a:lnTo>
                    <a:pt x="13" y="197"/>
                  </a:lnTo>
                  <a:lnTo>
                    <a:pt x="18" y="185"/>
                  </a:lnTo>
                  <a:lnTo>
                    <a:pt x="23" y="171"/>
                  </a:lnTo>
                  <a:lnTo>
                    <a:pt x="28" y="159"/>
                  </a:lnTo>
                  <a:lnTo>
                    <a:pt x="34" y="147"/>
                  </a:lnTo>
                  <a:lnTo>
                    <a:pt x="42" y="135"/>
                  </a:lnTo>
                  <a:lnTo>
                    <a:pt x="49" y="124"/>
                  </a:lnTo>
                  <a:lnTo>
                    <a:pt x="56" y="113"/>
                  </a:lnTo>
                  <a:lnTo>
                    <a:pt x="64" y="102"/>
                  </a:lnTo>
                  <a:lnTo>
                    <a:pt x="74" y="92"/>
                  </a:lnTo>
                  <a:lnTo>
                    <a:pt x="83" y="83"/>
                  </a:lnTo>
                  <a:lnTo>
                    <a:pt x="92" y="73"/>
                  </a:lnTo>
                  <a:lnTo>
                    <a:pt x="102" y="64"/>
                  </a:lnTo>
                  <a:lnTo>
                    <a:pt x="114" y="56"/>
                  </a:lnTo>
                  <a:lnTo>
                    <a:pt x="124" y="48"/>
                  </a:lnTo>
                  <a:lnTo>
                    <a:pt x="135" y="41"/>
                  </a:lnTo>
                  <a:lnTo>
                    <a:pt x="148" y="34"/>
                  </a:lnTo>
                  <a:lnTo>
                    <a:pt x="160" y="28"/>
                  </a:lnTo>
                  <a:lnTo>
                    <a:pt x="173" y="22"/>
                  </a:lnTo>
                  <a:lnTo>
                    <a:pt x="185" y="17"/>
                  </a:lnTo>
                  <a:lnTo>
                    <a:pt x="198" y="13"/>
                  </a:lnTo>
                  <a:lnTo>
                    <a:pt x="212" y="9"/>
                  </a:lnTo>
                  <a:lnTo>
                    <a:pt x="225" y="5"/>
                  </a:lnTo>
                  <a:lnTo>
                    <a:pt x="238" y="3"/>
                  </a:lnTo>
                  <a:lnTo>
                    <a:pt x="253" y="1"/>
                  </a:lnTo>
                  <a:lnTo>
                    <a:pt x="267" y="0"/>
                  </a:lnTo>
                  <a:lnTo>
                    <a:pt x="282" y="0"/>
                  </a:lnTo>
                  <a:lnTo>
                    <a:pt x="282" y="0"/>
                  </a:lnTo>
                  <a:lnTo>
                    <a:pt x="296" y="0"/>
                  </a:lnTo>
                  <a:lnTo>
                    <a:pt x="311" y="1"/>
                  </a:lnTo>
                  <a:lnTo>
                    <a:pt x="324" y="3"/>
                  </a:lnTo>
                  <a:lnTo>
                    <a:pt x="338" y="5"/>
                  </a:lnTo>
                  <a:lnTo>
                    <a:pt x="352" y="9"/>
                  </a:lnTo>
                  <a:lnTo>
                    <a:pt x="365" y="13"/>
                  </a:lnTo>
                  <a:lnTo>
                    <a:pt x="378" y="17"/>
                  </a:lnTo>
                  <a:lnTo>
                    <a:pt x="391" y="22"/>
                  </a:lnTo>
                  <a:lnTo>
                    <a:pt x="403" y="28"/>
                  </a:lnTo>
                  <a:lnTo>
                    <a:pt x="416" y="34"/>
                  </a:lnTo>
                  <a:lnTo>
                    <a:pt x="427" y="41"/>
                  </a:lnTo>
                  <a:lnTo>
                    <a:pt x="438" y="48"/>
                  </a:lnTo>
                  <a:lnTo>
                    <a:pt x="450" y="56"/>
                  </a:lnTo>
                  <a:lnTo>
                    <a:pt x="460" y="64"/>
                  </a:lnTo>
                  <a:lnTo>
                    <a:pt x="470" y="73"/>
                  </a:lnTo>
                  <a:lnTo>
                    <a:pt x="480" y="83"/>
                  </a:lnTo>
                  <a:lnTo>
                    <a:pt x="489" y="92"/>
                  </a:lnTo>
                  <a:lnTo>
                    <a:pt x="498" y="102"/>
                  </a:lnTo>
                  <a:lnTo>
                    <a:pt x="506" y="113"/>
                  </a:lnTo>
                  <a:lnTo>
                    <a:pt x="515" y="124"/>
                  </a:lnTo>
                  <a:lnTo>
                    <a:pt x="522" y="135"/>
                  </a:lnTo>
                  <a:lnTo>
                    <a:pt x="528" y="147"/>
                  </a:lnTo>
                  <a:lnTo>
                    <a:pt x="534" y="159"/>
                  </a:lnTo>
                  <a:lnTo>
                    <a:pt x="540" y="171"/>
                  </a:lnTo>
                  <a:lnTo>
                    <a:pt x="546" y="185"/>
                  </a:lnTo>
                  <a:lnTo>
                    <a:pt x="550" y="197"/>
                  </a:lnTo>
                  <a:lnTo>
                    <a:pt x="554" y="210"/>
                  </a:lnTo>
                  <a:lnTo>
                    <a:pt x="557" y="224"/>
                  </a:lnTo>
                  <a:lnTo>
                    <a:pt x="559" y="238"/>
                  </a:lnTo>
                  <a:lnTo>
                    <a:pt x="561" y="253"/>
                  </a:lnTo>
                  <a:lnTo>
                    <a:pt x="562" y="266"/>
                  </a:lnTo>
                  <a:lnTo>
                    <a:pt x="562" y="281"/>
                  </a:lnTo>
                  <a:close/>
                </a:path>
              </a:pathLst>
            </a:custGeom>
            <a:solidFill>
              <a:srgbClr val="CC881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8" name="Freeform 685">
              <a:extLst>
                <a:ext uri="{FF2B5EF4-FFF2-40B4-BE49-F238E27FC236}">
                  <a16:creationId xmlns:a16="http://schemas.microsoft.com/office/drawing/2014/main" id="{26FF2929-FAB7-09A4-BD47-34C2504EBE54}"/>
                </a:ext>
              </a:extLst>
            </p:cNvPr>
            <p:cNvSpPr>
              <a:spLocks/>
            </p:cNvSpPr>
            <p:nvPr/>
          </p:nvSpPr>
          <p:spPr bwMode="auto">
            <a:xfrm>
              <a:off x="3703638" y="5205413"/>
              <a:ext cx="111125" cy="112713"/>
            </a:xfrm>
            <a:custGeom>
              <a:avLst/>
              <a:gdLst/>
              <a:ahLst/>
              <a:cxnLst>
                <a:cxn ang="0">
                  <a:pos x="562" y="295"/>
                </a:cxn>
                <a:cxn ang="0">
                  <a:pos x="557" y="337"/>
                </a:cxn>
                <a:cxn ang="0">
                  <a:pos x="546" y="377"/>
                </a:cxn>
                <a:cxn ang="0">
                  <a:pos x="528" y="414"/>
                </a:cxn>
                <a:cxn ang="0">
                  <a:pos x="506" y="449"/>
                </a:cxn>
                <a:cxn ang="0">
                  <a:pos x="480" y="479"/>
                </a:cxn>
                <a:cxn ang="0">
                  <a:pos x="450" y="506"/>
                </a:cxn>
                <a:cxn ang="0">
                  <a:pos x="416" y="528"/>
                </a:cxn>
                <a:cxn ang="0">
                  <a:pos x="378" y="544"/>
                </a:cxn>
                <a:cxn ang="0">
                  <a:pos x="338" y="556"/>
                </a:cxn>
                <a:cxn ang="0">
                  <a:pos x="296" y="562"/>
                </a:cxn>
                <a:cxn ang="0">
                  <a:pos x="267" y="562"/>
                </a:cxn>
                <a:cxn ang="0">
                  <a:pos x="225" y="556"/>
                </a:cxn>
                <a:cxn ang="0">
                  <a:pos x="185" y="544"/>
                </a:cxn>
                <a:cxn ang="0">
                  <a:pos x="148" y="528"/>
                </a:cxn>
                <a:cxn ang="0">
                  <a:pos x="114" y="506"/>
                </a:cxn>
                <a:cxn ang="0">
                  <a:pos x="83" y="479"/>
                </a:cxn>
                <a:cxn ang="0">
                  <a:pos x="56" y="449"/>
                </a:cxn>
                <a:cxn ang="0">
                  <a:pos x="34" y="414"/>
                </a:cxn>
                <a:cxn ang="0">
                  <a:pos x="18" y="377"/>
                </a:cxn>
                <a:cxn ang="0">
                  <a:pos x="7" y="337"/>
                </a:cxn>
                <a:cxn ang="0">
                  <a:pos x="0" y="295"/>
                </a:cxn>
                <a:cxn ang="0">
                  <a:pos x="0" y="266"/>
                </a:cxn>
                <a:cxn ang="0">
                  <a:pos x="7" y="224"/>
                </a:cxn>
                <a:cxn ang="0">
                  <a:pos x="18" y="185"/>
                </a:cxn>
                <a:cxn ang="0">
                  <a:pos x="34" y="147"/>
                </a:cxn>
                <a:cxn ang="0">
                  <a:pos x="56" y="113"/>
                </a:cxn>
                <a:cxn ang="0">
                  <a:pos x="83" y="83"/>
                </a:cxn>
                <a:cxn ang="0">
                  <a:pos x="114" y="56"/>
                </a:cxn>
                <a:cxn ang="0">
                  <a:pos x="148" y="34"/>
                </a:cxn>
                <a:cxn ang="0">
                  <a:pos x="185" y="17"/>
                </a:cxn>
                <a:cxn ang="0">
                  <a:pos x="225" y="5"/>
                </a:cxn>
                <a:cxn ang="0">
                  <a:pos x="267" y="0"/>
                </a:cxn>
                <a:cxn ang="0">
                  <a:pos x="296" y="0"/>
                </a:cxn>
                <a:cxn ang="0">
                  <a:pos x="338" y="5"/>
                </a:cxn>
                <a:cxn ang="0">
                  <a:pos x="378" y="17"/>
                </a:cxn>
                <a:cxn ang="0">
                  <a:pos x="416" y="34"/>
                </a:cxn>
                <a:cxn ang="0">
                  <a:pos x="450" y="56"/>
                </a:cxn>
                <a:cxn ang="0">
                  <a:pos x="480" y="83"/>
                </a:cxn>
                <a:cxn ang="0">
                  <a:pos x="506" y="113"/>
                </a:cxn>
                <a:cxn ang="0">
                  <a:pos x="528" y="147"/>
                </a:cxn>
                <a:cxn ang="0">
                  <a:pos x="546" y="185"/>
                </a:cxn>
                <a:cxn ang="0">
                  <a:pos x="557" y="224"/>
                </a:cxn>
                <a:cxn ang="0">
                  <a:pos x="562" y="266"/>
                </a:cxn>
              </a:cxnLst>
              <a:rect l="0" t="0" r="r" b="b"/>
              <a:pathLst>
                <a:path w="562" h="562">
                  <a:moveTo>
                    <a:pt x="562" y="281"/>
                  </a:moveTo>
                  <a:lnTo>
                    <a:pt x="562" y="281"/>
                  </a:lnTo>
                  <a:lnTo>
                    <a:pt x="562" y="295"/>
                  </a:lnTo>
                  <a:lnTo>
                    <a:pt x="561" y="309"/>
                  </a:lnTo>
                  <a:lnTo>
                    <a:pt x="559" y="324"/>
                  </a:lnTo>
                  <a:lnTo>
                    <a:pt x="557" y="337"/>
                  </a:lnTo>
                  <a:lnTo>
                    <a:pt x="554" y="352"/>
                  </a:lnTo>
                  <a:lnTo>
                    <a:pt x="550" y="364"/>
                  </a:lnTo>
                  <a:lnTo>
                    <a:pt x="546" y="377"/>
                  </a:lnTo>
                  <a:lnTo>
                    <a:pt x="540" y="391"/>
                  </a:lnTo>
                  <a:lnTo>
                    <a:pt x="534" y="403"/>
                  </a:lnTo>
                  <a:lnTo>
                    <a:pt x="528" y="414"/>
                  </a:lnTo>
                  <a:lnTo>
                    <a:pt x="522" y="427"/>
                  </a:lnTo>
                  <a:lnTo>
                    <a:pt x="515" y="438"/>
                  </a:lnTo>
                  <a:lnTo>
                    <a:pt x="506" y="449"/>
                  </a:lnTo>
                  <a:lnTo>
                    <a:pt x="498" y="460"/>
                  </a:lnTo>
                  <a:lnTo>
                    <a:pt x="489" y="470"/>
                  </a:lnTo>
                  <a:lnTo>
                    <a:pt x="480" y="479"/>
                  </a:lnTo>
                  <a:lnTo>
                    <a:pt x="470" y="489"/>
                  </a:lnTo>
                  <a:lnTo>
                    <a:pt x="460" y="498"/>
                  </a:lnTo>
                  <a:lnTo>
                    <a:pt x="450" y="506"/>
                  </a:lnTo>
                  <a:lnTo>
                    <a:pt x="438" y="513"/>
                  </a:lnTo>
                  <a:lnTo>
                    <a:pt x="427" y="522"/>
                  </a:lnTo>
                  <a:lnTo>
                    <a:pt x="416" y="528"/>
                  </a:lnTo>
                  <a:lnTo>
                    <a:pt x="403" y="534"/>
                  </a:lnTo>
                  <a:lnTo>
                    <a:pt x="391" y="540"/>
                  </a:lnTo>
                  <a:lnTo>
                    <a:pt x="378" y="544"/>
                  </a:lnTo>
                  <a:lnTo>
                    <a:pt x="365" y="549"/>
                  </a:lnTo>
                  <a:lnTo>
                    <a:pt x="352" y="553"/>
                  </a:lnTo>
                  <a:lnTo>
                    <a:pt x="338" y="556"/>
                  </a:lnTo>
                  <a:lnTo>
                    <a:pt x="324" y="559"/>
                  </a:lnTo>
                  <a:lnTo>
                    <a:pt x="311" y="561"/>
                  </a:lnTo>
                  <a:lnTo>
                    <a:pt x="296" y="562"/>
                  </a:lnTo>
                  <a:lnTo>
                    <a:pt x="282" y="562"/>
                  </a:lnTo>
                  <a:lnTo>
                    <a:pt x="282" y="562"/>
                  </a:lnTo>
                  <a:lnTo>
                    <a:pt x="267" y="562"/>
                  </a:lnTo>
                  <a:lnTo>
                    <a:pt x="253" y="561"/>
                  </a:lnTo>
                  <a:lnTo>
                    <a:pt x="238" y="559"/>
                  </a:lnTo>
                  <a:lnTo>
                    <a:pt x="225" y="556"/>
                  </a:lnTo>
                  <a:lnTo>
                    <a:pt x="212" y="553"/>
                  </a:lnTo>
                  <a:lnTo>
                    <a:pt x="198" y="549"/>
                  </a:lnTo>
                  <a:lnTo>
                    <a:pt x="185" y="544"/>
                  </a:lnTo>
                  <a:lnTo>
                    <a:pt x="173" y="540"/>
                  </a:lnTo>
                  <a:lnTo>
                    <a:pt x="160" y="534"/>
                  </a:lnTo>
                  <a:lnTo>
                    <a:pt x="148" y="528"/>
                  </a:lnTo>
                  <a:lnTo>
                    <a:pt x="135" y="522"/>
                  </a:lnTo>
                  <a:lnTo>
                    <a:pt x="124" y="513"/>
                  </a:lnTo>
                  <a:lnTo>
                    <a:pt x="114" y="506"/>
                  </a:lnTo>
                  <a:lnTo>
                    <a:pt x="102" y="498"/>
                  </a:lnTo>
                  <a:lnTo>
                    <a:pt x="92" y="489"/>
                  </a:lnTo>
                  <a:lnTo>
                    <a:pt x="83" y="479"/>
                  </a:lnTo>
                  <a:lnTo>
                    <a:pt x="74" y="470"/>
                  </a:lnTo>
                  <a:lnTo>
                    <a:pt x="64" y="460"/>
                  </a:lnTo>
                  <a:lnTo>
                    <a:pt x="56" y="449"/>
                  </a:lnTo>
                  <a:lnTo>
                    <a:pt x="49" y="438"/>
                  </a:lnTo>
                  <a:lnTo>
                    <a:pt x="42" y="427"/>
                  </a:lnTo>
                  <a:lnTo>
                    <a:pt x="34" y="414"/>
                  </a:lnTo>
                  <a:lnTo>
                    <a:pt x="28" y="403"/>
                  </a:lnTo>
                  <a:lnTo>
                    <a:pt x="23" y="391"/>
                  </a:lnTo>
                  <a:lnTo>
                    <a:pt x="18" y="377"/>
                  </a:lnTo>
                  <a:lnTo>
                    <a:pt x="13" y="364"/>
                  </a:lnTo>
                  <a:lnTo>
                    <a:pt x="10" y="352"/>
                  </a:lnTo>
                  <a:lnTo>
                    <a:pt x="7" y="337"/>
                  </a:lnTo>
                  <a:lnTo>
                    <a:pt x="4" y="324"/>
                  </a:lnTo>
                  <a:lnTo>
                    <a:pt x="2" y="309"/>
                  </a:lnTo>
                  <a:lnTo>
                    <a:pt x="0" y="295"/>
                  </a:lnTo>
                  <a:lnTo>
                    <a:pt x="0" y="281"/>
                  </a:lnTo>
                  <a:lnTo>
                    <a:pt x="0" y="281"/>
                  </a:lnTo>
                  <a:lnTo>
                    <a:pt x="0" y="266"/>
                  </a:lnTo>
                  <a:lnTo>
                    <a:pt x="2" y="253"/>
                  </a:lnTo>
                  <a:lnTo>
                    <a:pt x="4" y="238"/>
                  </a:lnTo>
                  <a:lnTo>
                    <a:pt x="7" y="224"/>
                  </a:lnTo>
                  <a:lnTo>
                    <a:pt x="10" y="210"/>
                  </a:lnTo>
                  <a:lnTo>
                    <a:pt x="13" y="197"/>
                  </a:lnTo>
                  <a:lnTo>
                    <a:pt x="18" y="185"/>
                  </a:lnTo>
                  <a:lnTo>
                    <a:pt x="23" y="171"/>
                  </a:lnTo>
                  <a:lnTo>
                    <a:pt x="28" y="159"/>
                  </a:lnTo>
                  <a:lnTo>
                    <a:pt x="34" y="147"/>
                  </a:lnTo>
                  <a:lnTo>
                    <a:pt x="42" y="135"/>
                  </a:lnTo>
                  <a:lnTo>
                    <a:pt x="49" y="124"/>
                  </a:lnTo>
                  <a:lnTo>
                    <a:pt x="56" y="113"/>
                  </a:lnTo>
                  <a:lnTo>
                    <a:pt x="64" y="102"/>
                  </a:lnTo>
                  <a:lnTo>
                    <a:pt x="74" y="92"/>
                  </a:lnTo>
                  <a:lnTo>
                    <a:pt x="83" y="83"/>
                  </a:lnTo>
                  <a:lnTo>
                    <a:pt x="92" y="73"/>
                  </a:lnTo>
                  <a:lnTo>
                    <a:pt x="102" y="64"/>
                  </a:lnTo>
                  <a:lnTo>
                    <a:pt x="114" y="56"/>
                  </a:lnTo>
                  <a:lnTo>
                    <a:pt x="124" y="48"/>
                  </a:lnTo>
                  <a:lnTo>
                    <a:pt x="135" y="41"/>
                  </a:lnTo>
                  <a:lnTo>
                    <a:pt x="148" y="34"/>
                  </a:lnTo>
                  <a:lnTo>
                    <a:pt x="160" y="28"/>
                  </a:lnTo>
                  <a:lnTo>
                    <a:pt x="173" y="22"/>
                  </a:lnTo>
                  <a:lnTo>
                    <a:pt x="185" y="17"/>
                  </a:lnTo>
                  <a:lnTo>
                    <a:pt x="198" y="13"/>
                  </a:lnTo>
                  <a:lnTo>
                    <a:pt x="212" y="9"/>
                  </a:lnTo>
                  <a:lnTo>
                    <a:pt x="225" y="5"/>
                  </a:lnTo>
                  <a:lnTo>
                    <a:pt x="238" y="3"/>
                  </a:lnTo>
                  <a:lnTo>
                    <a:pt x="253" y="1"/>
                  </a:lnTo>
                  <a:lnTo>
                    <a:pt x="267" y="0"/>
                  </a:lnTo>
                  <a:lnTo>
                    <a:pt x="282" y="0"/>
                  </a:lnTo>
                  <a:lnTo>
                    <a:pt x="282" y="0"/>
                  </a:lnTo>
                  <a:lnTo>
                    <a:pt x="296" y="0"/>
                  </a:lnTo>
                  <a:lnTo>
                    <a:pt x="311" y="1"/>
                  </a:lnTo>
                  <a:lnTo>
                    <a:pt x="324" y="3"/>
                  </a:lnTo>
                  <a:lnTo>
                    <a:pt x="338" y="5"/>
                  </a:lnTo>
                  <a:lnTo>
                    <a:pt x="352" y="9"/>
                  </a:lnTo>
                  <a:lnTo>
                    <a:pt x="365" y="13"/>
                  </a:lnTo>
                  <a:lnTo>
                    <a:pt x="378" y="17"/>
                  </a:lnTo>
                  <a:lnTo>
                    <a:pt x="391" y="22"/>
                  </a:lnTo>
                  <a:lnTo>
                    <a:pt x="403" y="28"/>
                  </a:lnTo>
                  <a:lnTo>
                    <a:pt x="416" y="34"/>
                  </a:lnTo>
                  <a:lnTo>
                    <a:pt x="427" y="41"/>
                  </a:lnTo>
                  <a:lnTo>
                    <a:pt x="438" y="48"/>
                  </a:lnTo>
                  <a:lnTo>
                    <a:pt x="450" y="56"/>
                  </a:lnTo>
                  <a:lnTo>
                    <a:pt x="460" y="64"/>
                  </a:lnTo>
                  <a:lnTo>
                    <a:pt x="470" y="73"/>
                  </a:lnTo>
                  <a:lnTo>
                    <a:pt x="480" y="83"/>
                  </a:lnTo>
                  <a:lnTo>
                    <a:pt x="489" y="92"/>
                  </a:lnTo>
                  <a:lnTo>
                    <a:pt x="498" y="102"/>
                  </a:lnTo>
                  <a:lnTo>
                    <a:pt x="506" y="113"/>
                  </a:lnTo>
                  <a:lnTo>
                    <a:pt x="515" y="124"/>
                  </a:lnTo>
                  <a:lnTo>
                    <a:pt x="522" y="135"/>
                  </a:lnTo>
                  <a:lnTo>
                    <a:pt x="528" y="147"/>
                  </a:lnTo>
                  <a:lnTo>
                    <a:pt x="534" y="159"/>
                  </a:lnTo>
                  <a:lnTo>
                    <a:pt x="540" y="171"/>
                  </a:lnTo>
                  <a:lnTo>
                    <a:pt x="546" y="185"/>
                  </a:lnTo>
                  <a:lnTo>
                    <a:pt x="550" y="197"/>
                  </a:lnTo>
                  <a:lnTo>
                    <a:pt x="554" y="210"/>
                  </a:lnTo>
                  <a:lnTo>
                    <a:pt x="557" y="224"/>
                  </a:lnTo>
                  <a:lnTo>
                    <a:pt x="559" y="238"/>
                  </a:lnTo>
                  <a:lnTo>
                    <a:pt x="561" y="253"/>
                  </a:lnTo>
                  <a:lnTo>
                    <a:pt x="562" y="266"/>
                  </a:lnTo>
                  <a:lnTo>
                    <a:pt x="562" y="281"/>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9" name="Freeform 686">
              <a:extLst>
                <a:ext uri="{FF2B5EF4-FFF2-40B4-BE49-F238E27FC236}">
                  <a16:creationId xmlns:a16="http://schemas.microsoft.com/office/drawing/2014/main" id="{82C0D5E1-C6D5-284A-4B38-15EAB8B4EE9D}"/>
                </a:ext>
              </a:extLst>
            </p:cNvPr>
            <p:cNvSpPr>
              <a:spLocks/>
            </p:cNvSpPr>
            <p:nvPr/>
          </p:nvSpPr>
          <p:spPr bwMode="auto">
            <a:xfrm>
              <a:off x="3802063" y="5580063"/>
              <a:ext cx="76200" cy="96838"/>
            </a:xfrm>
            <a:custGeom>
              <a:avLst/>
              <a:gdLst/>
              <a:ahLst/>
              <a:cxnLst>
                <a:cxn ang="0">
                  <a:pos x="287" y="0"/>
                </a:cxn>
                <a:cxn ang="0">
                  <a:pos x="307" y="2"/>
                </a:cxn>
                <a:cxn ang="0">
                  <a:pos x="326" y="9"/>
                </a:cxn>
                <a:cxn ang="0">
                  <a:pos x="342" y="18"/>
                </a:cxn>
                <a:cxn ang="0">
                  <a:pos x="358" y="30"/>
                </a:cxn>
                <a:cxn ang="0">
                  <a:pos x="369" y="45"/>
                </a:cxn>
                <a:cxn ang="0">
                  <a:pos x="378" y="61"/>
                </a:cxn>
                <a:cxn ang="0">
                  <a:pos x="385" y="80"/>
                </a:cxn>
                <a:cxn ang="0">
                  <a:pos x="387" y="100"/>
                </a:cxn>
                <a:cxn ang="0">
                  <a:pos x="329" y="423"/>
                </a:cxn>
                <a:cxn ang="0">
                  <a:pos x="327" y="437"/>
                </a:cxn>
                <a:cxn ang="0">
                  <a:pos x="323" y="450"/>
                </a:cxn>
                <a:cxn ang="0">
                  <a:pos x="317" y="462"/>
                </a:cxn>
                <a:cxn ang="0">
                  <a:pos x="308" y="472"/>
                </a:cxn>
                <a:cxn ang="0">
                  <a:pos x="298" y="480"/>
                </a:cxn>
                <a:cxn ang="0">
                  <a:pos x="286" y="488"/>
                </a:cxn>
                <a:cxn ang="0">
                  <a:pos x="273" y="491"/>
                </a:cxn>
                <a:cxn ang="0">
                  <a:pos x="259" y="493"/>
                </a:cxn>
                <a:cxn ang="0">
                  <a:pos x="128" y="493"/>
                </a:cxn>
                <a:cxn ang="0">
                  <a:pos x="114" y="491"/>
                </a:cxn>
                <a:cxn ang="0">
                  <a:pos x="100" y="488"/>
                </a:cxn>
                <a:cxn ang="0">
                  <a:pos x="89" y="480"/>
                </a:cxn>
                <a:cxn ang="0">
                  <a:pos x="78" y="472"/>
                </a:cxn>
                <a:cxn ang="0">
                  <a:pos x="70" y="462"/>
                </a:cxn>
                <a:cxn ang="0">
                  <a:pos x="63" y="450"/>
                </a:cxn>
                <a:cxn ang="0">
                  <a:pos x="59" y="437"/>
                </a:cxn>
                <a:cxn ang="0">
                  <a:pos x="58" y="423"/>
                </a:cxn>
                <a:cxn ang="0">
                  <a:pos x="0" y="100"/>
                </a:cxn>
                <a:cxn ang="0">
                  <a:pos x="2" y="80"/>
                </a:cxn>
                <a:cxn ang="0">
                  <a:pos x="7" y="61"/>
                </a:cxn>
                <a:cxn ang="0">
                  <a:pos x="17" y="45"/>
                </a:cxn>
                <a:cxn ang="0">
                  <a:pos x="29" y="30"/>
                </a:cxn>
                <a:cxn ang="0">
                  <a:pos x="44" y="18"/>
                </a:cxn>
                <a:cxn ang="0">
                  <a:pos x="61" y="9"/>
                </a:cxn>
                <a:cxn ang="0">
                  <a:pos x="80" y="2"/>
                </a:cxn>
                <a:cxn ang="0">
                  <a:pos x="99" y="0"/>
                </a:cxn>
              </a:cxnLst>
              <a:rect l="0" t="0" r="r" b="b"/>
              <a:pathLst>
                <a:path w="387" h="493">
                  <a:moveTo>
                    <a:pt x="287" y="0"/>
                  </a:moveTo>
                  <a:lnTo>
                    <a:pt x="287" y="0"/>
                  </a:lnTo>
                  <a:lnTo>
                    <a:pt x="297" y="1"/>
                  </a:lnTo>
                  <a:lnTo>
                    <a:pt x="307" y="2"/>
                  </a:lnTo>
                  <a:lnTo>
                    <a:pt x="317" y="6"/>
                  </a:lnTo>
                  <a:lnTo>
                    <a:pt x="326" y="9"/>
                  </a:lnTo>
                  <a:lnTo>
                    <a:pt x="334" y="13"/>
                  </a:lnTo>
                  <a:lnTo>
                    <a:pt x="342" y="18"/>
                  </a:lnTo>
                  <a:lnTo>
                    <a:pt x="351" y="23"/>
                  </a:lnTo>
                  <a:lnTo>
                    <a:pt x="358" y="30"/>
                  </a:lnTo>
                  <a:lnTo>
                    <a:pt x="364" y="36"/>
                  </a:lnTo>
                  <a:lnTo>
                    <a:pt x="369" y="45"/>
                  </a:lnTo>
                  <a:lnTo>
                    <a:pt x="374" y="53"/>
                  </a:lnTo>
                  <a:lnTo>
                    <a:pt x="378" y="61"/>
                  </a:lnTo>
                  <a:lnTo>
                    <a:pt x="382" y="70"/>
                  </a:lnTo>
                  <a:lnTo>
                    <a:pt x="385" y="80"/>
                  </a:lnTo>
                  <a:lnTo>
                    <a:pt x="386" y="90"/>
                  </a:lnTo>
                  <a:lnTo>
                    <a:pt x="387" y="100"/>
                  </a:lnTo>
                  <a:lnTo>
                    <a:pt x="329" y="423"/>
                  </a:lnTo>
                  <a:lnTo>
                    <a:pt x="329" y="423"/>
                  </a:lnTo>
                  <a:lnTo>
                    <a:pt x="328" y="430"/>
                  </a:lnTo>
                  <a:lnTo>
                    <a:pt x="327" y="437"/>
                  </a:lnTo>
                  <a:lnTo>
                    <a:pt x="326" y="443"/>
                  </a:lnTo>
                  <a:lnTo>
                    <a:pt x="323" y="450"/>
                  </a:lnTo>
                  <a:lnTo>
                    <a:pt x="321" y="456"/>
                  </a:lnTo>
                  <a:lnTo>
                    <a:pt x="317" y="462"/>
                  </a:lnTo>
                  <a:lnTo>
                    <a:pt x="312" y="467"/>
                  </a:lnTo>
                  <a:lnTo>
                    <a:pt x="308" y="472"/>
                  </a:lnTo>
                  <a:lnTo>
                    <a:pt x="303" y="476"/>
                  </a:lnTo>
                  <a:lnTo>
                    <a:pt x="298" y="480"/>
                  </a:lnTo>
                  <a:lnTo>
                    <a:pt x="292" y="485"/>
                  </a:lnTo>
                  <a:lnTo>
                    <a:pt x="286" y="488"/>
                  </a:lnTo>
                  <a:lnTo>
                    <a:pt x="279" y="490"/>
                  </a:lnTo>
                  <a:lnTo>
                    <a:pt x="273" y="491"/>
                  </a:lnTo>
                  <a:lnTo>
                    <a:pt x="266" y="492"/>
                  </a:lnTo>
                  <a:lnTo>
                    <a:pt x="259" y="493"/>
                  </a:lnTo>
                  <a:lnTo>
                    <a:pt x="128" y="493"/>
                  </a:lnTo>
                  <a:lnTo>
                    <a:pt x="128" y="493"/>
                  </a:lnTo>
                  <a:lnTo>
                    <a:pt x="121" y="492"/>
                  </a:lnTo>
                  <a:lnTo>
                    <a:pt x="114" y="491"/>
                  </a:lnTo>
                  <a:lnTo>
                    <a:pt x="107" y="490"/>
                  </a:lnTo>
                  <a:lnTo>
                    <a:pt x="100" y="488"/>
                  </a:lnTo>
                  <a:lnTo>
                    <a:pt x="94" y="485"/>
                  </a:lnTo>
                  <a:lnTo>
                    <a:pt x="89" y="480"/>
                  </a:lnTo>
                  <a:lnTo>
                    <a:pt x="84" y="476"/>
                  </a:lnTo>
                  <a:lnTo>
                    <a:pt x="78" y="472"/>
                  </a:lnTo>
                  <a:lnTo>
                    <a:pt x="74" y="467"/>
                  </a:lnTo>
                  <a:lnTo>
                    <a:pt x="70" y="462"/>
                  </a:lnTo>
                  <a:lnTo>
                    <a:pt x="66" y="456"/>
                  </a:lnTo>
                  <a:lnTo>
                    <a:pt x="63" y="450"/>
                  </a:lnTo>
                  <a:lnTo>
                    <a:pt x="61" y="443"/>
                  </a:lnTo>
                  <a:lnTo>
                    <a:pt x="59" y="437"/>
                  </a:lnTo>
                  <a:lnTo>
                    <a:pt x="58" y="430"/>
                  </a:lnTo>
                  <a:lnTo>
                    <a:pt x="58" y="423"/>
                  </a:lnTo>
                  <a:lnTo>
                    <a:pt x="0" y="100"/>
                  </a:lnTo>
                  <a:lnTo>
                    <a:pt x="0" y="100"/>
                  </a:lnTo>
                  <a:lnTo>
                    <a:pt x="0" y="90"/>
                  </a:lnTo>
                  <a:lnTo>
                    <a:pt x="2" y="80"/>
                  </a:lnTo>
                  <a:lnTo>
                    <a:pt x="4" y="70"/>
                  </a:lnTo>
                  <a:lnTo>
                    <a:pt x="7" y="61"/>
                  </a:lnTo>
                  <a:lnTo>
                    <a:pt x="13" y="53"/>
                  </a:lnTo>
                  <a:lnTo>
                    <a:pt x="17" y="45"/>
                  </a:lnTo>
                  <a:lnTo>
                    <a:pt x="23" y="36"/>
                  </a:lnTo>
                  <a:lnTo>
                    <a:pt x="29" y="30"/>
                  </a:lnTo>
                  <a:lnTo>
                    <a:pt x="36" y="23"/>
                  </a:lnTo>
                  <a:lnTo>
                    <a:pt x="44" y="18"/>
                  </a:lnTo>
                  <a:lnTo>
                    <a:pt x="53" y="13"/>
                  </a:lnTo>
                  <a:lnTo>
                    <a:pt x="61" y="9"/>
                  </a:lnTo>
                  <a:lnTo>
                    <a:pt x="70" y="6"/>
                  </a:lnTo>
                  <a:lnTo>
                    <a:pt x="80" y="2"/>
                  </a:lnTo>
                  <a:lnTo>
                    <a:pt x="90" y="1"/>
                  </a:lnTo>
                  <a:lnTo>
                    <a:pt x="99" y="0"/>
                  </a:lnTo>
                  <a:lnTo>
                    <a:pt x="287" y="0"/>
                  </a:lnTo>
                  <a:close/>
                </a:path>
              </a:pathLst>
            </a:custGeom>
            <a:solidFill>
              <a:srgbClr val="FAAB1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0" name="Freeform 687">
              <a:extLst>
                <a:ext uri="{FF2B5EF4-FFF2-40B4-BE49-F238E27FC236}">
                  <a16:creationId xmlns:a16="http://schemas.microsoft.com/office/drawing/2014/main" id="{61C8A993-C52C-0E0E-6FDD-BA5B4CF45323}"/>
                </a:ext>
              </a:extLst>
            </p:cNvPr>
            <p:cNvSpPr>
              <a:spLocks/>
            </p:cNvSpPr>
            <p:nvPr/>
          </p:nvSpPr>
          <p:spPr bwMode="auto">
            <a:xfrm>
              <a:off x="3632201" y="5580063"/>
              <a:ext cx="77788" cy="96838"/>
            </a:xfrm>
            <a:custGeom>
              <a:avLst/>
              <a:gdLst/>
              <a:ahLst/>
              <a:cxnLst>
                <a:cxn ang="0">
                  <a:pos x="287" y="0"/>
                </a:cxn>
                <a:cxn ang="0">
                  <a:pos x="307" y="2"/>
                </a:cxn>
                <a:cxn ang="0">
                  <a:pos x="326" y="9"/>
                </a:cxn>
                <a:cxn ang="0">
                  <a:pos x="343" y="18"/>
                </a:cxn>
                <a:cxn ang="0">
                  <a:pos x="358" y="30"/>
                </a:cxn>
                <a:cxn ang="0">
                  <a:pos x="370" y="45"/>
                </a:cxn>
                <a:cxn ang="0">
                  <a:pos x="379" y="61"/>
                </a:cxn>
                <a:cxn ang="0">
                  <a:pos x="384" y="80"/>
                </a:cxn>
                <a:cxn ang="0">
                  <a:pos x="386" y="100"/>
                </a:cxn>
                <a:cxn ang="0">
                  <a:pos x="329" y="423"/>
                </a:cxn>
                <a:cxn ang="0">
                  <a:pos x="328" y="437"/>
                </a:cxn>
                <a:cxn ang="0">
                  <a:pos x="324" y="450"/>
                </a:cxn>
                <a:cxn ang="0">
                  <a:pos x="317" y="462"/>
                </a:cxn>
                <a:cxn ang="0">
                  <a:pos x="308" y="472"/>
                </a:cxn>
                <a:cxn ang="0">
                  <a:pos x="298" y="480"/>
                </a:cxn>
                <a:cxn ang="0">
                  <a:pos x="286" y="488"/>
                </a:cxn>
                <a:cxn ang="0">
                  <a:pos x="273" y="491"/>
                </a:cxn>
                <a:cxn ang="0">
                  <a:pos x="260" y="493"/>
                </a:cxn>
                <a:cxn ang="0">
                  <a:pos x="128" y="493"/>
                </a:cxn>
                <a:cxn ang="0">
                  <a:pos x="113" y="491"/>
                </a:cxn>
                <a:cxn ang="0">
                  <a:pos x="101" y="488"/>
                </a:cxn>
                <a:cxn ang="0">
                  <a:pos x="89" y="480"/>
                </a:cxn>
                <a:cxn ang="0">
                  <a:pos x="78" y="472"/>
                </a:cxn>
                <a:cxn ang="0">
                  <a:pos x="70" y="462"/>
                </a:cxn>
                <a:cxn ang="0">
                  <a:pos x="64" y="450"/>
                </a:cxn>
                <a:cxn ang="0">
                  <a:pos x="60" y="437"/>
                </a:cxn>
                <a:cxn ang="0">
                  <a:pos x="58" y="423"/>
                </a:cxn>
                <a:cxn ang="0">
                  <a:pos x="0" y="100"/>
                </a:cxn>
                <a:cxn ang="0">
                  <a:pos x="2" y="80"/>
                </a:cxn>
                <a:cxn ang="0">
                  <a:pos x="8" y="61"/>
                </a:cxn>
                <a:cxn ang="0">
                  <a:pos x="18" y="45"/>
                </a:cxn>
                <a:cxn ang="0">
                  <a:pos x="30" y="30"/>
                </a:cxn>
                <a:cxn ang="0">
                  <a:pos x="44" y="18"/>
                </a:cxn>
                <a:cxn ang="0">
                  <a:pos x="61" y="9"/>
                </a:cxn>
                <a:cxn ang="0">
                  <a:pos x="79" y="2"/>
                </a:cxn>
                <a:cxn ang="0">
                  <a:pos x="100" y="0"/>
                </a:cxn>
              </a:cxnLst>
              <a:rect l="0" t="0" r="r" b="b"/>
              <a:pathLst>
                <a:path w="386" h="493">
                  <a:moveTo>
                    <a:pt x="287" y="0"/>
                  </a:moveTo>
                  <a:lnTo>
                    <a:pt x="287" y="0"/>
                  </a:lnTo>
                  <a:lnTo>
                    <a:pt x="298" y="1"/>
                  </a:lnTo>
                  <a:lnTo>
                    <a:pt x="307" y="2"/>
                  </a:lnTo>
                  <a:lnTo>
                    <a:pt x="316" y="6"/>
                  </a:lnTo>
                  <a:lnTo>
                    <a:pt x="326" y="9"/>
                  </a:lnTo>
                  <a:lnTo>
                    <a:pt x="335" y="13"/>
                  </a:lnTo>
                  <a:lnTo>
                    <a:pt x="343" y="18"/>
                  </a:lnTo>
                  <a:lnTo>
                    <a:pt x="350" y="23"/>
                  </a:lnTo>
                  <a:lnTo>
                    <a:pt x="358" y="30"/>
                  </a:lnTo>
                  <a:lnTo>
                    <a:pt x="364" y="36"/>
                  </a:lnTo>
                  <a:lnTo>
                    <a:pt x="370" y="45"/>
                  </a:lnTo>
                  <a:lnTo>
                    <a:pt x="375" y="53"/>
                  </a:lnTo>
                  <a:lnTo>
                    <a:pt x="379" y="61"/>
                  </a:lnTo>
                  <a:lnTo>
                    <a:pt x="382" y="70"/>
                  </a:lnTo>
                  <a:lnTo>
                    <a:pt x="384" y="80"/>
                  </a:lnTo>
                  <a:lnTo>
                    <a:pt x="386" y="90"/>
                  </a:lnTo>
                  <a:lnTo>
                    <a:pt x="386" y="100"/>
                  </a:lnTo>
                  <a:lnTo>
                    <a:pt x="329" y="423"/>
                  </a:lnTo>
                  <a:lnTo>
                    <a:pt x="329" y="423"/>
                  </a:lnTo>
                  <a:lnTo>
                    <a:pt x="329" y="430"/>
                  </a:lnTo>
                  <a:lnTo>
                    <a:pt x="328" y="437"/>
                  </a:lnTo>
                  <a:lnTo>
                    <a:pt x="326" y="443"/>
                  </a:lnTo>
                  <a:lnTo>
                    <a:pt x="324" y="450"/>
                  </a:lnTo>
                  <a:lnTo>
                    <a:pt x="320" y="456"/>
                  </a:lnTo>
                  <a:lnTo>
                    <a:pt x="317" y="462"/>
                  </a:lnTo>
                  <a:lnTo>
                    <a:pt x="313" y="467"/>
                  </a:lnTo>
                  <a:lnTo>
                    <a:pt x="308" y="472"/>
                  </a:lnTo>
                  <a:lnTo>
                    <a:pt x="303" y="476"/>
                  </a:lnTo>
                  <a:lnTo>
                    <a:pt x="298" y="480"/>
                  </a:lnTo>
                  <a:lnTo>
                    <a:pt x="293" y="485"/>
                  </a:lnTo>
                  <a:lnTo>
                    <a:pt x="286" y="488"/>
                  </a:lnTo>
                  <a:lnTo>
                    <a:pt x="280" y="490"/>
                  </a:lnTo>
                  <a:lnTo>
                    <a:pt x="273" y="491"/>
                  </a:lnTo>
                  <a:lnTo>
                    <a:pt x="266" y="492"/>
                  </a:lnTo>
                  <a:lnTo>
                    <a:pt x="260" y="493"/>
                  </a:lnTo>
                  <a:lnTo>
                    <a:pt x="128" y="493"/>
                  </a:lnTo>
                  <a:lnTo>
                    <a:pt x="128" y="493"/>
                  </a:lnTo>
                  <a:lnTo>
                    <a:pt x="121" y="492"/>
                  </a:lnTo>
                  <a:lnTo>
                    <a:pt x="113" y="491"/>
                  </a:lnTo>
                  <a:lnTo>
                    <a:pt x="107" y="490"/>
                  </a:lnTo>
                  <a:lnTo>
                    <a:pt x="101" y="488"/>
                  </a:lnTo>
                  <a:lnTo>
                    <a:pt x="95" y="485"/>
                  </a:lnTo>
                  <a:lnTo>
                    <a:pt x="89" y="480"/>
                  </a:lnTo>
                  <a:lnTo>
                    <a:pt x="83" y="476"/>
                  </a:lnTo>
                  <a:lnTo>
                    <a:pt x="78" y="472"/>
                  </a:lnTo>
                  <a:lnTo>
                    <a:pt x="74" y="467"/>
                  </a:lnTo>
                  <a:lnTo>
                    <a:pt x="70" y="462"/>
                  </a:lnTo>
                  <a:lnTo>
                    <a:pt x="67" y="456"/>
                  </a:lnTo>
                  <a:lnTo>
                    <a:pt x="64" y="450"/>
                  </a:lnTo>
                  <a:lnTo>
                    <a:pt x="61" y="443"/>
                  </a:lnTo>
                  <a:lnTo>
                    <a:pt x="60" y="437"/>
                  </a:lnTo>
                  <a:lnTo>
                    <a:pt x="59" y="430"/>
                  </a:lnTo>
                  <a:lnTo>
                    <a:pt x="58" y="423"/>
                  </a:lnTo>
                  <a:lnTo>
                    <a:pt x="0" y="100"/>
                  </a:lnTo>
                  <a:lnTo>
                    <a:pt x="0" y="100"/>
                  </a:lnTo>
                  <a:lnTo>
                    <a:pt x="1" y="90"/>
                  </a:lnTo>
                  <a:lnTo>
                    <a:pt x="2" y="80"/>
                  </a:lnTo>
                  <a:lnTo>
                    <a:pt x="5" y="70"/>
                  </a:lnTo>
                  <a:lnTo>
                    <a:pt x="8" y="61"/>
                  </a:lnTo>
                  <a:lnTo>
                    <a:pt x="12" y="53"/>
                  </a:lnTo>
                  <a:lnTo>
                    <a:pt x="18" y="45"/>
                  </a:lnTo>
                  <a:lnTo>
                    <a:pt x="23" y="36"/>
                  </a:lnTo>
                  <a:lnTo>
                    <a:pt x="30" y="30"/>
                  </a:lnTo>
                  <a:lnTo>
                    <a:pt x="36" y="23"/>
                  </a:lnTo>
                  <a:lnTo>
                    <a:pt x="44" y="18"/>
                  </a:lnTo>
                  <a:lnTo>
                    <a:pt x="53" y="13"/>
                  </a:lnTo>
                  <a:lnTo>
                    <a:pt x="61" y="9"/>
                  </a:lnTo>
                  <a:lnTo>
                    <a:pt x="70" y="6"/>
                  </a:lnTo>
                  <a:lnTo>
                    <a:pt x="79" y="2"/>
                  </a:lnTo>
                  <a:lnTo>
                    <a:pt x="90" y="1"/>
                  </a:lnTo>
                  <a:lnTo>
                    <a:pt x="100" y="0"/>
                  </a:lnTo>
                  <a:lnTo>
                    <a:pt x="287" y="0"/>
                  </a:lnTo>
                  <a:close/>
                </a:path>
              </a:pathLst>
            </a:custGeom>
            <a:solidFill>
              <a:srgbClr val="FAAB1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1" name="Freeform 688">
              <a:extLst>
                <a:ext uri="{FF2B5EF4-FFF2-40B4-BE49-F238E27FC236}">
                  <a16:creationId xmlns:a16="http://schemas.microsoft.com/office/drawing/2014/main" id="{C3294D68-39AE-BA70-B978-2A4065BA0023}"/>
                </a:ext>
              </a:extLst>
            </p:cNvPr>
            <p:cNvSpPr>
              <a:spLocks/>
            </p:cNvSpPr>
            <p:nvPr/>
          </p:nvSpPr>
          <p:spPr bwMode="auto">
            <a:xfrm>
              <a:off x="3632201" y="5580063"/>
              <a:ext cx="77788" cy="96838"/>
            </a:xfrm>
            <a:custGeom>
              <a:avLst/>
              <a:gdLst/>
              <a:ahLst/>
              <a:cxnLst>
                <a:cxn ang="0">
                  <a:pos x="287" y="0"/>
                </a:cxn>
                <a:cxn ang="0">
                  <a:pos x="307" y="2"/>
                </a:cxn>
                <a:cxn ang="0">
                  <a:pos x="326" y="9"/>
                </a:cxn>
                <a:cxn ang="0">
                  <a:pos x="343" y="18"/>
                </a:cxn>
                <a:cxn ang="0">
                  <a:pos x="358" y="30"/>
                </a:cxn>
                <a:cxn ang="0">
                  <a:pos x="370" y="45"/>
                </a:cxn>
                <a:cxn ang="0">
                  <a:pos x="379" y="61"/>
                </a:cxn>
                <a:cxn ang="0">
                  <a:pos x="384" y="80"/>
                </a:cxn>
                <a:cxn ang="0">
                  <a:pos x="386" y="100"/>
                </a:cxn>
                <a:cxn ang="0">
                  <a:pos x="329" y="423"/>
                </a:cxn>
                <a:cxn ang="0">
                  <a:pos x="328" y="437"/>
                </a:cxn>
                <a:cxn ang="0">
                  <a:pos x="324" y="450"/>
                </a:cxn>
                <a:cxn ang="0">
                  <a:pos x="317" y="462"/>
                </a:cxn>
                <a:cxn ang="0">
                  <a:pos x="308" y="472"/>
                </a:cxn>
                <a:cxn ang="0">
                  <a:pos x="298" y="480"/>
                </a:cxn>
                <a:cxn ang="0">
                  <a:pos x="286" y="488"/>
                </a:cxn>
                <a:cxn ang="0">
                  <a:pos x="273" y="491"/>
                </a:cxn>
                <a:cxn ang="0">
                  <a:pos x="260" y="493"/>
                </a:cxn>
                <a:cxn ang="0">
                  <a:pos x="128" y="493"/>
                </a:cxn>
                <a:cxn ang="0">
                  <a:pos x="113" y="491"/>
                </a:cxn>
                <a:cxn ang="0">
                  <a:pos x="101" y="488"/>
                </a:cxn>
                <a:cxn ang="0">
                  <a:pos x="89" y="480"/>
                </a:cxn>
                <a:cxn ang="0">
                  <a:pos x="78" y="472"/>
                </a:cxn>
                <a:cxn ang="0">
                  <a:pos x="70" y="462"/>
                </a:cxn>
                <a:cxn ang="0">
                  <a:pos x="64" y="450"/>
                </a:cxn>
                <a:cxn ang="0">
                  <a:pos x="60" y="437"/>
                </a:cxn>
                <a:cxn ang="0">
                  <a:pos x="58" y="423"/>
                </a:cxn>
                <a:cxn ang="0">
                  <a:pos x="0" y="100"/>
                </a:cxn>
                <a:cxn ang="0">
                  <a:pos x="2" y="80"/>
                </a:cxn>
                <a:cxn ang="0">
                  <a:pos x="8" y="61"/>
                </a:cxn>
                <a:cxn ang="0">
                  <a:pos x="18" y="45"/>
                </a:cxn>
                <a:cxn ang="0">
                  <a:pos x="30" y="30"/>
                </a:cxn>
                <a:cxn ang="0">
                  <a:pos x="44" y="18"/>
                </a:cxn>
                <a:cxn ang="0">
                  <a:pos x="61" y="9"/>
                </a:cxn>
                <a:cxn ang="0">
                  <a:pos x="79" y="2"/>
                </a:cxn>
                <a:cxn ang="0">
                  <a:pos x="100" y="0"/>
                </a:cxn>
              </a:cxnLst>
              <a:rect l="0" t="0" r="r" b="b"/>
              <a:pathLst>
                <a:path w="386" h="493">
                  <a:moveTo>
                    <a:pt x="287" y="0"/>
                  </a:moveTo>
                  <a:lnTo>
                    <a:pt x="287" y="0"/>
                  </a:lnTo>
                  <a:lnTo>
                    <a:pt x="298" y="1"/>
                  </a:lnTo>
                  <a:lnTo>
                    <a:pt x="307" y="2"/>
                  </a:lnTo>
                  <a:lnTo>
                    <a:pt x="316" y="6"/>
                  </a:lnTo>
                  <a:lnTo>
                    <a:pt x="326" y="9"/>
                  </a:lnTo>
                  <a:lnTo>
                    <a:pt x="335" y="13"/>
                  </a:lnTo>
                  <a:lnTo>
                    <a:pt x="343" y="18"/>
                  </a:lnTo>
                  <a:lnTo>
                    <a:pt x="350" y="23"/>
                  </a:lnTo>
                  <a:lnTo>
                    <a:pt x="358" y="30"/>
                  </a:lnTo>
                  <a:lnTo>
                    <a:pt x="364" y="36"/>
                  </a:lnTo>
                  <a:lnTo>
                    <a:pt x="370" y="45"/>
                  </a:lnTo>
                  <a:lnTo>
                    <a:pt x="375" y="53"/>
                  </a:lnTo>
                  <a:lnTo>
                    <a:pt x="379" y="61"/>
                  </a:lnTo>
                  <a:lnTo>
                    <a:pt x="382" y="70"/>
                  </a:lnTo>
                  <a:lnTo>
                    <a:pt x="384" y="80"/>
                  </a:lnTo>
                  <a:lnTo>
                    <a:pt x="386" y="90"/>
                  </a:lnTo>
                  <a:lnTo>
                    <a:pt x="386" y="100"/>
                  </a:lnTo>
                  <a:lnTo>
                    <a:pt x="329" y="423"/>
                  </a:lnTo>
                  <a:lnTo>
                    <a:pt x="329" y="423"/>
                  </a:lnTo>
                  <a:lnTo>
                    <a:pt x="329" y="430"/>
                  </a:lnTo>
                  <a:lnTo>
                    <a:pt x="328" y="437"/>
                  </a:lnTo>
                  <a:lnTo>
                    <a:pt x="326" y="443"/>
                  </a:lnTo>
                  <a:lnTo>
                    <a:pt x="324" y="450"/>
                  </a:lnTo>
                  <a:lnTo>
                    <a:pt x="320" y="456"/>
                  </a:lnTo>
                  <a:lnTo>
                    <a:pt x="317" y="462"/>
                  </a:lnTo>
                  <a:lnTo>
                    <a:pt x="313" y="467"/>
                  </a:lnTo>
                  <a:lnTo>
                    <a:pt x="308" y="472"/>
                  </a:lnTo>
                  <a:lnTo>
                    <a:pt x="303" y="476"/>
                  </a:lnTo>
                  <a:lnTo>
                    <a:pt x="298" y="480"/>
                  </a:lnTo>
                  <a:lnTo>
                    <a:pt x="293" y="485"/>
                  </a:lnTo>
                  <a:lnTo>
                    <a:pt x="286" y="488"/>
                  </a:lnTo>
                  <a:lnTo>
                    <a:pt x="280" y="490"/>
                  </a:lnTo>
                  <a:lnTo>
                    <a:pt x="273" y="491"/>
                  </a:lnTo>
                  <a:lnTo>
                    <a:pt x="266" y="492"/>
                  </a:lnTo>
                  <a:lnTo>
                    <a:pt x="260" y="493"/>
                  </a:lnTo>
                  <a:lnTo>
                    <a:pt x="128" y="493"/>
                  </a:lnTo>
                  <a:lnTo>
                    <a:pt x="128" y="493"/>
                  </a:lnTo>
                  <a:lnTo>
                    <a:pt x="121" y="492"/>
                  </a:lnTo>
                  <a:lnTo>
                    <a:pt x="113" y="491"/>
                  </a:lnTo>
                  <a:lnTo>
                    <a:pt x="107" y="490"/>
                  </a:lnTo>
                  <a:lnTo>
                    <a:pt x="101" y="488"/>
                  </a:lnTo>
                  <a:lnTo>
                    <a:pt x="95" y="485"/>
                  </a:lnTo>
                  <a:lnTo>
                    <a:pt x="89" y="480"/>
                  </a:lnTo>
                  <a:lnTo>
                    <a:pt x="83" y="476"/>
                  </a:lnTo>
                  <a:lnTo>
                    <a:pt x="78" y="472"/>
                  </a:lnTo>
                  <a:lnTo>
                    <a:pt x="74" y="467"/>
                  </a:lnTo>
                  <a:lnTo>
                    <a:pt x="70" y="462"/>
                  </a:lnTo>
                  <a:lnTo>
                    <a:pt x="67" y="456"/>
                  </a:lnTo>
                  <a:lnTo>
                    <a:pt x="64" y="450"/>
                  </a:lnTo>
                  <a:lnTo>
                    <a:pt x="61" y="443"/>
                  </a:lnTo>
                  <a:lnTo>
                    <a:pt x="60" y="437"/>
                  </a:lnTo>
                  <a:lnTo>
                    <a:pt x="59" y="430"/>
                  </a:lnTo>
                  <a:lnTo>
                    <a:pt x="58" y="423"/>
                  </a:lnTo>
                  <a:lnTo>
                    <a:pt x="0" y="100"/>
                  </a:lnTo>
                  <a:lnTo>
                    <a:pt x="0" y="100"/>
                  </a:lnTo>
                  <a:lnTo>
                    <a:pt x="1" y="90"/>
                  </a:lnTo>
                  <a:lnTo>
                    <a:pt x="2" y="80"/>
                  </a:lnTo>
                  <a:lnTo>
                    <a:pt x="5" y="70"/>
                  </a:lnTo>
                  <a:lnTo>
                    <a:pt x="8" y="61"/>
                  </a:lnTo>
                  <a:lnTo>
                    <a:pt x="12" y="53"/>
                  </a:lnTo>
                  <a:lnTo>
                    <a:pt x="18" y="45"/>
                  </a:lnTo>
                  <a:lnTo>
                    <a:pt x="23" y="36"/>
                  </a:lnTo>
                  <a:lnTo>
                    <a:pt x="30" y="30"/>
                  </a:lnTo>
                  <a:lnTo>
                    <a:pt x="36" y="23"/>
                  </a:lnTo>
                  <a:lnTo>
                    <a:pt x="44" y="18"/>
                  </a:lnTo>
                  <a:lnTo>
                    <a:pt x="53" y="13"/>
                  </a:lnTo>
                  <a:lnTo>
                    <a:pt x="61" y="9"/>
                  </a:lnTo>
                  <a:lnTo>
                    <a:pt x="70" y="6"/>
                  </a:lnTo>
                  <a:lnTo>
                    <a:pt x="79" y="2"/>
                  </a:lnTo>
                  <a:lnTo>
                    <a:pt x="90" y="1"/>
                  </a:lnTo>
                  <a:lnTo>
                    <a:pt x="100" y="0"/>
                  </a:lnTo>
                  <a:lnTo>
                    <a:pt x="287"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2" name="Freeform 689">
              <a:extLst>
                <a:ext uri="{FF2B5EF4-FFF2-40B4-BE49-F238E27FC236}">
                  <a16:creationId xmlns:a16="http://schemas.microsoft.com/office/drawing/2014/main" id="{21673744-346D-6041-A9DC-B5B762636A35}"/>
                </a:ext>
              </a:extLst>
            </p:cNvPr>
            <p:cNvSpPr>
              <a:spLocks/>
            </p:cNvSpPr>
            <p:nvPr/>
          </p:nvSpPr>
          <p:spPr bwMode="auto">
            <a:xfrm>
              <a:off x="3697288" y="5354638"/>
              <a:ext cx="115888" cy="17463"/>
            </a:xfrm>
            <a:custGeom>
              <a:avLst/>
              <a:gdLst/>
              <a:ahLst/>
              <a:cxnLst>
                <a:cxn ang="0">
                  <a:pos x="30" y="95"/>
                </a:cxn>
                <a:cxn ang="0">
                  <a:pos x="20" y="93"/>
                </a:cxn>
                <a:cxn ang="0">
                  <a:pos x="12" y="89"/>
                </a:cxn>
                <a:cxn ang="0">
                  <a:pos x="5" y="82"/>
                </a:cxn>
                <a:cxn ang="0">
                  <a:pos x="1" y="73"/>
                </a:cxn>
                <a:cxn ang="0">
                  <a:pos x="0" y="67"/>
                </a:cxn>
                <a:cxn ang="0">
                  <a:pos x="2" y="56"/>
                </a:cxn>
                <a:cxn ang="0">
                  <a:pos x="7" y="47"/>
                </a:cxn>
                <a:cxn ang="0">
                  <a:pos x="16" y="39"/>
                </a:cxn>
                <a:cxn ang="0">
                  <a:pos x="21" y="37"/>
                </a:cxn>
                <a:cxn ang="0">
                  <a:pos x="88" y="21"/>
                </a:cxn>
                <a:cxn ang="0">
                  <a:pos x="155" y="9"/>
                </a:cxn>
                <a:cxn ang="0">
                  <a:pos x="224" y="2"/>
                </a:cxn>
                <a:cxn ang="0">
                  <a:pos x="293" y="0"/>
                </a:cxn>
                <a:cxn ang="0">
                  <a:pos x="328" y="1"/>
                </a:cxn>
                <a:cxn ang="0">
                  <a:pos x="396" y="5"/>
                </a:cxn>
                <a:cxn ang="0">
                  <a:pos x="464" y="15"/>
                </a:cxn>
                <a:cxn ang="0">
                  <a:pos x="530" y="28"/>
                </a:cxn>
                <a:cxn ang="0">
                  <a:pos x="563" y="36"/>
                </a:cxn>
                <a:cxn ang="0">
                  <a:pos x="574" y="41"/>
                </a:cxn>
                <a:cxn ang="0">
                  <a:pos x="581" y="50"/>
                </a:cxn>
                <a:cxn ang="0">
                  <a:pos x="585" y="61"/>
                </a:cxn>
                <a:cxn ang="0">
                  <a:pos x="584" y="72"/>
                </a:cxn>
                <a:cxn ang="0">
                  <a:pos x="582" y="77"/>
                </a:cxn>
                <a:cxn ang="0">
                  <a:pos x="575" y="87"/>
                </a:cxn>
                <a:cxn ang="0">
                  <a:pos x="564" y="92"/>
                </a:cxn>
                <a:cxn ang="0">
                  <a:pos x="553" y="94"/>
                </a:cxn>
                <a:cxn ang="0">
                  <a:pos x="548" y="93"/>
                </a:cxn>
                <a:cxn ang="0">
                  <a:pos x="486" y="78"/>
                </a:cxn>
                <a:cxn ang="0">
                  <a:pos x="422" y="67"/>
                </a:cxn>
                <a:cxn ang="0">
                  <a:pos x="358" y="61"/>
                </a:cxn>
                <a:cxn ang="0">
                  <a:pos x="293" y="59"/>
                </a:cxn>
                <a:cxn ang="0">
                  <a:pos x="261" y="60"/>
                </a:cxn>
                <a:cxn ang="0">
                  <a:pos x="195" y="64"/>
                </a:cxn>
                <a:cxn ang="0">
                  <a:pos x="132" y="72"/>
                </a:cxn>
                <a:cxn ang="0">
                  <a:pos x="69" y="86"/>
                </a:cxn>
                <a:cxn ang="0">
                  <a:pos x="38" y="94"/>
                </a:cxn>
              </a:cxnLst>
              <a:rect l="0" t="0" r="r" b="b"/>
              <a:pathLst>
                <a:path w="585" h="95">
                  <a:moveTo>
                    <a:pt x="30" y="95"/>
                  </a:moveTo>
                  <a:lnTo>
                    <a:pt x="30" y="95"/>
                  </a:lnTo>
                  <a:lnTo>
                    <a:pt x="24" y="94"/>
                  </a:lnTo>
                  <a:lnTo>
                    <a:pt x="20" y="93"/>
                  </a:lnTo>
                  <a:lnTo>
                    <a:pt x="16" y="91"/>
                  </a:lnTo>
                  <a:lnTo>
                    <a:pt x="12" y="89"/>
                  </a:lnTo>
                  <a:lnTo>
                    <a:pt x="8" y="86"/>
                  </a:lnTo>
                  <a:lnTo>
                    <a:pt x="5" y="82"/>
                  </a:lnTo>
                  <a:lnTo>
                    <a:pt x="3" y="77"/>
                  </a:lnTo>
                  <a:lnTo>
                    <a:pt x="1" y="73"/>
                  </a:lnTo>
                  <a:lnTo>
                    <a:pt x="1" y="73"/>
                  </a:lnTo>
                  <a:lnTo>
                    <a:pt x="0" y="67"/>
                  </a:lnTo>
                  <a:lnTo>
                    <a:pt x="1" y="62"/>
                  </a:lnTo>
                  <a:lnTo>
                    <a:pt x="2" y="56"/>
                  </a:lnTo>
                  <a:lnTo>
                    <a:pt x="4" y="51"/>
                  </a:lnTo>
                  <a:lnTo>
                    <a:pt x="7" y="47"/>
                  </a:lnTo>
                  <a:lnTo>
                    <a:pt x="11" y="42"/>
                  </a:lnTo>
                  <a:lnTo>
                    <a:pt x="16" y="39"/>
                  </a:lnTo>
                  <a:lnTo>
                    <a:pt x="21" y="37"/>
                  </a:lnTo>
                  <a:lnTo>
                    <a:pt x="21" y="37"/>
                  </a:lnTo>
                  <a:lnTo>
                    <a:pt x="54" y="28"/>
                  </a:lnTo>
                  <a:lnTo>
                    <a:pt x="88" y="21"/>
                  </a:lnTo>
                  <a:lnTo>
                    <a:pt x="121" y="15"/>
                  </a:lnTo>
                  <a:lnTo>
                    <a:pt x="155" y="9"/>
                  </a:lnTo>
                  <a:lnTo>
                    <a:pt x="190" y="5"/>
                  </a:lnTo>
                  <a:lnTo>
                    <a:pt x="224" y="2"/>
                  </a:lnTo>
                  <a:lnTo>
                    <a:pt x="259" y="1"/>
                  </a:lnTo>
                  <a:lnTo>
                    <a:pt x="293" y="0"/>
                  </a:lnTo>
                  <a:lnTo>
                    <a:pt x="293" y="0"/>
                  </a:lnTo>
                  <a:lnTo>
                    <a:pt x="328" y="1"/>
                  </a:lnTo>
                  <a:lnTo>
                    <a:pt x="362" y="2"/>
                  </a:lnTo>
                  <a:lnTo>
                    <a:pt x="396" y="5"/>
                  </a:lnTo>
                  <a:lnTo>
                    <a:pt x="430" y="9"/>
                  </a:lnTo>
                  <a:lnTo>
                    <a:pt x="464" y="15"/>
                  </a:lnTo>
                  <a:lnTo>
                    <a:pt x="497" y="21"/>
                  </a:lnTo>
                  <a:lnTo>
                    <a:pt x="530" y="28"/>
                  </a:lnTo>
                  <a:lnTo>
                    <a:pt x="563" y="36"/>
                  </a:lnTo>
                  <a:lnTo>
                    <a:pt x="563" y="36"/>
                  </a:lnTo>
                  <a:lnTo>
                    <a:pt x="568" y="38"/>
                  </a:lnTo>
                  <a:lnTo>
                    <a:pt x="574" y="41"/>
                  </a:lnTo>
                  <a:lnTo>
                    <a:pt x="578" y="45"/>
                  </a:lnTo>
                  <a:lnTo>
                    <a:pt x="581" y="50"/>
                  </a:lnTo>
                  <a:lnTo>
                    <a:pt x="583" y="55"/>
                  </a:lnTo>
                  <a:lnTo>
                    <a:pt x="585" y="61"/>
                  </a:lnTo>
                  <a:lnTo>
                    <a:pt x="585" y="66"/>
                  </a:lnTo>
                  <a:lnTo>
                    <a:pt x="584" y="72"/>
                  </a:lnTo>
                  <a:lnTo>
                    <a:pt x="584" y="72"/>
                  </a:lnTo>
                  <a:lnTo>
                    <a:pt x="582" y="77"/>
                  </a:lnTo>
                  <a:lnTo>
                    <a:pt x="579" y="83"/>
                  </a:lnTo>
                  <a:lnTo>
                    <a:pt x="575" y="87"/>
                  </a:lnTo>
                  <a:lnTo>
                    <a:pt x="569" y="90"/>
                  </a:lnTo>
                  <a:lnTo>
                    <a:pt x="564" y="92"/>
                  </a:lnTo>
                  <a:lnTo>
                    <a:pt x="559" y="94"/>
                  </a:lnTo>
                  <a:lnTo>
                    <a:pt x="553" y="94"/>
                  </a:lnTo>
                  <a:lnTo>
                    <a:pt x="548" y="93"/>
                  </a:lnTo>
                  <a:lnTo>
                    <a:pt x="548" y="93"/>
                  </a:lnTo>
                  <a:lnTo>
                    <a:pt x="517" y="85"/>
                  </a:lnTo>
                  <a:lnTo>
                    <a:pt x="486" y="78"/>
                  </a:lnTo>
                  <a:lnTo>
                    <a:pt x="454" y="72"/>
                  </a:lnTo>
                  <a:lnTo>
                    <a:pt x="422" y="67"/>
                  </a:lnTo>
                  <a:lnTo>
                    <a:pt x="390" y="64"/>
                  </a:lnTo>
                  <a:lnTo>
                    <a:pt x="358" y="61"/>
                  </a:lnTo>
                  <a:lnTo>
                    <a:pt x="326" y="59"/>
                  </a:lnTo>
                  <a:lnTo>
                    <a:pt x="293" y="59"/>
                  </a:lnTo>
                  <a:lnTo>
                    <a:pt x="293" y="59"/>
                  </a:lnTo>
                  <a:lnTo>
                    <a:pt x="261" y="60"/>
                  </a:lnTo>
                  <a:lnTo>
                    <a:pt x="228" y="61"/>
                  </a:lnTo>
                  <a:lnTo>
                    <a:pt x="195" y="64"/>
                  </a:lnTo>
                  <a:lnTo>
                    <a:pt x="163" y="67"/>
                  </a:lnTo>
                  <a:lnTo>
                    <a:pt x="132" y="72"/>
                  </a:lnTo>
                  <a:lnTo>
                    <a:pt x="100" y="78"/>
                  </a:lnTo>
                  <a:lnTo>
                    <a:pt x="69" y="86"/>
                  </a:lnTo>
                  <a:lnTo>
                    <a:pt x="38" y="94"/>
                  </a:lnTo>
                  <a:lnTo>
                    <a:pt x="38" y="94"/>
                  </a:lnTo>
                  <a:lnTo>
                    <a:pt x="30" y="95"/>
                  </a:lnTo>
                  <a:close/>
                </a:path>
              </a:pathLst>
            </a:custGeom>
            <a:solidFill>
              <a:srgbClr val="CC881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3" name="Freeform 690">
              <a:extLst>
                <a:ext uri="{FF2B5EF4-FFF2-40B4-BE49-F238E27FC236}">
                  <a16:creationId xmlns:a16="http://schemas.microsoft.com/office/drawing/2014/main" id="{F8F7AA4D-F10C-57FC-BC66-B5F3A7FBC32E}"/>
                </a:ext>
              </a:extLst>
            </p:cNvPr>
            <p:cNvSpPr>
              <a:spLocks/>
            </p:cNvSpPr>
            <p:nvPr/>
          </p:nvSpPr>
          <p:spPr bwMode="auto">
            <a:xfrm>
              <a:off x="3697288" y="5354638"/>
              <a:ext cx="115888" cy="17463"/>
            </a:xfrm>
            <a:custGeom>
              <a:avLst/>
              <a:gdLst/>
              <a:ahLst/>
              <a:cxnLst>
                <a:cxn ang="0">
                  <a:pos x="30" y="95"/>
                </a:cxn>
                <a:cxn ang="0">
                  <a:pos x="20" y="93"/>
                </a:cxn>
                <a:cxn ang="0">
                  <a:pos x="12" y="89"/>
                </a:cxn>
                <a:cxn ang="0">
                  <a:pos x="5" y="82"/>
                </a:cxn>
                <a:cxn ang="0">
                  <a:pos x="1" y="73"/>
                </a:cxn>
                <a:cxn ang="0">
                  <a:pos x="0" y="67"/>
                </a:cxn>
                <a:cxn ang="0">
                  <a:pos x="2" y="56"/>
                </a:cxn>
                <a:cxn ang="0">
                  <a:pos x="7" y="47"/>
                </a:cxn>
                <a:cxn ang="0">
                  <a:pos x="16" y="39"/>
                </a:cxn>
                <a:cxn ang="0">
                  <a:pos x="21" y="37"/>
                </a:cxn>
                <a:cxn ang="0">
                  <a:pos x="88" y="21"/>
                </a:cxn>
                <a:cxn ang="0">
                  <a:pos x="155" y="9"/>
                </a:cxn>
                <a:cxn ang="0">
                  <a:pos x="224" y="2"/>
                </a:cxn>
                <a:cxn ang="0">
                  <a:pos x="293" y="0"/>
                </a:cxn>
                <a:cxn ang="0">
                  <a:pos x="328" y="1"/>
                </a:cxn>
                <a:cxn ang="0">
                  <a:pos x="396" y="5"/>
                </a:cxn>
                <a:cxn ang="0">
                  <a:pos x="464" y="15"/>
                </a:cxn>
                <a:cxn ang="0">
                  <a:pos x="530" y="28"/>
                </a:cxn>
                <a:cxn ang="0">
                  <a:pos x="563" y="36"/>
                </a:cxn>
                <a:cxn ang="0">
                  <a:pos x="574" y="41"/>
                </a:cxn>
                <a:cxn ang="0">
                  <a:pos x="581" y="50"/>
                </a:cxn>
                <a:cxn ang="0">
                  <a:pos x="585" y="61"/>
                </a:cxn>
                <a:cxn ang="0">
                  <a:pos x="584" y="72"/>
                </a:cxn>
                <a:cxn ang="0">
                  <a:pos x="582" y="77"/>
                </a:cxn>
                <a:cxn ang="0">
                  <a:pos x="575" y="87"/>
                </a:cxn>
                <a:cxn ang="0">
                  <a:pos x="564" y="92"/>
                </a:cxn>
                <a:cxn ang="0">
                  <a:pos x="553" y="94"/>
                </a:cxn>
                <a:cxn ang="0">
                  <a:pos x="548" y="93"/>
                </a:cxn>
                <a:cxn ang="0">
                  <a:pos x="486" y="78"/>
                </a:cxn>
                <a:cxn ang="0">
                  <a:pos x="422" y="67"/>
                </a:cxn>
                <a:cxn ang="0">
                  <a:pos x="358" y="61"/>
                </a:cxn>
                <a:cxn ang="0">
                  <a:pos x="293" y="59"/>
                </a:cxn>
                <a:cxn ang="0">
                  <a:pos x="261" y="60"/>
                </a:cxn>
                <a:cxn ang="0">
                  <a:pos x="195" y="64"/>
                </a:cxn>
                <a:cxn ang="0">
                  <a:pos x="132" y="72"/>
                </a:cxn>
                <a:cxn ang="0">
                  <a:pos x="69" y="86"/>
                </a:cxn>
                <a:cxn ang="0">
                  <a:pos x="38" y="94"/>
                </a:cxn>
              </a:cxnLst>
              <a:rect l="0" t="0" r="r" b="b"/>
              <a:pathLst>
                <a:path w="585" h="95">
                  <a:moveTo>
                    <a:pt x="30" y="95"/>
                  </a:moveTo>
                  <a:lnTo>
                    <a:pt x="30" y="95"/>
                  </a:lnTo>
                  <a:lnTo>
                    <a:pt x="24" y="94"/>
                  </a:lnTo>
                  <a:lnTo>
                    <a:pt x="20" y="93"/>
                  </a:lnTo>
                  <a:lnTo>
                    <a:pt x="16" y="91"/>
                  </a:lnTo>
                  <a:lnTo>
                    <a:pt x="12" y="89"/>
                  </a:lnTo>
                  <a:lnTo>
                    <a:pt x="8" y="86"/>
                  </a:lnTo>
                  <a:lnTo>
                    <a:pt x="5" y="82"/>
                  </a:lnTo>
                  <a:lnTo>
                    <a:pt x="3" y="77"/>
                  </a:lnTo>
                  <a:lnTo>
                    <a:pt x="1" y="73"/>
                  </a:lnTo>
                  <a:lnTo>
                    <a:pt x="1" y="73"/>
                  </a:lnTo>
                  <a:lnTo>
                    <a:pt x="0" y="67"/>
                  </a:lnTo>
                  <a:lnTo>
                    <a:pt x="1" y="62"/>
                  </a:lnTo>
                  <a:lnTo>
                    <a:pt x="2" y="56"/>
                  </a:lnTo>
                  <a:lnTo>
                    <a:pt x="4" y="51"/>
                  </a:lnTo>
                  <a:lnTo>
                    <a:pt x="7" y="47"/>
                  </a:lnTo>
                  <a:lnTo>
                    <a:pt x="11" y="42"/>
                  </a:lnTo>
                  <a:lnTo>
                    <a:pt x="16" y="39"/>
                  </a:lnTo>
                  <a:lnTo>
                    <a:pt x="21" y="37"/>
                  </a:lnTo>
                  <a:lnTo>
                    <a:pt x="21" y="37"/>
                  </a:lnTo>
                  <a:lnTo>
                    <a:pt x="54" y="28"/>
                  </a:lnTo>
                  <a:lnTo>
                    <a:pt x="88" y="21"/>
                  </a:lnTo>
                  <a:lnTo>
                    <a:pt x="121" y="15"/>
                  </a:lnTo>
                  <a:lnTo>
                    <a:pt x="155" y="9"/>
                  </a:lnTo>
                  <a:lnTo>
                    <a:pt x="190" y="5"/>
                  </a:lnTo>
                  <a:lnTo>
                    <a:pt x="224" y="2"/>
                  </a:lnTo>
                  <a:lnTo>
                    <a:pt x="259" y="1"/>
                  </a:lnTo>
                  <a:lnTo>
                    <a:pt x="293" y="0"/>
                  </a:lnTo>
                  <a:lnTo>
                    <a:pt x="293" y="0"/>
                  </a:lnTo>
                  <a:lnTo>
                    <a:pt x="328" y="1"/>
                  </a:lnTo>
                  <a:lnTo>
                    <a:pt x="362" y="2"/>
                  </a:lnTo>
                  <a:lnTo>
                    <a:pt x="396" y="5"/>
                  </a:lnTo>
                  <a:lnTo>
                    <a:pt x="430" y="9"/>
                  </a:lnTo>
                  <a:lnTo>
                    <a:pt x="464" y="15"/>
                  </a:lnTo>
                  <a:lnTo>
                    <a:pt x="497" y="21"/>
                  </a:lnTo>
                  <a:lnTo>
                    <a:pt x="530" y="28"/>
                  </a:lnTo>
                  <a:lnTo>
                    <a:pt x="563" y="36"/>
                  </a:lnTo>
                  <a:lnTo>
                    <a:pt x="563" y="36"/>
                  </a:lnTo>
                  <a:lnTo>
                    <a:pt x="568" y="38"/>
                  </a:lnTo>
                  <a:lnTo>
                    <a:pt x="574" y="41"/>
                  </a:lnTo>
                  <a:lnTo>
                    <a:pt x="578" y="45"/>
                  </a:lnTo>
                  <a:lnTo>
                    <a:pt x="581" y="50"/>
                  </a:lnTo>
                  <a:lnTo>
                    <a:pt x="583" y="55"/>
                  </a:lnTo>
                  <a:lnTo>
                    <a:pt x="585" y="61"/>
                  </a:lnTo>
                  <a:lnTo>
                    <a:pt x="585" y="66"/>
                  </a:lnTo>
                  <a:lnTo>
                    <a:pt x="584" y="72"/>
                  </a:lnTo>
                  <a:lnTo>
                    <a:pt x="584" y="72"/>
                  </a:lnTo>
                  <a:lnTo>
                    <a:pt x="582" y="77"/>
                  </a:lnTo>
                  <a:lnTo>
                    <a:pt x="579" y="83"/>
                  </a:lnTo>
                  <a:lnTo>
                    <a:pt x="575" y="87"/>
                  </a:lnTo>
                  <a:lnTo>
                    <a:pt x="569" y="90"/>
                  </a:lnTo>
                  <a:lnTo>
                    <a:pt x="564" y="92"/>
                  </a:lnTo>
                  <a:lnTo>
                    <a:pt x="559" y="94"/>
                  </a:lnTo>
                  <a:lnTo>
                    <a:pt x="553" y="94"/>
                  </a:lnTo>
                  <a:lnTo>
                    <a:pt x="548" y="93"/>
                  </a:lnTo>
                  <a:lnTo>
                    <a:pt x="548" y="93"/>
                  </a:lnTo>
                  <a:lnTo>
                    <a:pt x="517" y="85"/>
                  </a:lnTo>
                  <a:lnTo>
                    <a:pt x="486" y="78"/>
                  </a:lnTo>
                  <a:lnTo>
                    <a:pt x="454" y="72"/>
                  </a:lnTo>
                  <a:lnTo>
                    <a:pt x="422" y="67"/>
                  </a:lnTo>
                  <a:lnTo>
                    <a:pt x="390" y="64"/>
                  </a:lnTo>
                  <a:lnTo>
                    <a:pt x="358" y="61"/>
                  </a:lnTo>
                  <a:lnTo>
                    <a:pt x="326" y="59"/>
                  </a:lnTo>
                  <a:lnTo>
                    <a:pt x="293" y="59"/>
                  </a:lnTo>
                  <a:lnTo>
                    <a:pt x="293" y="59"/>
                  </a:lnTo>
                  <a:lnTo>
                    <a:pt x="261" y="60"/>
                  </a:lnTo>
                  <a:lnTo>
                    <a:pt x="228" y="61"/>
                  </a:lnTo>
                  <a:lnTo>
                    <a:pt x="195" y="64"/>
                  </a:lnTo>
                  <a:lnTo>
                    <a:pt x="163" y="67"/>
                  </a:lnTo>
                  <a:lnTo>
                    <a:pt x="132" y="72"/>
                  </a:lnTo>
                  <a:lnTo>
                    <a:pt x="100" y="78"/>
                  </a:lnTo>
                  <a:lnTo>
                    <a:pt x="69" y="86"/>
                  </a:lnTo>
                  <a:lnTo>
                    <a:pt x="38" y="94"/>
                  </a:lnTo>
                  <a:lnTo>
                    <a:pt x="38" y="94"/>
                  </a:lnTo>
                  <a:lnTo>
                    <a:pt x="30" y="95"/>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4" name="Freeform 691">
              <a:extLst>
                <a:ext uri="{FF2B5EF4-FFF2-40B4-BE49-F238E27FC236}">
                  <a16:creationId xmlns:a16="http://schemas.microsoft.com/office/drawing/2014/main" id="{C5FECFD3-1ACA-9B2A-A00B-AC3D77DCA693}"/>
                </a:ext>
              </a:extLst>
            </p:cNvPr>
            <p:cNvSpPr>
              <a:spLocks/>
            </p:cNvSpPr>
            <p:nvPr/>
          </p:nvSpPr>
          <p:spPr bwMode="auto">
            <a:xfrm>
              <a:off x="3695701" y="5205413"/>
              <a:ext cx="111125" cy="112713"/>
            </a:xfrm>
            <a:custGeom>
              <a:avLst/>
              <a:gdLst/>
              <a:ahLst/>
              <a:cxnLst>
                <a:cxn ang="0">
                  <a:pos x="561" y="295"/>
                </a:cxn>
                <a:cxn ang="0">
                  <a:pos x="556" y="337"/>
                </a:cxn>
                <a:cxn ang="0">
                  <a:pos x="544" y="377"/>
                </a:cxn>
                <a:cxn ang="0">
                  <a:pos x="528" y="414"/>
                </a:cxn>
                <a:cxn ang="0">
                  <a:pos x="506" y="449"/>
                </a:cxn>
                <a:cxn ang="0">
                  <a:pos x="480" y="479"/>
                </a:cxn>
                <a:cxn ang="0">
                  <a:pos x="449" y="506"/>
                </a:cxn>
                <a:cxn ang="0">
                  <a:pos x="415" y="528"/>
                </a:cxn>
                <a:cxn ang="0">
                  <a:pos x="378" y="544"/>
                </a:cxn>
                <a:cxn ang="0">
                  <a:pos x="337" y="556"/>
                </a:cxn>
                <a:cxn ang="0">
                  <a:pos x="295" y="562"/>
                </a:cxn>
                <a:cxn ang="0">
                  <a:pos x="266" y="562"/>
                </a:cxn>
                <a:cxn ang="0">
                  <a:pos x="224" y="556"/>
                </a:cxn>
                <a:cxn ang="0">
                  <a:pos x="184" y="544"/>
                </a:cxn>
                <a:cxn ang="0">
                  <a:pos x="147" y="528"/>
                </a:cxn>
                <a:cxn ang="0">
                  <a:pos x="113" y="506"/>
                </a:cxn>
                <a:cxn ang="0">
                  <a:pos x="82" y="479"/>
                </a:cxn>
                <a:cxn ang="0">
                  <a:pos x="56" y="449"/>
                </a:cxn>
                <a:cxn ang="0">
                  <a:pos x="33" y="414"/>
                </a:cxn>
                <a:cxn ang="0">
                  <a:pos x="17" y="377"/>
                </a:cxn>
                <a:cxn ang="0">
                  <a:pos x="6" y="337"/>
                </a:cxn>
                <a:cxn ang="0">
                  <a:pos x="0" y="295"/>
                </a:cxn>
                <a:cxn ang="0">
                  <a:pos x="0" y="266"/>
                </a:cxn>
                <a:cxn ang="0">
                  <a:pos x="6" y="224"/>
                </a:cxn>
                <a:cxn ang="0">
                  <a:pos x="17" y="185"/>
                </a:cxn>
                <a:cxn ang="0">
                  <a:pos x="33" y="147"/>
                </a:cxn>
                <a:cxn ang="0">
                  <a:pos x="56" y="113"/>
                </a:cxn>
                <a:cxn ang="0">
                  <a:pos x="82" y="83"/>
                </a:cxn>
                <a:cxn ang="0">
                  <a:pos x="113" y="56"/>
                </a:cxn>
                <a:cxn ang="0">
                  <a:pos x="147" y="34"/>
                </a:cxn>
                <a:cxn ang="0">
                  <a:pos x="184" y="17"/>
                </a:cxn>
                <a:cxn ang="0">
                  <a:pos x="224" y="5"/>
                </a:cxn>
                <a:cxn ang="0">
                  <a:pos x="266" y="0"/>
                </a:cxn>
                <a:cxn ang="0">
                  <a:pos x="295" y="0"/>
                </a:cxn>
                <a:cxn ang="0">
                  <a:pos x="337" y="5"/>
                </a:cxn>
                <a:cxn ang="0">
                  <a:pos x="378" y="17"/>
                </a:cxn>
                <a:cxn ang="0">
                  <a:pos x="415" y="34"/>
                </a:cxn>
                <a:cxn ang="0">
                  <a:pos x="449" y="56"/>
                </a:cxn>
                <a:cxn ang="0">
                  <a:pos x="480" y="83"/>
                </a:cxn>
                <a:cxn ang="0">
                  <a:pos x="506" y="113"/>
                </a:cxn>
                <a:cxn ang="0">
                  <a:pos x="528" y="147"/>
                </a:cxn>
                <a:cxn ang="0">
                  <a:pos x="544" y="185"/>
                </a:cxn>
                <a:cxn ang="0">
                  <a:pos x="556" y="224"/>
                </a:cxn>
                <a:cxn ang="0">
                  <a:pos x="561" y="266"/>
                </a:cxn>
              </a:cxnLst>
              <a:rect l="0" t="0" r="r" b="b"/>
              <a:pathLst>
                <a:path w="562" h="562">
                  <a:moveTo>
                    <a:pt x="562" y="281"/>
                  </a:moveTo>
                  <a:lnTo>
                    <a:pt x="562" y="281"/>
                  </a:lnTo>
                  <a:lnTo>
                    <a:pt x="561" y="295"/>
                  </a:lnTo>
                  <a:lnTo>
                    <a:pt x="560" y="309"/>
                  </a:lnTo>
                  <a:lnTo>
                    <a:pt x="559" y="324"/>
                  </a:lnTo>
                  <a:lnTo>
                    <a:pt x="556" y="337"/>
                  </a:lnTo>
                  <a:lnTo>
                    <a:pt x="553" y="352"/>
                  </a:lnTo>
                  <a:lnTo>
                    <a:pt x="549" y="364"/>
                  </a:lnTo>
                  <a:lnTo>
                    <a:pt x="544" y="377"/>
                  </a:lnTo>
                  <a:lnTo>
                    <a:pt x="539" y="391"/>
                  </a:lnTo>
                  <a:lnTo>
                    <a:pt x="534" y="403"/>
                  </a:lnTo>
                  <a:lnTo>
                    <a:pt x="528" y="414"/>
                  </a:lnTo>
                  <a:lnTo>
                    <a:pt x="521" y="427"/>
                  </a:lnTo>
                  <a:lnTo>
                    <a:pt x="514" y="438"/>
                  </a:lnTo>
                  <a:lnTo>
                    <a:pt x="506" y="449"/>
                  </a:lnTo>
                  <a:lnTo>
                    <a:pt x="497" y="460"/>
                  </a:lnTo>
                  <a:lnTo>
                    <a:pt x="489" y="470"/>
                  </a:lnTo>
                  <a:lnTo>
                    <a:pt x="480" y="479"/>
                  </a:lnTo>
                  <a:lnTo>
                    <a:pt x="469" y="489"/>
                  </a:lnTo>
                  <a:lnTo>
                    <a:pt x="459" y="498"/>
                  </a:lnTo>
                  <a:lnTo>
                    <a:pt x="449" y="506"/>
                  </a:lnTo>
                  <a:lnTo>
                    <a:pt x="437" y="513"/>
                  </a:lnTo>
                  <a:lnTo>
                    <a:pt x="426" y="522"/>
                  </a:lnTo>
                  <a:lnTo>
                    <a:pt x="415" y="528"/>
                  </a:lnTo>
                  <a:lnTo>
                    <a:pt x="402" y="534"/>
                  </a:lnTo>
                  <a:lnTo>
                    <a:pt x="390" y="540"/>
                  </a:lnTo>
                  <a:lnTo>
                    <a:pt x="378" y="544"/>
                  </a:lnTo>
                  <a:lnTo>
                    <a:pt x="364" y="549"/>
                  </a:lnTo>
                  <a:lnTo>
                    <a:pt x="351" y="553"/>
                  </a:lnTo>
                  <a:lnTo>
                    <a:pt x="337" y="556"/>
                  </a:lnTo>
                  <a:lnTo>
                    <a:pt x="324" y="559"/>
                  </a:lnTo>
                  <a:lnTo>
                    <a:pt x="309" y="561"/>
                  </a:lnTo>
                  <a:lnTo>
                    <a:pt x="295" y="562"/>
                  </a:lnTo>
                  <a:lnTo>
                    <a:pt x="281" y="562"/>
                  </a:lnTo>
                  <a:lnTo>
                    <a:pt x="281" y="562"/>
                  </a:lnTo>
                  <a:lnTo>
                    <a:pt x="266" y="562"/>
                  </a:lnTo>
                  <a:lnTo>
                    <a:pt x="252" y="561"/>
                  </a:lnTo>
                  <a:lnTo>
                    <a:pt x="238" y="559"/>
                  </a:lnTo>
                  <a:lnTo>
                    <a:pt x="224" y="556"/>
                  </a:lnTo>
                  <a:lnTo>
                    <a:pt x="211" y="553"/>
                  </a:lnTo>
                  <a:lnTo>
                    <a:pt x="197" y="549"/>
                  </a:lnTo>
                  <a:lnTo>
                    <a:pt x="184" y="544"/>
                  </a:lnTo>
                  <a:lnTo>
                    <a:pt x="171" y="540"/>
                  </a:lnTo>
                  <a:lnTo>
                    <a:pt x="159" y="534"/>
                  </a:lnTo>
                  <a:lnTo>
                    <a:pt x="147" y="528"/>
                  </a:lnTo>
                  <a:lnTo>
                    <a:pt x="135" y="522"/>
                  </a:lnTo>
                  <a:lnTo>
                    <a:pt x="124" y="513"/>
                  </a:lnTo>
                  <a:lnTo>
                    <a:pt x="113" y="506"/>
                  </a:lnTo>
                  <a:lnTo>
                    <a:pt x="102" y="498"/>
                  </a:lnTo>
                  <a:lnTo>
                    <a:pt x="92" y="489"/>
                  </a:lnTo>
                  <a:lnTo>
                    <a:pt x="82" y="479"/>
                  </a:lnTo>
                  <a:lnTo>
                    <a:pt x="72" y="470"/>
                  </a:lnTo>
                  <a:lnTo>
                    <a:pt x="64" y="460"/>
                  </a:lnTo>
                  <a:lnTo>
                    <a:pt x="56" y="449"/>
                  </a:lnTo>
                  <a:lnTo>
                    <a:pt x="48" y="438"/>
                  </a:lnTo>
                  <a:lnTo>
                    <a:pt x="41" y="427"/>
                  </a:lnTo>
                  <a:lnTo>
                    <a:pt x="33" y="414"/>
                  </a:lnTo>
                  <a:lnTo>
                    <a:pt x="27" y="403"/>
                  </a:lnTo>
                  <a:lnTo>
                    <a:pt x="22" y="391"/>
                  </a:lnTo>
                  <a:lnTo>
                    <a:pt x="17" y="377"/>
                  </a:lnTo>
                  <a:lnTo>
                    <a:pt x="13" y="364"/>
                  </a:lnTo>
                  <a:lnTo>
                    <a:pt x="9" y="352"/>
                  </a:lnTo>
                  <a:lnTo>
                    <a:pt x="6" y="337"/>
                  </a:lnTo>
                  <a:lnTo>
                    <a:pt x="3" y="324"/>
                  </a:lnTo>
                  <a:lnTo>
                    <a:pt x="1" y="309"/>
                  </a:lnTo>
                  <a:lnTo>
                    <a:pt x="0" y="295"/>
                  </a:lnTo>
                  <a:lnTo>
                    <a:pt x="0" y="281"/>
                  </a:lnTo>
                  <a:lnTo>
                    <a:pt x="0" y="281"/>
                  </a:lnTo>
                  <a:lnTo>
                    <a:pt x="0" y="266"/>
                  </a:lnTo>
                  <a:lnTo>
                    <a:pt x="1" y="253"/>
                  </a:lnTo>
                  <a:lnTo>
                    <a:pt x="3" y="238"/>
                  </a:lnTo>
                  <a:lnTo>
                    <a:pt x="6" y="224"/>
                  </a:lnTo>
                  <a:lnTo>
                    <a:pt x="9" y="210"/>
                  </a:lnTo>
                  <a:lnTo>
                    <a:pt x="13" y="197"/>
                  </a:lnTo>
                  <a:lnTo>
                    <a:pt x="17" y="185"/>
                  </a:lnTo>
                  <a:lnTo>
                    <a:pt x="22" y="171"/>
                  </a:lnTo>
                  <a:lnTo>
                    <a:pt x="27" y="159"/>
                  </a:lnTo>
                  <a:lnTo>
                    <a:pt x="33" y="147"/>
                  </a:lnTo>
                  <a:lnTo>
                    <a:pt x="41" y="135"/>
                  </a:lnTo>
                  <a:lnTo>
                    <a:pt x="48" y="124"/>
                  </a:lnTo>
                  <a:lnTo>
                    <a:pt x="56" y="113"/>
                  </a:lnTo>
                  <a:lnTo>
                    <a:pt x="64" y="102"/>
                  </a:lnTo>
                  <a:lnTo>
                    <a:pt x="72" y="92"/>
                  </a:lnTo>
                  <a:lnTo>
                    <a:pt x="82" y="83"/>
                  </a:lnTo>
                  <a:lnTo>
                    <a:pt x="92" y="73"/>
                  </a:lnTo>
                  <a:lnTo>
                    <a:pt x="102" y="64"/>
                  </a:lnTo>
                  <a:lnTo>
                    <a:pt x="113" y="56"/>
                  </a:lnTo>
                  <a:lnTo>
                    <a:pt x="124" y="48"/>
                  </a:lnTo>
                  <a:lnTo>
                    <a:pt x="135" y="41"/>
                  </a:lnTo>
                  <a:lnTo>
                    <a:pt x="147" y="34"/>
                  </a:lnTo>
                  <a:lnTo>
                    <a:pt x="159" y="28"/>
                  </a:lnTo>
                  <a:lnTo>
                    <a:pt x="171" y="22"/>
                  </a:lnTo>
                  <a:lnTo>
                    <a:pt x="184" y="17"/>
                  </a:lnTo>
                  <a:lnTo>
                    <a:pt x="197" y="13"/>
                  </a:lnTo>
                  <a:lnTo>
                    <a:pt x="211" y="9"/>
                  </a:lnTo>
                  <a:lnTo>
                    <a:pt x="224" y="5"/>
                  </a:lnTo>
                  <a:lnTo>
                    <a:pt x="238" y="3"/>
                  </a:lnTo>
                  <a:lnTo>
                    <a:pt x="252" y="1"/>
                  </a:lnTo>
                  <a:lnTo>
                    <a:pt x="266" y="0"/>
                  </a:lnTo>
                  <a:lnTo>
                    <a:pt x="281" y="0"/>
                  </a:lnTo>
                  <a:lnTo>
                    <a:pt x="281" y="0"/>
                  </a:lnTo>
                  <a:lnTo>
                    <a:pt x="295" y="0"/>
                  </a:lnTo>
                  <a:lnTo>
                    <a:pt x="309" y="1"/>
                  </a:lnTo>
                  <a:lnTo>
                    <a:pt x="324" y="3"/>
                  </a:lnTo>
                  <a:lnTo>
                    <a:pt x="337" y="5"/>
                  </a:lnTo>
                  <a:lnTo>
                    <a:pt x="351" y="9"/>
                  </a:lnTo>
                  <a:lnTo>
                    <a:pt x="364" y="13"/>
                  </a:lnTo>
                  <a:lnTo>
                    <a:pt x="378" y="17"/>
                  </a:lnTo>
                  <a:lnTo>
                    <a:pt x="390" y="22"/>
                  </a:lnTo>
                  <a:lnTo>
                    <a:pt x="402" y="28"/>
                  </a:lnTo>
                  <a:lnTo>
                    <a:pt x="415" y="34"/>
                  </a:lnTo>
                  <a:lnTo>
                    <a:pt x="426" y="41"/>
                  </a:lnTo>
                  <a:lnTo>
                    <a:pt x="437" y="48"/>
                  </a:lnTo>
                  <a:lnTo>
                    <a:pt x="449" y="56"/>
                  </a:lnTo>
                  <a:lnTo>
                    <a:pt x="459" y="64"/>
                  </a:lnTo>
                  <a:lnTo>
                    <a:pt x="469" y="73"/>
                  </a:lnTo>
                  <a:lnTo>
                    <a:pt x="480" y="83"/>
                  </a:lnTo>
                  <a:lnTo>
                    <a:pt x="489" y="92"/>
                  </a:lnTo>
                  <a:lnTo>
                    <a:pt x="497" y="102"/>
                  </a:lnTo>
                  <a:lnTo>
                    <a:pt x="506" y="113"/>
                  </a:lnTo>
                  <a:lnTo>
                    <a:pt x="514" y="124"/>
                  </a:lnTo>
                  <a:lnTo>
                    <a:pt x="521" y="135"/>
                  </a:lnTo>
                  <a:lnTo>
                    <a:pt x="528" y="147"/>
                  </a:lnTo>
                  <a:lnTo>
                    <a:pt x="534" y="159"/>
                  </a:lnTo>
                  <a:lnTo>
                    <a:pt x="539" y="171"/>
                  </a:lnTo>
                  <a:lnTo>
                    <a:pt x="544" y="185"/>
                  </a:lnTo>
                  <a:lnTo>
                    <a:pt x="549" y="197"/>
                  </a:lnTo>
                  <a:lnTo>
                    <a:pt x="553" y="210"/>
                  </a:lnTo>
                  <a:lnTo>
                    <a:pt x="556" y="224"/>
                  </a:lnTo>
                  <a:lnTo>
                    <a:pt x="559" y="238"/>
                  </a:lnTo>
                  <a:lnTo>
                    <a:pt x="560" y="253"/>
                  </a:lnTo>
                  <a:lnTo>
                    <a:pt x="561" y="266"/>
                  </a:lnTo>
                  <a:lnTo>
                    <a:pt x="562" y="281"/>
                  </a:lnTo>
                  <a:close/>
                </a:path>
              </a:pathLst>
            </a:custGeom>
            <a:solidFill>
              <a:srgbClr val="FAAB1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5" name="Freeform 692">
              <a:extLst>
                <a:ext uri="{FF2B5EF4-FFF2-40B4-BE49-F238E27FC236}">
                  <a16:creationId xmlns:a16="http://schemas.microsoft.com/office/drawing/2014/main" id="{D7F0F472-2A88-D0C6-7403-2E5EEA303799}"/>
                </a:ext>
              </a:extLst>
            </p:cNvPr>
            <p:cNvSpPr>
              <a:spLocks/>
            </p:cNvSpPr>
            <p:nvPr/>
          </p:nvSpPr>
          <p:spPr bwMode="auto">
            <a:xfrm>
              <a:off x="3695701" y="5205413"/>
              <a:ext cx="111125" cy="112713"/>
            </a:xfrm>
            <a:custGeom>
              <a:avLst/>
              <a:gdLst/>
              <a:ahLst/>
              <a:cxnLst>
                <a:cxn ang="0">
                  <a:pos x="561" y="295"/>
                </a:cxn>
                <a:cxn ang="0">
                  <a:pos x="556" y="337"/>
                </a:cxn>
                <a:cxn ang="0">
                  <a:pos x="544" y="377"/>
                </a:cxn>
                <a:cxn ang="0">
                  <a:pos x="528" y="414"/>
                </a:cxn>
                <a:cxn ang="0">
                  <a:pos x="506" y="449"/>
                </a:cxn>
                <a:cxn ang="0">
                  <a:pos x="480" y="479"/>
                </a:cxn>
                <a:cxn ang="0">
                  <a:pos x="449" y="506"/>
                </a:cxn>
                <a:cxn ang="0">
                  <a:pos x="415" y="528"/>
                </a:cxn>
                <a:cxn ang="0">
                  <a:pos x="378" y="544"/>
                </a:cxn>
                <a:cxn ang="0">
                  <a:pos x="337" y="556"/>
                </a:cxn>
                <a:cxn ang="0">
                  <a:pos x="295" y="562"/>
                </a:cxn>
                <a:cxn ang="0">
                  <a:pos x="266" y="562"/>
                </a:cxn>
                <a:cxn ang="0">
                  <a:pos x="224" y="556"/>
                </a:cxn>
                <a:cxn ang="0">
                  <a:pos x="184" y="544"/>
                </a:cxn>
                <a:cxn ang="0">
                  <a:pos x="147" y="528"/>
                </a:cxn>
                <a:cxn ang="0">
                  <a:pos x="113" y="506"/>
                </a:cxn>
                <a:cxn ang="0">
                  <a:pos x="82" y="479"/>
                </a:cxn>
                <a:cxn ang="0">
                  <a:pos x="56" y="449"/>
                </a:cxn>
                <a:cxn ang="0">
                  <a:pos x="33" y="414"/>
                </a:cxn>
                <a:cxn ang="0">
                  <a:pos x="17" y="377"/>
                </a:cxn>
                <a:cxn ang="0">
                  <a:pos x="6" y="337"/>
                </a:cxn>
                <a:cxn ang="0">
                  <a:pos x="0" y="295"/>
                </a:cxn>
                <a:cxn ang="0">
                  <a:pos x="0" y="266"/>
                </a:cxn>
                <a:cxn ang="0">
                  <a:pos x="6" y="224"/>
                </a:cxn>
                <a:cxn ang="0">
                  <a:pos x="17" y="185"/>
                </a:cxn>
                <a:cxn ang="0">
                  <a:pos x="33" y="147"/>
                </a:cxn>
                <a:cxn ang="0">
                  <a:pos x="56" y="113"/>
                </a:cxn>
                <a:cxn ang="0">
                  <a:pos x="82" y="83"/>
                </a:cxn>
                <a:cxn ang="0">
                  <a:pos x="113" y="56"/>
                </a:cxn>
                <a:cxn ang="0">
                  <a:pos x="147" y="34"/>
                </a:cxn>
                <a:cxn ang="0">
                  <a:pos x="184" y="17"/>
                </a:cxn>
                <a:cxn ang="0">
                  <a:pos x="224" y="5"/>
                </a:cxn>
                <a:cxn ang="0">
                  <a:pos x="266" y="0"/>
                </a:cxn>
                <a:cxn ang="0">
                  <a:pos x="295" y="0"/>
                </a:cxn>
                <a:cxn ang="0">
                  <a:pos x="337" y="5"/>
                </a:cxn>
                <a:cxn ang="0">
                  <a:pos x="378" y="17"/>
                </a:cxn>
                <a:cxn ang="0">
                  <a:pos x="415" y="34"/>
                </a:cxn>
                <a:cxn ang="0">
                  <a:pos x="449" y="56"/>
                </a:cxn>
                <a:cxn ang="0">
                  <a:pos x="480" y="83"/>
                </a:cxn>
                <a:cxn ang="0">
                  <a:pos x="506" y="113"/>
                </a:cxn>
                <a:cxn ang="0">
                  <a:pos x="528" y="147"/>
                </a:cxn>
                <a:cxn ang="0">
                  <a:pos x="544" y="185"/>
                </a:cxn>
                <a:cxn ang="0">
                  <a:pos x="556" y="224"/>
                </a:cxn>
                <a:cxn ang="0">
                  <a:pos x="561" y="266"/>
                </a:cxn>
              </a:cxnLst>
              <a:rect l="0" t="0" r="r" b="b"/>
              <a:pathLst>
                <a:path w="562" h="562">
                  <a:moveTo>
                    <a:pt x="562" y="281"/>
                  </a:moveTo>
                  <a:lnTo>
                    <a:pt x="562" y="281"/>
                  </a:lnTo>
                  <a:lnTo>
                    <a:pt x="561" y="295"/>
                  </a:lnTo>
                  <a:lnTo>
                    <a:pt x="560" y="309"/>
                  </a:lnTo>
                  <a:lnTo>
                    <a:pt x="559" y="324"/>
                  </a:lnTo>
                  <a:lnTo>
                    <a:pt x="556" y="337"/>
                  </a:lnTo>
                  <a:lnTo>
                    <a:pt x="553" y="352"/>
                  </a:lnTo>
                  <a:lnTo>
                    <a:pt x="549" y="364"/>
                  </a:lnTo>
                  <a:lnTo>
                    <a:pt x="544" y="377"/>
                  </a:lnTo>
                  <a:lnTo>
                    <a:pt x="539" y="391"/>
                  </a:lnTo>
                  <a:lnTo>
                    <a:pt x="534" y="403"/>
                  </a:lnTo>
                  <a:lnTo>
                    <a:pt x="528" y="414"/>
                  </a:lnTo>
                  <a:lnTo>
                    <a:pt x="521" y="427"/>
                  </a:lnTo>
                  <a:lnTo>
                    <a:pt x="514" y="438"/>
                  </a:lnTo>
                  <a:lnTo>
                    <a:pt x="506" y="449"/>
                  </a:lnTo>
                  <a:lnTo>
                    <a:pt x="497" y="460"/>
                  </a:lnTo>
                  <a:lnTo>
                    <a:pt x="489" y="470"/>
                  </a:lnTo>
                  <a:lnTo>
                    <a:pt x="480" y="479"/>
                  </a:lnTo>
                  <a:lnTo>
                    <a:pt x="469" y="489"/>
                  </a:lnTo>
                  <a:lnTo>
                    <a:pt x="459" y="498"/>
                  </a:lnTo>
                  <a:lnTo>
                    <a:pt x="449" y="506"/>
                  </a:lnTo>
                  <a:lnTo>
                    <a:pt x="437" y="513"/>
                  </a:lnTo>
                  <a:lnTo>
                    <a:pt x="426" y="522"/>
                  </a:lnTo>
                  <a:lnTo>
                    <a:pt x="415" y="528"/>
                  </a:lnTo>
                  <a:lnTo>
                    <a:pt x="402" y="534"/>
                  </a:lnTo>
                  <a:lnTo>
                    <a:pt x="390" y="540"/>
                  </a:lnTo>
                  <a:lnTo>
                    <a:pt x="378" y="544"/>
                  </a:lnTo>
                  <a:lnTo>
                    <a:pt x="364" y="549"/>
                  </a:lnTo>
                  <a:lnTo>
                    <a:pt x="351" y="553"/>
                  </a:lnTo>
                  <a:lnTo>
                    <a:pt x="337" y="556"/>
                  </a:lnTo>
                  <a:lnTo>
                    <a:pt x="324" y="559"/>
                  </a:lnTo>
                  <a:lnTo>
                    <a:pt x="309" y="561"/>
                  </a:lnTo>
                  <a:lnTo>
                    <a:pt x="295" y="562"/>
                  </a:lnTo>
                  <a:lnTo>
                    <a:pt x="281" y="562"/>
                  </a:lnTo>
                  <a:lnTo>
                    <a:pt x="281" y="562"/>
                  </a:lnTo>
                  <a:lnTo>
                    <a:pt x="266" y="562"/>
                  </a:lnTo>
                  <a:lnTo>
                    <a:pt x="252" y="561"/>
                  </a:lnTo>
                  <a:lnTo>
                    <a:pt x="238" y="559"/>
                  </a:lnTo>
                  <a:lnTo>
                    <a:pt x="224" y="556"/>
                  </a:lnTo>
                  <a:lnTo>
                    <a:pt x="211" y="553"/>
                  </a:lnTo>
                  <a:lnTo>
                    <a:pt x="197" y="549"/>
                  </a:lnTo>
                  <a:lnTo>
                    <a:pt x="184" y="544"/>
                  </a:lnTo>
                  <a:lnTo>
                    <a:pt x="171" y="540"/>
                  </a:lnTo>
                  <a:lnTo>
                    <a:pt x="159" y="534"/>
                  </a:lnTo>
                  <a:lnTo>
                    <a:pt x="147" y="528"/>
                  </a:lnTo>
                  <a:lnTo>
                    <a:pt x="135" y="522"/>
                  </a:lnTo>
                  <a:lnTo>
                    <a:pt x="124" y="513"/>
                  </a:lnTo>
                  <a:lnTo>
                    <a:pt x="113" y="506"/>
                  </a:lnTo>
                  <a:lnTo>
                    <a:pt x="102" y="498"/>
                  </a:lnTo>
                  <a:lnTo>
                    <a:pt x="92" y="489"/>
                  </a:lnTo>
                  <a:lnTo>
                    <a:pt x="82" y="479"/>
                  </a:lnTo>
                  <a:lnTo>
                    <a:pt x="72" y="470"/>
                  </a:lnTo>
                  <a:lnTo>
                    <a:pt x="64" y="460"/>
                  </a:lnTo>
                  <a:lnTo>
                    <a:pt x="56" y="449"/>
                  </a:lnTo>
                  <a:lnTo>
                    <a:pt x="48" y="438"/>
                  </a:lnTo>
                  <a:lnTo>
                    <a:pt x="41" y="427"/>
                  </a:lnTo>
                  <a:lnTo>
                    <a:pt x="33" y="414"/>
                  </a:lnTo>
                  <a:lnTo>
                    <a:pt x="27" y="403"/>
                  </a:lnTo>
                  <a:lnTo>
                    <a:pt x="22" y="391"/>
                  </a:lnTo>
                  <a:lnTo>
                    <a:pt x="17" y="377"/>
                  </a:lnTo>
                  <a:lnTo>
                    <a:pt x="13" y="364"/>
                  </a:lnTo>
                  <a:lnTo>
                    <a:pt x="9" y="352"/>
                  </a:lnTo>
                  <a:lnTo>
                    <a:pt x="6" y="337"/>
                  </a:lnTo>
                  <a:lnTo>
                    <a:pt x="3" y="324"/>
                  </a:lnTo>
                  <a:lnTo>
                    <a:pt x="1" y="309"/>
                  </a:lnTo>
                  <a:lnTo>
                    <a:pt x="0" y="295"/>
                  </a:lnTo>
                  <a:lnTo>
                    <a:pt x="0" y="281"/>
                  </a:lnTo>
                  <a:lnTo>
                    <a:pt x="0" y="281"/>
                  </a:lnTo>
                  <a:lnTo>
                    <a:pt x="0" y="266"/>
                  </a:lnTo>
                  <a:lnTo>
                    <a:pt x="1" y="253"/>
                  </a:lnTo>
                  <a:lnTo>
                    <a:pt x="3" y="238"/>
                  </a:lnTo>
                  <a:lnTo>
                    <a:pt x="6" y="224"/>
                  </a:lnTo>
                  <a:lnTo>
                    <a:pt x="9" y="210"/>
                  </a:lnTo>
                  <a:lnTo>
                    <a:pt x="13" y="197"/>
                  </a:lnTo>
                  <a:lnTo>
                    <a:pt x="17" y="185"/>
                  </a:lnTo>
                  <a:lnTo>
                    <a:pt x="22" y="171"/>
                  </a:lnTo>
                  <a:lnTo>
                    <a:pt x="27" y="159"/>
                  </a:lnTo>
                  <a:lnTo>
                    <a:pt x="33" y="147"/>
                  </a:lnTo>
                  <a:lnTo>
                    <a:pt x="41" y="135"/>
                  </a:lnTo>
                  <a:lnTo>
                    <a:pt x="48" y="124"/>
                  </a:lnTo>
                  <a:lnTo>
                    <a:pt x="56" y="113"/>
                  </a:lnTo>
                  <a:lnTo>
                    <a:pt x="64" y="102"/>
                  </a:lnTo>
                  <a:lnTo>
                    <a:pt x="72" y="92"/>
                  </a:lnTo>
                  <a:lnTo>
                    <a:pt x="82" y="83"/>
                  </a:lnTo>
                  <a:lnTo>
                    <a:pt x="92" y="73"/>
                  </a:lnTo>
                  <a:lnTo>
                    <a:pt x="102" y="64"/>
                  </a:lnTo>
                  <a:lnTo>
                    <a:pt x="113" y="56"/>
                  </a:lnTo>
                  <a:lnTo>
                    <a:pt x="124" y="48"/>
                  </a:lnTo>
                  <a:lnTo>
                    <a:pt x="135" y="41"/>
                  </a:lnTo>
                  <a:lnTo>
                    <a:pt x="147" y="34"/>
                  </a:lnTo>
                  <a:lnTo>
                    <a:pt x="159" y="28"/>
                  </a:lnTo>
                  <a:lnTo>
                    <a:pt x="171" y="22"/>
                  </a:lnTo>
                  <a:lnTo>
                    <a:pt x="184" y="17"/>
                  </a:lnTo>
                  <a:lnTo>
                    <a:pt x="197" y="13"/>
                  </a:lnTo>
                  <a:lnTo>
                    <a:pt x="211" y="9"/>
                  </a:lnTo>
                  <a:lnTo>
                    <a:pt x="224" y="5"/>
                  </a:lnTo>
                  <a:lnTo>
                    <a:pt x="238" y="3"/>
                  </a:lnTo>
                  <a:lnTo>
                    <a:pt x="252" y="1"/>
                  </a:lnTo>
                  <a:lnTo>
                    <a:pt x="266" y="0"/>
                  </a:lnTo>
                  <a:lnTo>
                    <a:pt x="281" y="0"/>
                  </a:lnTo>
                  <a:lnTo>
                    <a:pt x="281" y="0"/>
                  </a:lnTo>
                  <a:lnTo>
                    <a:pt x="295" y="0"/>
                  </a:lnTo>
                  <a:lnTo>
                    <a:pt x="309" y="1"/>
                  </a:lnTo>
                  <a:lnTo>
                    <a:pt x="324" y="3"/>
                  </a:lnTo>
                  <a:lnTo>
                    <a:pt x="337" y="5"/>
                  </a:lnTo>
                  <a:lnTo>
                    <a:pt x="351" y="9"/>
                  </a:lnTo>
                  <a:lnTo>
                    <a:pt x="364" y="13"/>
                  </a:lnTo>
                  <a:lnTo>
                    <a:pt x="378" y="17"/>
                  </a:lnTo>
                  <a:lnTo>
                    <a:pt x="390" y="22"/>
                  </a:lnTo>
                  <a:lnTo>
                    <a:pt x="402" y="28"/>
                  </a:lnTo>
                  <a:lnTo>
                    <a:pt x="415" y="34"/>
                  </a:lnTo>
                  <a:lnTo>
                    <a:pt x="426" y="41"/>
                  </a:lnTo>
                  <a:lnTo>
                    <a:pt x="437" y="48"/>
                  </a:lnTo>
                  <a:lnTo>
                    <a:pt x="449" y="56"/>
                  </a:lnTo>
                  <a:lnTo>
                    <a:pt x="459" y="64"/>
                  </a:lnTo>
                  <a:lnTo>
                    <a:pt x="469" y="73"/>
                  </a:lnTo>
                  <a:lnTo>
                    <a:pt x="480" y="83"/>
                  </a:lnTo>
                  <a:lnTo>
                    <a:pt x="489" y="92"/>
                  </a:lnTo>
                  <a:lnTo>
                    <a:pt x="497" y="102"/>
                  </a:lnTo>
                  <a:lnTo>
                    <a:pt x="506" y="113"/>
                  </a:lnTo>
                  <a:lnTo>
                    <a:pt x="514" y="124"/>
                  </a:lnTo>
                  <a:lnTo>
                    <a:pt x="521" y="135"/>
                  </a:lnTo>
                  <a:lnTo>
                    <a:pt x="528" y="147"/>
                  </a:lnTo>
                  <a:lnTo>
                    <a:pt x="534" y="159"/>
                  </a:lnTo>
                  <a:lnTo>
                    <a:pt x="539" y="171"/>
                  </a:lnTo>
                  <a:lnTo>
                    <a:pt x="544" y="185"/>
                  </a:lnTo>
                  <a:lnTo>
                    <a:pt x="549" y="197"/>
                  </a:lnTo>
                  <a:lnTo>
                    <a:pt x="553" y="210"/>
                  </a:lnTo>
                  <a:lnTo>
                    <a:pt x="556" y="224"/>
                  </a:lnTo>
                  <a:lnTo>
                    <a:pt x="559" y="238"/>
                  </a:lnTo>
                  <a:lnTo>
                    <a:pt x="560" y="253"/>
                  </a:lnTo>
                  <a:lnTo>
                    <a:pt x="561" y="266"/>
                  </a:lnTo>
                  <a:lnTo>
                    <a:pt x="562" y="281"/>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6" name="Freeform 693">
              <a:extLst>
                <a:ext uri="{FF2B5EF4-FFF2-40B4-BE49-F238E27FC236}">
                  <a16:creationId xmlns:a16="http://schemas.microsoft.com/office/drawing/2014/main" id="{562FD32C-5062-EFA8-3C36-75007B36D8AB}"/>
                </a:ext>
              </a:extLst>
            </p:cNvPr>
            <p:cNvSpPr>
              <a:spLocks/>
            </p:cNvSpPr>
            <p:nvPr/>
          </p:nvSpPr>
          <p:spPr bwMode="auto">
            <a:xfrm>
              <a:off x="3706813" y="5216525"/>
              <a:ext cx="88900" cy="90488"/>
            </a:xfrm>
            <a:custGeom>
              <a:avLst/>
              <a:gdLst/>
              <a:ahLst/>
              <a:cxnLst>
                <a:cxn ang="0">
                  <a:pos x="450" y="225"/>
                </a:cxn>
                <a:cxn ang="0">
                  <a:pos x="445" y="270"/>
                </a:cxn>
                <a:cxn ang="0">
                  <a:pos x="432" y="312"/>
                </a:cxn>
                <a:cxn ang="0">
                  <a:pos x="411" y="351"/>
                </a:cxn>
                <a:cxn ang="0">
                  <a:pos x="384" y="384"/>
                </a:cxn>
                <a:cxn ang="0">
                  <a:pos x="350" y="412"/>
                </a:cxn>
                <a:cxn ang="0">
                  <a:pos x="312" y="433"/>
                </a:cxn>
                <a:cxn ang="0">
                  <a:pos x="270" y="446"/>
                </a:cxn>
                <a:cxn ang="0">
                  <a:pos x="225" y="450"/>
                </a:cxn>
                <a:cxn ang="0">
                  <a:pos x="202" y="449"/>
                </a:cxn>
                <a:cxn ang="0">
                  <a:pos x="158" y="440"/>
                </a:cxn>
                <a:cxn ang="0">
                  <a:pos x="117" y="423"/>
                </a:cxn>
                <a:cxn ang="0">
                  <a:pos x="81" y="399"/>
                </a:cxn>
                <a:cxn ang="0">
                  <a:pos x="50" y="368"/>
                </a:cxn>
                <a:cxn ang="0">
                  <a:pos x="27" y="333"/>
                </a:cxn>
                <a:cxn ang="0">
                  <a:pos x="9" y="292"/>
                </a:cxn>
                <a:cxn ang="0">
                  <a:pos x="1" y="248"/>
                </a:cxn>
                <a:cxn ang="0">
                  <a:pos x="0" y="225"/>
                </a:cxn>
                <a:cxn ang="0">
                  <a:pos x="4" y="179"/>
                </a:cxn>
                <a:cxn ang="0">
                  <a:pos x="18" y="137"/>
                </a:cxn>
                <a:cxn ang="0">
                  <a:pos x="38" y="99"/>
                </a:cxn>
                <a:cxn ang="0">
                  <a:pos x="66" y="66"/>
                </a:cxn>
                <a:cxn ang="0">
                  <a:pos x="99" y="38"/>
                </a:cxn>
                <a:cxn ang="0">
                  <a:pos x="137" y="17"/>
                </a:cxn>
                <a:cxn ang="0">
                  <a:pos x="179" y="4"/>
                </a:cxn>
                <a:cxn ang="0">
                  <a:pos x="225" y="0"/>
                </a:cxn>
                <a:cxn ang="0">
                  <a:pos x="247" y="1"/>
                </a:cxn>
                <a:cxn ang="0">
                  <a:pos x="292" y="10"/>
                </a:cxn>
                <a:cxn ang="0">
                  <a:pos x="332" y="27"/>
                </a:cxn>
                <a:cxn ang="0">
                  <a:pos x="368" y="51"/>
                </a:cxn>
                <a:cxn ang="0">
                  <a:pos x="399" y="81"/>
                </a:cxn>
                <a:cxn ang="0">
                  <a:pos x="422" y="117"/>
                </a:cxn>
                <a:cxn ang="0">
                  <a:pos x="440" y="158"/>
                </a:cxn>
                <a:cxn ang="0">
                  <a:pos x="448" y="202"/>
                </a:cxn>
              </a:cxnLst>
              <a:rect l="0" t="0" r="r" b="b"/>
              <a:pathLst>
                <a:path w="450" h="450">
                  <a:moveTo>
                    <a:pt x="450" y="225"/>
                  </a:moveTo>
                  <a:lnTo>
                    <a:pt x="450" y="225"/>
                  </a:lnTo>
                  <a:lnTo>
                    <a:pt x="448" y="248"/>
                  </a:lnTo>
                  <a:lnTo>
                    <a:pt x="445" y="270"/>
                  </a:lnTo>
                  <a:lnTo>
                    <a:pt x="440" y="292"/>
                  </a:lnTo>
                  <a:lnTo>
                    <a:pt x="432" y="312"/>
                  </a:lnTo>
                  <a:lnTo>
                    <a:pt x="422" y="333"/>
                  </a:lnTo>
                  <a:lnTo>
                    <a:pt x="411" y="351"/>
                  </a:lnTo>
                  <a:lnTo>
                    <a:pt x="399" y="368"/>
                  </a:lnTo>
                  <a:lnTo>
                    <a:pt x="384" y="384"/>
                  </a:lnTo>
                  <a:lnTo>
                    <a:pt x="368" y="399"/>
                  </a:lnTo>
                  <a:lnTo>
                    <a:pt x="350" y="412"/>
                  </a:lnTo>
                  <a:lnTo>
                    <a:pt x="332" y="423"/>
                  </a:lnTo>
                  <a:lnTo>
                    <a:pt x="312" y="433"/>
                  </a:lnTo>
                  <a:lnTo>
                    <a:pt x="292" y="440"/>
                  </a:lnTo>
                  <a:lnTo>
                    <a:pt x="270" y="446"/>
                  </a:lnTo>
                  <a:lnTo>
                    <a:pt x="247" y="449"/>
                  </a:lnTo>
                  <a:lnTo>
                    <a:pt x="225" y="450"/>
                  </a:lnTo>
                  <a:lnTo>
                    <a:pt x="225" y="450"/>
                  </a:lnTo>
                  <a:lnTo>
                    <a:pt x="202" y="449"/>
                  </a:lnTo>
                  <a:lnTo>
                    <a:pt x="179" y="446"/>
                  </a:lnTo>
                  <a:lnTo>
                    <a:pt x="158" y="440"/>
                  </a:lnTo>
                  <a:lnTo>
                    <a:pt x="137" y="433"/>
                  </a:lnTo>
                  <a:lnTo>
                    <a:pt x="117" y="423"/>
                  </a:lnTo>
                  <a:lnTo>
                    <a:pt x="99" y="412"/>
                  </a:lnTo>
                  <a:lnTo>
                    <a:pt x="81" y="399"/>
                  </a:lnTo>
                  <a:lnTo>
                    <a:pt x="66" y="384"/>
                  </a:lnTo>
                  <a:lnTo>
                    <a:pt x="50" y="368"/>
                  </a:lnTo>
                  <a:lnTo>
                    <a:pt x="38" y="351"/>
                  </a:lnTo>
                  <a:lnTo>
                    <a:pt x="27" y="333"/>
                  </a:lnTo>
                  <a:lnTo>
                    <a:pt x="18" y="312"/>
                  </a:lnTo>
                  <a:lnTo>
                    <a:pt x="9" y="292"/>
                  </a:lnTo>
                  <a:lnTo>
                    <a:pt x="4" y="270"/>
                  </a:lnTo>
                  <a:lnTo>
                    <a:pt x="1" y="248"/>
                  </a:lnTo>
                  <a:lnTo>
                    <a:pt x="0" y="225"/>
                  </a:lnTo>
                  <a:lnTo>
                    <a:pt x="0" y="225"/>
                  </a:lnTo>
                  <a:lnTo>
                    <a:pt x="1" y="202"/>
                  </a:lnTo>
                  <a:lnTo>
                    <a:pt x="4" y="179"/>
                  </a:lnTo>
                  <a:lnTo>
                    <a:pt x="9" y="158"/>
                  </a:lnTo>
                  <a:lnTo>
                    <a:pt x="18" y="137"/>
                  </a:lnTo>
                  <a:lnTo>
                    <a:pt x="27" y="117"/>
                  </a:lnTo>
                  <a:lnTo>
                    <a:pt x="38" y="99"/>
                  </a:lnTo>
                  <a:lnTo>
                    <a:pt x="50" y="81"/>
                  </a:lnTo>
                  <a:lnTo>
                    <a:pt x="66" y="66"/>
                  </a:lnTo>
                  <a:lnTo>
                    <a:pt x="81" y="51"/>
                  </a:lnTo>
                  <a:lnTo>
                    <a:pt x="99" y="38"/>
                  </a:lnTo>
                  <a:lnTo>
                    <a:pt x="117" y="27"/>
                  </a:lnTo>
                  <a:lnTo>
                    <a:pt x="137" y="17"/>
                  </a:lnTo>
                  <a:lnTo>
                    <a:pt x="158" y="10"/>
                  </a:lnTo>
                  <a:lnTo>
                    <a:pt x="179" y="4"/>
                  </a:lnTo>
                  <a:lnTo>
                    <a:pt x="202" y="1"/>
                  </a:lnTo>
                  <a:lnTo>
                    <a:pt x="225" y="0"/>
                  </a:lnTo>
                  <a:lnTo>
                    <a:pt x="225" y="0"/>
                  </a:lnTo>
                  <a:lnTo>
                    <a:pt x="247" y="1"/>
                  </a:lnTo>
                  <a:lnTo>
                    <a:pt x="270" y="4"/>
                  </a:lnTo>
                  <a:lnTo>
                    <a:pt x="292" y="10"/>
                  </a:lnTo>
                  <a:lnTo>
                    <a:pt x="312" y="17"/>
                  </a:lnTo>
                  <a:lnTo>
                    <a:pt x="332" y="27"/>
                  </a:lnTo>
                  <a:lnTo>
                    <a:pt x="350" y="38"/>
                  </a:lnTo>
                  <a:lnTo>
                    <a:pt x="368" y="51"/>
                  </a:lnTo>
                  <a:lnTo>
                    <a:pt x="384" y="66"/>
                  </a:lnTo>
                  <a:lnTo>
                    <a:pt x="399" y="81"/>
                  </a:lnTo>
                  <a:lnTo>
                    <a:pt x="411" y="99"/>
                  </a:lnTo>
                  <a:lnTo>
                    <a:pt x="422" y="117"/>
                  </a:lnTo>
                  <a:lnTo>
                    <a:pt x="432" y="137"/>
                  </a:lnTo>
                  <a:lnTo>
                    <a:pt x="440" y="158"/>
                  </a:lnTo>
                  <a:lnTo>
                    <a:pt x="445" y="179"/>
                  </a:lnTo>
                  <a:lnTo>
                    <a:pt x="448" y="202"/>
                  </a:lnTo>
                  <a:lnTo>
                    <a:pt x="450" y="225"/>
                  </a:lnTo>
                  <a:close/>
                </a:path>
              </a:pathLst>
            </a:custGeom>
            <a:solidFill>
              <a:srgbClr val="CC881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7" name="Freeform 694">
              <a:extLst>
                <a:ext uri="{FF2B5EF4-FFF2-40B4-BE49-F238E27FC236}">
                  <a16:creationId xmlns:a16="http://schemas.microsoft.com/office/drawing/2014/main" id="{913DF63A-7D92-0BB7-EB08-27A9A404AD44}"/>
                </a:ext>
              </a:extLst>
            </p:cNvPr>
            <p:cNvSpPr>
              <a:spLocks/>
            </p:cNvSpPr>
            <p:nvPr/>
          </p:nvSpPr>
          <p:spPr bwMode="auto">
            <a:xfrm>
              <a:off x="3706813" y="5216525"/>
              <a:ext cx="88900" cy="90488"/>
            </a:xfrm>
            <a:custGeom>
              <a:avLst/>
              <a:gdLst/>
              <a:ahLst/>
              <a:cxnLst>
                <a:cxn ang="0">
                  <a:pos x="450" y="225"/>
                </a:cxn>
                <a:cxn ang="0">
                  <a:pos x="445" y="270"/>
                </a:cxn>
                <a:cxn ang="0">
                  <a:pos x="432" y="312"/>
                </a:cxn>
                <a:cxn ang="0">
                  <a:pos x="411" y="351"/>
                </a:cxn>
                <a:cxn ang="0">
                  <a:pos x="384" y="384"/>
                </a:cxn>
                <a:cxn ang="0">
                  <a:pos x="350" y="412"/>
                </a:cxn>
                <a:cxn ang="0">
                  <a:pos x="312" y="433"/>
                </a:cxn>
                <a:cxn ang="0">
                  <a:pos x="270" y="446"/>
                </a:cxn>
                <a:cxn ang="0">
                  <a:pos x="225" y="450"/>
                </a:cxn>
                <a:cxn ang="0">
                  <a:pos x="202" y="449"/>
                </a:cxn>
                <a:cxn ang="0">
                  <a:pos x="158" y="440"/>
                </a:cxn>
                <a:cxn ang="0">
                  <a:pos x="117" y="423"/>
                </a:cxn>
                <a:cxn ang="0">
                  <a:pos x="81" y="399"/>
                </a:cxn>
                <a:cxn ang="0">
                  <a:pos x="50" y="368"/>
                </a:cxn>
                <a:cxn ang="0">
                  <a:pos x="27" y="333"/>
                </a:cxn>
                <a:cxn ang="0">
                  <a:pos x="9" y="292"/>
                </a:cxn>
                <a:cxn ang="0">
                  <a:pos x="1" y="248"/>
                </a:cxn>
                <a:cxn ang="0">
                  <a:pos x="0" y="225"/>
                </a:cxn>
                <a:cxn ang="0">
                  <a:pos x="4" y="179"/>
                </a:cxn>
                <a:cxn ang="0">
                  <a:pos x="18" y="137"/>
                </a:cxn>
                <a:cxn ang="0">
                  <a:pos x="38" y="99"/>
                </a:cxn>
                <a:cxn ang="0">
                  <a:pos x="66" y="66"/>
                </a:cxn>
                <a:cxn ang="0">
                  <a:pos x="99" y="38"/>
                </a:cxn>
                <a:cxn ang="0">
                  <a:pos x="137" y="17"/>
                </a:cxn>
                <a:cxn ang="0">
                  <a:pos x="179" y="4"/>
                </a:cxn>
                <a:cxn ang="0">
                  <a:pos x="225" y="0"/>
                </a:cxn>
                <a:cxn ang="0">
                  <a:pos x="247" y="1"/>
                </a:cxn>
                <a:cxn ang="0">
                  <a:pos x="292" y="10"/>
                </a:cxn>
                <a:cxn ang="0">
                  <a:pos x="332" y="27"/>
                </a:cxn>
                <a:cxn ang="0">
                  <a:pos x="368" y="51"/>
                </a:cxn>
                <a:cxn ang="0">
                  <a:pos x="399" y="81"/>
                </a:cxn>
                <a:cxn ang="0">
                  <a:pos x="422" y="117"/>
                </a:cxn>
                <a:cxn ang="0">
                  <a:pos x="440" y="158"/>
                </a:cxn>
                <a:cxn ang="0">
                  <a:pos x="448" y="202"/>
                </a:cxn>
              </a:cxnLst>
              <a:rect l="0" t="0" r="r" b="b"/>
              <a:pathLst>
                <a:path w="450" h="450">
                  <a:moveTo>
                    <a:pt x="450" y="225"/>
                  </a:moveTo>
                  <a:lnTo>
                    <a:pt x="450" y="225"/>
                  </a:lnTo>
                  <a:lnTo>
                    <a:pt x="448" y="248"/>
                  </a:lnTo>
                  <a:lnTo>
                    <a:pt x="445" y="270"/>
                  </a:lnTo>
                  <a:lnTo>
                    <a:pt x="440" y="292"/>
                  </a:lnTo>
                  <a:lnTo>
                    <a:pt x="432" y="312"/>
                  </a:lnTo>
                  <a:lnTo>
                    <a:pt x="422" y="333"/>
                  </a:lnTo>
                  <a:lnTo>
                    <a:pt x="411" y="351"/>
                  </a:lnTo>
                  <a:lnTo>
                    <a:pt x="399" y="368"/>
                  </a:lnTo>
                  <a:lnTo>
                    <a:pt x="384" y="384"/>
                  </a:lnTo>
                  <a:lnTo>
                    <a:pt x="368" y="399"/>
                  </a:lnTo>
                  <a:lnTo>
                    <a:pt x="350" y="412"/>
                  </a:lnTo>
                  <a:lnTo>
                    <a:pt x="332" y="423"/>
                  </a:lnTo>
                  <a:lnTo>
                    <a:pt x="312" y="433"/>
                  </a:lnTo>
                  <a:lnTo>
                    <a:pt x="292" y="440"/>
                  </a:lnTo>
                  <a:lnTo>
                    <a:pt x="270" y="446"/>
                  </a:lnTo>
                  <a:lnTo>
                    <a:pt x="247" y="449"/>
                  </a:lnTo>
                  <a:lnTo>
                    <a:pt x="225" y="450"/>
                  </a:lnTo>
                  <a:lnTo>
                    <a:pt x="225" y="450"/>
                  </a:lnTo>
                  <a:lnTo>
                    <a:pt x="202" y="449"/>
                  </a:lnTo>
                  <a:lnTo>
                    <a:pt x="179" y="446"/>
                  </a:lnTo>
                  <a:lnTo>
                    <a:pt x="158" y="440"/>
                  </a:lnTo>
                  <a:lnTo>
                    <a:pt x="137" y="433"/>
                  </a:lnTo>
                  <a:lnTo>
                    <a:pt x="117" y="423"/>
                  </a:lnTo>
                  <a:lnTo>
                    <a:pt x="99" y="412"/>
                  </a:lnTo>
                  <a:lnTo>
                    <a:pt x="81" y="399"/>
                  </a:lnTo>
                  <a:lnTo>
                    <a:pt x="66" y="384"/>
                  </a:lnTo>
                  <a:lnTo>
                    <a:pt x="50" y="368"/>
                  </a:lnTo>
                  <a:lnTo>
                    <a:pt x="38" y="351"/>
                  </a:lnTo>
                  <a:lnTo>
                    <a:pt x="27" y="333"/>
                  </a:lnTo>
                  <a:lnTo>
                    <a:pt x="18" y="312"/>
                  </a:lnTo>
                  <a:lnTo>
                    <a:pt x="9" y="292"/>
                  </a:lnTo>
                  <a:lnTo>
                    <a:pt x="4" y="270"/>
                  </a:lnTo>
                  <a:lnTo>
                    <a:pt x="1" y="248"/>
                  </a:lnTo>
                  <a:lnTo>
                    <a:pt x="0" y="225"/>
                  </a:lnTo>
                  <a:lnTo>
                    <a:pt x="0" y="225"/>
                  </a:lnTo>
                  <a:lnTo>
                    <a:pt x="1" y="202"/>
                  </a:lnTo>
                  <a:lnTo>
                    <a:pt x="4" y="179"/>
                  </a:lnTo>
                  <a:lnTo>
                    <a:pt x="9" y="158"/>
                  </a:lnTo>
                  <a:lnTo>
                    <a:pt x="18" y="137"/>
                  </a:lnTo>
                  <a:lnTo>
                    <a:pt x="27" y="117"/>
                  </a:lnTo>
                  <a:lnTo>
                    <a:pt x="38" y="99"/>
                  </a:lnTo>
                  <a:lnTo>
                    <a:pt x="50" y="81"/>
                  </a:lnTo>
                  <a:lnTo>
                    <a:pt x="66" y="66"/>
                  </a:lnTo>
                  <a:lnTo>
                    <a:pt x="81" y="51"/>
                  </a:lnTo>
                  <a:lnTo>
                    <a:pt x="99" y="38"/>
                  </a:lnTo>
                  <a:lnTo>
                    <a:pt x="117" y="27"/>
                  </a:lnTo>
                  <a:lnTo>
                    <a:pt x="137" y="17"/>
                  </a:lnTo>
                  <a:lnTo>
                    <a:pt x="158" y="10"/>
                  </a:lnTo>
                  <a:lnTo>
                    <a:pt x="179" y="4"/>
                  </a:lnTo>
                  <a:lnTo>
                    <a:pt x="202" y="1"/>
                  </a:lnTo>
                  <a:lnTo>
                    <a:pt x="225" y="0"/>
                  </a:lnTo>
                  <a:lnTo>
                    <a:pt x="225" y="0"/>
                  </a:lnTo>
                  <a:lnTo>
                    <a:pt x="247" y="1"/>
                  </a:lnTo>
                  <a:lnTo>
                    <a:pt x="270" y="4"/>
                  </a:lnTo>
                  <a:lnTo>
                    <a:pt x="292" y="10"/>
                  </a:lnTo>
                  <a:lnTo>
                    <a:pt x="312" y="17"/>
                  </a:lnTo>
                  <a:lnTo>
                    <a:pt x="332" y="27"/>
                  </a:lnTo>
                  <a:lnTo>
                    <a:pt x="350" y="38"/>
                  </a:lnTo>
                  <a:lnTo>
                    <a:pt x="368" y="51"/>
                  </a:lnTo>
                  <a:lnTo>
                    <a:pt x="384" y="66"/>
                  </a:lnTo>
                  <a:lnTo>
                    <a:pt x="399" y="81"/>
                  </a:lnTo>
                  <a:lnTo>
                    <a:pt x="411" y="99"/>
                  </a:lnTo>
                  <a:lnTo>
                    <a:pt x="422" y="117"/>
                  </a:lnTo>
                  <a:lnTo>
                    <a:pt x="432" y="137"/>
                  </a:lnTo>
                  <a:lnTo>
                    <a:pt x="440" y="158"/>
                  </a:lnTo>
                  <a:lnTo>
                    <a:pt x="445" y="179"/>
                  </a:lnTo>
                  <a:lnTo>
                    <a:pt x="448" y="202"/>
                  </a:lnTo>
                  <a:lnTo>
                    <a:pt x="450" y="225"/>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8" name="Freeform 695">
              <a:extLst>
                <a:ext uri="{FF2B5EF4-FFF2-40B4-BE49-F238E27FC236}">
                  <a16:creationId xmlns:a16="http://schemas.microsoft.com/office/drawing/2014/main" id="{8902946F-F878-995E-8401-89B394656D20}"/>
                </a:ext>
              </a:extLst>
            </p:cNvPr>
            <p:cNvSpPr>
              <a:spLocks/>
            </p:cNvSpPr>
            <p:nvPr/>
          </p:nvSpPr>
          <p:spPr bwMode="auto">
            <a:xfrm>
              <a:off x="3711576" y="5219700"/>
              <a:ext cx="84138" cy="84138"/>
            </a:xfrm>
            <a:custGeom>
              <a:avLst/>
              <a:gdLst/>
              <a:ahLst/>
              <a:cxnLst>
                <a:cxn ang="0">
                  <a:pos x="416" y="209"/>
                </a:cxn>
                <a:cxn ang="0">
                  <a:pos x="412" y="251"/>
                </a:cxn>
                <a:cxn ang="0">
                  <a:pos x="400" y="290"/>
                </a:cxn>
                <a:cxn ang="0">
                  <a:pos x="381" y="325"/>
                </a:cxn>
                <a:cxn ang="0">
                  <a:pos x="355" y="356"/>
                </a:cxn>
                <a:cxn ang="0">
                  <a:pos x="324" y="382"/>
                </a:cxn>
                <a:cxn ang="0">
                  <a:pos x="289" y="401"/>
                </a:cxn>
                <a:cxn ang="0">
                  <a:pos x="250" y="413"/>
                </a:cxn>
                <a:cxn ang="0">
                  <a:pos x="208" y="418"/>
                </a:cxn>
                <a:cxn ang="0">
                  <a:pos x="186" y="416"/>
                </a:cxn>
                <a:cxn ang="0">
                  <a:pos x="146" y="407"/>
                </a:cxn>
                <a:cxn ang="0">
                  <a:pos x="109" y="392"/>
                </a:cxn>
                <a:cxn ang="0">
                  <a:pos x="75" y="369"/>
                </a:cxn>
                <a:cxn ang="0">
                  <a:pos x="47" y="341"/>
                </a:cxn>
                <a:cxn ang="0">
                  <a:pos x="25" y="308"/>
                </a:cxn>
                <a:cxn ang="0">
                  <a:pos x="9" y="271"/>
                </a:cxn>
                <a:cxn ang="0">
                  <a:pos x="1" y="230"/>
                </a:cxn>
                <a:cxn ang="0">
                  <a:pos x="0" y="209"/>
                </a:cxn>
                <a:cxn ang="0">
                  <a:pos x="4" y="167"/>
                </a:cxn>
                <a:cxn ang="0">
                  <a:pos x="16" y="128"/>
                </a:cxn>
                <a:cxn ang="0">
                  <a:pos x="35" y="92"/>
                </a:cxn>
                <a:cxn ang="0">
                  <a:pos x="61" y="62"/>
                </a:cxn>
                <a:cxn ang="0">
                  <a:pos x="92" y="37"/>
                </a:cxn>
                <a:cxn ang="0">
                  <a:pos x="127" y="17"/>
                </a:cxn>
                <a:cxn ang="0">
                  <a:pos x="166" y="5"/>
                </a:cxn>
                <a:cxn ang="0">
                  <a:pos x="208" y="0"/>
                </a:cxn>
                <a:cxn ang="0">
                  <a:pos x="230" y="1"/>
                </a:cxn>
                <a:cxn ang="0">
                  <a:pos x="270" y="10"/>
                </a:cxn>
                <a:cxn ang="0">
                  <a:pos x="307" y="26"/>
                </a:cxn>
                <a:cxn ang="0">
                  <a:pos x="341" y="48"/>
                </a:cxn>
                <a:cxn ang="0">
                  <a:pos x="369" y="77"/>
                </a:cxn>
                <a:cxn ang="0">
                  <a:pos x="391" y="110"/>
                </a:cxn>
                <a:cxn ang="0">
                  <a:pos x="407" y="147"/>
                </a:cxn>
                <a:cxn ang="0">
                  <a:pos x="415" y="188"/>
                </a:cxn>
              </a:cxnLst>
              <a:rect l="0" t="0" r="r" b="b"/>
              <a:pathLst>
                <a:path w="416" h="418">
                  <a:moveTo>
                    <a:pt x="416" y="209"/>
                  </a:moveTo>
                  <a:lnTo>
                    <a:pt x="416" y="209"/>
                  </a:lnTo>
                  <a:lnTo>
                    <a:pt x="415" y="230"/>
                  </a:lnTo>
                  <a:lnTo>
                    <a:pt x="412" y="251"/>
                  </a:lnTo>
                  <a:lnTo>
                    <a:pt x="407" y="271"/>
                  </a:lnTo>
                  <a:lnTo>
                    <a:pt x="400" y="290"/>
                  </a:lnTo>
                  <a:lnTo>
                    <a:pt x="391" y="308"/>
                  </a:lnTo>
                  <a:lnTo>
                    <a:pt x="381" y="325"/>
                  </a:lnTo>
                  <a:lnTo>
                    <a:pt x="369" y="341"/>
                  </a:lnTo>
                  <a:lnTo>
                    <a:pt x="355" y="356"/>
                  </a:lnTo>
                  <a:lnTo>
                    <a:pt x="341" y="369"/>
                  </a:lnTo>
                  <a:lnTo>
                    <a:pt x="324" y="382"/>
                  </a:lnTo>
                  <a:lnTo>
                    <a:pt x="307" y="392"/>
                  </a:lnTo>
                  <a:lnTo>
                    <a:pt x="289" y="401"/>
                  </a:lnTo>
                  <a:lnTo>
                    <a:pt x="270" y="407"/>
                  </a:lnTo>
                  <a:lnTo>
                    <a:pt x="250" y="413"/>
                  </a:lnTo>
                  <a:lnTo>
                    <a:pt x="230" y="416"/>
                  </a:lnTo>
                  <a:lnTo>
                    <a:pt x="208" y="418"/>
                  </a:lnTo>
                  <a:lnTo>
                    <a:pt x="208" y="418"/>
                  </a:lnTo>
                  <a:lnTo>
                    <a:pt x="186" y="416"/>
                  </a:lnTo>
                  <a:lnTo>
                    <a:pt x="166" y="413"/>
                  </a:lnTo>
                  <a:lnTo>
                    <a:pt x="146" y="407"/>
                  </a:lnTo>
                  <a:lnTo>
                    <a:pt x="127" y="401"/>
                  </a:lnTo>
                  <a:lnTo>
                    <a:pt x="109" y="392"/>
                  </a:lnTo>
                  <a:lnTo>
                    <a:pt x="92" y="382"/>
                  </a:lnTo>
                  <a:lnTo>
                    <a:pt x="75" y="369"/>
                  </a:lnTo>
                  <a:lnTo>
                    <a:pt x="61" y="356"/>
                  </a:lnTo>
                  <a:lnTo>
                    <a:pt x="47" y="341"/>
                  </a:lnTo>
                  <a:lnTo>
                    <a:pt x="35" y="325"/>
                  </a:lnTo>
                  <a:lnTo>
                    <a:pt x="25" y="308"/>
                  </a:lnTo>
                  <a:lnTo>
                    <a:pt x="16" y="290"/>
                  </a:lnTo>
                  <a:lnTo>
                    <a:pt x="9" y="271"/>
                  </a:lnTo>
                  <a:lnTo>
                    <a:pt x="4" y="251"/>
                  </a:lnTo>
                  <a:lnTo>
                    <a:pt x="1" y="230"/>
                  </a:lnTo>
                  <a:lnTo>
                    <a:pt x="0" y="209"/>
                  </a:lnTo>
                  <a:lnTo>
                    <a:pt x="0" y="209"/>
                  </a:lnTo>
                  <a:lnTo>
                    <a:pt x="1" y="188"/>
                  </a:lnTo>
                  <a:lnTo>
                    <a:pt x="4" y="167"/>
                  </a:lnTo>
                  <a:lnTo>
                    <a:pt x="9" y="147"/>
                  </a:lnTo>
                  <a:lnTo>
                    <a:pt x="16" y="128"/>
                  </a:lnTo>
                  <a:lnTo>
                    <a:pt x="25" y="110"/>
                  </a:lnTo>
                  <a:lnTo>
                    <a:pt x="35" y="92"/>
                  </a:lnTo>
                  <a:lnTo>
                    <a:pt x="47" y="77"/>
                  </a:lnTo>
                  <a:lnTo>
                    <a:pt x="61" y="62"/>
                  </a:lnTo>
                  <a:lnTo>
                    <a:pt x="75" y="48"/>
                  </a:lnTo>
                  <a:lnTo>
                    <a:pt x="92" y="37"/>
                  </a:lnTo>
                  <a:lnTo>
                    <a:pt x="109" y="26"/>
                  </a:lnTo>
                  <a:lnTo>
                    <a:pt x="127" y="17"/>
                  </a:lnTo>
                  <a:lnTo>
                    <a:pt x="146" y="10"/>
                  </a:lnTo>
                  <a:lnTo>
                    <a:pt x="166" y="5"/>
                  </a:lnTo>
                  <a:lnTo>
                    <a:pt x="186" y="1"/>
                  </a:lnTo>
                  <a:lnTo>
                    <a:pt x="208" y="0"/>
                  </a:lnTo>
                  <a:lnTo>
                    <a:pt x="208" y="0"/>
                  </a:lnTo>
                  <a:lnTo>
                    <a:pt x="230" y="1"/>
                  </a:lnTo>
                  <a:lnTo>
                    <a:pt x="250" y="5"/>
                  </a:lnTo>
                  <a:lnTo>
                    <a:pt x="270" y="10"/>
                  </a:lnTo>
                  <a:lnTo>
                    <a:pt x="289" y="17"/>
                  </a:lnTo>
                  <a:lnTo>
                    <a:pt x="307" y="26"/>
                  </a:lnTo>
                  <a:lnTo>
                    <a:pt x="324" y="37"/>
                  </a:lnTo>
                  <a:lnTo>
                    <a:pt x="341" y="48"/>
                  </a:lnTo>
                  <a:lnTo>
                    <a:pt x="355" y="62"/>
                  </a:lnTo>
                  <a:lnTo>
                    <a:pt x="369" y="77"/>
                  </a:lnTo>
                  <a:lnTo>
                    <a:pt x="381" y="92"/>
                  </a:lnTo>
                  <a:lnTo>
                    <a:pt x="391" y="110"/>
                  </a:lnTo>
                  <a:lnTo>
                    <a:pt x="400" y="128"/>
                  </a:lnTo>
                  <a:lnTo>
                    <a:pt x="407" y="147"/>
                  </a:lnTo>
                  <a:lnTo>
                    <a:pt x="412" y="167"/>
                  </a:lnTo>
                  <a:lnTo>
                    <a:pt x="415" y="188"/>
                  </a:lnTo>
                  <a:lnTo>
                    <a:pt x="416" y="209"/>
                  </a:lnTo>
                  <a:close/>
                </a:path>
              </a:pathLst>
            </a:custGeom>
            <a:solidFill>
              <a:srgbClr val="FAAB1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9" name="Freeform 696">
              <a:extLst>
                <a:ext uri="{FF2B5EF4-FFF2-40B4-BE49-F238E27FC236}">
                  <a16:creationId xmlns:a16="http://schemas.microsoft.com/office/drawing/2014/main" id="{F783B97C-691E-A159-6697-D7D79D1D7D05}"/>
                </a:ext>
              </a:extLst>
            </p:cNvPr>
            <p:cNvSpPr>
              <a:spLocks/>
            </p:cNvSpPr>
            <p:nvPr/>
          </p:nvSpPr>
          <p:spPr bwMode="auto">
            <a:xfrm>
              <a:off x="3711576" y="5219700"/>
              <a:ext cx="84138" cy="84138"/>
            </a:xfrm>
            <a:custGeom>
              <a:avLst/>
              <a:gdLst/>
              <a:ahLst/>
              <a:cxnLst>
                <a:cxn ang="0">
                  <a:pos x="416" y="209"/>
                </a:cxn>
                <a:cxn ang="0">
                  <a:pos x="412" y="251"/>
                </a:cxn>
                <a:cxn ang="0">
                  <a:pos x="400" y="290"/>
                </a:cxn>
                <a:cxn ang="0">
                  <a:pos x="381" y="325"/>
                </a:cxn>
                <a:cxn ang="0">
                  <a:pos x="355" y="356"/>
                </a:cxn>
                <a:cxn ang="0">
                  <a:pos x="324" y="382"/>
                </a:cxn>
                <a:cxn ang="0">
                  <a:pos x="289" y="401"/>
                </a:cxn>
                <a:cxn ang="0">
                  <a:pos x="250" y="413"/>
                </a:cxn>
                <a:cxn ang="0">
                  <a:pos x="208" y="418"/>
                </a:cxn>
                <a:cxn ang="0">
                  <a:pos x="186" y="416"/>
                </a:cxn>
                <a:cxn ang="0">
                  <a:pos x="146" y="407"/>
                </a:cxn>
                <a:cxn ang="0">
                  <a:pos x="109" y="392"/>
                </a:cxn>
                <a:cxn ang="0">
                  <a:pos x="75" y="369"/>
                </a:cxn>
                <a:cxn ang="0">
                  <a:pos x="47" y="341"/>
                </a:cxn>
                <a:cxn ang="0">
                  <a:pos x="25" y="308"/>
                </a:cxn>
                <a:cxn ang="0">
                  <a:pos x="9" y="271"/>
                </a:cxn>
                <a:cxn ang="0">
                  <a:pos x="1" y="230"/>
                </a:cxn>
                <a:cxn ang="0">
                  <a:pos x="0" y="209"/>
                </a:cxn>
                <a:cxn ang="0">
                  <a:pos x="4" y="167"/>
                </a:cxn>
                <a:cxn ang="0">
                  <a:pos x="16" y="128"/>
                </a:cxn>
                <a:cxn ang="0">
                  <a:pos x="35" y="92"/>
                </a:cxn>
                <a:cxn ang="0">
                  <a:pos x="61" y="62"/>
                </a:cxn>
                <a:cxn ang="0">
                  <a:pos x="92" y="37"/>
                </a:cxn>
                <a:cxn ang="0">
                  <a:pos x="127" y="17"/>
                </a:cxn>
                <a:cxn ang="0">
                  <a:pos x="166" y="5"/>
                </a:cxn>
                <a:cxn ang="0">
                  <a:pos x="208" y="0"/>
                </a:cxn>
                <a:cxn ang="0">
                  <a:pos x="230" y="1"/>
                </a:cxn>
                <a:cxn ang="0">
                  <a:pos x="270" y="10"/>
                </a:cxn>
                <a:cxn ang="0">
                  <a:pos x="307" y="26"/>
                </a:cxn>
                <a:cxn ang="0">
                  <a:pos x="341" y="48"/>
                </a:cxn>
                <a:cxn ang="0">
                  <a:pos x="369" y="77"/>
                </a:cxn>
                <a:cxn ang="0">
                  <a:pos x="391" y="110"/>
                </a:cxn>
                <a:cxn ang="0">
                  <a:pos x="407" y="147"/>
                </a:cxn>
                <a:cxn ang="0">
                  <a:pos x="415" y="188"/>
                </a:cxn>
              </a:cxnLst>
              <a:rect l="0" t="0" r="r" b="b"/>
              <a:pathLst>
                <a:path w="416" h="418">
                  <a:moveTo>
                    <a:pt x="416" y="209"/>
                  </a:moveTo>
                  <a:lnTo>
                    <a:pt x="416" y="209"/>
                  </a:lnTo>
                  <a:lnTo>
                    <a:pt x="415" y="230"/>
                  </a:lnTo>
                  <a:lnTo>
                    <a:pt x="412" y="251"/>
                  </a:lnTo>
                  <a:lnTo>
                    <a:pt x="407" y="271"/>
                  </a:lnTo>
                  <a:lnTo>
                    <a:pt x="400" y="290"/>
                  </a:lnTo>
                  <a:lnTo>
                    <a:pt x="391" y="308"/>
                  </a:lnTo>
                  <a:lnTo>
                    <a:pt x="381" y="325"/>
                  </a:lnTo>
                  <a:lnTo>
                    <a:pt x="369" y="341"/>
                  </a:lnTo>
                  <a:lnTo>
                    <a:pt x="355" y="356"/>
                  </a:lnTo>
                  <a:lnTo>
                    <a:pt x="341" y="369"/>
                  </a:lnTo>
                  <a:lnTo>
                    <a:pt x="324" y="382"/>
                  </a:lnTo>
                  <a:lnTo>
                    <a:pt x="307" y="392"/>
                  </a:lnTo>
                  <a:lnTo>
                    <a:pt x="289" y="401"/>
                  </a:lnTo>
                  <a:lnTo>
                    <a:pt x="270" y="407"/>
                  </a:lnTo>
                  <a:lnTo>
                    <a:pt x="250" y="413"/>
                  </a:lnTo>
                  <a:lnTo>
                    <a:pt x="230" y="416"/>
                  </a:lnTo>
                  <a:lnTo>
                    <a:pt x="208" y="418"/>
                  </a:lnTo>
                  <a:lnTo>
                    <a:pt x="208" y="418"/>
                  </a:lnTo>
                  <a:lnTo>
                    <a:pt x="186" y="416"/>
                  </a:lnTo>
                  <a:lnTo>
                    <a:pt x="166" y="413"/>
                  </a:lnTo>
                  <a:lnTo>
                    <a:pt x="146" y="407"/>
                  </a:lnTo>
                  <a:lnTo>
                    <a:pt x="127" y="401"/>
                  </a:lnTo>
                  <a:lnTo>
                    <a:pt x="109" y="392"/>
                  </a:lnTo>
                  <a:lnTo>
                    <a:pt x="92" y="382"/>
                  </a:lnTo>
                  <a:lnTo>
                    <a:pt x="75" y="369"/>
                  </a:lnTo>
                  <a:lnTo>
                    <a:pt x="61" y="356"/>
                  </a:lnTo>
                  <a:lnTo>
                    <a:pt x="47" y="341"/>
                  </a:lnTo>
                  <a:lnTo>
                    <a:pt x="35" y="325"/>
                  </a:lnTo>
                  <a:lnTo>
                    <a:pt x="25" y="308"/>
                  </a:lnTo>
                  <a:lnTo>
                    <a:pt x="16" y="290"/>
                  </a:lnTo>
                  <a:lnTo>
                    <a:pt x="9" y="271"/>
                  </a:lnTo>
                  <a:lnTo>
                    <a:pt x="4" y="251"/>
                  </a:lnTo>
                  <a:lnTo>
                    <a:pt x="1" y="230"/>
                  </a:lnTo>
                  <a:lnTo>
                    <a:pt x="0" y="209"/>
                  </a:lnTo>
                  <a:lnTo>
                    <a:pt x="0" y="209"/>
                  </a:lnTo>
                  <a:lnTo>
                    <a:pt x="1" y="188"/>
                  </a:lnTo>
                  <a:lnTo>
                    <a:pt x="4" y="167"/>
                  </a:lnTo>
                  <a:lnTo>
                    <a:pt x="9" y="147"/>
                  </a:lnTo>
                  <a:lnTo>
                    <a:pt x="16" y="128"/>
                  </a:lnTo>
                  <a:lnTo>
                    <a:pt x="25" y="110"/>
                  </a:lnTo>
                  <a:lnTo>
                    <a:pt x="35" y="92"/>
                  </a:lnTo>
                  <a:lnTo>
                    <a:pt x="47" y="77"/>
                  </a:lnTo>
                  <a:lnTo>
                    <a:pt x="61" y="62"/>
                  </a:lnTo>
                  <a:lnTo>
                    <a:pt x="75" y="48"/>
                  </a:lnTo>
                  <a:lnTo>
                    <a:pt x="92" y="37"/>
                  </a:lnTo>
                  <a:lnTo>
                    <a:pt x="109" y="26"/>
                  </a:lnTo>
                  <a:lnTo>
                    <a:pt x="127" y="17"/>
                  </a:lnTo>
                  <a:lnTo>
                    <a:pt x="146" y="10"/>
                  </a:lnTo>
                  <a:lnTo>
                    <a:pt x="166" y="5"/>
                  </a:lnTo>
                  <a:lnTo>
                    <a:pt x="186" y="1"/>
                  </a:lnTo>
                  <a:lnTo>
                    <a:pt x="208" y="0"/>
                  </a:lnTo>
                  <a:lnTo>
                    <a:pt x="208" y="0"/>
                  </a:lnTo>
                  <a:lnTo>
                    <a:pt x="230" y="1"/>
                  </a:lnTo>
                  <a:lnTo>
                    <a:pt x="250" y="5"/>
                  </a:lnTo>
                  <a:lnTo>
                    <a:pt x="270" y="10"/>
                  </a:lnTo>
                  <a:lnTo>
                    <a:pt x="289" y="17"/>
                  </a:lnTo>
                  <a:lnTo>
                    <a:pt x="307" y="26"/>
                  </a:lnTo>
                  <a:lnTo>
                    <a:pt x="324" y="37"/>
                  </a:lnTo>
                  <a:lnTo>
                    <a:pt x="341" y="48"/>
                  </a:lnTo>
                  <a:lnTo>
                    <a:pt x="355" y="62"/>
                  </a:lnTo>
                  <a:lnTo>
                    <a:pt x="369" y="77"/>
                  </a:lnTo>
                  <a:lnTo>
                    <a:pt x="381" y="92"/>
                  </a:lnTo>
                  <a:lnTo>
                    <a:pt x="391" y="110"/>
                  </a:lnTo>
                  <a:lnTo>
                    <a:pt x="400" y="128"/>
                  </a:lnTo>
                  <a:lnTo>
                    <a:pt x="407" y="147"/>
                  </a:lnTo>
                  <a:lnTo>
                    <a:pt x="412" y="167"/>
                  </a:lnTo>
                  <a:lnTo>
                    <a:pt x="415" y="188"/>
                  </a:lnTo>
                  <a:lnTo>
                    <a:pt x="416" y="209"/>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0" name="Freeform 697">
              <a:extLst>
                <a:ext uri="{FF2B5EF4-FFF2-40B4-BE49-F238E27FC236}">
                  <a16:creationId xmlns:a16="http://schemas.microsoft.com/office/drawing/2014/main" id="{ADFA374E-1590-0C3F-5054-D563B6F778A3}"/>
                </a:ext>
              </a:extLst>
            </p:cNvPr>
            <p:cNvSpPr>
              <a:spLocks/>
            </p:cNvSpPr>
            <p:nvPr/>
          </p:nvSpPr>
          <p:spPr bwMode="auto">
            <a:xfrm>
              <a:off x="3609976" y="5445125"/>
              <a:ext cx="17463" cy="17463"/>
            </a:xfrm>
            <a:custGeom>
              <a:avLst/>
              <a:gdLst/>
              <a:ahLst/>
              <a:cxnLst>
                <a:cxn ang="0">
                  <a:pos x="87" y="44"/>
                </a:cxn>
                <a:cxn ang="0">
                  <a:pos x="87" y="44"/>
                </a:cxn>
                <a:cxn ang="0">
                  <a:pos x="86" y="52"/>
                </a:cxn>
                <a:cxn ang="0">
                  <a:pos x="84" y="60"/>
                </a:cxn>
                <a:cxn ang="0">
                  <a:pos x="80" y="68"/>
                </a:cxn>
                <a:cxn ang="0">
                  <a:pos x="75" y="75"/>
                </a:cxn>
                <a:cxn ang="0">
                  <a:pos x="69" y="80"/>
                </a:cxn>
                <a:cxn ang="0">
                  <a:pos x="60" y="84"/>
                </a:cxn>
                <a:cxn ang="0">
                  <a:pos x="52" y="86"/>
                </a:cxn>
                <a:cxn ang="0">
                  <a:pos x="44" y="87"/>
                </a:cxn>
                <a:cxn ang="0">
                  <a:pos x="44" y="87"/>
                </a:cxn>
                <a:cxn ang="0">
                  <a:pos x="35" y="86"/>
                </a:cxn>
                <a:cxn ang="0">
                  <a:pos x="26" y="84"/>
                </a:cxn>
                <a:cxn ang="0">
                  <a:pos x="19" y="80"/>
                </a:cxn>
                <a:cxn ang="0">
                  <a:pos x="13" y="75"/>
                </a:cxn>
                <a:cxn ang="0">
                  <a:pos x="8" y="68"/>
                </a:cxn>
                <a:cxn ang="0">
                  <a:pos x="4" y="60"/>
                </a:cxn>
                <a:cxn ang="0">
                  <a:pos x="1" y="52"/>
                </a:cxn>
                <a:cxn ang="0">
                  <a:pos x="0" y="44"/>
                </a:cxn>
                <a:cxn ang="0">
                  <a:pos x="0" y="44"/>
                </a:cxn>
                <a:cxn ang="0">
                  <a:pos x="1" y="35"/>
                </a:cxn>
                <a:cxn ang="0">
                  <a:pos x="4" y="26"/>
                </a:cxn>
                <a:cxn ang="0">
                  <a:pos x="8" y="19"/>
                </a:cxn>
                <a:cxn ang="0">
                  <a:pos x="13" y="13"/>
                </a:cxn>
                <a:cxn ang="0">
                  <a:pos x="19" y="8"/>
                </a:cxn>
                <a:cxn ang="0">
                  <a:pos x="26" y="4"/>
                </a:cxn>
                <a:cxn ang="0">
                  <a:pos x="35" y="1"/>
                </a:cxn>
                <a:cxn ang="0">
                  <a:pos x="44" y="0"/>
                </a:cxn>
                <a:cxn ang="0">
                  <a:pos x="44" y="0"/>
                </a:cxn>
                <a:cxn ang="0">
                  <a:pos x="52" y="1"/>
                </a:cxn>
                <a:cxn ang="0">
                  <a:pos x="60" y="4"/>
                </a:cxn>
                <a:cxn ang="0">
                  <a:pos x="69" y="8"/>
                </a:cxn>
                <a:cxn ang="0">
                  <a:pos x="75" y="13"/>
                </a:cxn>
                <a:cxn ang="0">
                  <a:pos x="80" y="19"/>
                </a:cxn>
                <a:cxn ang="0">
                  <a:pos x="84" y="26"/>
                </a:cxn>
                <a:cxn ang="0">
                  <a:pos x="86" y="35"/>
                </a:cxn>
                <a:cxn ang="0">
                  <a:pos x="87" y="44"/>
                </a:cxn>
              </a:cxnLst>
              <a:rect l="0" t="0" r="r" b="b"/>
              <a:pathLst>
                <a:path w="87" h="87">
                  <a:moveTo>
                    <a:pt x="87" y="44"/>
                  </a:moveTo>
                  <a:lnTo>
                    <a:pt x="87" y="44"/>
                  </a:lnTo>
                  <a:lnTo>
                    <a:pt x="86" y="52"/>
                  </a:lnTo>
                  <a:lnTo>
                    <a:pt x="84" y="60"/>
                  </a:lnTo>
                  <a:lnTo>
                    <a:pt x="80" y="68"/>
                  </a:lnTo>
                  <a:lnTo>
                    <a:pt x="75" y="75"/>
                  </a:lnTo>
                  <a:lnTo>
                    <a:pt x="69" y="80"/>
                  </a:lnTo>
                  <a:lnTo>
                    <a:pt x="60" y="84"/>
                  </a:lnTo>
                  <a:lnTo>
                    <a:pt x="52" y="86"/>
                  </a:lnTo>
                  <a:lnTo>
                    <a:pt x="44" y="87"/>
                  </a:lnTo>
                  <a:lnTo>
                    <a:pt x="44" y="87"/>
                  </a:lnTo>
                  <a:lnTo>
                    <a:pt x="35" y="86"/>
                  </a:lnTo>
                  <a:lnTo>
                    <a:pt x="26" y="84"/>
                  </a:lnTo>
                  <a:lnTo>
                    <a:pt x="19" y="80"/>
                  </a:lnTo>
                  <a:lnTo>
                    <a:pt x="13" y="75"/>
                  </a:lnTo>
                  <a:lnTo>
                    <a:pt x="8" y="68"/>
                  </a:lnTo>
                  <a:lnTo>
                    <a:pt x="4" y="60"/>
                  </a:lnTo>
                  <a:lnTo>
                    <a:pt x="1" y="52"/>
                  </a:lnTo>
                  <a:lnTo>
                    <a:pt x="0" y="44"/>
                  </a:lnTo>
                  <a:lnTo>
                    <a:pt x="0" y="44"/>
                  </a:lnTo>
                  <a:lnTo>
                    <a:pt x="1" y="35"/>
                  </a:lnTo>
                  <a:lnTo>
                    <a:pt x="4" y="26"/>
                  </a:lnTo>
                  <a:lnTo>
                    <a:pt x="8" y="19"/>
                  </a:lnTo>
                  <a:lnTo>
                    <a:pt x="13" y="13"/>
                  </a:lnTo>
                  <a:lnTo>
                    <a:pt x="19" y="8"/>
                  </a:lnTo>
                  <a:lnTo>
                    <a:pt x="26" y="4"/>
                  </a:lnTo>
                  <a:lnTo>
                    <a:pt x="35" y="1"/>
                  </a:lnTo>
                  <a:lnTo>
                    <a:pt x="44" y="0"/>
                  </a:lnTo>
                  <a:lnTo>
                    <a:pt x="44" y="0"/>
                  </a:lnTo>
                  <a:lnTo>
                    <a:pt x="52" y="1"/>
                  </a:lnTo>
                  <a:lnTo>
                    <a:pt x="60" y="4"/>
                  </a:lnTo>
                  <a:lnTo>
                    <a:pt x="69" y="8"/>
                  </a:lnTo>
                  <a:lnTo>
                    <a:pt x="75" y="13"/>
                  </a:lnTo>
                  <a:lnTo>
                    <a:pt x="80" y="19"/>
                  </a:lnTo>
                  <a:lnTo>
                    <a:pt x="84" y="26"/>
                  </a:lnTo>
                  <a:lnTo>
                    <a:pt x="86" y="35"/>
                  </a:lnTo>
                  <a:lnTo>
                    <a:pt x="87" y="44"/>
                  </a:lnTo>
                  <a:close/>
                </a:path>
              </a:pathLst>
            </a:custGeom>
            <a:solidFill>
              <a:srgbClr val="CC881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1" name="Freeform 698">
              <a:extLst>
                <a:ext uri="{FF2B5EF4-FFF2-40B4-BE49-F238E27FC236}">
                  <a16:creationId xmlns:a16="http://schemas.microsoft.com/office/drawing/2014/main" id="{4CF35A6A-8C0D-6E64-38AC-3211CB5154D6}"/>
                </a:ext>
              </a:extLst>
            </p:cNvPr>
            <p:cNvSpPr>
              <a:spLocks/>
            </p:cNvSpPr>
            <p:nvPr/>
          </p:nvSpPr>
          <p:spPr bwMode="auto">
            <a:xfrm>
              <a:off x="3609976" y="5445125"/>
              <a:ext cx="17463" cy="17463"/>
            </a:xfrm>
            <a:custGeom>
              <a:avLst/>
              <a:gdLst/>
              <a:ahLst/>
              <a:cxnLst>
                <a:cxn ang="0">
                  <a:pos x="87" y="44"/>
                </a:cxn>
                <a:cxn ang="0">
                  <a:pos x="87" y="44"/>
                </a:cxn>
                <a:cxn ang="0">
                  <a:pos x="86" y="52"/>
                </a:cxn>
                <a:cxn ang="0">
                  <a:pos x="84" y="60"/>
                </a:cxn>
                <a:cxn ang="0">
                  <a:pos x="80" y="68"/>
                </a:cxn>
                <a:cxn ang="0">
                  <a:pos x="75" y="75"/>
                </a:cxn>
                <a:cxn ang="0">
                  <a:pos x="69" y="80"/>
                </a:cxn>
                <a:cxn ang="0">
                  <a:pos x="60" y="84"/>
                </a:cxn>
                <a:cxn ang="0">
                  <a:pos x="52" y="86"/>
                </a:cxn>
                <a:cxn ang="0">
                  <a:pos x="44" y="87"/>
                </a:cxn>
                <a:cxn ang="0">
                  <a:pos x="44" y="87"/>
                </a:cxn>
                <a:cxn ang="0">
                  <a:pos x="35" y="86"/>
                </a:cxn>
                <a:cxn ang="0">
                  <a:pos x="26" y="84"/>
                </a:cxn>
                <a:cxn ang="0">
                  <a:pos x="19" y="80"/>
                </a:cxn>
                <a:cxn ang="0">
                  <a:pos x="13" y="75"/>
                </a:cxn>
                <a:cxn ang="0">
                  <a:pos x="8" y="68"/>
                </a:cxn>
                <a:cxn ang="0">
                  <a:pos x="4" y="60"/>
                </a:cxn>
                <a:cxn ang="0">
                  <a:pos x="1" y="52"/>
                </a:cxn>
                <a:cxn ang="0">
                  <a:pos x="0" y="44"/>
                </a:cxn>
                <a:cxn ang="0">
                  <a:pos x="0" y="44"/>
                </a:cxn>
                <a:cxn ang="0">
                  <a:pos x="1" y="35"/>
                </a:cxn>
                <a:cxn ang="0">
                  <a:pos x="4" y="26"/>
                </a:cxn>
                <a:cxn ang="0">
                  <a:pos x="8" y="19"/>
                </a:cxn>
                <a:cxn ang="0">
                  <a:pos x="13" y="13"/>
                </a:cxn>
                <a:cxn ang="0">
                  <a:pos x="19" y="8"/>
                </a:cxn>
                <a:cxn ang="0">
                  <a:pos x="26" y="4"/>
                </a:cxn>
                <a:cxn ang="0">
                  <a:pos x="35" y="1"/>
                </a:cxn>
                <a:cxn ang="0">
                  <a:pos x="44" y="0"/>
                </a:cxn>
                <a:cxn ang="0">
                  <a:pos x="44" y="0"/>
                </a:cxn>
                <a:cxn ang="0">
                  <a:pos x="52" y="1"/>
                </a:cxn>
                <a:cxn ang="0">
                  <a:pos x="60" y="4"/>
                </a:cxn>
                <a:cxn ang="0">
                  <a:pos x="69" y="8"/>
                </a:cxn>
                <a:cxn ang="0">
                  <a:pos x="75" y="13"/>
                </a:cxn>
                <a:cxn ang="0">
                  <a:pos x="80" y="19"/>
                </a:cxn>
                <a:cxn ang="0">
                  <a:pos x="84" y="26"/>
                </a:cxn>
                <a:cxn ang="0">
                  <a:pos x="86" y="35"/>
                </a:cxn>
                <a:cxn ang="0">
                  <a:pos x="87" y="44"/>
                </a:cxn>
              </a:cxnLst>
              <a:rect l="0" t="0" r="r" b="b"/>
              <a:pathLst>
                <a:path w="87" h="87">
                  <a:moveTo>
                    <a:pt x="87" y="44"/>
                  </a:moveTo>
                  <a:lnTo>
                    <a:pt x="87" y="44"/>
                  </a:lnTo>
                  <a:lnTo>
                    <a:pt x="86" y="52"/>
                  </a:lnTo>
                  <a:lnTo>
                    <a:pt x="84" y="60"/>
                  </a:lnTo>
                  <a:lnTo>
                    <a:pt x="80" y="68"/>
                  </a:lnTo>
                  <a:lnTo>
                    <a:pt x="75" y="75"/>
                  </a:lnTo>
                  <a:lnTo>
                    <a:pt x="69" y="80"/>
                  </a:lnTo>
                  <a:lnTo>
                    <a:pt x="60" y="84"/>
                  </a:lnTo>
                  <a:lnTo>
                    <a:pt x="52" y="86"/>
                  </a:lnTo>
                  <a:lnTo>
                    <a:pt x="44" y="87"/>
                  </a:lnTo>
                  <a:lnTo>
                    <a:pt x="44" y="87"/>
                  </a:lnTo>
                  <a:lnTo>
                    <a:pt x="35" y="86"/>
                  </a:lnTo>
                  <a:lnTo>
                    <a:pt x="26" y="84"/>
                  </a:lnTo>
                  <a:lnTo>
                    <a:pt x="19" y="80"/>
                  </a:lnTo>
                  <a:lnTo>
                    <a:pt x="13" y="75"/>
                  </a:lnTo>
                  <a:lnTo>
                    <a:pt x="8" y="68"/>
                  </a:lnTo>
                  <a:lnTo>
                    <a:pt x="4" y="60"/>
                  </a:lnTo>
                  <a:lnTo>
                    <a:pt x="1" y="52"/>
                  </a:lnTo>
                  <a:lnTo>
                    <a:pt x="0" y="44"/>
                  </a:lnTo>
                  <a:lnTo>
                    <a:pt x="0" y="44"/>
                  </a:lnTo>
                  <a:lnTo>
                    <a:pt x="1" y="35"/>
                  </a:lnTo>
                  <a:lnTo>
                    <a:pt x="4" y="26"/>
                  </a:lnTo>
                  <a:lnTo>
                    <a:pt x="8" y="19"/>
                  </a:lnTo>
                  <a:lnTo>
                    <a:pt x="13" y="13"/>
                  </a:lnTo>
                  <a:lnTo>
                    <a:pt x="19" y="8"/>
                  </a:lnTo>
                  <a:lnTo>
                    <a:pt x="26" y="4"/>
                  </a:lnTo>
                  <a:lnTo>
                    <a:pt x="35" y="1"/>
                  </a:lnTo>
                  <a:lnTo>
                    <a:pt x="44" y="0"/>
                  </a:lnTo>
                  <a:lnTo>
                    <a:pt x="44" y="0"/>
                  </a:lnTo>
                  <a:lnTo>
                    <a:pt x="52" y="1"/>
                  </a:lnTo>
                  <a:lnTo>
                    <a:pt x="60" y="4"/>
                  </a:lnTo>
                  <a:lnTo>
                    <a:pt x="69" y="8"/>
                  </a:lnTo>
                  <a:lnTo>
                    <a:pt x="75" y="13"/>
                  </a:lnTo>
                  <a:lnTo>
                    <a:pt x="80" y="19"/>
                  </a:lnTo>
                  <a:lnTo>
                    <a:pt x="84" y="26"/>
                  </a:lnTo>
                  <a:lnTo>
                    <a:pt x="86" y="35"/>
                  </a:lnTo>
                  <a:lnTo>
                    <a:pt x="87" y="44"/>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2" name="Freeform 699">
              <a:extLst>
                <a:ext uri="{FF2B5EF4-FFF2-40B4-BE49-F238E27FC236}">
                  <a16:creationId xmlns:a16="http://schemas.microsoft.com/office/drawing/2014/main" id="{653DF624-E87F-126C-5A75-E93B33B9EA8E}"/>
                </a:ext>
              </a:extLst>
            </p:cNvPr>
            <p:cNvSpPr>
              <a:spLocks noEditPoints="1"/>
            </p:cNvSpPr>
            <p:nvPr/>
          </p:nvSpPr>
          <p:spPr bwMode="auto">
            <a:xfrm>
              <a:off x="3524251" y="5338763"/>
              <a:ext cx="231775" cy="323850"/>
            </a:xfrm>
            <a:custGeom>
              <a:avLst/>
              <a:gdLst/>
              <a:ahLst/>
              <a:cxnLst>
                <a:cxn ang="0">
                  <a:pos x="449" y="614"/>
                </a:cxn>
                <a:cxn ang="0">
                  <a:pos x="430" y="578"/>
                </a:cxn>
                <a:cxn ang="0">
                  <a:pos x="443" y="547"/>
                </a:cxn>
                <a:cxn ang="0">
                  <a:pos x="474" y="534"/>
                </a:cxn>
                <a:cxn ang="0">
                  <a:pos x="510" y="553"/>
                </a:cxn>
                <a:cxn ang="0">
                  <a:pos x="516" y="586"/>
                </a:cxn>
                <a:cxn ang="0">
                  <a:pos x="490" y="618"/>
                </a:cxn>
                <a:cxn ang="0">
                  <a:pos x="1126" y="0"/>
                </a:cxn>
                <a:cxn ang="0">
                  <a:pos x="932" y="25"/>
                </a:cxn>
                <a:cxn ang="0">
                  <a:pos x="753" y="81"/>
                </a:cxn>
                <a:cxn ang="0">
                  <a:pos x="594" y="166"/>
                </a:cxn>
                <a:cxn ang="0">
                  <a:pos x="460" y="275"/>
                </a:cxn>
                <a:cxn ang="0">
                  <a:pos x="355" y="405"/>
                </a:cxn>
                <a:cxn ang="0">
                  <a:pos x="283" y="551"/>
                </a:cxn>
                <a:cxn ang="0">
                  <a:pos x="59" y="584"/>
                </a:cxn>
                <a:cxn ang="0">
                  <a:pos x="27" y="600"/>
                </a:cxn>
                <a:cxn ang="0">
                  <a:pos x="6" y="627"/>
                </a:cxn>
                <a:cxn ang="0">
                  <a:pos x="0" y="764"/>
                </a:cxn>
                <a:cxn ang="0">
                  <a:pos x="3" y="926"/>
                </a:cxn>
                <a:cxn ang="0">
                  <a:pos x="32" y="970"/>
                </a:cxn>
                <a:cxn ang="0">
                  <a:pos x="65" y="989"/>
                </a:cxn>
                <a:cxn ang="0">
                  <a:pos x="315" y="1055"/>
                </a:cxn>
                <a:cxn ang="0">
                  <a:pos x="363" y="1136"/>
                </a:cxn>
                <a:cxn ang="0">
                  <a:pos x="377" y="1157"/>
                </a:cxn>
                <a:cxn ang="0">
                  <a:pos x="407" y="1196"/>
                </a:cxn>
                <a:cxn ang="0">
                  <a:pos x="438" y="1231"/>
                </a:cxn>
                <a:cxn ang="0">
                  <a:pos x="474" y="1267"/>
                </a:cxn>
                <a:cxn ang="0">
                  <a:pos x="493" y="1286"/>
                </a:cxn>
                <a:cxn ang="0">
                  <a:pos x="512" y="1301"/>
                </a:cxn>
                <a:cxn ang="0">
                  <a:pos x="547" y="1299"/>
                </a:cxn>
                <a:cxn ang="0">
                  <a:pos x="564" y="1254"/>
                </a:cxn>
                <a:cxn ang="0">
                  <a:pos x="599" y="1222"/>
                </a:cxn>
                <a:cxn ang="0">
                  <a:pos x="646" y="1209"/>
                </a:cxn>
                <a:cxn ang="0">
                  <a:pos x="862" y="1215"/>
                </a:cxn>
                <a:cxn ang="0">
                  <a:pos x="904" y="1239"/>
                </a:cxn>
                <a:cxn ang="0">
                  <a:pos x="928" y="1279"/>
                </a:cxn>
                <a:cxn ang="0">
                  <a:pos x="899" y="1496"/>
                </a:cxn>
                <a:cxn ang="0">
                  <a:pos x="949" y="1507"/>
                </a:cxn>
                <a:cxn ang="0">
                  <a:pos x="1010" y="1518"/>
                </a:cxn>
                <a:cxn ang="0">
                  <a:pos x="1029" y="1521"/>
                </a:cxn>
                <a:cxn ang="0">
                  <a:pos x="1068" y="1525"/>
                </a:cxn>
                <a:cxn ang="0">
                  <a:pos x="1092" y="1527"/>
                </a:cxn>
                <a:cxn ang="0">
                  <a:pos x="1124" y="1528"/>
                </a:cxn>
                <a:cxn ang="0">
                  <a:pos x="1146" y="1529"/>
                </a:cxn>
                <a:cxn ang="0">
                  <a:pos x="1134" y="133"/>
                </a:cxn>
                <a:cxn ang="0">
                  <a:pos x="973" y="151"/>
                </a:cxn>
                <a:cxn ang="0">
                  <a:pos x="903" y="168"/>
                </a:cxn>
                <a:cxn ang="0">
                  <a:pos x="881" y="159"/>
                </a:cxn>
                <a:cxn ang="0">
                  <a:pos x="873" y="140"/>
                </a:cxn>
                <a:cxn ang="0">
                  <a:pos x="884" y="115"/>
                </a:cxn>
                <a:cxn ang="0">
                  <a:pos x="961" y="94"/>
                </a:cxn>
                <a:cxn ang="0">
                  <a:pos x="1132" y="74"/>
                </a:cxn>
              </a:cxnLst>
              <a:rect l="0" t="0" r="r" b="b"/>
              <a:pathLst>
                <a:path w="1166" h="1632">
                  <a:moveTo>
                    <a:pt x="474" y="621"/>
                  </a:moveTo>
                  <a:lnTo>
                    <a:pt x="474" y="621"/>
                  </a:lnTo>
                  <a:lnTo>
                    <a:pt x="465" y="620"/>
                  </a:lnTo>
                  <a:lnTo>
                    <a:pt x="456" y="618"/>
                  </a:lnTo>
                  <a:lnTo>
                    <a:pt x="449" y="614"/>
                  </a:lnTo>
                  <a:lnTo>
                    <a:pt x="443" y="609"/>
                  </a:lnTo>
                  <a:lnTo>
                    <a:pt x="438" y="602"/>
                  </a:lnTo>
                  <a:lnTo>
                    <a:pt x="434" y="594"/>
                  </a:lnTo>
                  <a:lnTo>
                    <a:pt x="431" y="586"/>
                  </a:lnTo>
                  <a:lnTo>
                    <a:pt x="430" y="578"/>
                  </a:lnTo>
                  <a:lnTo>
                    <a:pt x="430" y="578"/>
                  </a:lnTo>
                  <a:lnTo>
                    <a:pt x="431" y="569"/>
                  </a:lnTo>
                  <a:lnTo>
                    <a:pt x="434" y="560"/>
                  </a:lnTo>
                  <a:lnTo>
                    <a:pt x="438" y="553"/>
                  </a:lnTo>
                  <a:lnTo>
                    <a:pt x="443" y="547"/>
                  </a:lnTo>
                  <a:lnTo>
                    <a:pt x="449" y="542"/>
                  </a:lnTo>
                  <a:lnTo>
                    <a:pt x="456" y="538"/>
                  </a:lnTo>
                  <a:lnTo>
                    <a:pt x="465" y="535"/>
                  </a:lnTo>
                  <a:lnTo>
                    <a:pt x="474" y="534"/>
                  </a:lnTo>
                  <a:lnTo>
                    <a:pt x="474" y="534"/>
                  </a:lnTo>
                  <a:lnTo>
                    <a:pt x="482" y="535"/>
                  </a:lnTo>
                  <a:lnTo>
                    <a:pt x="490" y="538"/>
                  </a:lnTo>
                  <a:lnTo>
                    <a:pt x="499" y="542"/>
                  </a:lnTo>
                  <a:lnTo>
                    <a:pt x="505" y="547"/>
                  </a:lnTo>
                  <a:lnTo>
                    <a:pt x="510" y="553"/>
                  </a:lnTo>
                  <a:lnTo>
                    <a:pt x="514" y="560"/>
                  </a:lnTo>
                  <a:lnTo>
                    <a:pt x="516" y="569"/>
                  </a:lnTo>
                  <a:lnTo>
                    <a:pt x="517" y="578"/>
                  </a:lnTo>
                  <a:lnTo>
                    <a:pt x="517" y="578"/>
                  </a:lnTo>
                  <a:lnTo>
                    <a:pt x="516" y="586"/>
                  </a:lnTo>
                  <a:lnTo>
                    <a:pt x="514" y="594"/>
                  </a:lnTo>
                  <a:lnTo>
                    <a:pt x="510" y="602"/>
                  </a:lnTo>
                  <a:lnTo>
                    <a:pt x="505" y="609"/>
                  </a:lnTo>
                  <a:lnTo>
                    <a:pt x="499" y="614"/>
                  </a:lnTo>
                  <a:lnTo>
                    <a:pt x="490" y="618"/>
                  </a:lnTo>
                  <a:lnTo>
                    <a:pt x="482" y="620"/>
                  </a:lnTo>
                  <a:lnTo>
                    <a:pt x="474" y="621"/>
                  </a:lnTo>
                  <a:close/>
                  <a:moveTo>
                    <a:pt x="1166" y="0"/>
                  </a:moveTo>
                  <a:lnTo>
                    <a:pt x="1166" y="0"/>
                  </a:lnTo>
                  <a:lnTo>
                    <a:pt x="1126" y="0"/>
                  </a:lnTo>
                  <a:lnTo>
                    <a:pt x="1087" y="3"/>
                  </a:lnTo>
                  <a:lnTo>
                    <a:pt x="1047" y="6"/>
                  </a:lnTo>
                  <a:lnTo>
                    <a:pt x="1009" y="11"/>
                  </a:lnTo>
                  <a:lnTo>
                    <a:pt x="969" y="18"/>
                  </a:lnTo>
                  <a:lnTo>
                    <a:pt x="932" y="25"/>
                  </a:lnTo>
                  <a:lnTo>
                    <a:pt x="895" y="34"/>
                  </a:lnTo>
                  <a:lnTo>
                    <a:pt x="858" y="43"/>
                  </a:lnTo>
                  <a:lnTo>
                    <a:pt x="822" y="55"/>
                  </a:lnTo>
                  <a:lnTo>
                    <a:pt x="787" y="68"/>
                  </a:lnTo>
                  <a:lnTo>
                    <a:pt x="753" y="81"/>
                  </a:lnTo>
                  <a:lnTo>
                    <a:pt x="720" y="96"/>
                  </a:lnTo>
                  <a:lnTo>
                    <a:pt x="687" y="112"/>
                  </a:lnTo>
                  <a:lnTo>
                    <a:pt x="655" y="129"/>
                  </a:lnTo>
                  <a:lnTo>
                    <a:pt x="624" y="146"/>
                  </a:lnTo>
                  <a:lnTo>
                    <a:pt x="594" y="166"/>
                  </a:lnTo>
                  <a:lnTo>
                    <a:pt x="566" y="185"/>
                  </a:lnTo>
                  <a:lnTo>
                    <a:pt x="538" y="207"/>
                  </a:lnTo>
                  <a:lnTo>
                    <a:pt x="511" y="229"/>
                  </a:lnTo>
                  <a:lnTo>
                    <a:pt x="485" y="251"/>
                  </a:lnTo>
                  <a:lnTo>
                    <a:pt x="460" y="275"/>
                  </a:lnTo>
                  <a:lnTo>
                    <a:pt x="437" y="299"/>
                  </a:lnTo>
                  <a:lnTo>
                    <a:pt x="414" y="325"/>
                  </a:lnTo>
                  <a:lnTo>
                    <a:pt x="393" y="350"/>
                  </a:lnTo>
                  <a:lnTo>
                    <a:pt x="374" y="377"/>
                  </a:lnTo>
                  <a:lnTo>
                    <a:pt x="355" y="405"/>
                  </a:lnTo>
                  <a:lnTo>
                    <a:pt x="338" y="433"/>
                  </a:lnTo>
                  <a:lnTo>
                    <a:pt x="322" y="462"/>
                  </a:lnTo>
                  <a:lnTo>
                    <a:pt x="308" y="491"/>
                  </a:lnTo>
                  <a:lnTo>
                    <a:pt x="295" y="521"/>
                  </a:lnTo>
                  <a:lnTo>
                    <a:pt x="283" y="551"/>
                  </a:lnTo>
                  <a:lnTo>
                    <a:pt x="273" y="583"/>
                  </a:lnTo>
                  <a:lnTo>
                    <a:pt x="73" y="583"/>
                  </a:lnTo>
                  <a:lnTo>
                    <a:pt x="73" y="583"/>
                  </a:lnTo>
                  <a:lnTo>
                    <a:pt x="66" y="583"/>
                  </a:lnTo>
                  <a:lnTo>
                    <a:pt x="59" y="584"/>
                  </a:lnTo>
                  <a:lnTo>
                    <a:pt x="51" y="586"/>
                  </a:lnTo>
                  <a:lnTo>
                    <a:pt x="45" y="588"/>
                  </a:lnTo>
                  <a:lnTo>
                    <a:pt x="39" y="591"/>
                  </a:lnTo>
                  <a:lnTo>
                    <a:pt x="33" y="595"/>
                  </a:lnTo>
                  <a:lnTo>
                    <a:pt x="27" y="600"/>
                  </a:lnTo>
                  <a:lnTo>
                    <a:pt x="21" y="605"/>
                  </a:lnTo>
                  <a:lnTo>
                    <a:pt x="16" y="610"/>
                  </a:lnTo>
                  <a:lnTo>
                    <a:pt x="12" y="615"/>
                  </a:lnTo>
                  <a:lnTo>
                    <a:pt x="9" y="621"/>
                  </a:lnTo>
                  <a:lnTo>
                    <a:pt x="6" y="627"/>
                  </a:lnTo>
                  <a:lnTo>
                    <a:pt x="3" y="635"/>
                  </a:lnTo>
                  <a:lnTo>
                    <a:pt x="2" y="642"/>
                  </a:lnTo>
                  <a:lnTo>
                    <a:pt x="1" y="649"/>
                  </a:lnTo>
                  <a:lnTo>
                    <a:pt x="0" y="656"/>
                  </a:lnTo>
                  <a:lnTo>
                    <a:pt x="0" y="764"/>
                  </a:lnTo>
                  <a:lnTo>
                    <a:pt x="0" y="904"/>
                  </a:lnTo>
                  <a:lnTo>
                    <a:pt x="0" y="904"/>
                  </a:lnTo>
                  <a:lnTo>
                    <a:pt x="1" y="912"/>
                  </a:lnTo>
                  <a:lnTo>
                    <a:pt x="2" y="919"/>
                  </a:lnTo>
                  <a:lnTo>
                    <a:pt x="3" y="926"/>
                  </a:lnTo>
                  <a:lnTo>
                    <a:pt x="6" y="933"/>
                  </a:lnTo>
                  <a:lnTo>
                    <a:pt x="9" y="941"/>
                  </a:lnTo>
                  <a:lnTo>
                    <a:pt x="12" y="948"/>
                  </a:lnTo>
                  <a:lnTo>
                    <a:pt x="21" y="960"/>
                  </a:lnTo>
                  <a:lnTo>
                    <a:pt x="32" y="970"/>
                  </a:lnTo>
                  <a:lnTo>
                    <a:pt x="38" y="976"/>
                  </a:lnTo>
                  <a:lnTo>
                    <a:pt x="44" y="980"/>
                  </a:lnTo>
                  <a:lnTo>
                    <a:pt x="51" y="984"/>
                  </a:lnTo>
                  <a:lnTo>
                    <a:pt x="58" y="987"/>
                  </a:lnTo>
                  <a:lnTo>
                    <a:pt x="65" y="989"/>
                  </a:lnTo>
                  <a:lnTo>
                    <a:pt x="72" y="991"/>
                  </a:lnTo>
                  <a:lnTo>
                    <a:pt x="305" y="1033"/>
                  </a:lnTo>
                  <a:lnTo>
                    <a:pt x="305" y="1033"/>
                  </a:lnTo>
                  <a:lnTo>
                    <a:pt x="315" y="1054"/>
                  </a:lnTo>
                  <a:lnTo>
                    <a:pt x="315" y="1055"/>
                  </a:lnTo>
                  <a:lnTo>
                    <a:pt x="315" y="1055"/>
                  </a:lnTo>
                  <a:lnTo>
                    <a:pt x="326" y="1076"/>
                  </a:lnTo>
                  <a:lnTo>
                    <a:pt x="338" y="1096"/>
                  </a:lnTo>
                  <a:lnTo>
                    <a:pt x="350" y="1117"/>
                  </a:lnTo>
                  <a:lnTo>
                    <a:pt x="363" y="1136"/>
                  </a:lnTo>
                  <a:lnTo>
                    <a:pt x="363" y="1136"/>
                  </a:lnTo>
                  <a:lnTo>
                    <a:pt x="364" y="1137"/>
                  </a:lnTo>
                  <a:lnTo>
                    <a:pt x="364" y="1137"/>
                  </a:lnTo>
                  <a:lnTo>
                    <a:pt x="377" y="1157"/>
                  </a:lnTo>
                  <a:lnTo>
                    <a:pt x="377" y="1157"/>
                  </a:lnTo>
                  <a:lnTo>
                    <a:pt x="377" y="1157"/>
                  </a:lnTo>
                  <a:lnTo>
                    <a:pt x="391" y="1176"/>
                  </a:lnTo>
                  <a:lnTo>
                    <a:pt x="407" y="1195"/>
                  </a:lnTo>
                  <a:lnTo>
                    <a:pt x="407" y="1196"/>
                  </a:lnTo>
                  <a:lnTo>
                    <a:pt x="407" y="1196"/>
                  </a:lnTo>
                  <a:lnTo>
                    <a:pt x="421" y="1213"/>
                  </a:lnTo>
                  <a:lnTo>
                    <a:pt x="421" y="1213"/>
                  </a:lnTo>
                  <a:lnTo>
                    <a:pt x="423" y="1216"/>
                  </a:lnTo>
                  <a:lnTo>
                    <a:pt x="423" y="1216"/>
                  </a:lnTo>
                  <a:lnTo>
                    <a:pt x="438" y="1231"/>
                  </a:lnTo>
                  <a:lnTo>
                    <a:pt x="438" y="1231"/>
                  </a:lnTo>
                  <a:lnTo>
                    <a:pt x="440" y="1233"/>
                  </a:lnTo>
                  <a:lnTo>
                    <a:pt x="440" y="1233"/>
                  </a:lnTo>
                  <a:lnTo>
                    <a:pt x="456" y="1251"/>
                  </a:lnTo>
                  <a:lnTo>
                    <a:pt x="474" y="1267"/>
                  </a:lnTo>
                  <a:lnTo>
                    <a:pt x="474" y="1267"/>
                  </a:lnTo>
                  <a:lnTo>
                    <a:pt x="474" y="1267"/>
                  </a:lnTo>
                  <a:lnTo>
                    <a:pt x="490" y="1283"/>
                  </a:lnTo>
                  <a:lnTo>
                    <a:pt x="490" y="1283"/>
                  </a:lnTo>
                  <a:lnTo>
                    <a:pt x="493" y="1286"/>
                  </a:lnTo>
                  <a:lnTo>
                    <a:pt x="493" y="1286"/>
                  </a:lnTo>
                  <a:lnTo>
                    <a:pt x="509" y="1299"/>
                  </a:lnTo>
                  <a:lnTo>
                    <a:pt x="509" y="1299"/>
                  </a:lnTo>
                  <a:lnTo>
                    <a:pt x="512" y="1301"/>
                  </a:lnTo>
                  <a:lnTo>
                    <a:pt x="512" y="1301"/>
                  </a:lnTo>
                  <a:lnTo>
                    <a:pt x="531" y="1317"/>
                  </a:lnTo>
                  <a:lnTo>
                    <a:pt x="550" y="1332"/>
                  </a:lnTo>
                  <a:lnTo>
                    <a:pt x="546" y="1309"/>
                  </a:lnTo>
                  <a:lnTo>
                    <a:pt x="546" y="1309"/>
                  </a:lnTo>
                  <a:lnTo>
                    <a:pt x="547" y="1299"/>
                  </a:lnTo>
                  <a:lnTo>
                    <a:pt x="548" y="1289"/>
                  </a:lnTo>
                  <a:lnTo>
                    <a:pt x="551" y="1279"/>
                  </a:lnTo>
                  <a:lnTo>
                    <a:pt x="554" y="1270"/>
                  </a:lnTo>
                  <a:lnTo>
                    <a:pt x="558" y="1262"/>
                  </a:lnTo>
                  <a:lnTo>
                    <a:pt x="564" y="1254"/>
                  </a:lnTo>
                  <a:lnTo>
                    <a:pt x="569" y="1245"/>
                  </a:lnTo>
                  <a:lnTo>
                    <a:pt x="576" y="1239"/>
                  </a:lnTo>
                  <a:lnTo>
                    <a:pt x="582" y="1232"/>
                  </a:lnTo>
                  <a:lnTo>
                    <a:pt x="590" y="1227"/>
                  </a:lnTo>
                  <a:lnTo>
                    <a:pt x="599" y="1222"/>
                  </a:lnTo>
                  <a:lnTo>
                    <a:pt x="607" y="1218"/>
                  </a:lnTo>
                  <a:lnTo>
                    <a:pt x="616" y="1215"/>
                  </a:lnTo>
                  <a:lnTo>
                    <a:pt x="625" y="1211"/>
                  </a:lnTo>
                  <a:lnTo>
                    <a:pt x="636" y="1210"/>
                  </a:lnTo>
                  <a:lnTo>
                    <a:pt x="646" y="1209"/>
                  </a:lnTo>
                  <a:lnTo>
                    <a:pt x="833" y="1209"/>
                  </a:lnTo>
                  <a:lnTo>
                    <a:pt x="833" y="1209"/>
                  </a:lnTo>
                  <a:lnTo>
                    <a:pt x="844" y="1210"/>
                  </a:lnTo>
                  <a:lnTo>
                    <a:pt x="853" y="1211"/>
                  </a:lnTo>
                  <a:lnTo>
                    <a:pt x="862" y="1215"/>
                  </a:lnTo>
                  <a:lnTo>
                    <a:pt x="872" y="1218"/>
                  </a:lnTo>
                  <a:lnTo>
                    <a:pt x="881" y="1222"/>
                  </a:lnTo>
                  <a:lnTo>
                    <a:pt x="889" y="1227"/>
                  </a:lnTo>
                  <a:lnTo>
                    <a:pt x="896" y="1232"/>
                  </a:lnTo>
                  <a:lnTo>
                    <a:pt x="904" y="1239"/>
                  </a:lnTo>
                  <a:lnTo>
                    <a:pt x="910" y="1245"/>
                  </a:lnTo>
                  <a:lnTo>
                    <a:pt x="916" y="1254"/>
                  </a:lnTo>
                  <a:lnTo>
                    <a:pt x="921" y="1262"/>
                  </a:lnTo>
                  <a:lnTo>
                    <a:pt x="925" y="1270"/>
                  </a:lnTo>
                  <a:lnTo>
                    <a:pt x="928" y="1279"/>
                  </a:lnTo>
                  <a:lnTo>
                    <a:pt x="930" y="1289"/>
                  </a:lnTo>
                  <a:lnTo>
                    <a:pt x="932" y="1299"/>
                  </a:lnTo>
                  <a:lnTo>
                    <a:pt x="932" y="1309"/>
                  </a:lnTo>
                  <a:lnTo>
                    <a:pt x="875" y="1632"/>
                  </a:lnTo>
                  <a:lnTo>
                    <a:pt x="899" y="1496"/>
                  </a:lnTo>
                  <a:lnTo>
                    <a:pt x="899" y="1496"/>
                  </a:lnTo>
                  <a:lnTo>
                    <a:pt x="946" y="1507"/>
                  </a:lnTo>
                  <a:lnTo>
                    <a:pt x="946" y="1507"/>
                  </a:lnTo>
                  <a:lnTo>
                    <a:pt x="949" y="1507"/>
                  </a:lnTo>
                  <a:lnTo>
                    <a:pt x="949" y="1507"/>
                  </a:lnTo>
                  <a:lnTo>
                    <a:pt x="991" y="1515"/>
                  </a:lnTo>
                  <a:lnTo>
                    <a:pt x="991" y="1515"/>
                  </a:lnTo>
                  <a:lnTo>
                    <a:pt x="998" y="1516"/>
                  </a:lnTo>
                  <a:lnTo>
                    <a:pt x="998" y="1516"/>
                  </a:lnTo>
                  <a:lnTo>
                    <a:pt x="1010" y="1518"/>
                  </a:lnTo>
                  <a:lnTo>
                    <a:pt x="1010" y="1518"/>
                  </a:lnTo>
                  <a:lnTo>
                    <a:pt x="1019" y="1520"/>
                  </a:lnTo>
                  <a:lnTo>
                    <a:pt x="1019" y="1520"/>
                  </a:lnTo>
                  <a:lnTo>
                    <a:pt x="1029" y="1521"/>
                  </a:lnTo>
                  <a:lnTo>
                    <a:pt x="1029" y="1521"/>
                  </a:lnTo>
                  <a:lnTo>
                    <a:pt x="1048" y="1523"/>
                  </a:lnTo>
                  <a:lnTo>
                    <a:pt x="1048" y="1523"/>
                  </a:lnTo>
                  <a:lnTo>
                    <a:pt x="1056" y="1524"/>
                  </a:lnTo>
                  <a:lnTo>
                    <a:pt x="1056" y="1524"/>
                  </a:lnTo>
                  <a:lnTo>
                    <a:pt x="1068" y="1525"/>
                  </a:lnTo>
                  <a:lnTo>
                    <a:pt x="1068" y="1525"/>
                  </a:lnTo>
                  <a:lnTo>
                    <a:pt x="1077" y="1526"/>
                  </a:lnTo>
                  <a:lnTo>
                    <a:pt x="1077" y="1526"/>
                  </a:lnTo>
                  <a:lnTo>
                    <a:pt x="1092" y="1527"/>
                  </a:lnTo>
                  <a:lnTo>
                    <a:pt x="1092" y="1527"/>
                  </a:lnTo>
                  <a:lnTo>
                    <a:pt x="1097" y="1527"/>
                  </a:lnTo>
                  <a:lnTo>
                    <a:pt x="1097" y="1527"/>
                  </a:lnTo>
                  <a:lnTo>
                    <a:pt x="1117" y="1528"/>
                  </a:lnTo>
                  <a:lnTo>
                    <a:pt x="1117" y="1528"/>
                  </a:lnTo>
                  <a:lnTo>
                    <a:pt x="1124" y="1528"/>
                  </a:lnTo>
                  <a:lnTo>
                    <a:pt x="1124" y="1528"/>
                  </a:lnTo>
                  <a:lnTo>
                    <a:pt x="1140" y="1529"/>
                  </a:lnTo>
                  <a:lnTo>
                    <a:pt x="1140" y="1529"/>
                  </a:lnTo>
                  <a:lnTo>
                    <a:pt x="1146" y="1529"/>
                  </a:lnTo>
                  <a:lnTo>
                    <a:pt x="1146" y="1529"/>
                  </a:lnTo>
                  <a:lnTo>
                    <a:pt x="1166" y="1529"/>
                  </a:lnTo>
                  <a:lnTo>
                    <a:pt x="1166" y="132"/>
                  </a:lnTo>
                  <a:lnTo>
                    <a:pt x="1166" y="132"/>
                  </a:lnTo>
                  <a:lnTo>
                    <a:pt x="1166" y="132"/>
                  </a:lnTo>
                  <a:lnTo>
                    <a:pt x="1134" y="133"/>
                  </a:lnTo>
                  <a:lnTo>
                    <a:pt x="1101" y="134"/>
                  </a:lnTo>
                  <a:lnTo>
                    <a:pt x="1068" y="137"/>
                  </a:lnTo>
                  <a:lnTo>
                    <a:pt x="1036" y="140"/>
                  </a:lnTo>
                  <a:lnTo>
                    <a:pt x="1005" y="145"/>
                  </a:lnTo>
                  <a:lnTo>
                    <a:pt x="973" y="151"/>
                  </a:lnTo>
                  <a:lnTo>
                    <a:pt x="942" y="159"/>
                  </a:lnTo>
                  <a:lnTo>
                    <a:pt x="911" y="167"/>
                  </a:lnTo>
                  <a:lnTo>
                    <a:pt x="911" y="167"/>
                  </a:lnTo>
                  <a:lnTo>
                    <a:pt x="903" y="168"/>
                  </a:lnTo>
                  <a:lnTo>
                    <a:pt x="903" y="168"/>
                  </a:lnTo>
                  <a:lnTo>
                    <a:pt x="897" y="167"/>
                  </a:lnTo>
                  <a:lnTo>
                    <a:pt x="893" y="166"/>
                  </a:lnTo>
                  <a:lnTo>
                    <a:pt x="889" y="164"/>
                  </a:lnTo>
                  <a:lnTo>
                    <a:pt x="885" y="162"/>
                  </a:lnTo>
                  <a:lnTo>
                    <a:pt x="881" y="159"/>
                  </a:lnTo>
                  <a:lnTo>
                    <a:pt x="878" y="155"/>
                  </a:lnTo>
                  <a:lnTo>
                    <a:pt x="876" y="150"/>
                  </a:lnTo>
                  <a:lnTo>
                    <a:pt x="874" y="146"/>
                  </a:lnTo>
                  <a:lnTo>
                    <a:pt x="874" y="146"/>
                  </a:lnTo>
                  <a:lnTo>
                    <a:pt x="873" y="140"/>
                  </a:lnTo>
                  <a:lnTo>
                    <a:pt x="874" y="135"/>
                  </a:lnTo>
                  <a:lnTo>
                    <a:pt x="875" y="129"/>
                  </a:lnTo>
                  <a:lnTo>
                    <a:pt x="877" y="124"/>
                  </a:lnTo>
                  <a:lnTo>
                    <a:pt x="880" y="120"/>
                  </a:lnTo>
                  <a:lnTo>
                    <a:pt x="884" y="115"/>
                  </a:lnTo>
                  <a:lnTo>
                    <a:pt x="889" y="112"/>
                  </a:lnTo>
                  <a:lnTo>
                    <a:pt x="894" y="110"/>
                  </a:lnTo>
                  <a:lnTo>
                    <a:pt x="894" y="110"/>
                  </a:lnTo>
                  <a:lnTo>
                    <a:pt x="927" y="101"/>
                  </a:lnTo>
                  <a:lnTo>
                    <a:pt x="961" y="94"/>
                  </a:lnTo>
                  <a:lnTo>
                    <a:pt x="994" y="88"/>
                  </a:lnTo>
                  <a:lnTo>
                    <a:pt x="1028" y="82"/>
                  </a:lnTo>
                  <a:lnTo>
                    <a:pt x="1063" y="78"/>
                  </a:lnTo>
                  <a:lnTo>
                    <a:pt x="1097" y="75"/>
                  </a:lnTo>
                  <a:lnTo>
                    <a:pt x="1132" y="74"/>
                  </a:lnTo>
                  <a:lnTo>
                    <a:pt x="1166" y="73"/>
                  </a:lnTo>
                  <a:lnTo>
                    <a:pt x="1166" y="73"/>
                  </a:lnTo>
                  <a:lnTo>
                    <a:pt x="1166" y="0"/>
                  </a:lnTo>
                  <a:lnTo>
                    <a:pt x="1166" y="0"/>
                  </a:lnTo>
                  <a:close/>
                </a:path>
              </a:pathLst>
            </a:custGeom>
            <a:solidFill>
              <a:srgbClr val="FCBF5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3" name="Freeform 700">
              <a:extLst>
                <a:ext uri="{FF2B5EF4-FFF2-40B4-BE49-F238E27FC236}">
                  <a16:creationId xmlns:a16="http://schemas.microsoft.com/office/drawing/2014/main" id="{EA1A772E-BDFE-3FA3-94F3-E85F7BD80978}"/>
                </a:ext>
              </a:extLst>
            </p:cNvPr>
            <p:cNvSpPr>
              <a:spLocks/>
            </p:cNvSpPr>
            <p:nvPr/>
          </p:nvSpPr>
          <p:spPr bwMode="auto">
            <a:xfrm>
              <a:off x="3609976" y="5445125"/>
              <a:ext cx="17463" cy="17463"/>
            </a:xfrm>
            <a:custGeom>
              <a:avLst/>
              <a:gdLst/>
              <a:ahLst/>
              <a:cxnLst>
                <a:cxn ang="0">
                  <a:pos x="44" y="87"/>
                </a:cxn>
                <a:cxn ang="0">
                  <a:pos x="44" y="87"/>
                </a:cxn>
                <a:cxn ang="0">
                  <a:pos x="35" y="86"/>
                </a:cxn>
                <a:cxn ang="0">
                  <a:pos x="26" y="84"/>
                </a:cxn>
                <a:cxn ang="0">
                  <a:pos x="19" y="80"/>
                </a:cxn>
                <a:cxn ang="0">
                  <a:pos x="13" y="75"/>
                </a:cxn>
                <a:cxn ang="0">
                  <a:pos x="8" y="68"/>
                </a:cxn>
                <a:cxn ang="0">
                  <a:pos x="4" y="60"/>
                </a:cxn>
                <a:cxn ang="0">
                  <a:pos x="1" y="52"/>
                </a:cxn>
                <a:cxn ang="0">
                  <a:pos x="0" y="44"/>
                </a:cxn>
                <a:cxn ang="0">
                  <a:pos x="0" y="44"/>
                </a:cxn>
                <a:cxn ang="0">
                  <a:pos x="1" y="35"/>
                </a:cxn>
                <a:cxn ang="0">
                  <a:pos x="4" y="26"/>
                </a:cxn>
                <a:cxn ang="0">
                  <a:pos x="8" y="19"/>
                </a:cxn>
                <a:cxn ang="0">
                  <a:pos x="13" y="13"/>
                </a:cxn>
                <a:cxn ang="0">
                  <a:pos x="19" y="8"/>
                </a:cxn>
                <a:cxn ang="0">
                  <a:pos x="26" y="4"/>
                </a:cxn>
                <a:cxn ang="0">
                  <a:pos x="35" y="1"/>
                </a:cxn>
                <a:cxn ang="0">
                  <a:pos x="44" y="0"/>
                </a:cxn>
                <a:cxn ang="0">
                  <a:pos x="44" y="0"/>
                </a:cxn>
                <a:cxn ang="0">
                  <a:pos x="52" y="1"/>
                </a:cxn>
                <a:cxn ang="0">
                  <a:pos x="60" y="4"/>
                </a:cxn>
                <a:cxn ang="0">
                  <a:pos x="69" y="8"/>
                </a:cxn>
                <a:cxn ang="0">
                  <a:pos x="75" y="13"/>
                </a:cxn>
                <a:cxn ang="0">
                  <a:pos x="80" y="19"/>
                </a:cxn>
                <a:cxn ang="0">
                  <a:pos x="84" y="26"/>
                </a:cxn>
                <a:cxn ang="0">
                  <a:pos x="86" y="35"/>
                </a:cxn>
                <a:cxn ang="0">
                  <a:pos x="87" y="44"/>
                </a:cxn>
                <a:cxn ang="0">
                  <a:pos x="87" y="44"/>
                </a:cxn>
                <a:cxn ang="0">
                  <a:pos x="86" y="52"/>
                </a:cxn>
                <a:cxn ang="0">
                  <a:pos x="84" y="60"/>
                </a:cxn>
                <a:cxn ang="0">
                  <a:pos x="80" y="68"/>
                </a:cxn>
                <a:cxn ang="0">
                  <a:pos x="75" y="75"/>
                </a:cxn>
                <a:cxn ang="0">
                  <a:pos x="69" y="80"/>
                </a:cxn>
                <a:cxn ang="0">
                  <a:pos x="60" y="84"/>
                </a:cxn>
                <a:cxn ang="0">
                  <a:pos x="52" y="86"/>
                </a:cxn>
                <a:cxn ang="0">
                  <a:pos x="44" y="87"/>
                </a:cxn>
              </a:cxnLst>
              <a:rect l="0" t="0" r="r" b="b"/>
              <a:pathLst>
                <a:path w="87" h="87">
                  <a:moveTo>
                    <a:pt x="44" y="87"/>
                  </a:moveTo>
                  <a:lnTo>
                    <a:pt x="44" y="87"/>
                  </a:lnTo>
                  <a:lnTo>
                    <a:pt x="35" y="86"/>
                  </a:lnTo>
                  <a:lnTo>
                    <a:pt x="26" y="84"/>
                  </a:lnTo>
                  <a:lnTo>
                    <a:pt x="19" y="80"/>
                  </a:lnTo>
                  <a:lnTo>
                    <a:pt x="13" y="75"/>
                  </a:lnTo>
                  <a:lnTo>
                    <a:pt x="8" y="68"/>
                  </a:lnTo>
                  <a:lnTo>
                    <a:pt x="4" y="60"/>
                  </a:lnTo>
                  <a:lnTo>
                    <a:pt x="1" y="52"/>
                  </a:lnTo>
                  <a:lnTo>
                    <a:pt x="0" y="44"/>
                  </a:lnTo>
                  <a:lnTo>
                    <a:pt x="0" y="44"/>
                  </a:lnTo>
                  <a:lnTo>
                    <a:pt x="1" y="35"/>
                  </a:lnTo>
                  <a:lnTo>
                    <a:pt x="4" y="26"/>
                  </a:lnTo>
                  <a:lnTo>
                    <a:pt x="8" y="19"/>
                  </a:lnTo>
                  <a:lnTo>
                    <a:pt x="13" y="13"/>
                  </a:lnTo>
                  <a:lnTo>
                    <a:pt x="19" y="8"/>
                  </a:lnTo>
                  <a:lnTo>
                    <a:pt x="26" y="4"/>
                  </a:lnTo>
                  <a:lnTo>
                    <a:pt x="35" y="1"/>
                  </a:lnTo>
                  <a:lnTo>
                    <a:pt x="44" y="0"/>
                  </a:lnTo>
                  <a:lnTo>
                    <a:pt x="44" y="0"/>
                  </a:lnTo>
                  <a:lnTo>
                    <a:pt x="52" y="1"/>
                  </a:lnTo>
                  <a:lnTo>
                    <a:pt x="60" y="4"/>
                  </a:lnTo>
                  <a:lnTo>
                    <a:pt x="69" y="8"/>
                  </a:lnTo>
                  <a:lnTo>
                    <a:pt x="75" y="13"/>
                  </a:lnTo>
                  <a:lnTo>
                    <a:pt x="80" y="19"/>
                  </a:lnTo>
                  <a:lnTo>
                    <a:pt x="84" y="26"/>
                  </a:lnTo>
                  <a:lnTo>
                    <a:pt x="86" y="35"/>
                  </a:lnTo>
                  <a:lnTo>
                    <a:pt x="87" y="44"/>
                  </a:lnTo>
                  <a:lnTo>
                    <a:pt x="87" y="44"/>
                  </a:lnTo>
                  <a:lnTo>
                    <a:pt x="86" y="52"/>
                  </a:lnTo>
                  <a:lnTo>
                    <a:pt x="84" y="60"/>
                  </a:lnTo>
                  <a:lnTo>
                    <a:pt x="80" y="68"/>
                  </a:lnTo>
                  <a:lnTo>
                    <a:pt x="75" y="75"/>
                  </a:lnTo>
                  <a:lnTo>
                    <a:pt x="69" y="80"/>
                  </a:lnTo>
                  <a:lnTo>
                    <a:pt x="60" y="84"/>
                  </a:lnTo>
                  <a:lnTo>
                    <a:pt x="52" y="86"/>
                  </a:lnTo>
                  <a:lnTo>
                    <a:pt x="44" y="87"/>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4" name="Freeform 701">
              <a:extLst>
                <a:ext uri="{FF2B5EF4-FFF2-40B4-BE49-F238E27FC236}">
                  <a16:creationId xmlns:a16="http://schemas.microsoft.com/office/drawing/2014/main" id="{640502A5-0FA4-AB3E-B7CB-C05E9A2D2E5F}"/>
                </a:ext>
              </a:extLst>
            </p:cNvPr>
            <p:cNvSpPr>
              <a:spLocks/>
            </p:cNvSpPr>
            <p:nvPr/>
          </p:nvSpPr>
          <p:spPr bwMode="auto">
            <a:xfrm>
              <a:off x="3524251" y="5338763"/>
              <a:ext cx="231775" cy="323850"/>
            </a:xfrm>
            <a:custGeom>
              <a:avLst/>
              <a:gdLst/>
              <a:ahLst/>
              <a:cxnLst>
                <a:cxn ang="0">
                  <a:pos x="1087" y="3"/>
                </a:cxn>
                <a:cxn ang="0">
                  <a:pos x="932" y="25"/>
                </a:cxn>
                <a:cxn ang="0">
                  <a:pos x="787" y="68"/>
                </a:cxn>
                <a:cxn ang="0">
                  <a:pos x="655" y="129"/>
                </a:cxn>
                <a:cxn ang="0">
                  <a:pos x="538" y="207"/>
                </a:cxn>
                <a:cxn ang="0">
                  <a:pos x="437" y="299"/>
                </a:cxn>
                <a:cxn ang="0">
                  <a:pos x="355" y="405"/>
                </a:cxn>
                <a:cxn ang="0">
                  <a:pos x="295" y="521"/>
                </a:cxn>
                <a:cxn ang="0">
                  <a:pos x="73" y="583"/>
                </a:cxn>
                <a:cxn ang="0">
                  <a:pos x="45" y="588"/>
                </a:cxn>
                <a:cxn ang="0">
                  <a:pos x="21" y="605"/>
                </a:cxn>
                <a:cxn ang="0">
                  <a:pos x="6" y="627"/>
                </a:cxn>
                <a:cxn ang="0">
                  <a:pos x="0" y="656"/>
                </a:cxn>
                <a:cxn ang="0">
                  <a:pos x="1" y="912"/>
                </a:cxn>
                <a:cxn ang="0">
                  <a:pos x="9" y="941"/>
                </a:cxn>
                <a:cxn ang="0">
                  <a:pos x="38" y="976"/>
                </a:cxn>
                <a:cxn ang="0">
                  <a:pos x="65" y="989"/>
                </a:cxn>
                <a:cxn ang="0">
                  <a:pos x="315" y="1054"/>
                </a:cxn>
                <a:cxn ang="0">
                  <a:pos x="338" y="1096"/>
                </a:cxn>
                <a:cxn ang="0">
                  <a:pos x="364" y="1137"/>
                </a:cxn>
                <a:cxn ang="0">
                  <a:pos x="377" y="1157"/>
                </a:cxn>
                <a:cxn ang="0">
                  <a:pos x="407" y="1196"/>
                </a:cxn>
                <a:cxn ang="0">
                  <a:pos x="423" y="1216"/>
                </a:cxn>
                <a:cxn ang="0">
                  <a:pos x="440" y="1233"/>
                </a:cxn>
                <a:cxn ang="0">
                  <a:pos x="474" y="1267"/>
                </a:cxn>
                <a:cxn ang="0">
                  <a:pos x="493" y="1286"/>
                </a:cxn>
                <a:cxn ang="0">
                  <a:pos x="512" y="1301"/>
                </a:cxn>
                <a:cxn ang="0">
                  <a:pos x="546" y="1309"/>
                </a:cxn>
                <a:cxn ang="0">
                  <a:pos x="554" y="1270"/>
                </a:cxn>
                <a:cxn ang="0">
                  <a:pos x="576" y="1239"/>
                </a:cxn>
                <a:cxn ang="0">
                  <a:pos x="607" y="1218"/>
                </a:cxn>
                <a:cxn ang="0">
                  <a:pos x="646" y="1209"/>
                </a:cxn>
                <a:cxn ang="0">
                  <a:pos x="853" y="1211"/>
                </a:cxn>
                <a:cxn ang="0">
                  <a:pos x="889" y="1227"/>
                </a:cxn>
                <a:cxn ang="0">
                  <a:pos x="916" y="1254"/>
                </a:cxn>
                <a:cxn ang="0">
                  <a:pos x="930" y="1289"/>
                </a:cxn>
                <a:cxn ang="0">
                  <a:pos x="899" y="1496"/>
                </a:cxn>
                <a:cxn ang="0">
                  <a:pos x="949" y="1507"/>
                </a:cxn>
                <a:cxn ang="0">
                  <a:pos x="998" y="1516"/>
                </a:cxn>
                <a:cxn ang="0">
                  <a:pos x="1019" y="1520"/>
                </a:cxn>
                <a:cxn ang="0">
                  <a:pos x="1048" y="1523"/>
                </a:cxn>
                <a:cxn ang="0">
                  <a:pos x="1068" y="1525"/>
                </a:cxn>
                <a:cxn ang="0">
                  <a:pos x="1092" y="1527"/>
                </a:cxn>
                <a:cxn ang="0">
                  <a:pos x="1117" y="1528"/>
                </a:cxn>
                <a:cxn ang="0">
                  <a:pos x="1140" y="1529"/>
                </a:cxn>
                <a:cxn ang="0">
                  <a:pos x="1166" y="1529"/>
                </a:cxn>
                <a:cxn ang="0">
                  <a:pos x="1134" y="133"/>
                </a:cxn>
                <a:cxn ang="0">
                  <a:pos x="1005" y="145"/>
                </a:cxn>
                <a:cxn ang="0">
                  <a:pos x="911" y="167"/>
                </a:cxn>
                <a:cxn ang="0">
                  <a:pos x="893" y="166"/>
                </a:cxn>
                <a:cxn ang="0">
                  <a:pos x="878" y="155"/>
                </a:cxn>
                <a:cxn ang="0">
                  <a:pos x="873" y="140"/>
                </a:cxn>
                <a:cxn ang="0">
                  <a:pos x="880" y="120"/>
                </a:cxn>
                <a:cxn ang="0">
                  <a:pos x="894" y="110"/>
                </a:cxn>
                <a:cxn ang="0">
                  <a:pos x="1028" y="82"/>
                </a:cxn>
                <a:cxn ang="0">
                  <a:pos x="1166" y="73"/>
                </a:cxn>
              </a:cxnLst>
              <a:rect l="0" t="0" r="r" b="b"/>
              <a:pathLst>
                <a:path w="1166" h="1632">
                  <a:moveTo>
                    <a:pt x="1166" y="0"/>
                  </a:moveTo>
                  <a:lnTo>
                    <a:pt x="1166" y="0"/>
                  </a:lnTo>
                  <a:lnTo>
                    <a:pt x="1126" y="0"/>
                  </a:lnTo>
                  <a:lnTo>
                    <a:pt x="1087" y="3"/>
                  </a:lnTo>
                  <a:lnTo>
                    <a:pt x="1047" y="6"/>
                  </a:lnTo>
                  <a:lnTo>
                    <a:pt x="1009" y="11"/>
                  </a:lnTo>
                  <a:lnTo>
                    <a:pt x="969" y="18"/>
                  </a:lnTo>
                  <a:lnTo>
                    <a:pt x="932" y="25"/>
                  </a:lnTo>
                  <a:lnTo>
                    <a:pt x="895" y="34"/>
                  </a:lnTo>
                  <a:lnTo>
                    <a:pt x="858" y="43"/>
                  </a:lnTo>
                  <a:lnTo>
                    <a:pt x="822" y="55"/>
                  </a:lnTo>
                  <a:lnTo>
                    <a:pt x="787" y="68"/>
                  </a:lnTo>
                  <a:lnTo>
                    <a:pt x="753" y="81"/>
                  </a:lnTo>
                  <a:lnTo>
                    <a:pt x="720" y="96"/>
                  </a:lnTo>
                  <a:lnTo>
                    <a:pt x="687" y="112"/>
                  </a:lnTo>
                  <a:lnTo>
                    <a:pt x="655" y="129"/>
                  </a:lnTo>
                  <a:lnTo>
                    <a:pt x="624" y="146"/>
                  </a:lnTo>
                  <a:lnTo>
                    <a:pt x="594" y="166"/>
                  </a:lnTo>
                  <a:lnTo>
                    <a:pt x="566" y="185"/>
                  </a:lnTo>
                  <a:lnTo>
                    <a:pt x="538" y="207"/>
                  </a:lnTo>
                  <a:lnTo>
                    <a:pt x="511" y="229"/>
                  </a:lnTo>
                  <a:lnTo>
                    <a:pt x="485" y="251"/>
                  </a:lnTo>
                  <a:lnTo>
                    <a:pt x="460" y="275"/>
                  </a:lnTo>
                  <a:lnTo>
                    <a:pt x="437" y="299"/>
                  </a:lnTo>
                  <a:lnTo>
                    <a:pt x="414" y="325"/>
                  </a:lnTo>
                  <a:lnTo>
                    <a:pt x="393" y="350"/>
                  </a:lnTo>
                  <a:lnTo>
                    <a:pt x="374" y="377"/>
                  </a:lnTo>
                  <a:lnTo>
                    <a:pt x="355" y="405"/>
                  </a:lnTo>
                  <a:lnTo>
                    <a:pt x="338" y="433"/>
                  </a:lnTo>
                  <a:lnTo>
                    <a:pt x="322" y="462"/>
                  </a:lnTo>
                  <a:lnTo>
                    <a:pt x="308" y="491"/>
                  </a:lnTo>
                  <a:lnTo>
                    <a:pt x="295" y="521"/>
                  </a:lnTo>
                  <a:lnTo>
                    <a:pt x="283" y="551"/>
                  </a:lnTo>
                  <a:lnTo>
                    <a:pt x="273" y="583"/>
                  </a:lnTo>
                  <a:lnTo>
                    <a:pt x="73" y="583"/>
                  </a:lnTo>
                  <a:lnTo>
                    <a:pt x="73" y="583"/>
                  </a:lnTo>
                  <a:lnTo>
                    <a:pt x="66" y="583"/>
                  </a:lnTo>
                  <a:lnTo>
                    <a:pt x="59" y="584"/>
                  </a:lnTo>
                  <a:lnTo>
                    <a:pt x="51" y="586"/>
                  </a:lnTo>
                  <a:lnTo>
                    <a:pt x="45" y="588"/>
                  </a:lnTo>
                  <a:lnTo>
                    <a:pt x="39" y="591"/>
                  </a:lnTo>
                  <a:lnTo>
                    <a:pt x="33" y="595"/>
                  </a:lnTo>
                  <a:lnTo>
                    <a:pt x="27" y="600"/>
                  </a:lnTo>
                  <a:lnTo>
                    <a:pt x="21" y="605"/>
                  </a:lnTo>
                  <a:lnTo>
                    <a:pt x="16" y="610"/>
                  </a:lnTo>
                  <a:lnTo>
                    <a:pt x="12" y="615"/>
                  </a:lnTo>
                  <a:lnTo>
                    <a:pt x="9" y="621"/>
                  </a:lnTo>
                  <a:lnTo>
                    <a:pt x="6" y="627"/>
                  </a:lnTo>
                  <a:lnTo>
                    <a:pt x="3" y="635"/>
                  </a:lnTo>
                  <a:lnTo>
                    <a:pt x="2" y="642"/>
                  </a:lnTo>
                  <a:lnTo>
                    <a:pt x="1" y="649"/>
                  </a:lnTo>
                  <a:lnTo>
                    <a:pt x="0" y="656"/>
                  </a:lnTo>
                  <a:lnTo>
                    <a:pt x="0" y="764"/>
                  </a:lnTo>
                  <a:lnTo>
                    <a:pt x="0" y="904"/>
                  </a:lnTo>
                  <a:lnTo>
                    <a:pt x="0" y="904"/>
                  </a:lnTo>
                  <a:lnTo>
                    <a:pt x="1" y="912"/>
                  </a:lnTo>
                  <a:lnTo>
                    <a:pt x="2" y="919"/>
                  </a:lnTo>
                  <a:lnTo>
                    <a:pt x="3" y="926"/>
                  </a:lnTo>
                  <a:lnTo>
                    <a:pt x="6" y="933"/>
                  </a:lnTo>
                  <a:lnTo>
                    <a:pt x="9" y="941"/>
                  </a:lnTo>
                  <a:lnTo>
                    <a:pt x="12" y="948"/>
                  </a:lnTo>
                  <a:lnTo>
                    <a:pt x="21" y="960"/>
                  </a:lnTo>
                  <a:lnTo>
                    <a:pt x="32" y="970"/>
                  </a:lnTo>
                  <a:lnTo>
                    <a:pt x="38" y="976"/>
                  </a:lnTo>
                  <a:lnTo>
                    <a:pt x="44" y="980"/>
                  </a:lnTo>
                  <a:lnTo>
                    <a:pt x="51" y="984"/>
                  </a:lnTo>
                  <a:lnTo>
                    <a:pt x="58" y="987"/>
                  </a:lnTo>
                  <a:lnTo>
                    <a:pt x="65" y="989"/>
                  </a:lnTo>
                  <a:lnTo>
                    <a:pt x="72" y="991"/>
                  </a:lnTo>
                  <a:lnTo>
                    <a:pt x="305" y="1033"/>
                  </a:lnTo>
                  <a:lnTo>
                    <a:pt x="305" y="1033"/>
                  </a:lnTo>
                  <a:lnTo>
                    <a:pt x="315" y="1054"/>
                  </a:lnTo>
                  <a:lnTo>
                    <a:pt x="315" y="1055"/>
                  </a:lnTo>
                  <a:lnTo>
                    <a:pt x="315" y="1055"/>
                  </a:lnTo>
                  <a:lnTo>
                    <a:pt x="326" y="1076"/>
                  </a:lnTo>
                  <a:lnTo>
                    <a:pt x="338" y="1096"/>
                  </a:lnTo>
                  <a:lnTo>
                    <a:pt x="350" y="1117"/>
                  </a:lnTo>
                  <a:lnTo>
                    <a:pt x="363" y="1136"/>
                  </a:lnTo>
                  <a:lnTo>
                    <a:pt x="363" y="1136"/>
                  </a:lnTo>
                  <a:lnTo>
                    <a:pt x="364" y="1137"/>
                  </a:lnTo>
                  <a:lnTo>
                    <a:pt x="364" y="1137"/>
                  </a:lnTo>
                  <a:lnTo>
                    <a:pt x="377" y="1157"/>
                  </a:lnTo>
                  <a:lnTo>
                    <a:pt x="377" y="1157"/>
                  </a:lnTo>
                  <a:lnTo>
                    <a:pt x="377" y="1157"/>
                  </a:lnTo>
                  <a:lnTo>
                    <a:pt x="391" y="1176"/>
                  </a:lnTo>
                  <a:lnTo>
                    <a:pt x="407" y="1195"/>
                  </a:lnTo>
                  <a:lnTo>
                    <a:pt x="407" y="1196"/>
                  </a:lnTo>
                  <a:lnTo>
                    <a:pt x="407" y="1196"/>
                  </a:lnTo>
                  <a:lnTo>
                    <a:pt x="421" y="1213"/>
                  </a:lnTo>
                  <a:lnTo>
                    <a:pt x="421" y="1213"/>
                  </a:lnTo>
                  <a:lnTo>
                    <a:pt x="423" y="1216"/>
                  </a:lnTo>
                  <a:lnTo>
                    <a:pt x="423" y="1216"/>
                  </a:lnTo>
                  <a:lnTo>
                    <a:pt x="438" y="1231"/>
                  </a:lnTo>
                  <a:lnTo>
                    <a:pt x="438" y="1231"/>
                  </a:lnTo>
                  <a:lnTo>
                    <a:pt x="440" y="1233"/>
                  </a:lnTo>
                  <a:lnTo>
                    <a:pt x="440" y="1233"/>
                  </a:lnTo>
                  <a:lnTo>
                    <a:pt x="456" y="1251"/>
                  </a:lnTo>
                  <a:lnTo>
                    <a:pt x="474" y="1267"/>
                  </a:lnTo>
                  <a:lnTo>
                    <a:pt x="474" y="1267"/>
                  </a:lnTo>
                  <a:lnTo>
                    <a:pt x="474" y="1267"/>
                  </a:lnTo>
                  <a:lnTo>
                    <a:pt x="490" y="1283"/>
                  </a:lnTo>
                  <a:lnTo>
                    <a:pt x="490" y="1283"/>
                  </a:lnTo>
                  <a:lnTo>
                    <a:pt x="493" y="1286"/>
                  </a:lnTo>
                  <a:lnTo>
                    <a:pt x="493" y="1286"/>
                  </a:lnTo>
                  <a:lnTo>
                    <a:pt x="509" y="1299"/>
                  </a:lnTo>
                  <a:lnTo>
                    <a:pt x="509" y="1299"/>
                  </a:lnTo>
                  <a:lnTo>
                    <a:pt x="512" y="1301"/>
                  </a:lnTo>
                  <a:lnTo>
                    <a:pt x="512" y="1301"/>
                  </a:lnTo>
                  <a:lnTo>
                    <a:pt x="531" y="1317"/>
                  </a:lnTo>
                  <a:lnTo>
                    <a:pt x="550" y="1332"/>
                  </a:lnTo>
                  <a:lnTo>
                    <a:pt x="546" y="1309"/>
                  </a:lnTo>
                  <a:lnTo>
                    <a:pt x="546" y="1309"/>
                  </a:lnTo>
                  <a:lnTo>
                    <a:pt x="547" y="1299"/>
                  </a:lnTo>
                  <a:lnTo>
                    <a:pt x="548" y="1289"/>
                  </a:lnTo>
                  <a:lnTo>
                    <a:pt x="551" y="1279"/>
                  </a:lnTo>
                  <a:lnTo>
                    <a:pt x="554" y="1270"/>
                  </a:lnTo>
                  <a:lnTo>
                    <a:pt x="558" y="1262"/>
                  </a:lnTo>
                  <a:lnTo>
                    <a:pt x="564" y="1254"/>
                  </a:lnTo>
                  <a:lnTo>
                    <a:pt x="569" y="1245"/>
                  </a:lnTo>
                  <a:lnTo>
                    <a:pt x="576" y="1239"/>
                  </a:lnTo>
                  <a:lnTo>
                    <a:pt x="582" y="1232"/>
                  </a:lnTo>
                  <a:lnTo>
                    <a:pt x="590" y="1227"/>
                  </a:lnTo>
                  <a:lnTo>
                    <a:pt x="599" y="1222"/>
                  </a:lnTo>
                  <a:lnTo>
                    <a:pt x="607" y="1218"/>
                  </a:lnTo>
                  <a:lnTo>
                    <a:pt x="616" y="1215"/>
                  </a:lnTo>
                  <a:lnTo>
                    <a:pt x="625" y="1211"/>
                  </a:lnTo>
                  <a:lnTo>
                    <a:pt x="636" y="1210"/>
                  </a:lnTo>
                  <a:lnTo>
                    <a:pt x="646" y="1209"/>
                  </a:lnTo>
                  <a:lnTo>
                    <a:pt x="833" y="1209"/>
                  </a:lnTo>
                  <a:lnTo>
                    <a:pt x="833" y="1209"/>
                  </a:lnTo>
                  <a:lnTo>
                    <a:pt x="844" y="1210"/>
                  </a:lnTo>
                  <a:lnTo>
                    <a:pt x="853" y="1211"/>
                  </a:lnTo>
                  <a:lnTo>
                    <a:pt x="862" y="1215"/>
                  </a:lnTo>
                  <a:lnTo>
                    <a:pt x="872" y="1218"/>
                  </a:lnTo>
                  <a:lnTo>
                    <a:pt x="881" y="1222"/>
                  </a:lnTo>
                  <a:lnTo>
                    <a:pt x="889" y="1227"/>
                  </a:lnTo>
                  <a:lnTo>
                    <a:pt x="896" y="1232"/>
                  </a:lnTo>
                  <a:lnTo>
                    <a:pt x="904" y="1239"/>
                  </a:lnTo>
                  <a:lnTo>
                    <a:pt x="910" y="1245"/>
                  </a:lnTo>
                  <a:lnTo>
                    <a:pt x="916" y="1254"/>
                  </a:lnTo>
                  <a:lnTo>
                    <a:pt x="921" y="1262"/>
                  </a:lnTo>
                  <a:lnTo>
                    <a:pt x="925" y="1270"/>
                  </a:lnTo>
                  <a:lnTo>
                    <a:pt x="928" y="1279"/>
                  </a:lnTo>
                  <a:lnTo>
                    <a:pt x="930" y="1289"/>
                  </a:lnTo>
                  <a:lnTo>
                    <a:pt x="932" y="1299"/>
                  </a:lnTo>
                  <a:lnTo>
                    <a:pt x="932" y="1309"/>
                  </a:lnTo>
                  <a:lnTo>
                    <a:pt x="875" y="1632"/>
                  </a:lnTo>
                  <a:lnTo>
                    <a:pt x="899" y="1496"/>
                  </a:lnTo>
                  <a:lnTo>
                    <a:pt x="899" y="1496"/>
                  </a:lnTo>
                  <a:lnTo>
                    <a:pt x="946" y="1507"/>
                  </a:lnTo>
                  <a:lnTo>
                    <a:pt x="946" y="1507"/>
                  </a:lnTo>
                  <a:lnTo>
                    <a:pt x="949" y="1507"/>
                  </a:lnTo>
                  <a:lnTo>
                    <a:pt x="949" y="1507"/>
                  </a:lnTo>
                  <a:lnTo>
                    <a:pt x="991" y="1515"/>
                  </a:lnTo>
                  <a:lnTo>
                    <a:pt x="991" y="1515"/>
                  </a:lnTo>
                  <a:lnTo>
                    <a:pt x="998" y="1516"/>
                  </a:lnTo>
                  <a:lnTo>
                    <a:pt x="998" y="1516"/>
                  </a:lnTo>
                  <a:lnTo>
                    <a:pt x="1010" y="1518"/>
                  </a:lnTo>
                  <a:lnTo>
                    <a:pt x="1010" y="1518"/>
                  </a:lnTo>
                  <a:lnTo>
                    <a:pt x="1019" y="1520"/>
                  </a:lnTo>
                  <a:lnTo>
                    <a:pt x="1019" y="1520"/>
                  </a:lnTo>
                  <a:lnTo>
                    <a:pt x="1029" y="1521"/>
                  </a:lnTo>
                  <a:lnTo>
                    <a:pt x="1029" y="1521"/>
                  </a:lnTo>
                  <a:lnTo>
                    <a:pt x="1048" y="1523"/>
                  </a:lnTo>
                  <a:lnTo>
                    <a:pt x="1048" y="1523"/>
                  </a:lnTo>
                  <a:lnTo>
                    <a:pt x="1056" y="1524"/>
                  </a:lnTo>
                  <a:lnTo>
                    <a:pt x="1056" y="1524"/>
                  </a:lnTo>
                  <a:lnTo>
                    <a:pt x="1068" y="1525"/>
                  </a:lnTo>
                  <a:lnTo>
                    <a:pt x="1068" y="1525"/>
                  </a:lnTo>
                  <a:lnTo>
                    <a:pt x="1077" y="1526"/>
                  </a:lnTo>
                  <a:lnTo>
                    <a:pt x="1077" y="1526"/>
                  </a:lnTo>
                  <a:lnTo>
                    <a:pt x="1092" y="1527"/>
                  </a:lnTo>
                  <a:lnTo>
                    <a:pt x="1092" y="1527"/>
                  </a:lnTo>
                  <a:lnTo>
                    <a:pt x="1097" y="1527"/>
                  </a:lnTo>
                  <a:lnTo>
                    <a:pt x="1097" y="1527"/>
                  </a:lnTo>
                  <a:lnTo>
                    <a:pt x="1117" y="1528"/>
                  </a:lnTo>
                  <a:lnTo>
                    <a:pt x="1117" y="1528"/>
                  </a:lnTo>
                  <a:lnTo>
                    <a:pt x="1124" y="1528"/>
                  </a:lnTo>
                  <a:lnTo>
                    <a:pt x="1124" y="1528"/>
                  </a:lnTo>
                  <a:lnTo>
                    <a:pt x="1140" y="1529"/>
                  </a:lnTo>
                  <a:lnTo>
                    <a:pt x="1140" y="1529"/>
                  </a:lnTo>
                  <a:lnTo>
                    <a:pt x="1146" y="1529"/>
                  </a:lnTo>
                  <a:lnTo>
                    <a:pt x="1146" y="1529"/>
                  </a:lnTo>
                  <a:lnTo>
                    <a:pt x="1166" y="1529"/>
                  </a:lnTo>
                  <a:lnTo>
                    <a:pt x="1166" y="132"/>
                  </a:lnTo>
                  <a:lnTo>
                    <a:pt x="1166" y="132"/>
                  </a:lnTo>
                  <a:lnTo>
                    <a:pt x="1166" y="132"/>
                  </a:lnTo>
                  <a:lnTo>
                    <a:pt x="1134" y="133"/>
                  </a:lnTo>
                  <a:lnTo>
                    <a:pt x="1101" y="134"/>
                  </a:lnTo>
                  <a:lnTo>
                    <a:pt x="1068" y="137"/>
                  </a:lnTo>
                  <a:lnTo>
                    <a:pt x="1036" y="140"/>
                  </a:lnTo>
                  <a:lnTo>
                    <a:pt x="1005" y="145"/>
                  </a:lnTo>
                  <a:lnTo>
                    <a:pt x="973" y="151"/>
                  </a:lnTo>
                  <a:lnTo>
                    <a:pt x="942" y="159"/>
                  </a:lnTo>
                  <a:lnTo>
                    <a:pt x="911" y="167"/>
                  </a:lnTo>
                  <a:lnTo>
                    <a:pt x="911" y="167"/>
                  </a:lnTo>
                  <a:lnTo>
                    <a:pt x="903" y="168"/>
                  </a:lnTo>
                  <a:lnTo>
                    <a:pt x="903" y="168"/>
                  </a:lnTo>
                  <a:lnTo>
                    <a:pt x="897" y="167"/>
                  </a:lnTo>
                  <a:lnTo>
                    <a:pt x="893" y="166"/>
                  </a:lnTo>
                  <a:lnTo>
                    <a:pt x="889" y="164"/>
                  </a:lnTo>
                  <a:lnTo>
                    <a:pt x="885" y="162"/>
                  </a:lnTo>
                  <a:lnTo>
                    <a:pt x="881" y="159"/>
                  </a:lnTo>
                  <a:lnTo>
                    <a:pt x="878" y="155"/>
                  </a:lnTo>
                  <a:lnTo>
                    <a:pt x="876" y="150"/>
                  </a:lnTo>
                  <a:lnTo>
                    <a:pt x="874" y="146"/>
                  </a:lnTo>
                  <a:lnTo>
                    <a:pt x="874" y="146"/>
                  </a:lnTo>
                  <a:lnTo>
                    <a:pt x="873" y="140"/>
                  </a:lnTo>
                  <a:lnTo>
                    <a:pt x="874" y="135"/>
                  </a:lnTo>
                  <a:lnTo>
                    <a:pt x="875" y="129"/>
                  </a:lnTo>
                  <a:lnTo>
                    <a:pt x="877" y="124"/>
                  </a:lnTo>
                  <a:lnTo>
                    <a:pt x="880" y="120"/>
                  </a:lnTo>
                  <a:lnTo>
                    <a:pt x="884" y="115"/>
                  </a:lnTo>
                  <a:lnTo>
                    <a:pt x="889" y="112"/>
                  </a:lnTo>
                  <a:lnTo>
                    <a:pt x="894" y="110"/>
                  </a:lnTo>
                  <a:lnTo>
                    <a:pt x="894" y="110"/>
                  </a:lnTo>
                  <a:lnTo>
                    <a:pt x="927" y="101"/>
                  </a:lnTo>
                  <a:lnTo>
                    <a:pt x="961" y="94"/>
                  </a:lnTo>
                  <a:lnTo>
                    <a:pt x="994" y="88"/>
                  </a:lnTo>
                  <a:lnTo>
                    <a:pt x="1028" y="82"/>
                  </a:lnTo>
                  <a:lnTo>
                    <a:pt x="1063" y="78"/>
                  </a:lnTo>
                  <a:lnTo>
                    <a:pt x="1097" y="75"/>
                  </a:lnTo>
                  <a:lnTo>
                    <a:pt x="1132" y="74"/>
                  </a:lnTo>
                  <a:lnTo>
                    <a:pt x="1166" y="73"/>
                  </a:lnTo>
                  <a:lnTo>
                    <a:pt x="1166" y="73"/>
                  </a:lnTo>
                  <a:lnTo>
                    <a:pt x="1166" y="0"/>
                  </a:lnTo>
                  <a:lnTo>
                    <a:pt x="1166"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5" name="Freeform 702">
              <a:extLst>
                <a:ext uri="{FF2B5EF4-FFF2-40B4-BE49-F238E27FC236}">
                  <a16:creationId xmlns:a16="http://schemas.microsoft.com/office/drawing/2014/main" id="{C118C061-ED11-DCC1-C77B-C31CCE867EDB}"/>
                </a:ext>
              </a:extLst>
            </p:cNvPr>
            <p:cNvSpPr>
              <a:spLocks/>
            </p:cNvSpPr>
            <p:nvPr/>
          </p:nvSpPr>
          <p:spPr bwMode="auto">
            <a:xfrm>
              <a:off x="3632201" y="5580063"/>
              <a:ext cx="77788" cy="96838"/>
            </a:xfrm>
            <a:custGeom>
              <a:avLst/>
              <a:gdLst/>
              <a:ahLst/>
              <a:cxnLst>
                <a:cxn ang="0">
                  <a:pos x="100" y="0"/>
                </a:cxn>
                <a:cxn ang="0">
                  <a:pos x="90" y="1"/>
                </a:cxn>
                <a:cxn ang="0">
                  <a:pos x="70" y="6"/>
                </a:cxn>
                <a:cxn ang="0">
                  <a:pos x="53" y="13"/>
                </a:cxn>
                <a:cxn ang="0">
                  <a:pos x="36" y="23"/>
                </a:cxn>
                <a:cxn ang="0">
                  <a:pos x="23" y="36"/>
                </a:cxn>
                <a:cxn ang="0">
                  <a:pos x="12" y="53"/>
                </a:cxn>
                <a:cxn ang="0">
                  <a:pos x="5" y="70"/>
                </a:cxn>
                <a:cxn ang="0">
                  <a:pos x="1" y="90"/>
                </a:cxn>
                <a:cxn ang="0">
                  <a:pos x="4" y="123"/>
                </a:cxn>
                <a:cxn ang="0">
                  <a:pos x="4" y="123"/>
                </a:cxn>
                <a:cxn ang="0">
                  <a:pos x="58" y="423"/>
                </a:cxn>
                <a:cxn ang="0">
                  <a:pos x="60" y="437"/>
                </a:cxn>
                <a:cxn ang="0">
                  <a:pos x="64" y="450"/>
                </a:cxn>
                <a:cxn ang="0">
                  <a:pos x="70" y="462"/>
                </a:cxn>
                <a:cxn ang="0">
                  <a:pos x="78" y="472"/>
                </a:cxn>
                <a:cxn ang="0">
                  <a:pos x="89" y="480"/>
                </a:cxn>
                <a:cxn ang="0">
                  <a:pos x="101" y="488"/>
                </a:cxn>
                <a:cxn ang="0">
                  <a:pos x="113" y="491"/>
                </a:cxn>
                <a:cxn ang="0">
                  <a:pos x="128" y="493"/>
                </a:cxn>
                <a:cxn ang="0">
                  <a:pos x="260" y="493"/>
                </a:cxn>
                <a:cxn ang="0">
                  <a:pos x="273" y="491"/>
                </a:cxn>
                <a:cxn ang="0">
                  <a:pos x="286" y="488"/>
                </a:cxn>
                <a:cxn ang="0">
                  <a:pos x="298" y="480"/>
                </a:cxn>
                <a:cxn ang="0">
                  <a:pos x="308" y="472"/>
                </a:cxn>
                <a:cxn ang="0">
                  <a:pos x="317" y="462"/>
                </a:cxn>
                <a:cxn ang="0">
                  <a:pos x="324" y="450"/>
                </a:cxn>
                <a:cxn ang="0">
                  <a:pos x="328" y="437"/>
                </a:cxn>
                <a:cxn ang="0">
                  <a:pos x="329" y="423"/>
                </a:cxn>
                <a:cxn ang="0">
                  <a:pos x="386" y="100"/>
                </a:cxn>
                <a:cxn ang="0">
                  <a:pos x="386" y="90"/>
                </a:cxn>
                <a:cxn ang="0">
                  <a:pos x="382" y="70"/>
                </a:cxn>
                <a:cxn ang="0">
                  <a:pos x="375" y="53"/>
                </a:cxn>
                <a:cxn ang="0">
                  <a:pos x="364" y="36"/>
                </a:cxn>
                <a:cxn ang="0">
                  <a:pos x="350" y="23"/>
                </a:cxn>
                <a:cxn ang="0">
                  <a:pos x="335" y="13"/>
                </a:cxn>
                <a:cxn ang="0">
                  <a:pos x="316" y="6"/>
                </a:cxn>
                <a:cxn ang="0">
                  <a:pos x="298" y="1"/>
                </a:cxn>
              </a:cxnLst>
              <a:rect l="0" t="0" r="r" b="b"/>
              <a:pathLst>
                <a:path w="386" h="493">
                  <a:moveTo>
                    <a:pt x="287" y="0"/>
                  </a:moveTo>
                  <a:lnTo>
                    <a:pt x="100" y="0"/>
                  </a:lnTo>
                  <a:lnTo>
                    <a:pt x="100" y="0"/>
                  </a:lnTo>
                  <a:lnTo>
                    <a:pt x="90" y="1"/>
                  </a:lnTo>
                  <a:lnTo>
                    <a:pt x="79" y="2"/>
                  </a:lnTo>
                  <a:lnTo>
                    <a:pt x="70" y="6"/>
                  </a:lnTo>
                  <a:lnTo>
                    <a:pt x="61" y="9"/>
                  </a:lnTo>
                  <a:lnTo>
                    <a:pt x="53" y="13"/>
                  </a:lnTo>
                  <a:lnTo>
                    <a:pt x="44" y="18"/>
                  </a:lnTo>
                  <a:lnTo>
                    <a:pt x="36" y="23"/>
                  </a:lnTo>
                  <a:lnTo>
                    <a:pt x="30" y="30"/>
                  </a:lnTo>
                  <a:lnTo>
                    <a:pt x="23" y="36"/>
                  </a:lnTo>
                  <a:lnTo>
                    <a:pt x="18" y="45"/>
                  </a:lnTo>
                  <a:lnTo>
                    <a:pt x="12" y="53"/>
                  </a:lnTo>
                  <a:lnTo>
                    <a:pt x="8" y="61"/>
                  </a:lnTo>
                  <a:lnTo>
                    <a:pt x="5" y="70"/>
                  </a:lnTo>
                  <a:lnTo>
                    <a:pt x="2" y="80"/>
                  </a:lnTo>
                  <a:lnTo>
                    <a:pt x="1" y="90"/>
                  </a:lnTo>
                  <a:lnTo>
                    <a:pt x="0" y="100"/>
                  </a:lnTo>
                  <a:lnTo>
                    <a:pt x="4" y="123"/>
                  </a:lnTo>
                  <a:lnTo>
                    <a:pt x="4" y="123"/>
                  </a:lnTo>
                  <a:lnTo>
                    <a:pt x="4" y="123"/>
                  </a:lnTo>
                  <a:lnTo>
                    <a:pt x="58" y="423"/>
                  </a:lnTo>
                  <a:lnTo>
                    <a:pt x="58" y="423"/>
                  </a:lnTo>
                  <a:lnTo>
                    <a:pt x="59" y="430"/>
                  </a:lnTo>
                  <a:lnTo>
                    <a:pt x="60" y="437"/>
                  </a:lnTo>
                  <a:lnTo>
                    <a:pt x="61" y="443"/>
                  </a:lnTo>
                  <a:lnTo>
                    <a:pt x="64" y="450"/>
                  </a:lnTo>
                  <a:lnTo>
                    <a:pt x="67" y="456"/>
                  </a:lnTo>
                  <a:lnTo>
                    <a:pt x="70" y="462"/>
                  </a:lnTo>
                  <a:lnTo>
                    <a:pt x="74" y="467"/>
                  </a:lnTo>
                  <a:lnTo>
                    <a:pt x="78" y="472"/>
                  </a:lnTo>
                  <a:lnTo>
                    <a:pt x="83" y="476"/>
                  </a:lnTo>
                  <a:lnTo>
                    <a:pt x="89" y="480"/>
                  </a:lnTo>
                  <a:lnTo>
                    <a:pt x="95" y="485"/>
                  </a:lnTo>
                  <a:lnTo>
                    <a:pt x="101" y="488"/>
                  </a:lnTo>
                  <a:lnTo>
                    <a:pt x="107" y="490"/>
                  </a:lnTo>
                  <a:lnTo>
                    <a:pt x="113" y="491"/>
                  </a:lnTo>
                  <a:lnTo>
                    <a:pt x="121" y="492"/>
                  </a:lnTo>
                  <a:lnTo>
                    <a:pt x="128" y="493"/>
                  </a:lnTo>
                  <a:lnTo>
                    <a:pt x="260" y="493"/>
                  </a:lnTo>
                  <a:lnTo>
                    <a:pt x="260" y="493"/>
                  </a:lnTo>
                  <a:lnTo>
                    <a:pt x="266" y="492"/>
                  </a:lnTo>
                  <a:lnTo>
                    <a:pt x="273" y="491"/>
                  </a:lnTo>
                  <a:lnTo>
                    <a:pt x="280" y="490"/>
                  </a:lnTo>
                  <a:lnTo>
                    <a:pt x="286" y="488"/>
                  </a:lnTo>
                  <a:lnTo>
                    <a:pt x="293" y="485"/>
                  </a:lnTo>
                  <a:lnTo>
                    <a:pt x="298" y="480"/>
                  </a:lnTo>
                  <a:lnTo>
                    <a:pt x="303" y="476"/>
                  </a:lnTo>
                  <a:lnTo>
                    <a:pt x="308" y="472"/>
                  </a:lnTo>
                  <a:lnTo>
                    <a:pt x="313" y="467"/>
                  </a:lnTo>
                  <a:lnTo>
                    <a:pt x="317" y="462"/>
                  </a:lnTo>
                  <a:lnTo>
                    <a:pt x="320" y="456"/>
                  </a:lnTo>
                  <a:lnTo>
                    <a:pt x="324" y="450"/>
                  </a:lnTo>
                  <a:lnTo>
                    <a:pt x="326" y="443"/>
                  </a:lnTo>
                  <a:lnTo>
                    <a:pt x="328" y="437"/>
                  </a:lnTo>
                  <a:lnTo>
                    <a:pt x="329" y="430"/>
                  </a:lnTo>
                  <a:lnTo>
                    <a:pt x="329" y="423"/>
                  </a:lnTo>
                  <a:lnTo>
                    <a:pt x="329" y="423"/>
                  </a:lnTo>
                  <a:lnTo>
                    <a:pt x="386" y="100"/>
                  </a:lnTo>
                  <a:lnTo>
                    <a:pt x="386" y="100"/>
                  </a:lnTo>
                  <a:lnTo>
                    <a:pt x="386" y="90"/>
                  </a:lnTo>
                  <a:lnTo>
                    <a:pt x="384" y="80"/>
                  </a:lnTo>
                  <a:lnTo>
                    <a:pt x="382" y="70"/>
                  </a:lnTo>
                  <a:lnTo>
                    <a:pt x="379" y="61"/>
                  </a:lnTo>
                  <a:lnTo>
                    <a:pt x="375" y="53"/>
                  </a:lnTo>
                  <a:lnTo>
                    <a:pt x="370" y="45"/>
                  </a:lnTo>
                  <a:lnTo>
                    <a:pt x="364" y="36"/>
                  </a:lnTo>
                  <a:lnTo>
                    <a:pt x="358" y="30"/>
                  </a:lnTo>
                  <a:lnTo>
                    <a:pt x="350" y="23"/>
                  </a:lnTo>
                  <a:lnTo>
                    <a:pt x="343" y="18"/>
                  </a:lnTo>
                  <a:lnTo>
                    <a:pt x="335" y="13"/>
                  </a:lnTo>
                  <a:lnTo>
                    <a:pt x="326" y="9"/>
                  </a:lnTo>
                  <a:lnTo>
                    <a:pt x="316" y="6"/>
                  </a:lnTo>
                  <a:lnTo>
                    <a:pt x="307" y="2"/>
                  </a:lnTo>
                  <a:lnTo>
                    <a:pt x="298" y="1"/>
                  </a:lnTo>
                  <a:lnTo>
                    <a:pt x="287" y="0"/>
                  </a:lnTo>
                  <a:close/>
                </a:path>
              </a:pathLst>
            </a:custGeom>
            <a:solidFill>
              <a:srgbClr val="FCBF5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6" name="Freeform 703">
              <a:extLst>
                <a:ext uri="{FF2B5EF4-FFF2-40B4-BE49-F238E27FC236}">
                  <a16:creationId xmlns:a16="http://schemas.microsoft.com/office/drawing/2014/main" id="{F7C63134-6E91-0F42-9902-C9ED6DD9EEBA}"/>
                </a:ext>
              </a:extLst>
            </p:cNvPr>
            <p:cNvSpPr>
              <a:spLocks/>
            </p:cNvSpPr>
            <p:nvPr/>
          </p:nvSpPr>
          <p:spPr bwMode="auto">
            <a:xfrm>
              <a:off x="3632201" y="5580063"/>
              <a:ext cx="77788" cy="96838"/>
            </a:xfrm>
            <a:custGeom>
              <a:avLst/>
              <a:gdLst/>
              <a:ahLst/>
              <a:cxnLst>
                <a:cxn ang="0">
                  <a:pos x="100" y="0"/>
                </a:cxn>
                <a:cxn ang="0">
                  <a:pos x="90" y="1"/>
                </a:cxn>
                <a:cxn ang="0">
                  <a:pos x="70" y="6"/>
                </a:cxn>
                <a:cxn ang="0">
                  <a:pos x="53" y="13"/>
                </a:cxn>
                <a:cxn ang="0">
                  <a:pos x="36" y="23"/>
                </a:cxn>
                <a:cxn ang="0">
                  <a:pos x="23" y="36"/>
                </a:cxn>
                <a:cxn ang="0">
                  <a:pos x="12" y="53"/>
                </a:cxn>
                <a:cxn ang="0">
                  <a:pos x="5" y="70"/>
                </a:cxn>
                <a:cxn ang="0">
                  <a:pos x="1" y="90"/>
                </a:cxn>
                <a:cxn ang="0">
                  <a:pos x="4" y="123"/>
                </a:cxn>
                <a:cxn ang="0">
                  <a:pos x="4" y="123"/>
                </a:cxn>
                <a:cxn ang="0">
                  <a:pos x="58" y="423"/>
                </a:cxn>
                <a:cxn ang="0">
                  <a:pos x="60" y="437"/>
                </a:cxn>
                <a:cxn ang="0">
                  <a:pos x="64" y="450"/>
                </a:cxn>
                <a:cxn ang="0">
                  <a:pos x="70" y="462"/>
                </a:cxn>
                <a:cxn ang="0">
                  <a:pos x="78" y="472"/>
                </a:cxn>
                <a:cxn ang="0">
                  <a:pos x="89" y="480"/>
                </a:cxn>
                <a:cxn ang="0">
                  <a:pos x="101" y="488"/>
                </a:cxn>
                <a:cxn ang="0">
                  <a:pos x="113" y="491"/>
                </a:cxn>
                <a:cxn ang="0">
                  <a:pos x="128" y="493"/>
                </a:cxn>
                <a:cxn ang="0">
                  <a:pos x="260" y="493"/>
                </a:cxn>
                <a:cxn ang="0">
                  <a:pos x="273" y="491"/>
                </a:cxn>
                <a:cxn ang="0">
                  <a:pos x="286" y="488"/>
                </a:cxn>
                <a:cxn ang="0">
                  <a:pos x="298" y="480"/>
                </a:cxn>
                <a:cxn ang="0">
                  <a:pos x="308" y="472"/>
                </a:cxn>
                <a:cxn ang="0">
                  <a:pos x="317" y="462"/>
                </a:cxn>
                <a:cxn ang="0">
                  <a:pos x="324" y="450"/>
                </a:cxn>
                <a:cxn ang="0">
                  <a:pos x="328" y="437"/>
                </a:cxn>
                <a:cxn ang="0">
                  <a:pos x="329" y="423"/>
                </a:cxn>
                <a:cxn ang="0">
                  <a:pos x="386" y="100"/>
                </a:cxn>
                <a:cxn ang="0">
                  <a:pos x="386" y="90"/>
                </a:cxn>
                <a:cxn ang="0">
                  <a:pos x="382" y="70"/>
                </a:cxn>
                <a:cxn ang="0">
                  <a:pos x="375" y="53"/>
                </a:cxn>
                <a:cxn ang="0">
                  <a:pos x="364" y="36"/>
                </a:cxn>
                <a:cxn ang="0">
                  <a:pos x="350" y="23"/>
                </a:cxn>
                <a:cxn ang="0">
                  <a:pos x="335" y="13"/>
                </a:cxn>
                <a:cxn ang="0">
                  <a:pos x="316" y="6"/>
                </a:cxn>
                <a:cxn ang="0">
                  <a:pos x="298" y="1"/>
                </a:cxn>
              </a:cxnLst>
              <a:rect l="0" t="0" r="r" b="b"/>
              <a:pathLst>
                <a:path w="386" h="493">
                  <a:moveTo>
                    <a:pt x="287" y="0"/>
                  </a:moveTo>
                  <a:lnTo>
                    <a:pt x="100" y="0"/>
                  </a:lnTo>
                  <a:lnTo>
                    <a:pt x="100" y="0"/>
                  </a:lnTo>
                  <a:lnTo>
                    <a:pt x="90" y="1"/>
                  </a:lnTo>
                  <a:lnTo>
                    <a:pt x="79" y="2"/>
                  </a:lnTo>
                  <a:lnTo>
                    <a:pt x="70" y="6"/>
                  </a:lnTo>
                  <a:lnTo>
                    <a:pt x="61" y="9"/>
                  </a:lnTo>
                  <a:lnTo>
                    <a:pt x="53" y="13"/>
                  </a:lnTo>
                  <a:lnTo>
                    <a:pt x="44" y="18"/>
                  </a:lnTo>
                  <a:lnTo>
                    <a:pt x="36" y="23"/>
                  </a:lnTo>
                  <a:lnTo>
                    <a:pt x="30" y="30"/>
                  </a:lnTo>
                  <a:lnTo>
                    <a:pt x="23" y="36"/>
                  </a:lnTo>
                  <a:lnTo>
                    <a:pt x="18" y="45"/>
                  </a:lnTo>
                  <a:lnTo>
                    <a:pt x="12" y="53"/>
                  </a:lnTo>
                  <a:lnTo>
                    <a:pt x="8" y="61"/>
                  </a:lnTo>
                  <a:lnTo>
                    <a:pt x="5" y="70"/>
                  </a:lnTo>
                  <a:lnTo>
                    <a:pt x="2" y="80"/>
                  </a:lnTo>
                  <a:lnTo>
                    <a:pt x="1" y="90"/>
                  </a:lnTo>
                  <a:lnTo>
                    <a:pt x="0" y="100"/>
                  </a:lnTo>
                  <a:lnTo>
                    <a:pt x="4" y="123"/>
                  </a:lnTo>
                  <a:lnTo>
                    <a:pt x="4" y="123"/>
                  </a:lnTo>
                  <a:lnTo>
                    <a:pt x="4" y="123"/>
                  </a:lnTo>
                  <a:lnTo>
                    <a:pt x="58" y="423"/>
                  </a:lnTo>
                  <a:lnTo>
                    <a:pt x="58" y="423"/>
                  </a:lnTo>
                  <a:lnTo>
                    <a:pt x="59" y="430"/>
                  </a:lnTo>
                  <a:lnTo>
                    <a:pt x="60" y="437"/>
                  </a:lnTo>
                  <a:lnTo>
                    <a:pt x="61" y="443"/>
                  </a:lnTo>
                  <a:lnTo>
                    <a:pt x="64" y="450"/>
                  </a:lnTo>
                  <a:lnTo>
                    <a:pt x="67" y="456"/>
                  </a:lnTo>
                  <a:lnTo>
                    <a:pt x="70" y="462"/>
                  </a:lnTo>
                  <a:lnTo>
                    <a:pt x="74" y="467"/>
                  </a:lnTo>
                  <a:lnTo>
                    <a:pt x="78" y="472"/>
                  </a:lnTo>
                  <a:lnTo>
                    <a:pt x="83" y="476"/>
                  </a:lnTo>
                  <a:lnTo>
                    <a:pt x="89" y="480"/>
                  </a:lnTo>
                  <a:lnTo>
                    <a:pt x="95" y="485"/>
                  </a:lnTo>
                  <a:lnTo>
                    <a:pt x="101" y="488"/>
                  </a:lnTo>
                  <a:lnTo>
                    <a:pt x="107" y="490"/>
                  </a:lnTo>
                  <a:lnTo>
                    <a:pt x="113" y="491"/>
                  </a:lnTo>
                  <a:lnTo>
                    <a:pt x="121" y="492"/>
                  </a:lnTo>
                  <a:lnTo>
                    <a:pt x="128" y="493"/>
                  </a:lnTo>
                  <a:lnTo>
                    <a:pt x="260" y="493"/>
                  </a:lnTo>
                  <a:lnTo>
                    <a:pt x="260" y="493"/>
                  </a:lnTo>
                  <a:lnTo>
                    <a:pt x="266" y="492"/>
                  </a:lnTo>
                  <a:lnTo>
                    <a:pt x="273" y="491"/>
                  </a:lnTo>
                  <a:lnTo>
                    <a:pt x="280" y="490"/>
                  </a:lnTo>
                  <a:lnTo>
                    <a:pt x="286" y="488"/>
                  </a:lnTo>
                  <a:lnTo>
                    <a:pt x="293" y="485"/>
                  </a:lnTo>
                  <a:lnTo>
                    <a:pt x="298" y="480"/>
                  </a:lnTo>
                  <a:lnTo>
                    <a:pt x="303" y="476"/>
                  </a:lnTo>
                  <a:lnTo>
                    <a:pt x="308" y="472"/>
                  </a:lnTo>
                  <a:lnTo>
                    <a:pt x="313" y="467"/>
                  </a:lnTo>
                  <a:lnTo>
                    <a:pt x="317" y="462"/>
                  </a:lnTo>
                  <a:lnTo>
                    <a:pt x="320" y="456"/>
                  </a:lnTo>
                  <a:lnTo>
                    <a:pt x="324" y="450"/>
                  </a:lnTo>
                  <a:lnTo>
                    <a:pt x="326" y="443"/>
                  </a:lnTo>
                  <a:lnTo>
                    <a:pt x="328" y="437"/>
                  </a:lnTo>
                  <a:lnTo>
                    <a:pt x="329" y="430"/>
                  </a:lnTo>
                  <a:lnTo>
                    <a:pt x="329" y="423"/>
                  </a:lnTo>
                  <a:lnTo>
                    <a:pt x="329" y="423"/>
                  </a:lnTo>
                  <a:lnTo>
                    <a:pt x="386" y="100"/>
                  </a:lnTo>
                  <a:lnTo>
                    <a:pt x="386" y="100"/>
                  </a:lnTo>
                  <a:lnTo>
                    <a:pt x="386" y="90"/>
                  </a:lnTo>
                  <a:lnTo>
                    <a:pt x="384" y="80"/>
                  </a:lnTo>
                  <a:lnTo>
                    <a:pt x="382" y="70"/>
                  </a:lnTo>
                  <a:lnTo>
                    <a:pt x="379" y="61"/>
                  </a:lnTo>
                  <a:lnTo>
                    <a:pt x="375" y="53"/>
                  </a:lnTo>
                  <a:lnTo>
                    <a:pt x="370" y="45"/>
                  </a:lnTo>
                  <a:lnTo>
                    <a:pt x="364" y="36"/>
                  </a:lnTo>
                  <a:lnTo>
                    <a:pt x="358" y="30"/>
                  </a:lnTo>
                  <a:lnTo>
                    <a:pt x="350" y="23"/>
                  </a:lnTo>
                  <a:lnTo>
                    <a:pt x="343" y="18"/>
                  </a:lnTo>
                  <a:lnTo>
                    <a:pt x="335" y="13"/>
                  </a:lnTo>
                  <a:lnTo>
                    <a:pt x="326" y="9"/>
                  </a:lnTo>
                  <a:lnTo>
                    <a:pt x="316" y="6"/>
                  </a:lnTo>
                  <a:lnTo>
                    <a:pt x="307" y="2"/>
                  </a:lnTo>
                  <a:lnTo>
                    <a:pt x="298" y="1"/>
                  </a:lnTo>
                  <a:lnTo>
                    <a:pt x="287"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7" name="Freeform 704">
              <a:extLst>
                <a:ext uri="{FF2B5EF4-FFF2-40B4-BE49-F238E27FC236}">
                  <a16:creationId xmlns:a16="http://schemas.microsoft.com/office/drawing/2014/main" id="{174B75E9-1524-60D9-636A-DD267BF203E8}"/>
                </a:ext>
              </a:extLst>
            </p:cNvPr>
            <p:cNvSpPr>
              <a:spLocks/>
            </p:cNvSpPr>
            <p:nvPr/>
          </p:nvSpPr>
          <p:spPr bwMode="auto">
            <a:xfrm>
              <a:off x="3697288" y="5354638"/>
              <a:ext cx="58738" cy="17463"/>
            </a:xfrm>
            <a:custGeom>
              <a:avLst/>
              <a:gdLst/>
              <a:ahLst/>
              <a:cxnLst>
                <a:cxn ang="0">
                  <a:pos x="293" y="0"/>
                </a:cxn>
                <a:cxn ang="0">
                  <a:pos x="293" y="0"/>
                </a:cxn>
                <a:cxn ang="0">
                  <a:pos x="259" y="1"/>
                </a:cxn>
                <a:cxn ang="0">
                  <a:pos x="224" y="2"/>
                </a:cxn>
                <a:cxn ang="0">
                  <a:pos x="190" y="5"/>
                </a:cxn>
                <a:cxn ang="0">
                  <a:pos x="155" y="9"/>
                </a:cxn>
                <a:cxn ang="0">
                  <a:pos x="121" y="15"/>
                </a:cxn>
                <a:cxn ang="0">
                  <a:pos x="88" y="21"/>
                </a:cxn>
                <a:cxn ang="0">
                  <a:pos x="54" y="28"/>
                </a:cxn>
                <a:cxn ang="0">
                  <a:pos x="21" y="37"/>
                </a:cxn>
                <a:cxn ang="0">
                  <a:pos x="21" y="37"/>
                </a:cxn>
                <a:cxn ang="0">
                  <a:pos x="16" y="39"/>
                </a:cxn>
                <a:cxn ang="0">
                  <a:pos x="11" y="42"/>
                </a:cxn>
                <a:cxn ang="0">
                  <a:pos x="7" y="47"/>
                </a:cxn>
                <a:cxn ang="0">
                  <a:pos x="4" y="51"/>
                </a:cxn>
                <a:cxn ang="0">
                  <a:pos x="2" y="56"/>
                </a:cxn>
                <a:cxn ang="0">
                  <a:pos x="1" y="62"/>
                </a:cxn>
                <a:cxn ang="0">
                  <a:pos x="0" y="67"/>
                </a:cxn>
                <a:cxn ang="0">
                  <a:pos x="1" y="73"/>
                </a:cxn>
                <a:cxn ang="0">
                  <a:pos x="1" y="73"/>
                </a:cxn>
                <a:cxn ang="0">
                  <a:pos x="3" y="77"/>
                </a:cxn>
                <a:cxn ang="0">
                  <a:pos x="5" y="82"/>
                </a:cxn>
                <a:cxn ang="0">
                  <a:pos x="8" y="86"/>
                </a:cxn>
                <a:cxn ang="0">
                  <a:pos x="12" y="89"/>
                </a:cxn>
                <a:cxn ang="0">
                  <a:pos x="16" y="91"/>
                </a:cxn>
                <a:cxn ang="0">
                  <a:pos x="20" y="93"/>
                </a:cxn>
                <a:cxn ang="0">
                  <a:pos x="24" y="94"/>
                </a:cxn>
                <a:cxn ang="0">
                  <a:pos x="30" y="95"/>
                </a:cxn>
                <a:cxn ang="0">
                  <a:pos x="30" y="95"/>
                </a:cxn>
                <a:cxn ang="0">
                  <a:pos x="38" y="94"/>
                </a:cxn>
                <a:cxn ang="0">
                  <a:pos x="38" y="94"/>
                </a:cxn>
                <a:cxn ang="0">
                  <a:pos x="69" y="86"/>
                </a:cxn>
                <a:cxn ang="0">
                  <a:pos x="100" y="78"/>
                </a:cxn>
                <a:cxn ang="0">
                  <a:pos x="132" y="72"/>
                </a:cxn>
                <a:cxn ang="0">
                  <a:pos x="163" y="67"/>
                </a:cxn>
                <a:cxn ang="0">
                  <a:pos x="195" y="64"/>
                </a:cxn>
                <a:cxn ang="0">
                  <a:pos x="228" y="61"/>
                </a:cxn>
                <a:cxn ang="0">
                  <a:pos x="261" y="60"/>
                </a:cxn>
                <a:cxn ang="0">
                  <a:pos x="293" y="59"/>
                </a:cxn>
                <a:cxn ang="0">
                  <a:pos x="293" y="59"/>
                </a:cxn>
                <a:cxn ang="0">
                  <a:pos x="293" y="0"/>
                </a:cxn>
                <a:cxn ang="0">
                  <a:pos x="293" y="0"/>
                </a:cxn>
              </a:cxnLst>
              <a:rect l="0" t="0" r="r" b="b"/>
              <a:pathLst>
                <a:path w="293" h="95">
                  <a:moveTo>
                    <a:pt x="293" y="0"/>
                  </a:moveTo>
                  <a:lnTo>
                    <a:pt x="293" y="0"/>
                  </a:lnTo>
                  <a:lnTo>
                    <a:pt x="259" y="1"/>
                  </a:lnTo>
                  <a:lnTo>
                    <a:pt x="224" y="2"/>
                  </a:lnTo>
                  <a:lnTo>
                    <a:pt x="190" y="5"/>
                  </a:lnTo>
                  <a:lnTo>
                    <a:pt x="155" y="9"/>
                  </a:lnTo>
                  <a:lnTo>
                    <a:pt x="121" y="15"/>
                  </a:lnTo>
                  <a:lnTo>
                    <a:pt x="88" y="21"/>
                  </a:lnTo>
                  <a:lnTo>
                    <a:pt x="54" y="28"/>
                  </a:lnTo>
                  <a:lnTo>
                    <a:pt x="21" y="37"/>
                  </a:lnTo>
                  <a:lnTo>
                    <a:pt x="21" y="37"/>
                  </a:lnTo>
                  <a:lnTo>
                    <a:pt x="16" y="39"/>
                  </a:lnTo>
                  <a:lnTo>
                    <a:pt x="11" y="42"/>
                  </a:lnTo>
                  <a:lnTo>
                    <a:pt x="7" y="47"/>
                  </a:lnTo>
                  <a:lnTo>
                    <a:pt x="4" y="51"/>
                  </a:lnTo>
                  <a:lnTo>
                    <a:pt x="2" y="56"/>
                  </a:lnTo>
                  <a:lnTo>
                    <a:pt x="1" y="62"/>
                  </a:lnTo>
                  <a:lnTo>
                    <a:pt x="0" y="67"/>
                  </a:lnTo>
                  <a:lnTo>
                    <a:pt x="1" y="73"/>
                  </a:lnTo>
                  <a:lnTo>
                    <a:pt x="1" y="73"/>
                  </a:lnTo>
                  <a:lnTo>
                    <a:pt x="3" y="77"/>
                  </a:lnTo>
                  <a:lnTo>
                    <a:pt x="5" y="82"/>
                  </a:lnTo>
                  <a:lnTo>
                    <a:pt x="8" y="86"/>
                  </a:lnTo>
                  <a:lnTo>
                    <a:pt x="12" y="89"/>
                  </a:lnTo>
                  <a:lnTo>
                    <a:pt x="16" y="91"/>
                  </a:lnTo>
                  <a:lnTo>
                    <a:pt x="20" y="93"/>
                  </a:lnTo>
                  <a:lnTo>
                    <a:pt x="24" y="94"/>
                  </a:lnTo>
                  <a:lnTo>
                    <a:pt x="30" y="95"/>
                  </a:lnTo>
                  <a:lnTo>
                    <a:pt x="30" y="95"/>
                  </a:lnTo>
                  <a:lnTo>
                    <a:pt x="38" y="94"/>
                  </a:lnTo>
                  <a:lnTo>
                    <a:pt x="38" y="94"/>
                  </a:lnTo>
                  <a:lnTo>
                    <a:pt x="69" y="86"/>
                  </a:lnTo>
                  <a:lnTo>
                    <a:pt x="100" y="78"/>
                  </a:lnTo>
                  <a:lnTo>
                    <a:pt x="132" y="72"/>
                  </a:lnTo>
                  <a:lnTo>
                    <a:pt x="163" y="67"/>
                  </a:lnTo>
                  <a:lnTo>
                    <a:pt x="195" y="64"/>
                  </a:lnTo>
                  <a:lnTo>
                    <a:pt x="228" y="61"/>
                  </a:lnTo>
                  <a:lnTo>
                    <a:pt x="261" y="60"/>
                  </a:lnTo>
                  <a:lnTo>
                    <a:pt x="293" y="59"/>
                  </a:lnTo>
                  <a:lnTo>
                    <a:pt x="293" y="59"/>
                  </a:lnTo>
                  <a:lnTo>
                    <a:pt x="293" y="0"/>
                  </a:lnTo>
                  <a:lnTo>
                    <a:pt x="293" y="0"/>
                  </a:lnTo>
                  <a:close/>
                </a:path>
              </a:pathLst>
            </a:custGeom>
            <a:solidFill>
              <a:srgbClr val="DBA75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8" name="Freeform 705">
              <a:extLst>
                <a:ext uri="{FF2B5EF4-FFF2-40B4-BE49-F238E27FC236}">
                  <a16:creationId xmlns:a16="http://schemas.microsoft.com/office/drawing/2014/main" id="{6003D623-1A73-5824-CC27-D80924665230}"/>
                </a:ext>
              </a:extLst>
            </p:cNvPr>
            <p:cNvSpPr>
              <a:spLocks/>
            </p:cNvSpPr>
            <p:nvPr/>
          </p:nvSpPr>
          <p:spPr bwMode="auto">
            <a:xfrm>
              <a:off x="3697288" y="5354638"/>
              <a:ext cx="58738" cy="17463"/>
            </a:xfrm>
            <a:custGeom>
              <a:avLst/>
              <a:gdLst/>
              <a:ahLst/>
              <a:cxnLst>
                <a:cxn ang="0">
                  <a:pos x="293" y="0"/>
                </a:cxn>
                <a:cxn ang="0">
                  <a:pos x="293" y="0"/>
                </a:cxn>
                <a:cxn ang="0">
                  <a:pos x="259" y="1"/>
                </a:cxn>
                <a:cxn ang="0">
                  <a:pos x="224" y="2"/>
                </a:cxn>
                <a:cxn ang="0">
                  <a:pos x="190" y="5"/>
                </a:cxn>
                <a:cxn ang="0">
                  <a:pos x="155" y="9"/>
                </a:cxn>
                <a:cxn ang="0">
                  <a:pos x="121" y="15"/>
                </a:cxn>
                <a:cxn ang="0">
                  <a:pos x="88" y="21"/>
                </a:cxn>
                <a:cxn ang="0">
                  <a:pos x="54" y="28"/>
                </a:cxn>
                <a:cxn ang="0">
                  <a:pos x="21" y="37"/>
                </a:cxn>
                <a:cxn ang="0">
                  <a:pos x="21" y="37"/>
                </a:cxn>
                <a:cxn ang="0">
                  <a:pos x="16" y="39"/>
                </a:cxn>
                <a:cxn ang="0">
                  <a:pos x="11" y="42"/>
                </a:cxn>
                <a:cxn ang="0">
                  <a:pos x="7" y="47"/>
                </a:cxn>
                <a:cxn ang="0">
                  <a:pos x="4" y="51"/>
                </a:cxn>
                <a:cxn ang="0">
                  <a:pos x="2" y="56"/>
                </a:cxn>
                <a:cxn ang="0">
                  <a:pos x="1" y="62"/>
                </a:cxn>
                <a:cxn ang="0">
                  <a:pos x="0" y="67"/>
                </a:cxn>
                <a:cxn ang="0">
                  <a:pos x="1" y="73"/>
                </a:cxn>
                <a:cxn ang="0">
                  <a:pos x="1" y="73"/>
                </a:cxn>
                <a:cxn ang="0">
                  <a:pos x="3" y="77"/>
                </a:cxn>
                <a:cxn ang="0">
                  <a:pos x="5" y="82"/>
                </a:cxn>
                <a:cxn ang="0">
                  <a:pos x="8" y="86"/>
                </a:cxn>
                <a:cxn ang="0">
                  <a:pos x="12" y="89"/>
                </a:cxn>
                <a:cxn ang="0">
                  <a:pos x="16" y="91"/>
                </a:cxn>
                <a:cxn ang="0">
                  <a:pos x="20" y="93"/>
                </a:cxn>
                <a:cxn ang="0">
                  <a:pos x="24" y="94"/>
                </a:cxn>
                <a:cxn ang="0">
                  <a:pos x="30" y="95"/>
                </a:cxn>
                <a:cxn ang="0">
                  <a:pos x="30" y="95"/>
                </a:cxn>
                <a:cxn ang="0">
                  <a:pos x="38" y="94"/>
                </a:cxn>
                <a:cxn ang="0">
                  <a:pos x="38" y="94"/>
                </a:cxn>
                <a:cxn ang="0">
                  <a:pos x="69" y="86"/>
                </a:cxn>
                <a:cxn ang="0">
                  <a:pos x="100" y="78"/>
                </a:cxn>
                <a:cxn ang="0">
                  <a:pos x="132" y="72"/>
                </a:cxn>
                <a:cxn ang="0">
                  <a:pos x="163" y="67"/>
                </a:cxn>
                <a:cxn ang="0">
                  <a:pos x="195" y="64"/>
                </a:cxn>
                <a:cxn ang="0">
                  <a:pos x="228" y="61"/>
                </a:cxn>
                <a:cxn ang="0">
                  <a:pos x="261" y="60"/>
                </a:cxn>
                <a:cxn ang="0">
                  <a:pos x="293" y="59"/>
                </a:cxn>
                <a:cxn ang="0">
                  <a:pos x="293" y="59"/>
                </a:cxn>
                <a:cxn ang="0">
                  <a:pos x="293" y="0"/>
                </a:cxn>
                <a:cxn ang="0">
                  <a:pos x="293" y="0"/>
                </a:cxn>
              </a:cxnLst>
              <a:rect l="0" t="0" r="r" b="b"/>
              <a:pathLst>
                <a:path w="293" h="95">
                  <a:moveTo>
                    <a:pt x="293" y="0"/>
                  </a:moveTo>
                  <a:lnTo>
                    <a:pt x="293" y="0"/>
                  </a:lnTo>
                  <a:lnTo>
                    <a:pt x="259" y="1"/>
                  </a:lnTo>
                  <a:lnTo>
                    <a:pt x="224" y="2"/>
                  </a:lnTo>
                  <a:lnTo>
                    <a:pt x="190" y="5"/>
                  </a:lnTo>
                  <a:lnTo>
                    <a:pt x="155" y="9"/>
                  </a:lnTo>
                  <a:lnTo>
                    <a:pt x="121" y="15"/>
                  </a:lnTo>
                  <a:lnTo>
                    <a:pt x="88" y="21"/>
                  </a:lnTo>
                  <a:lnTo>
                    <a:pt x="54" y="28"/>
                  </a:lnTo>
                  <a:lnTo>
                    <a:pt x="21" y="37"/>
                  </a:lnTo>
                  <a:lnTo>
                    <a:pt x="21" y="37"/>
                  </a:lnTo>
                  <a:lnTo>
                    <a:pt x="16" y="39"/>
                  </a:lnTo>
                  <a:lnTo>
                    <a:pt x="11" y="42"/>
                  </a:lnTo>
                  <a:lnTo>
                    <a:pt x="7" y="47"/>
                  </a:lnTo>
                  <a:lnTo>
                    <a:pt x="4" y="51"/>
                  </a:lnTo>
                  <a:lnTo>
                    <a:pt x="2" y="56"/>
                  </a:lnTo>
                  <a:lnTo>
                    <a:pt x="1" y="62"/>
                  </a:lnTo>
                  <a:lnTo>
                    <a:pt x="0" y="67"/>
                  </a:lnTo>
                  <a:lnTo>
                    <a:pt x="1" y="73"/>
                  </a:lnTo>
                  <a:lnTo>
                    <a:pt x="1" y="73"/>
                  </a:lnTo>
                  <a:lnTo>
                    <a:pt x="3" y="77"/>
                  </a:lnTo>
                  <a:lnTo>
                    <a:pt x="5" y="82"/>
                  </a:lnTo>
                  <a:lnTo>
                    <a:pt x="8" y="86"/>
                  </a:lnTo>
                  <a:lnTo>
                    <a:pt x="12" y="89"/>
                  </a:lnTo>
                  <a:lnTo>
                    <a:pt x="16" y="91"/>
                  </a:lnTo>
                  <a:lnTo>
                    <a:pt x="20" y="93"/>
                  </a:lnTo>
                  <a:lnTo>
                    <a:pt x="24" y="94"/>
                  </a:lnTo>
                  <a:lnTo>
                    <a:pt x="30" y="95"/>
                  </a:lnTo>
                  <a:lnTo>
                    <a:pt x="30" y="95"/>
                  </a:lnTo>
                  <a:lnTo>
                    <a:pt x="38" y="94"/>
                  </a:lnTo>
                  <a:lnTo>
                    <a:pt x="38" y="94"/>
                  </a:lnTo>
                  <a:lnTo>
                    <a:pt x="69" y="86"/>
                  </a:lnTo>
                  <a:lnTo>
                    <a:pt x="100" y="78"/>
                  </a:lnTo>
                  <a:lnTo>
                    <a:pt x="132" y="72"/>
                  </a:lnTo>
                  <a:lnTo>
                    <a:pt x="163" y="67"/>
                  </a:lnTo>
                  <a:lnTo>
                    <a:pt x="195" y="64"/>
                  </a:lnTo>
                  <a:lnTo>
                    <a:pt x="228" y="61"/>
                  </a:lnTo>
                  <a:lnTo>
                    <a:pt x="261" y="60"/>
                  </a:lnTo>
                  <a:lnTo>
                    <a:pt x="293" y="59"/>
                  </a:lnTo>
                  <a:lnTo>
                    <a:pt x="293" y="59"/>
                  </a:lnTo>
                  <a:lnTo>
                    <a:pt x="293" y="0"/>
                  </a:lnTo>
                  <a:lnTo>
                    <a:pt x="293"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9" name="Freeform 706">
              <a:extLst>
                <a:ext uri="{FF2B5EF4-FFF2-40B4-BE49-F238E27FC236}">
                  <a16:creationId xmlns:a16="http://schemas.microsoft.com/office/drawing/2014/main" id="{D22A4DE7-B031-234B-E8AE-EC35615209AD}"/>
                </a:ext>
              </a:extLst>
            </p:cNvPr>
            <p:cNvSpPr>
              <a:spLocks/>
            </p:cNvSpPr>
            <p:nvPr/>
          </p:nvSpPr>
          <p:spPr bwMode="auto">
            <a:xfrm>
              <a:off x="3609976" y="5445125"/>
              <a:ext cx="17463" cy="17463"/>
            </a:xfrm>
            <a:custGeom>
              <a:avLst/>
              <a:gdLst/>
              <a:ahLst/>
              <a:cxnLst>
                <a:cxn ang="0">
                  <a:pos x="44" y="0"/>
                </a:cxn>
                <a:cxn ang="0">
                  <a:pos x="44" y="0"/>
                </a:cxn>
                <a:cxn ang="0">
                  <a:pos x="35" y="1"/>
                </a:cxn>
                <a:cxn ang="0">
                  <a:pos x="26" y="4"/>
                </a:cxn>
                <a:cxn ang="0">
                  <a:pos x="19" y="8"/>
                </a:cxn>
                <a:cxn ang="0">
                  <a:pos x="13" y="13"/>
                </a:cxn>
                <a:cxn ang="0">
                  <a:pos x="8" y="19"/>
                </a:cxn>
                <a:cxn ang="0">
                  <a:pos x="4" y="26"/>
                </a:cxn>
                <a:cxn ang="0">
                  <a:pos x="1" y="35"/>
                </a:cxn>
                <a:cxn ang="0">
                  <a:pos x="0" y="44"/>
                </a:cxn>
                <a:cxn ang="0">
                  <a:pos x="0" y="44"/>
                </a:cxn>
                <a:cxn ang="0">
                  <a:pos x="1" y="52"/>
                </a:cxn>
                <a:cxn ang="0">
                  <a:pos x="4" y="60"/>
                </a:cxn>
                <a:cxn ang="0">
                  <a:pos x="8" y="68"/>
                </a:cxn>
                <a:cxn ang="0">
                  <a:pos x="13" y="75"/>
                </a:cxn>
                <a:cxn ang="0">
                  <a:pos x="19" y="80"/>
                </a:cxn>
                <a:cxn ang="0">
                  <a:pos x="26" y="84"/>
                </a:cxn>
                <a:cxn ang="0">
                  <a:pos x="35" y="86"/>
                </a:cxn>
                <a:cxn ang="0">
                  <a:pos x="44" y="87"/>
                </a:cxn>
                <a:cxn ang="0">
                  <a:pos x="44" y="87"/>
                </a:cxn>
                <a:cxn ang="0">
                  <a:pos x="52" y="86"/>
                </a:cxn>
                <a:cxn ang="0">
                  <a:pos x="60" y="84"/>
                </a:cxn>
                <a:cxn ang="0">
                  <a:pos x="69" y="80"/>
                </a:cxn>
                <a:cxn ang="0">
                  <a:pos x="75" y="75"/>
                </a:cxn>
                <a:cxn ang="0">
                  <a:pos x="80" y="68"/>
                </a:cxn>
                <a:cxn ang="0">
                  <a:pos x="84" y="60"/>
                </a:cxn>
                <a:cxn ang="0">
                  <a:pos x="86" y="52"/>
                </a:cxn>
                <a:cxn ang="0">
                  <a:pos x="87" y="44"/>
                </a:cxn>
                <a:cxn ang="0">
                  <a:pos x="87" y="44"/>
                </a:cxn>
                <a:cxn ang="0">
                  <a:pos x="86" y="35"/>
                </a:cxn>
                <a:cxn ang="0">
                  <a:pos x="84" y="26"/>
                </a:cxn>
                <a:cxn ang="0">
                  <a:pos x="80" y="19"/>
                </a:cxn>
                <a:cxn ang="0">
                  <a:pos x="75" y="13"/>
                </a:cxn>
                <a:cxn ang="0">
                  <a:pos x="69" y="8"/>
                </a:cxn>
                <a:cxn ang="0">
                  <a:pos x="60" y="4"/>
                </a:cxn>
                <a:cxn ang="0">
                  <a:pos x="52" y="1"/>
                </a:cxn>
                <a:cxn ang="0">
                  <a:pos x="44" y="0"/>
                </a:cxn>
              </a:cxnLst>
              <a:rect l="0" t="0" r="r" b="b"/>
              <a:pathLst>
                <a:path w="87" h="87">
                  <a:moveTo>
                    <a:pt x="44" y="0"/>
                  </a:moveTo>
                  <a:lnTo>
                    <a:pt x="44" y="0"/>
                  </a:lnTo>
                  <a:lnTo>
                    <a:pt x="35" y="1"/>
                  </a:lnTo>
                  <a:lnTo>
                    <a:pt x="26" y="4"/>
                  </a:lnTo>
                  <a:lnTo>
                    <a:pt x="19" y="8"/>
                  </a:lnTo>
                  <a:lnTo>
                    <a:pt x="13" y="13"/>
                  </a:lnTo>
                  <a:lnTo>
                    <a:pt x="8" y="19"/>
                  </a:lnTo>
                  <a:lnTo>
                    <a:pt x="4" y="26"/>
                  </a:lnTo>
                  <a:lnTo>
                    <a:pt x="1" y="35"/>
                  </a:lnTo>
                  <a:lnTo>
                    <a:pt x="0" y="44"/>
                  </a:lnTo>
                  <a:lnTo>
                    <a:pt x="0" y="44"/>
                  </a:lnTo>
                  <a:lnTo>
                    <a:pt x="1" y="52"/>
                  </a:lnTo>
                  <a:lnTo>
                    <a:pt x="4" y="60"/>
                  </a:lnTo>
                  <a:lnTo>
                    <a:pt x="8" y="68"/>
                  </a:lnTo>
                  <a:lnTo>
                    <a:pt x="13" y="75"/>
                  </a:lnTo>
                  <a:lnTo>
                    <a:pt x="19" y="80"/>
                  </a:lnTo>
                  <a:lnTo>
                    <a:pt x="26" y="84"/>
                  </a:lnTo>
                  <a:lnTo>
                    <a:pt x="35" y="86"/>
                  </a:lnTo>
                  <a:lnTo>
                    <a:pt x="44" y="87"/>
                  </a:lnTo>
                  <a:lnTo>
                    <a:pt x="44" y="87"/>
                  </a:lnTo>
                  <a:lnTo>
                    <a:pt x="52" y="86"/>
                  </a:lnTo>
                  <a:lnTo>
                    <a:pt x="60" y="84"/>
                  </a:lnTo>
                  <a:lnTo>
                    <a:pt x="69" y="80"/>
                  </a:lnTo>
                  <a:lnTo>
                    <a:pt x="75" y="75"/>
                  </a:lnTo>
                  <a:lnTo>
                    <a:pt x="80" y="68"/>
                  </a:lnTo>
                  <a:lnTo>
                    <a:pt x="84" y="60"/>
                  </a:lnTo>
                  <a:lnTo>
                    <a:pt x="86" y="52"/>
                  </a:lnTo>
                  <a:lnTo>
                    <a:pt x="87" y="44"/>
                  </a:lnTo>
                  <a:lnTo>
                    <a:pt x="87" y="44"/>
                  </a:lnTo>
                  <a:lnTo>
                    <a:pt x="86" y="35"/>
                  </a:lnTo>
                  <a:lnTo>
                    <a:pt x="84" y="26"/>
                  </a:lnTo>
                  <a:lnTo>
                    <a:pt x="80" y="19"/>
                  </a:lnTo>
                  <a:lnTo>
                    <a:pt x="75" y="13"/>
                  </a:lnTo>
                  <a:lnTo>
                    <a:pt x="69" y="8"/>
                  </a:lnTo>
                  <a:lnTo>
                    <a:pt x="60" y="4"/>
                  </a:lnTo>
                  <a:lnTo>
                    <a:pt x="52" y="1"/>
                  </a:lnTo>
                  <a:lnTo>
                    <a:pt x="44" y="0"/>
                  </a:lnTo>
                  <a:close/>
                </a:path>
              </a:pathLst>
            </a:custGeom>
            <a:solidFill>
              <a:srgbClr val="DBA75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0" name="Freeform 707">
              <a:extLst>
                <a:ext uri="{FF2B5EF4-FFF2-40B4-BE49-F238E27FC236}">
                  <a16:creationId xmlns:a16="http://schemas.microsoft.com/office/drawing/2014/main" id="{B9525BCE-60B2-EE7A-F8D0-7DF314D0A6A8}"/>
                </a:ext>
              </a:extLst>
            </p:cNvPr>
            <p:cNvSpPr>
              <a:spLocks/>
            </p:cNvSpPr>
            <p:nvPr/>
          </p:nvSpPr>
          <p:spPr bwMode="auto">
            <a:xfrm>
              <a:off x="3609976" y="5445125"/>
              <a:ext cx="17463" cy="17463"/>
            </a:xfrm>
            <a:custGeom>
              <a:avLst/>
              <a:gdLst/>
              <a:ahLst/>
              <a:cxnLst>
                <a:cxn ang="0">
                  <a:pos x="44" y="0"/>
                </a:cxn>
                <a:cxn ang="0">
                  <a:pos x="44" y="0"/>
                </a:cxn>
                <a:cxn ang="0">
                  <a:pos x="35" y="1"/>
                </a:cxn>
                <a:cxn ang="0">
                  <a:pos x="26" y="4"/>
                </a:cxn>
                <a:cxn ang="0">
                  <a:pos x="19" y="8"/>
                </a:cxn>
                <a:cxn ang="0">
                  <a:pos x="13" y="13"/>
                </a:cxn>
                <a:cxn ang="0">
                  <a:pos x="8" y="19"/>
                </a:cxn>
                <a:cxn ang="0">
                  <a:pos x="4" y="26"/>
                </a:cxn>
                <a:cxn ang="0">
                  <a:pos x="1" y="35"/>
                </a:cxn>
                <a:cxn ang="0">
                  <a:pos x="0" y="44"/>
                </a:cxn>
                <a:cxn ang="0">
                  <a:pos x="0" y="44"/>
                </a:cxn>
                <a:cxn ang="0">
                  <a:pos x="1" y="52"/>
                </a:cxn>
                <a:cxn ang="0">
                  <a:pos x="4" y="60"/>
                </a:cxn>
                <a:cxn ang="0">
                  <a:pos x="8" y="68"/>
                </a:cxn>
                <a:cxn ang="0">
                  <a:pos x="13" y="75"/>
                </a:cxn>
                <a:cxn ang="0">
                  <a:pos x="19" y="80"/>
                </a:cxn>
                <a:cxn ang="0">
                  <a:pos x="26" y="84"/>
                </a:cxn>
                <a:cxn ang="0">
                  <a:pos x="35" y="86"/>
                </a:cxn>
                <a:cxn ang="0">
                  <a:pos x="44" y="87"/>
                </a:cxn>
                <a:cxn ang="0">
                  <a:pos x="44" y="87"/>
                </a:cxn>
                <a:cxn ang="0">
                  <a:pos x="52" y="86"/>
                </a:cxn>
                <a:cxn ang="0">
                  <a:pos x="60" y="84"/>
                </a:cxn>
                <a:cxn ang="0">
                  <a:pos x="69" y="80"/>
                </a:cxn>
                <a:cxn ang="0">
                  <a:pos x="75" y="75"/>
                </a:cxn>
                <a:cxn ang="0">
                  <a:pos x="80" y="68"/>
                </a:cxn>
                <a:cxn ang="0">
                  <a:pos x="84" y="60"/>
                </a:cxn>
                <a:cxn ang="0">
                  <a:pos x="86" y="52"/>
                </a:cxn>
                <a:cxn ang="0">
                  <a:pos x="87" y="44"/>
                </a:cxn>
                <a:cxn ang="0">
                  <a:pos x="87" y="44"/>
                </a:cxn>
                <a:cxn ang="0">
                  <a:pos x="86" y="35"/>
                </a:cxn>
                <a:cxn ang="0">
                  <a:pos x="84" y="26"/>
                </a:cxn>
                <a:cxn ang="0">
                  <a:pos x="80" y="19"/>
                </a:cxn>
                <a:cxn ang="0">
                  <a:pos x="75" y="13"/>
                </a:cxn>
                <a:cxn ang="0">
                  <a:pos x="69" y="8"/>
                </a:cxn>
                <a:cxn ang="0">
                  <a:pos x="60" y="4"/>
                </a:cxn>
                <a:cxn ang="0">
                  <a:pos x="52" y="1"/>
                </a:cxn>
                <a:cxn ang="0">
                  <a:pos x="44" y="0"/>
                </a:cxn>
              </a:cxnLst>
              <a:rect l="0" t="0" r="r" b="b"/>
              <a:pathLst>
                <a:path w="87" h="87">
                  <a:moveTo>
                    <a:pt x="44" y="0"/>
                  </a:moveTo>
                  <a:lnTo>
                    <a:pt x="44" y="0"/>
                  </a:lnTo>
                  <a:lnTo>
                    <a:pt x="35" y="1"/>
                  </a:lnTo>
                  <a:lnTo>
                    <a:pt x="26" y="4"/>
                  </a:lnTo>
                  <a:lnTo>
                    <a:pt x="19" y="8"/>
                  </a:lnTo>
                  <a:lnTo>
                    <a:pt x="13" y="13"/>
                  </a:lnTo>
                  <a:lnTo>
                    <a:pt x="8" y="19"/>
                  </a:lnTo>
                  <a:lnTo>
                    <a:pt x="4" y="26"/>
                  </a:lnTo>
                  <a:lnTo>
                    <a:pt x="1" y="35"/>
                  </a:lnTo>
                  <a:lnTo>
                    <a:pt x="0" y="44"/>
                  </a:lnTo>
                  <a:lnTo>
                    <a:pt x="0" y="44"/>
                  </a:lnTo>
                  <a:lnTo>
                    <a:pt x="1" y="52"/>
                  </a:lnTo>
                  <a:lnTo>
                    <a:pt x="4" y="60"/>
                  </a:lnTo>
                  <a:lnTo>
                    <a:pt x="8" y="68"/>
                  </a:lnTo>
                  <a:lnTo>
                    <a:pt x="13" y="75"/>
                  </a:lnTo>
                  <a:lnTo>
                    <a:pt x="19" y="80"/>
                  </a:lnTo>
                  <a:lnTo>
                    <a:pt x="26" y="84"/>
                  </a:lnTo>
                  <a:lnTo>
                    <a:pt x="35" y="86"/>
                  </a:lnTo>
                  <a:lnTo>
                    <a:pt x="44" y="87"/>
                  </a:lnTo>
                  <a:lnTo>
                    <a:pt x="44" y="87"/>
                  </a:lnTo>
                  <a:lnTo>
                    <a:pt x="52" y="86"/>
                  </a:lnTo>
                  <a:lnTo>
                    <a:pt x="60" y="84"/>
                  </a:lnTo>
                  <a:lnTo>
                    <a:pt x="69" y="80"/>
                  </a:lnTo>
                  <a:lnTo>
                    <a:pt x="75" y="75"/>
                  </a:lnTo>
                  <a:lnTo>
                    <a:pt x="80" y="68"/>
                  </a:lnTo>
                  <a:lnTo>
                    <a:pt x="84" y="60"/>
                  </a:lnTo>
                  <a:lnTo>
                    <a:pt x="86" y="52"/>
                  </a:lnTo>
                  <a:lnTo>
                    <a:pt x="87" y="44"/>
                  </a:lnTo>
                  <a:lnTo>
                    <a:pt x="87" y="44"/>
                  </a:lnTo>
                  <a:lnTo>
                    <a:pt x="86" y="35"/>
                  </a:lnTo>
                  <a:lnTo>
                    <a:pt x="84" y="26"/>
                  </a:lnTo>
                  <a:lnTo>
                    <a:pt x="80" y="19"/>
                  </a:lnTo>
                  <a:lnTo>
                    <a:pt x="75" y="13"/>
                  </a:lnTo>
                  <a:lnTo>
                    <a:pt x="69" y="8"/>
                  </a:lnTo>
                  <a:lnTo>
                    <a:pt x="60" y="4"/>
                  </a:lnTo>
                  <a:lnTo>
                    <a:pt x="52" y="1"/>
                  </a:lnTo>
                  <a:lnTo>
                    <a:pt x="44"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1" name="Freeform 708">
              <a:extLst>
                <a:ext uri="{FF2B5EF4-FFF2-40B4-BE49-F238E27FC236}">
                  <a16:creationId xmlns:a16="http://schemas.microsoft.com/office/drawing/2014/main" id="{0742F65B-E666-2EC3-0803-5ABC8FD2DA99}"/>
                </a:ext>
              </a:extLst>
            </p:cNvPr>
            <p:cNvSpPr>
              <a:spLocks noEditPoints="1"/>
            </p:cNvSpPr>
            <p:nvPr/>
          </p:nvSpPr>
          <p:spPr bwMode="auto">
            <a:xfrm>
              <a:off x="3751263" y="5205413"/>
              <a:ext cx="1588" cy="112713"/>
            </a:xfrm>
            <a:custGeom>
              <a:avLst/>
              <a:gdLst/>
              <a:ahLst/>
              <a:cxnLst>
                <a:cxn ang="0">
                  <a:pos x="1" y="562"/>
                </a:cxn>
                <a:cxn ang="0">
                  <a:pos x="1" y="562"/>
                </a:cxn>
                <a:cxn ang="0">
                  <a:pos x="0" y="562"/>
                </a:cxn>
                <a:cxn ang="0">
                  <a:pos x="0" y="562"/>
                </a:cxn>
                <a:cxn ang="0">
                  <a:pos x="1" y="562"/>
                </a:cxn>
                <a:cxn ang="0">
                  <a:pos x="0" y="0"/>
                </a:cxn>
                <a:cxn ang="0">
                  <a:pos x="0" y="0"/>
                </a:cxn>
                <a:cxn ang="0">
                  <a:pos x="0" y="0"/>
                </a:cxn>
                <a:cxn ang="0">
                  <a:pos x="1" y="0"/>
                </a:cxn>
                <a:cxn ang="0">
                  <a:pos x="1" y="0"/>
                </a:cxn>
                <a:cxn ang="0">
                  <a:pos x="0" y="0"/>
                </a:cxn>
              </a:cxnLst>
              <a:rect l="0" t="0" r="r" b="b"/>
              <a:pathLst>
                <a:path w="1" h="562">
                  <a:moveTo>
                    <a:pt x="1" y="562"/>
                  </a:moveTo>
                  <a:lnTo>
                    <a:pt x="1" y="562"/>
                  </a:lnTo>
                  <a:lnTo>
                    <a:pt x="0" y="562"/>
                  </a:lnTo>
                  <a:lnTo>
                    <a:pt x="0" y="562"/>
                  </a:lnTo>
                  <a:lnTo>
                    <a:pt x="1" y="562"/>
                  </a:lnTo>
                  <a:close/>
                  <a:moveTo>
                    <a:pt x="0" y="0"/>
                  </a:moveTo>
                  <a:lnTo>
                    <a:pt x="0" y="0"/>
                  </a:lnTo>
                  <a:lnTo>
                    <a:pt x="0" y="0"/>
                  </a:lnTo>
                  <a:lnTo>
                    <a:pt x="1" y="0"/>
                  </a:lnTo>
                  <a:lnTo>
                    <a:pt x="1" y="0"/>
                  </a:lnTo>
                  <a:lnTo>
                    <a:pt x="0" y="0"/>
                  </a:lnTo>
                  <a:close/>
                </a:path>
              </a:pathLst>
            </a:custGeom>
            <a:solidFill>
              <a:srgbClr val="FCBF5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2" name="Rectangle 709">
              <a:extLst>
                <a:ext uri="{FF2B5EF4-FFF2-40B4-BE49-F238E27FC236}">
                  <a16:creationId xmlns:a16="http://schemas.microsoft.com/office/drawing/2014/main" id="{133517A8-2357-31F0-28F1-D6A415F6FAAC}"/>
                </a:ext>
              </a:extLst>
            </p:cNvPr>
            <p:cNvSpPr>
              <a:spLocks noChangeArrowheads="1"/>
            </p:cNvSpPr>
            <p:nvPr/>
          </p:nvSpPr>
          <p:spPr bwMode="auto">
            <a:xfrm>
              <a:off x="3751263" y="5318125"/>
              <a:ext cx="1588" cy="15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3" name="Freeform 710">
              <a:extLst>
                <a:ext uri="{FF2B5EF4-FFF2-40B4-BE49-F238E27FC236}">
                  <a16:creationId xmlns:a16="http://schemas.microsoft.com/office/drawing/2014/main" id="{2BFEE40B-3A89-1658-B718-4E1022667FED}"/>
                </a:ext>
              </a:extLst>
            </p:cNvPr>
            <p:cNvSpPr>
              <a:spLocks/>
            </p:cNvSpPr>
            <p:nvPr/>
          </p:nvSpPr>
          <p:spPr bwMode="auto">
            <a:xfrm>
              <a:off x="3751263" y="5205413"/>
              <a:ext cx="1588" cy="1588"/>
            </a:xfrm>
            <a:custGeom>
              <a:avLst/>
              <a:gdLst/>
              <a:ahLst/>
              <a:cxnLst>
                <a:cxn ang="0">
                  <a:pos x="0" y="0"/>
                </a:cxn>
                <a:cxn ang="0">
                  <a:pos x="0" y="0"/>
                </a:cxn>
                <a:cxn ang="0">
                  <a:pos x="0" y="0"/>
                </a:cxn>
                <a:cxn ang="0">
                  <a:pos x="1" y="0"/>
                </a:cxn>
                <a:cxn ang="0">
                  <a:pos x="1" y="0"/>
                </a:cxn>
                <a:cxn ang="0">
                  <a:pos x="0" y="0"/>
                </a:cxn>
              </a:cxnLst>
              <a:rect l="0" t="0" r="r" b="b"/>
              <a:pathLst>
                <a:path w="1">
                  <a:moveTo>
                    <a:pt x="0" y="0"/>
                  </a:moveTo>
                  <a:lnTo>
                    <a:pt x="0" y="0"/>
                  </a:lnTo>
                  <a:lnTo>
                    <a:pt x="0" y="0"/>
                  </a:lnTo>
                  <a:lnTo>
                    <a:pt x="1" y="0"/>
                  </a:lnTo>
                  <a:lnTo>
                    <a:pt x="1"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4" name="Freeform 711">
              <a:extLst>
                <a:ext uri="{FF2B5EF4-FFF2-40B4-BE49-F238E27FC236}">
                  <a16:creationId xmlns:a16="http://schemas.microsoft.com/office/drawing/2014/main" id="{02E2116B-9993-6877-3C78-26EEBDFDA8E8}"/>
                </a:ext>
              </a:extLst>
            </p:cNvPr>
            <p:cNvSpPr>
              <a:spLocks noEditPoints="1"/>
            </p:cNvSpPr>
            <p:nvPr/>
          </p:nvSpPr>
          <p:spPr bwMode="auto">
            <a:xfrm>
              <a:off x="3756026" y="5205413"/>
              <a:ext cx="1588" cy="112713"/>
            </a:xfrm>
            <a:custGeom>
              <a:avLst/>
              <a:gdLst/>
              <a:ahLst/>
              <a:cxnLst>
                <a:cxn ang="0">
                  <a:pos x="4" y="561"/>
                </a:cxn>
                <a:cxn ang="0">
                  <a:pos x="4" y="561"/>
                </a:cxn>
                <a:cxn ang="0">
                  <a:pos x="0" y="561"/>
                </a:cxn>
                <a:cxn ang="0">
                  <a:pos x="0" y="561"/>
                </a:cxn>
                <a:cxn ang="0">
                  <a:pos x="4" y="562"/>
                </a:cxn>
                <a:cxn ang="0">
                  <a:pos x="4" y="561"/>
                </a:cxn>
                <a:cxn ang="0">
                  <a:pos x="4" y="0"/>
                </a:cxn>
                <a:cxn ang="0">
                  <a:pos x="4" y="0"/>
                </a:cxn>
                <a:cxn ang="0">
                  <a:pos x="0" y="0"/>
                </a:cxn>
                <a:cxn ang="0">
                  <a:pos x="0" y="0"/>
                </a:cxn>
                <a:cxn ang="0">
                  <a:pos x="4" y="1"/>
                </a:cxn>
                <a:cxn ang="0">
                  <a:pos x="4" y="0"/>
                </a:cxn>
              </a:cxnLst>
              <a:rect l="0" t="0" r="r" b="b"/>
              <a:pathLst>
                <a:path w="4" h="562">
                  <a:moveTo>
                    <a:pt x="4" y="561"/>
                  </a:moveTo>
                  <a:lnTo>
                    <a:pt x="4" y="561"/>
                  </a:lnTo>
                  <a:lnTo>
                    <a:pt x="0" y="561"/>
                  </a:lnTo>
                  <a:lnTo>
                    <a:pt x="0" y="561"/>
                  </a:lnTo>
                  <a:lnTo>
                    <a:pt x="4" y="562"/>
                  </a:lnTo>
                  <a:lnTo>
                    <a:pt x="4" y="561"/>
                  </a:lnTo>
                  <a:close/>
                  <a:moveTo>
                    <a:pt x="4" y="0"/>
                  </a:moveTo>
                  <a:lnTo>
                    <a:pt x="4" y="0"/>
                  </a:lnTo>
                  <a:lnTo>
                    <a:pt x="0" y="0"/>
                  </a:lnTo>
                  <a:lnTo>
                    <a:pt x="0" y="0"/>
                  </a:lnTo>
                  <a:lnTo>
                    <a:pt x="4" y="1"/>
                  </a:lnTo>
                  <a:lnTo>
                    <a:pt x="4" y="0"/>
                  </a:lnTo>
                  <a:close/>
                </a:path>
              </a:pathLst>
            </a:custGeom>
            <a:solidFill>
              <a:srgbClr val="DBA75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5" name="Freeform 712">
              <a:extLst>
                <a:ext uri="{FF2B5EF4-FFF2-40B4-BE49-F238E27FC236}">
                  <a16:creationId xmlns:a16="http://schemas.microsoft.com/office/drawing/2014/main" id="{F68D98B1-4BC9-A445-3097-881E0D26E1F2}"/>
                </a:ext>
              </a:extLst>
            </p:cNvPr>
            <p:cNvSpPr>
              <a:spLocks/>
            </p:cNvSpPr>
            <p:nvPr/>
          </p:nvSpPr>
          <p:spPr bwMode="auto">
            <a:xfrm>
              <a:off x="3756026" y="5316538"/>
              <a:ext cx="1588" cy="1588"/>
            </a:xfrm>
            <a:custGeom>
              <a:avLst/>
              <a:gdLst/>
              <a:ahLst/>
              <a:cxnLst>
                <a:cxn ang="0">
                  <a:pos x="4" y="0"/>
                </a:cxn>
                <a:cxn ang="0">
                  <a:pos x="4" y="0"/>
                </a:cxn>
                <a:cxn ang="0">
                  <a:pos x="0" y="0"/>
                </a:cxn>
                <a:cxn ang="0">
                  <a:pos x="0" y="0"/>
                </a:cxn>
                <a:cxn ang="0">
                  <a:pos x="4" y="1"/>
                </a:cxn>
                <a:cxn ang="0">
                  <a:pos x="4" y="0"/>
                </a:cxn>
              </a:cxnLst>
              <a:rect l="0" t="0" r="r" b="b"/>
              <a:pathLst>
                <a:path w="4" h="1">
                  <a:moveTo>
                    <a:pt x="4" y="0"/>
                  </a:moveTo>
                  <a:lnTo>
                    <a:pt x="4" y="0"/>
                  </a:lnTo>
                  <a:lnTo>
                    <a:pt x="0" y="0"/>
                  </a:lnTo>
                  <a:lnTo>
                    <a:pt x="0" y="0"/>
                  </a:lnTo>
                  <a:lnTo>
                    <a:pt x="4" y="1"/>
                  </a:lnTo>
                  <a:lnTo>
                    <a:pt x="4"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6" name="Freeform 713">
              <a:extLst>
                <a:ext uri="{FF2B5EF4-FFF2-40B4-BE49-F238E27FC236}">
                  <a16:creationId xmlns:a16="http://schemas.microsoft.com/office/drawing/2014/main" id="{0728E72F-C292-F972-0FE2-2EBA4E9BFFA9}"/>
                </a:ext>
              </a:extLst>
            </p:cNvPr>
            <p:cNvSpPr>
              <a:spLocks/>
            </p:cNvSpPr>
            <p:nvPr/>
          </p:nvSpPr>
          <p:spPr bwMode="auto">
            <a:xfrm>
              <a:off x="3756026" y="5205413"/>
              <a:ext cx="1588" cy="1588"/>
            </a:xfrm>
            <a:custGeom>
              <a:avLst/>
              <a:gdLst/>
              <a:ahLst/>
              <a:cxnLst>
                <a:cxn ang="0">
                  <a:pos x="4" y="0"/>
                </a:cxn>
                <a:cxn ang="0">
                  <a:pos x="4" y="0"/>
                </a:cxn>
                <a:cxn ang="0">
                  <a:pos x="0" y="0"/>
                </a:cxn>
                <a:cxn ang="0">
                  <a:pos x="0" y="0"/>
                </a:cxn>
                <a:cxn ang="0">
                  <a:pos x="4" y="1"/>
                </a:cxn>
                <a:cxn ang="0">
                  <a:pos x="4" y="0"/>
                </a:cxn>
              </a:cxnLst>
              <a:rect l="0" t="0" r="r" b="b"/>
              <a:pathLst>
                <a:path w="4" h="1">
                  <a:moveTo>
                    <a:pt x="4" y="0"/>
                  </a:moveTo>
                  <a:lnTo>
                    <a:pt x="4" y="0"/>
                  </a:lnTo>
                  <a:lnTo>
                    <a:pt x="0" y="0"/>
                  </a:lnTo>
                  <a:lnTo>
                    <a:pt x="0" y="0"/>
                  </a:lnTo>
                  <a:lnTo>
                    <a:pt x="4" y="1"/>
                  </a:lnTo>
                  <a:lnTo>
                    <a:pt x="4"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7" name="Freeform 714">
              <a:extLst>
                <a:ext uri="{FF2B5EF4-FFF2-40B4-BE49-F238E27FC236}">
                  <a16:creationId xmlns:a16="http://schemas.microsoft.com/office/drawing/2014/main" id="{923275C3-478E-5A46-D6E7-BB520D1C22C9}"/>
                </a:ext>
              </a:extLst>
            </p:cNvPr>
            <p:cNvSpPr>
              <a:spLocks/>
            </p:cNvSpPr>
            <p:nvPr/>
          </p:nvSpPr>
          <p:spPr bwMode="auto">
            <a:xfrm>
              <a:off x="3695701" y="5205413"/>
              <a:ext cx="60325" cy="112713"/>
            </a:xfrm>
            <a:custGeom>
              <a:avLst/>
              <a:gdLst/>
              <a:ahLst/>
              <a:cxnLst>
                <a:cxn ang="0">
                  <a:pos x="281" y="0"/>
                </a:cxn>
                <a:cxn ang="0">
                  <a:pos x="252" y="1"/>
                </a:cxn>
                <a:cxn ang="0">
                  <a:pos x="224" y="5"/>
                </a:cxn>
                <a:cxn ang="0">
                  <a:pos x="197" y="13"/>
                </a:cxn>
                <a:cxn ang="0">
                  <a:pos x="171" y="22"/>
                </a:cxn>
                <a:cxn ang="0">
                  <a:pos x="147" y="34"/>
                </a:cxn>
                <a:cxn ang="0">
                  <a:pos x="124" y="48"/>
                </a:cxn>
                <a:cxn ang="0">
                  <a:pos x="102" y="64"/>
                </a:cxn>
                <a:cxn ang="0">
                  <a:pos x="82" y="83"/>
                </a:cxn>
                <a:cxn ang="0">
                  <a:pos x="64" y="102"/>
                </a:cxn>
                <a:cxn ang="0">
                  <a:pos x="48" y="124"/>
                </a:cxn>
                <a:cxn ang="0">
                  <a:pos x="33" y="147"/>
                </a:cxn>
                <a:cxn ang="0">
                  <a:pos x="22" y="171"/>
                </a:cxn>
                <a:cxn ang="0">
                  <a:pos x="13" y="197"/>
                </a:cxn>
                <a:cxn ang="0">
                  <a:pos x="6" y="224"/>
                </a:cxn>
                <a:cxn ang="0">
                  <a:pos x="1" y="253"/>
                </a:cxn>
                <a:cxn ang="0">
                  <a:pos x="0" y="281"/>
                </a:cxn>
                <a:cxn ang="0">
                  <a:pos x="0" y="295"/>
                </a:cxn>
                <a:cxn ang="0">
                  <a:pos x="3" y="324"/>
                </a:cxn>
                <a:cxn ang="0">
                  <a:pos x="9" y="352"/>
                </a:cxn>
                <a:cxn ang="0">
                  <a:pos x="17" y="377"/>
                </a:cxn>
                <a:cxn ang="0">
                  <a:pos x="27" y="403"/>
                </a:cxn>
                <a:cxn ang="0">
                  <a:pos x="41" y="427"/>
                </a:cxn>
                <a:cxn ang="0">
                  <a:pos x="56" y="449"/>
                </a:cxn>
                <a:cxn ang="0">
                  <a:pos x="72" y="470"/>
                </a:cxn>
                <a:cxn ang="0">
                  <a:pos x="92" y="489"/>
                </a:cxn>
                <a:cxn ang="0">
                  <a:pos x="113" y="506"/>
                </a:cxn>
                <a:cxn ang="0">
                  <a:pos x="135" y="522"/>
                </a:cxn>
                <a:cxn ang="0">
                  <a:pos x="159" y="534"/>
                </a:cxn>
                <a:cxn ang="0">
                  <a:pos x="184" y="544"/>
                </a:cxn>
                <a:cxn ang="0">
                  <a:pos x="211" y="553"/>
                </a:cxn>
                <a:cxn ang="0">
                  <a:pos x="238" y="559"/>
                </a:cxn>
                <a:cxn ang="0">
                  <a:pos x="266" y="562"/>
                </a:cxn>
                <a:cxn ang="0">
                  <a:pos x="281" y="562"/>
                </a:cxn>
                <a:cxn ang="0">
                  <a:pos x="282" y="562"/>
                </a:cxn>
                <a:cxn ang="0">
                  <a:pos x="299" y="561"/>
                </a:cxn>
                <a:cxn ang="0">
                  <a:pos x="299" y="561"/>
                </a:cxn>
                <a:cxn ang="0">
                  <a:pos x="303" y="561"/>
                </a:cxn>
                <a:cxn ang="0">
                  <a:pos x="303" y="505"/>
                </a:cxn>
                <a:cxn ang="0">
                  <a:pos x="281" y="506"/>
                </a:cxn>
                <a:cxn ang="0">
                  <a:pos x="235" y="502"/>
                </a:cxn>
                <a:cxn ang="0">
                  <a:pos x="193" y="489"/>
                </a:cxn>
                <a:cxn ang="0">
                  <a:pos x="155" y="468"/>
                </a:cxn>
                <a:cxn ang="0">
                  <a:pos x="122" y="440"/>
                </a:cxn>
                <a:cxn ang="0">
                  <a:pos x="94" y="407"/>
                </a:cxn>
                <a:cxn ang="0">
                  <a:pos x="74" y="368"/>
                </a:cxn>
                <a:cxn ang="0">
                  <a:pos x="60" y="326"/>
                </a:cxn>
                <a:cxn ang="0">
                  <a:pos x="56" y="281"/>
                </a:cxn>
                <a:cxn ang="0">
                  <a:pos x="57" y="258"/>
                </a:cxn>
                <a:cxn ang="0">
                  <a:pos x="65" y="214"/>
                </a:cxn>
                <a:cxn ang="0">
                  <a:pos x="83" y="173"/>
                </a:cxn>
                <a:cxn ang="0">
                  <a:pos x="106" y="137"/>
                </a:cxn>
                <a:cxn ang="0">
                  <a:pos x="137" y="107"/>
                </a:cxn>
                <a:cxn ang="0">
                  <a:pos x="173" y="83"/>
                </a:cxn>
                <a:cxn ang="0">
                  <a:pos x="214" y="66"/>
                </a:cxn>
                <a:cxn ang="0">
                  <a:pos x="258" y="57"/>
                </a:cxn>
                <a:cxn ang="0">
                  <a:pos x="281" y="56"/>
                </a:cxn>
                <a:cxn ang="0">
                  <a:pos x="303" y="1"/>
                </a:cxn>
                <a:cxn ang="0">
                  <a:pos x="299" y="0"/>
                </a:cxn>
                <a:cxn ang="0">
                  <a:pos x="299" y="0"/>
                </a:cxn>
                <a:cxn ang="0">
                  <a:pos x="282" y="0"/>
                </a:cxn>
                <a:cxn ang="0">
                  <a:pos x="281" y="0"/>
                </a:cxn>
              </a:cxnLst>
              <a:rect l="0" t="0" r="r" b="b"/>
              <a:pathLst>
                <a:path w="303" h="562">
                  <a:moveTo>
                    <a:pt x="281" y="0"/>
                  </a:moveTo>
                  <a:lnTo>
                    <a:pt x="281" y="0"/>
                  </a:lnTo>
                  <a:lnTo>
                    <a:pt x="266" y="0"/>
                  </a:lnTo>
                  <a:lnTo>
                    <a:pt x="252" y="1"/>
                  </a:lnTo>
                  <a:lnTo>
                    <a:pt x="238" y="3"/>
                  </a:lnTo>
                  <a:lnTo>
                    <a:pt x="224" y="5"/>
                  </a:lnTo>
                  <a:lnTo>
                    <a:pt x="211" y="9"/>
                  </a:lnTo>
                  <a:lnTo>
                    <a:pt x="197" y="13"/>
                  </a:lnTo>
                  <a:lnTo>
                    <a:pt x="184" y="17"/>
                  </a:lnTo>
                  <a:lnTo>
                    <a:pt x="171" y="22"/>
                  </a:lnTo>
                  <a:lnTo>
                    <a:pt x="159" y="28"/>
                  </a:lnTo>
                  <a:lnTo>
                    <a:pt x="147" y="34"/>
                  </a:lnTo>
                  <a:lnTo>
                    <a:pt x="135" y="41"/>
                  </a:lnTo>
                  <a:lnTo>
                    <a:pt x="124" y="48"/>
                  </a:lnTo>
                  <a:lnTo>
                    <a:pt x="113" y="56"/>
                  </a:lnTo>
                  <a:lnTo>
                    <a:pt x="102" y="64"/>
                  </a:lnTo>
                  <a:lnTo>
                    <a:pt x="92" y="73"/>
                  </a:lnTo>
                  <a:lnTo>
                    <a:pt x="82" y="83"/>
                  </a:lnTo>
                  <a:lnTo>
                    <a:pt x="72" y="92"/>
                  </a:lnTo>
                  <a:lnTo>
                    <a:pt x="64" y="102"/>
                  </a:lnTo>
                  <a:lnTo>
                    <a:pt x="56" y="113"/>
                  </a:lnTo>
                  <a:lnTo>
                    <a:pt x="48" y="124"/>
                  </a:lnTo>
                  <a:lnTo>
                    <a:pt x="41" y="135"/>
                  </a:lnTo>
                  <a:lnTo>
                    <a:pt x="33" y="147"/>
                  </a:lnTo>
                  <a:lnTo>
                    <a:pt x="27" y="159"/>
                  </a:lnTo>
                  <a:lnTo>
                    <a:pt x="22" y="171"/>
                  </a:lnTo>
                  <a:lnTo>
                    <a:pt x="17" y="185"/>
                  </a:lnTo>
                  <a:lnTo>
                    <a:pt x="13" y="197"/>
                  </a:lnTo>
                  <a:lnTo>
                    <a:pt x="9" y="210"/>
                  </a:lnTo>
                  <a:lnTo>
                    <a:pt x="6" y="224"/>
                  </a:lnTo>
                  <a:lnTo>
                    <a:pt x="3" y="238"/>
                  </a:lnTo>
                  <a:lnTo>
                    <a:pt x="1" y="253"/>
                  </a:lnTo>
                  <a:lnTo>
                    <a:pt x="0" y="266"/>
                  </a:lnTo>
                  <a:lnTo>
                    <a:pt x="0" y="281"/>
                  </a:lnTo>
                  <a:lnTo>
                    <a:pt x="0" y="281"/>
                  </a:lnTo>
                  <a:lnTo>
                    <a:pt x="0" y="295"/>
                  </a:lnTo>
                  <a:lnTo>
                    <a:pt x="1" y="309"/>
                  </a:lnTo>
                  <a:lnTo>
                    <a:pt x="3" y="324"/>
                  </a:lnTo>
                  <a:lnTo>
                    <a:pt x="6" y="337"/>
                  </a:lnTo>
                  <a:lnTo>
                    <a:pt x="9" y="352"/>
                  </a:lnTo>
                  <a:lnTo>
                    <a:pt x="13" y="364"/>
                  </a:lnTo>
                  <a:lnTo>
                    <a:pt x="17" y="377"/>
                  </a:lnTo>
                  <a:lnTo>
                    <a:pt x="22" y="391"/>
                  </a:lnTo>
                  <a:lnTo>
                    <a:pt x="27" y="403"/>
                  </a:lnTo>
                  <a:lnTo>
                    <a:pt x="33" y="414"/>
                  </a:lnTo>
                  <a:lnTo>
                    <a:pt x="41" y="427"/>
                  </a:lnTo>
                  <a:lnTo>
                    <a:pt x="48" y="438"/>
                  </a:lnTo>
                  <a:lnTo>
                    <a:pt x="56" y="449"/>
                  </a:lnTo>
                  <a:lnTo>
                    <a:pt x="64" y="460"/>
                  </a:lnTo>
                  <a:lnTo>
                    <a:pt x="72" y="470"/>
                  </a:lnTo>
                  <a:lnTo>
                    <a:pt x="82" y="479"/>
                  </a:lnTo>
                  <a:lnTo>
                    <a:pt x="92" y="489"/>
                  </a:lnTo>
                  <a:lnTo>
                    <a:pt x="102" y="498"/>
                  </a:lnTo>
                  <a:lnTo>
                    <a:pt x="113" y="506"/>
                  </a:lnTo>
                  <a:lnTo>
                    <a:pt x="124" y="513"/>
                  </a:lnTo>
                  <a:lnTo>
                    <a:pt x="135" y="522"/>
                  </a:lnTo>
                  <a:lnTo>
                    <a:pt x="147" y="528"/>
                  </a:lnTo>
                  <a:lnTo>
                    <a:pt x="159" y="534"/>
                  </a:lnTo>
                  <a:lnTo>
                    <a:pt x="171" y="540"/>
                  </a:lnTo>
                  <a:lnTo>
                    <a:pt x="184" y="544"/>
                  </a:lnTo>
                  <a:lnTo>
                    <a:pt x="197" y="549"/>
                  </a:lnTo>
                  <a:lnTo>
                    <a:pt x="211" y="553"/>
                  </a:lnTo>
                  <a:lnTo>
                    <a:pt x="224" y="556"/>
                  </a:lnTo>
                  <a:lnTo>
                    <a:pt x="238" y="559"/>
                  </a:lnTo>
                  <a:lnTo>
                    <a:pt x="252" y="561"/>
                  </a:lnTo>
                  <a:lnTo>
                    <a:pt x="266" y="562"/>
                  </a:lnTo>
                  <a:lnTo>
                    <a:pt x="281" y="562"/>
                  </a:lnTo>
                  <a:lnTo>
                    <a:pt x="281" y="562"/>
                  </a:lnTo>
                  <a:lnTo>
                    <a:pt x="281" y="562"/>
                  </a:lnTo>
                  <a:lnTo>
                    <a:pt x="282" y="562"/>
                  </a:lnTo>
                  <a:lnTo>
                    <a:pt x="282" y="562"/>
                  </a:lnTo>
                  <a:lnTo>
                    <a:pt x="299" y="561"/>
                  </a:lnTo>
                  <a:lnTo>
                    <a:pt x="299" y="561"/>
                  </a:lnTo>
                  <a:lnTo>
                    <a:pt x="299" y="561"/>
                  </a:lnTo>
                  <a:lnTo>
                    <a:pt x="299" y="561"/>
                  </a:lnTo>
                  <a:lnTo>
                    <a:pt x="303" y="561"/>
                  </a:lnTo>
                  <a:lnTo>
                    <a:pt x="303" y="505"/>
                  </a:lnTo>
                  <a:lnTo>
                    <a:pt x="303" y="505"/>
                  </a:lnTo>
                  <a:lnTo>
                    <a:pt x="281" y="506"/>
                  </a:lnTo>
                  <a:lnTo>
                    <a:pt x="281" y="506"/>
                  </a:lnTo>
                  <a:lnTo>
                    <a:pt x="258" y="505"/>
                  </a:lnTo>
                  <a:lnTo>
                    <a:pt x="235" y="502"/>
                  </a:lnTo>
                  <a:lnTo>
                    <a:pt x="214" y="496"/>
                  </a:lnTo>
                  <a:lnTo>
                    <a:pt x="193" y="489"/>
                  </a:lnTo>
                  <a:lnTo>
                    <a:pt x="173" y="479"/>
                  </a:lnTo>
                  <a:lnTo>
                    <a:pt x="155" y="468"/>
                  </a:lnTo>
                  <a:lnTo>
                    <a:pt x="137" y="455"/>
                  </a:lnTo>
                  <a:lnTo>
                    <a:pt x="122" y="440"/>
                  </a:lnTo>
                  <a:lnTo>
                    <a:pt x="106" y="424"/>
                  </a:lnTo>
                  <a:lnTo>
                    <a:pt x="94" y="407"/>
                  </a:lnTo>
                  <a:lnTo>
                    <a:pt x="83" y="389"/>
                  </a:lnTo>
                  <a:lnTo>
                    <a:pt x="74" y="368"/>
                  </a:lnTo>
                  <a:lnTo>
                    <a:pt x="65" y="348"/>
                  </a:lnTo>
                  <a:lnTo>
                    <a:pt x="60" y="326"/>
                  </a:lnTo>
                  <a:lnTo>
                    <a:pt x="57" y="304"/>
                  </a:lnTo>
                  <a:lnTo>
                    <a:pt x="56" y="281"/>
                  </a:lnTo>
                  <a:lnTo>
                    <a:pt x="56" y="281"/>
                  </a:lnTo>
                  <a:lnTo>
                    <a:pt x="57" y="258"/>
                  </a:lnTo>
                  <a:lnTo>
                    <a:pt x="60" y="235"/>
                  </a:lnTo>
                  <a:lnTo>
                    <a:pt x="65" y="214"/>
                  </a:lnTo>
                  <a:lnTo>
                    <a:pt x="74" y="193"/>
                  </a:lnTo>
                  <a:lnTo>
                    <a:pt x="83" y="173"/>
                  </a:lnTo>
                  <a:lnTo>
                    <a:pt x="94" y="155"/>
                  </a:lnTo>
                  <a:lnTo>
                    <a:pt x="106" y="137"/>
                  </a:lnTo>
                  <a:lnTo>
                    <a:pt x="122" y="122"/>
                  </a:lnTo>
                  <a:lnTo>
                    <a:pt x="137" y="107"/>
                  </a:lnTo>
                  <a:lnTo>
                    <a:pt x="155" y="94"/>
                  </a:lnTo>
                  <a:lnTo>
                    <a:pt x="173" y="83"/>
                  </a:lnTo>
                  <a:lnTo>
                    <a:pt x="193" y="73"/>
                  </a:lnTo>
                  <a:lnTo>
                    <a:pt x="214" y="66"/>
                  </a:lnTo>
                  <a:lnTo>
                    <a:pt x="235" y="60"/>
                  </a:lnTo>
                  <a:lnTo>
                    <a:pt x="258" y="57"/>
                  </a:lnTo>
                  <a:lnTo>
                    <a:pt x="281" y="56"/>
                  </a:lnTo>
                  <a:lnTo>
                    <a:pt x="281" y="56"/>
                  </a:lnTo>
                  <a:lnTo>
                    <a:pt x="303" y="57"/>
                  </a:lnTo>
                  <a:lnTo>
                    <a:pt x="303" y="1"/>
                  </a:lnTo>
                  <a:lnTo>
                    <a:pt x="303" y="1"/>
                  </a:lnTo>
                  <a:lnTo>
                    <a:pt x="299" y="0"/>
                  </a:lnTo>
                  <a:lnTo>
                    <a:pt x="299" y="0"/>
                  </a:lnTo>
                  <a:lnTo>
                    <a:pt x="299" y="0"/>
                  </a:lnTo>
                  <a:lnTo>
                    <a:pt x="299" y="0"/>
                  </a:lnTo>
                  <a:lnTo>
                    <a:pt x="282" y="0"/>
                  </a:lnTo>
                  <a:lnTo>
                    <a:pt x="282" y="0"/>
                  </a:lnTo>
                  <a:lnTo>
                    <a:pt x="281" y="0"/>
                  </a:lnTo>
                  <a:lnTo>
                    <a:pt x="281" y="0"/>
                  </a:lnTo>
                  <a:close/>
                </a:path>
              </a:pathLst>
            </a:custGeom>
            <a:solidFill>
              <a:srgbClr val="FCBF5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8" name="Freeform 715">
              <a:extLst>
                <a:ext uri="{FF2B5EF4-FFF2-40B4-BE49-F238E27FC236}">
                  <a16:creationId xmlns:a16="http://schemas.microsoft.com/office/drawing/2014/main" id="{8E27D582-97AA-3F7B-F23F-004012921844}"/>
                </a:ext>
              </a:extLst>
            </p:cNvPr>
            <p:cNvSpPr>
              <a:spLocks/>
            </p:cNvSpPr>
            <p:nvPr/>
          </p:nvSpPr>
          <p:spPr bwMode="auto">
            <a:xfrm>
              <a:off x="3695701" y="5205413"/>
              <a:ext cx="60325" cy="112713"/>
            </a:xfrm>
            <a:custGeom>
              <a:avLst/>
              <a:gdLst/>
              <a:ahLst/>
              <a:cxnLst>
                <a:cxn ang="0">
                  <a:pos x="281" y="0"/>
                </a:cxn>
                <a:cxn ang="0">
                  <a:pos x="252" y="1"/>
                </a:cxn>
                <a:cxn ang="0">
                  <a:pos x="224" y="5"/>
                </a:cxn>
                <a:cxn ang="0">
                  <a:pos x="197" y="13"/>
                </a:cxn>
                <a:cxn ang="0">
                  <a:pos x="171" y="22"/>
                </a:cxn>
                <a:cxn ang="0">
                  <a:pos x="147" y="34"/>
                </a:cxn>
                <a:cxn ang="0">
                  <a:pos x="124" y="48"/>
                </a:cxn>
                <a:cxn ang="0">
                  <a:pos x="102" y="64"/>
                </a:cxn>
                <a:cxn ang="0">
                  <a:pos x="82" y="83"/>
                </a:cxn>
                <a:cxn ang="0">
                  <a:pos x="64" y="102"/>
                </a:cxn>
                <a:cxn ang="0">
                  <a:pos x="48" y="124"/>
                </a:cxn>
                <a:cxn ang="0">
                  <a:pos x="33" y="147"/>
                </a:cxn>
                <a:cxn ang="0">
                  <a:pos x="22" y="171"/>
                </a:cxn>
                <a:cxn ang="0">
                  <a:pos x="13" y="197"/>
                </a:cxn>
                <a:cxn ang="0">
                  <a:pos x="6" y="224"/>
                </a:cxn>
                <a:cxn ang="0">
                  <a:pos x="1" y="253"/>
                </a:cxn>
                <a:cxn ang="0">
                  <a:pos x="0" y="281"/>
                </a:cxn>
                <a:cxn ang="0">
                  <a:pos x="0" y="295"/>
                </a:cxn>
                <a:cxn ang="0">
                  <a:pos x="3" y="324"/>
                </a:cxn>
                <a:cxn ang="0">
                  <a:pos x="9" y="352"/>
                </a:cxn>
                <a:cxn ang="0">
                  <a:pos x="17" y="377"/>
                </a:cxn>
                <a:cxn ang="0">
                  <a:pos x="27" y="403"/>
                </a:cxn>
                <a:cxn ang="0">
                  <a:pos x="41" y="427"/>
                </a:cxn>
                <a:cxn ang="0">
                  <a:pos x="56" y="449"/>
                </a:cxn>
                <a:cxn ang="0">
                  <a:pos x="72" y="470"/>
                </a:cxn>
                <a:cxn ang="0">
                  <a:pos x="92" y="489"/>
                </a:cxn>
                <a:cxn ang="0">
                  <a:pos x="113" y="506"/>
                </a:cxn>
                <a:cxn ang="0">
                  <a:pos x="135" y="522"/>
                </a:cxn>
                <a:cxn ang="0">
                  <a:pos x="159" y="534"/>
                </a:cxn>
                <a:cxn ang="0">
                  <a:pos x="184" y="544"/>
                </a:cxn>
                <a:cxn ang="0">
                  <a:pos x="211" y="553"/>
                </a:cxn>
                <a:cxn ang="0">
                  <a:pos x="238" y="559"/>
                </a:cxn>
                <a:cxn ang="0">
                  <a:pos x="266" y="562"/>
                </a:cxn>
                <a:cxn ang="0">
                  <a:pos x="281" y="562"/>
                </a:cxn>
                <a:cxn ang="0">
                  <a:pos x="282" y="562"/>
                </a:cxn>
                <a:cxn ang="0">
                  <a:pos x="299" y="561"/>
                </a:cxn>
                <a:cxn ang="0">
                  <a:pos x="299" y="561"/>
                </a:cxn>
                <a:cxn ang="0">
                  <a:pos x="303" y="561"/>
                </a:cxn>
                <a:cxn ang="0">
                  <a:pos x="303" y="505"/>
                </a:cxn>
                <a:cxn ang="0">
                  <a:pos x="281" y="506"/>
                </a:cxn>
                <a:cxn ang="0">
                  <a:pos x="235" y="502"/>
                </a:cxn>
                <a:cxn ang="0">
                  <a:pos x="193" y="489"/>
                </a:cxn>
                <a:cxn ang="0">
                  <a:pos x="155" y="468"/>
                </a:cxn>
                <a:cxn ang="0">
                  <a:pos x="122" y="440"/>
                </a:cxn>
                <a:cxn ang="0">
                  <a:pos x="94" y="407"/>
                </a:cxn>
                <a:cxn ang="0">
                  <a:pos x="74" y="368"/>
                </a:cxn>
                <a:cxn ang="0">
                  <a:pos x="60" y="326"/>
                </a:cxn>
                <a:cxn ang="0">
                  <a:pos x="56" y="281"/>
                </a:cxn>
                <a:cxn ang="0">
                  <a:pos x="57" y="258"/>
                </a:cxn>
                <a:cxn ang="0">
                  <a:pos x="65" y="214"/>
                </a:cxn>
                <a:cxn ang="0">
                  <a:pos x="83" y="173"/>
                </a:cxn>
                <a:cxn ang="0">
                  <a:pos x="106" y="137"/>
                </a:cxn>
                <a:cxn ang="0">
                  <a:pos x="137" y="107"/>
                </a:cxn>
                <a:cxn ang="0">
                  <a:pos x="173" y="83"/>
                </a:cxn>
                <a:cxn ang="0">
                  <a:pos x="214" y="66"/>
                </a:cxn>
                <a:cxn ang="0">
                  <a:pos x="258" y="57"/>
                </a:cxn>
                <a:cxn ang="0">
                  <a:pos x="281" y="56"/>
                </a:cxn>
                <a:cxn ang="0">
                  <a:pos x="303" y="1"/>
                </a:cxn>
                <a:cxn ang="0">
                  <a:pos x="299" y="0"/>
                </a:cxn>
                <a:cxn ang="0">
                  <a:pos x="299" y="0"/>
                </a:cxn>
                <a:cxn ang="0">
                  <a:pos x="282" y="0"/>
                </a:cxn>
                <a:cxn ang="0">
                  <a:pos x="281" y="0"/>
                </a:cxn>
              </a:cxnLst>
              <a:rect l="0" t="0" r="r" b="b"/>
              <a:pathLst>
                <a:path w="303" h="562">
                  <a:moveTo>
                    <a:pt x="281" y="0"/>
                  </a:moveTo>
                  <a:lnTo>
                    <a:pt x="281" y="0"/>
                  </a:lnTo>
                  <a:lnTo>
                    <a:pt x="266" y="0"/>
                  </a:lnTo>
                  <a:lnTo>
                    <a:pt x="252" y="1"/>
                  </a:lnTo>
                  <a:lnTo>
                    <a:pt x="238" y="3"/>
                  </a:lnTo>
                  <a:lnTo>
                    <a:pt x="224" y="5"/>
                  </a:lnTo>
                  <a:lnTo>
                    <a:pt x="211" y="9"/>
                  </a:lnTo>
                  <a:lnTo>
                    <a:pt x="197" y="13"/>
                  </a:lnTo>
                  <a:lnTo>
                    <a:pt x="184" y="17"/>
                  </a:lnTo>
                  <a:lnTo>
                    <a:pt x="171" y="22"/>
                  </a:lnTo>
                  <a:lnTo>
                    <a:pt x="159" y="28"/>
                  </a:lnTo>
                  <a:lnTo>
                    <a:pt x="147" y="34"/>
                  </a:lnTo>
                  <a:lnTo>
                    <a:pt x="135" y="41"/>
                  </a:lnTo>
                  <a:lnTo>
                    <a:pt x="124" y="48"/>
                  </a:lnTo>
                  <a:lnTo>
                    <a:pt x="113" y="56"/>
                  </a:lnTo>
                  <a:lnTo>
                    <a:pt x="102" y="64"/>
                  </a:lnTo>
                  <a:lnTo>
                    <a:pt x="92" y="73"/>
                  </a:lnTo>
                  <a:lnTo>
                    <a:pt x="82" y="83"/>
                  </a:lnTo>
                  <a:lnTo>
                    <a:pt x="72" y="92"/>
                  </a:lnTo>
                  <a:lnTo>
                    <a:pt x="64" y="102"/>
                  </a:lnTo>
                  <a:lnTo>
                    <a:pt x="56" y="113"/>
                  </a:lnTo>
                  <a:lnTo>
                    <a:pt x="48" y="124"/>
                  </a:lnTo>
                  <a:lnTo>
                    <a:pt x="41" y="135"/>
                  </a:lnTo>
                  <a:lnTo>
                    <a:pt x="33" y="147"/>
                  </a:lnTo>
                  <a:lnTo>
                    <a:pt x="27" y="159"/>
                  </a:lnTo>
                  <a:lnTo>
                    <a:pt x="22" y="171"/>
                  </a:lnTo>
                  <a:lnTo>
                    <a:pt x="17" y="185"/>
                  </a:lnTo>
                  <a:lnTo>
                    <a:pt x="13" y="197"/>
                  </a:lnTo>
                  <a:lnTo>
                    <a:pt x="9" y="210"/>
                  </a:lnTo>
                  <a:lnTo>
                    <a:pt x="6" y="224"/>
                  </a:lnTo>
                  <a:lnTo>
                    <a:pt x="3" y="238"/>
                  </a:lnTo>
                  <a:lnTo>
                    <a:pt x="1" y="253"/>
                  </a:lnTo>
                  <a:lnTo>
                    <a:pt x="0" y="266"/>
                  </a:lnTo>
                  <a:lnTo>
                    <a:pt x="0" y="281"/>
                  </a:lnTo>
                  <a:lnTo>
                    <a:pt x="0" y="281"/>
                  </a:lnTo>
                  <a:lnTo>
                    <a:pt x="0" y="295"/>
                  </a:lnTo>
                  <a:lnTo>
                    <a:pt x="1" y="309"/>
                  </a:lnTo>
                  <a:lnTo>
                    <a:pt x="3" y="324"/>
                  </a:lnTo>
                  <a:lnTo>
                    <a:pt x="6" y="337"/>
                  </a:lnTo>
                  <a:lnTo>
                    <a:pt x="9" y="352"/>
                  </a:lnTo>
                  <a:lnTo>
                    <a:pt x="13" y="364"/>
                  </a:lnTo>
                  <a:lnTo>
                    <a:pt x="17" y="377"/>
                  </a:lnTo>
                  <a:lnTo>
                    <a:pt x="22" y="391"/>
                  </a:lnTo>
                  <a:lnTo>
                    <a:pt x="27" y="403"/>
                  </a:lnTo>
                  <a:lnTo>
                    <a:pt x="33" y="414"/>
                  </a:lnTo>
                  <a:lnTo>
                    <a:pt x="41" y="427"/>
                  </a:lnTo>
                  <a:lnTo>
                    <a:pt x="48" y="438"/>
                  </a:lnTo>
                  <a:lnTo>
                    <a:pt x="56" y="449"/>
                  </a:lnTo>
                  <a:lnTo>
                    <a:pt x="64" y="460"/>
                  </a:lnTo>
                  <a:lnTo>
                    <a:pt x="72" y="470"/>
                  </a:lnTo>
                  <a:lnTo>
                    <a:pt x="82" y="479"/>
                  </a:lnTo>
                  <a:lnTo>
                    <a:pt x="92" y="489"/>
                  </a:lnTo>
                  <a:lnTo>
                    <a:pt x="102" y="498"/>
                  </a:lnTo>
                  <a:lnTo>
                    <a:pt x="113" y="506"/>
                  </a:lnTo>
                  <a:lnTo>
                    <a:pt x="124" y="513"/>
                  </a:lnTo>
                  <a:lnTo>
                    <a:pt x="135" y="522"/>
                  </a:lnTo>
                  <a:lnTo>
                    <a:pt x="147" y="528"/>
                  </a:lnTo>
                  <a:lnTo>
                    <a:pt x="159" y="534"/>
                  </a:lnTo>
                  <a:lnTo>
                    <a:pt x="171" y="540"/>
                  </a:lnTo>
                  <a:lnTo>
                    <a:pt x="184" y="544"/>
                  </a:lnTo>
                  <a:lnTo>
                    <a:pt x="197" y="549"/>
                  </a:lnTo>
                  <a:lnTo>
                    <a:pt x="211" y="553"/>
                  </a:lnTo>
                  <a:lnTo>
                    <a:pt x="224" y="556"/>
                  </a:lnTo>
                  <a:lnTo>
                    <a:pt x="238" y="559"/>
                  </a:lnTo>
                  <a:lnTo>
                    <a:pt x="252" y="561"/>
                  </a:lnTo>
                  <a:lnTo>
                    <a:pt x="266" y="562"/>
                  </a:lnTo>
                  <a:lnTo>
                    <a:pt x="281" y="562"/>
                  </a:lnTo>
                  <a:lnTo>
                    <a:pt x="281" y="562"/>
                  </a:lnTo>
                  <a:lnTo>
                    <a:pt x="281" y="562"/>
                  </a:lnTo>
                  <a:lnTo>
                    <a:pt x="282" y="562"/>
                  </a:lnTo>
                  <a:lnTo>
                    <a:pt x="282" y="562"/>
                  </a:lnTo>
                  <a:lnTo>
                    <a:pt x="299" y="561"/>
                  </a:lnTo>
                  <a:lnTo>
                    <a:pt x="299" y="561"/>
                  </a:lnTo>
                  <a:lnTo>
                    <a:pt x="299" y="561"/>
                  </a:lnTo>
                  <a:lnTo>
                    <a:pt x="299" y="561"/>
                  </a:lnTo>
                  <a:lnTo>
                    <a:pt x="303" y="561"/>
                  </a:lnTo>
                  <a:lnTo>
                    <a:pt x="303" y="505"/>
                  </a:lnTo>
                  <a:lnTo>
                    <a:pt x="303" y="505"/>
                  </a:lnTo>
                  <a:lnTo>
                    <a:pt x="281" y="506"/>
                  </a:lnTo>
                  <a:lnTo>
                    <a:pt x="281" y="506"/>
                  </a:lnTo>
                  <a:lnTo>
                    <a:pt x="258" y="505"/>
                  </a:lnTo>
                  <a:lnTo>
                    <a:pt x="235" y="502"/>
                  </a:lnTo>
                  <a:lnTo>
                    <a:pt x="214" y="496"/>
                  </a:lnTo>
                  <a:lnTo>
                    <a:pt x="193" y="489"/>
                  </a:lnTo>
                  <a:lnTo>
                    <a:pt x="173" y="479"/>
                  </a:lnTo>
                  <a:lnTo>
                    <a:pt x="155" y="468"/>
                  </a:lnTo>
                  <a:lnTo>
                    <a:pt x="137" y="455"/>
                  </a:lnTo>
                  <a:lnTo>
                    <a:pt x="122" y="440"/>
                  </a:lnTo>
                  <a:lnTo>
                    <a:pt x="106" y="424"/>
                  </a:lnTo>
                  <a:lnTo>
                    <a:pt x="94" y="407"/>
                  </a:lnTo>
                  <a:lnTo>
                    <a:pt x="83" y="389"/>
                  </a:lnTo>
                  <a:lnTo>
                    <a:pt x="74" y="368"/>
                  </a:lnTo>
                  <a:lnTo>
                    <a:pt x="65" y="348"/>
                  </a:lnTo>
                  <a:lnTo>
                    <a:pt x="60" y="326"/>
                  </a:lnTo>
                  <a:lnTo>
                    <a:pt x="57" y="304"/>
                  </a:lnTo>
                  <a:lnTo>
                    <a:pt x="56" y="281"/>
                  </a:lnTo>
                  <a:lnTo>
                    <a:pt x="56" y="281"/>
                  </a:lnTo>
                  <a:lnTo>
                    <a:pt x="57" y="258"/>
                  </a:lnTo>
                  <a:lnTo>
                    <a:pt x="60" y="235"/>
                  </a:lnTo>
                  <a:lnTo>
                    <a:pt x="65" y="214"/>
                  </a:lnTo>
                  <a:lnTo>
                    <a:pt x="74" y="193"/>
                  </a:lnTo>
                  <a:lnTo>
                    <a:pt x="83" y="173"/>
                  </a:lnTo>
                  <a:lnTo>
                    <a:pt x="94" y="155"/>
                  </a:lnTo>
                  <a:lnTo>
                    <a:pt x="106" y="137"/>
                  </a:lnTo>
                  <a:lnTo>
                    <a:pt x="122" y="122"/>
                  </a:lnTo>
                  <a:lnTo>
                    <a:pt x="137" y="107"/>
                  </a:lnTo>
                  <a:lnTo>
                    <a:pt x="155" y="94"/>
                  </a:lnTo>
                  <a:lnTo>
                    <a:pt x="173" y="83"/>
                  </a:lnTo>
                  <a:lnTo>
                    <a:pt x="193" y="73"/>
                  </a:lnTo>
                  <a:lnTo>
                    <a:pt x="214" y="66"/>
                  </a:lnTo>
                  <a:lnTo>
                    <a:pt x="235" y="60"/>
                  </a:lnTo>
                  <a:lnTo>
                    <a:pt x="258" y="57"/>
                  </a:lnTo>
                  <a:lnTo>
                    <a:pt x="281" y="56"/>
                  </a:lnTo>
                  <a:lnTo>
                    <a:pt x="281" y="56"/>
                  </a:lnTo>
                  <a:lnTo>
                    <a:pt x="303" y="57"/>
                  </a:lnTo>
                  <a:lnTo>
                    <a:pt x="303" y="1"/>
                  </a:lnTo>
                  <a:lnTo>
                    <a:pt x="303" y="1"/>
                  </a:lnTo>
                  <a:lnTo>
                    <a:pt x="299" y="0"/>
                  </a:lnTo>
                  <a:lnTo>
                    <a:pt x="299" y="0"/>
                  </a:lnTo>
                  <a:lnTo>
                    <a:pt x="299" y="0"/>
                  </a:lnTo>
                  <a:lnTo>
                    <a:pt x="299" y="0"/>
                  </a:lnTo>
                  <a:lnTo>
                    <a:pt x="282" y="0"/>
                  </a:lnTo>
                  <a:lnTo>
                    <a:pt x="282" y="0"/>
                  </a:lnTo>
                  <a:lnTo>
                    <a:pt x="281" y="0"/>
                  </a:lnTo>
                  <a:lnTo>
                    <a:pt x="281"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9" name="Freeform 716">
              <a:extLst>
                <a:ext uri="{FF2B5EF4-FFF2-40B4-BE49-F238E27FC236}">
                  <a16:creationId xmlns:a16="http://schemas.microsoft.com/office/drawing/2014/main" id="{ACC02687-6DB3-A6F7-8B40-29393800641B}"/>
                </a:ext>
              </a:extLst>
            </p:cNvPr>
            <p:cNvSpPr>
              <a:spLocks/>
            </p:cNvSpPr>
            <p:nvPr/>
          </p:nvSpPr>
          <p:spPr bwMode="auto">
            <a:xfrm>
              <a:off x="3706813" y="5216525"/>
              <a:ext cx="49213" cy="90488"/>
            </a:xfrm>
            <a:custGeom>
              <a:avLst/>
              <a:gdLst/>
              <a:ahLst/>
              <a:cxnLst>
                <a:cxn ang="0">
                  <a:pos x="225" y="0"/>
                </a:cxn>
                <a:cxn ang="0">
                  <a:pos x="179" y="4"/>
                </a:cxn>
                <a:cxn ang="0">
                  <a:pos x="137" y="17"/>
                </a:cxn>
                <a:cxn ang="0">
                  <a:pos x="99" y="38"/>
                </a:cxn>
                <a:cxn ang="0">
                  <a:pos x="66" y="66"/>
                </a:cxn>
                <a:cxn ang="0">
                  <a:pos x="38" y="99"/>
                </a:cxn>
                <a:cxn ang="0">
                  <a:pos x="18" y="137"/>
                </a:cxn>
                <a:cxn ang="0">
                  <a:pos x="4" y="179"/>
                </a:cxn>
                <a:cxn ang="0">
                  <a:pos x="0" y="225"/>
                </a:cxn>
                <a:cxn ang="0">
                  <a:pos x="1" y="248"/>
                </a:cxn>
                <a:cxn ang="0">
                  <a:pos x="9" y="292"/>
                </a:cxn>
                <a:cxn ang="0">
                  <a:pos x="27" y="333"/>
                </a:cxn>
                <a:cxn ang="0">
                  <a:pos x="50" y="368"/>
                </a:cxn>
                <a:cxn ang="0">
                  <a:pos x="81" y="399"/>
                </a:cxn>
                <a:cxn ang="0">
                  <a:pos x="117" y="423"/>
                </a:cxn>
                <a:cxn ang="0">
                  <a:pos x="158" y="440"/>
                </a:cxn>
                <a:cxn ang="0">
                  <a:pos x="202" y="449"/>
                </a:cxn>
                <a:cxn ang="0">
                  <a:pos x="225" y="450"/>
                </a:cxn>
                <a:cxn ang="0">
                  <a:pos x="247" y="433"/>
                </a:cxn>
                <a:cxn ang="0">
                  <a:pos x="235" y="434"/>
                </a:cxn>
                <a:cxn ang="0">
                  <a:pos x="213" y="432"/>
                </a:cxn>
                <a:cxn ang="0">
                  <a:pos x="173" y="423"/>
                </a:cxn>
                <a:cxn ang="0">
                  <a:pos x="136" y="408"/>
                </a:cxn>
                <a:cxn ang="0">
                  <a:pos x="102" y="385"/>
                </a:cxn>
                <a:cxn ang="0">
                  <a:pos x="74" y="357"/>
                </a:cxn>
                <a:cxn ang="0">
                  <a:pos x="52" y="324"/>
                </a:cxn>
                <a:cxn ang="0">
                  <a:pos x="36" y="287"/>
                </a:cxn>
                <a:cxn ang="0">
                  <a:pos x="28" y="246"/>
                </a:cxn>
                <a:cxn ang="0">
                  <a:pos x="27" y="225"/>
                </a:cxn>
                <a:cxn ang="0">
                  <a:pos x="31" y="183"/>
                </a:cxn>
                <a:cxn ang="0">
                  <a:pos x="43" y="144"/>
                </a:cxn>
                <a:cxn ang="0">
                  <a:pos x="62" y="108"/>
                </a:cxn>
                <a:cxn ang="0">
                  <a:pos x="88" y="78"/>
                </a:cxn>
                <a:cxn ang="0">
                  <a:pos x="119" y="53"/>
                </a:cxn>
                <a:cxn ang="0">
                  <a:pos x="154" y="33"/>
                </a:cxn>
                <a:cxn ang="0">
                  <a:pos x="193" y="21"/>
                </a:cxn>
                <a:cxn ang="0">
                  <a:pos x="235" y="16"/>
                </a:cxn>
                <a:cxn ang="0">
                  <a:pos x="247" y="17"/>
                </a:cxn>
                <a:cxn ang="0">
                  <a:pos x="247" y="1"/>
                </a:cxn>
              </a:cxnLst>
              <a:rect l="0" t="0" r="r" b="b"/>
              <a:pathLst>
                <a:path w="247" h="450">
                  <a:moveTo>
                    <a:pt x="225" y="0"/>
                  </a:moveTo>
                  <a:lnTo>
                    <a:pt x="225" y="0"/>
                  </a:lnTo>
                  <a:lnTo>
                    <a:pt x="202" y="1"/>
                  </a:lnTo>
                  <a:lnTo>
                    <a:pt x="179" y="4"/>
                  </a:lnTo>
                  <a:lnTo>
                    <a:pt x="158" y="10"/>
                  </a:lnTo>
                  <a:lnTo>
                    <a:pt x="137" y="17"/>
                  </a:lnTo>
                  <a:lnTo>
                    <a:pt x="117" y="27"/>
                  </a:lnTo>
                  <a:lnTo>
                    <a:pt x="99" y="38"/>
                  </a:lnTo>
                  <a:lnTo>
                    <a:pt x="81" y="51"/>
                  </a:lnTo>
                  <a:lnTo>
                    <a:pt x="66" y="66"/>
                  </a:lnTo>
                  <a:lnTo>
                    <a:pt x="50" y="81"/>
                  </a:lnTo>
                  <a:lnTo>
                    <a:pt x="38" y="99"/>
                  </a:lnTo>
                  <a:lnTo>
                    <a:pt x="27" y="117"/>
                  </a:lnTo>
                  <a:lnTo>
                    <a:pt x="18" y="137"/>
                  </a:lnTo>
                  <a:lnTo>
                    <a:pt x="9" y="158"/>
                  </a:lnTo>
                  <a:lnTo>
                    <a:pt x="4" y="179"/>
                  </a:lnTo>
                  <a:lnTo>
                    <a:pt x="1" y="202"/>
                  </a:lnTo>
                  <a:lnTo>
                    <a:pt x="0" y="225"/>
                  </a:lnTo>
                  <a:lnTo>
                    <a:pt x="0" y="225"/>
                  </a:lnTo>
                  <a:lnTo>
                    <a:pt x="1" y="248"/>
                  </a:lnTo>
                  <a:lnTo>
                    <a:pt x="4" y="270"/>
                  </a:lnTo>
                  <a:lnTo>
                    <a:pt x="9" y="292"/>
                  </a:lnTo>
                  <a:lnTo>
                    <a:pt x="18" y="312"/>
                  </a:lnTo>
                  <a:lnTo>
                    <a:pt x="27" y="333"/>
                  </a:lnTo>
                  <a:lnTo>
                    <a:pt x="38" y="351"/>
                  </a:lnTo>
                  <a:lnTo>
                    <a:pt x="50" y="368"/>
                  </a:lnTo>
                  <a:lnTo>
                    <a:pt x="66" y="384"/>
                  </a:lnTo>
                  <a:lnTo>
                    <a:pt x="81" y="399"/>
                  </a:lnTo>
                  <a:lnTo>
                    <a:pt x="99" y="412"/>
                  </a:lnTo>
                  <a:lnTo>
                    <a:pt x="117" y="423"/>
                  </a:lnTo>
                  <a:lnTo>
                    <a:pt x="137" y="433"/>
                  </a:lnTo>
                  <a:lnTo>
                    <a:pt x="158" y="440"/>
                  </a:lnTo>
                  <a:lnTo>
                    <a:pt x="179" y="446"/>
                  </a:lnTo>
                  <a:lnTo>
                    <a:pt x="202" y="449"/>
                  </a:lnTo>
                  <a:lnTo>
                    <a:pt x="225" y="450"/>
                  </a:lnTo>
                  <a:lnTo>
                    <a:pt x="225" y="450"/>
                  </a:lnTo>
                  <a:lnTo>
                    <a:pt x="247" y="449"/>
                  </a:lnTo>
                  <a:lnTo>
                    <a:pt x="247" y="433"/>
                  </a:lnTo>
                  <a:lnTo>
                    <a:pt x="247" y="433"/>
                  </a:lnTo>
                  <a:lnTo>
                    <a:pt x="235" y="434"/>
                  </a:lnTo>
                  <a:lnTo>
                    <a:pt x="235" y="434"/>
                  </a:lnTo>
                  <a:lnTo>
                    <a:pt x="213" y="432"/>
                  </a:lnTo>
                  <a:lnTo>
                    <a:pt x="193" y="429"/>
                  </a:lnTo>
                  <a:lnTo>
                    <a:pt x="173" y="423"/>
                  </a:lnTo>
                  <a:lnTo>
                    <a:pt x="154" y="417"/>
                  </a:lnTo>
                  <a:lnTo>
                    <a:pt x="136" y="408"/>
                  </a:lnTo>
                  <a:lnTo>
                    <a:pt x="119" y="398"/>
                  </a:lnTo>
                  <a:lnTo>
                    <a:pt x="102" y="385"/>
                  </a:lnTo>
                  <a:lnTo>
                    <a:pt x="88" y="372"/>
                  </a:lnTo>
                  <a:lnTo>
                    <a:pt x="74" y="357"/>
                  </a:lnTo>
                  <a:lnTo>
                    <a:pt x="62" y="341"/>
                  </a:lnTo>
                  <a:lnTo>
                    <a:pt x="52" y="324"/>
                  </a:lnTo>
                  <a:lnTo>
                    <a:pt x="43" y="306"/>
                  </a:lnTo>
                  <a:lnTo>
                    <a:pt x="36" y="287"/>
                  </a:lnTo>
                  <a:lnTo>
                    <a:pt x="31" y="267"/>
                  </a:lnTo>
                  <a:lnTo>
                    <a:pt x="28" y="246"/>
                  </a:lnTo>
                  <a:lnTo>
                    <a:pt x="27" y="225"/>
                  </a:lnTo>
                  <a:lnTo>
                    <a:pt x="27" y="225"/>
                  </a:lnTo>
                  <a:lnTo>
                    <a:pt x="28" y="204"/>
                  </a:lnTo>
                  <a:lnTo>
                    <a:pt x="31" y="183"/>
                  </a:lnTo>
                  <a:lnTo>
                    <a:pt x="36" y="163"/>
                  </a:lnTo>
                  <a:lnTo>
                    <a:pt x="43" y="144"/>
                  </a:lnTo>
                  <a:lnTo>
                    <a:pt x="52" y="126"/>
                  </a:lnTo>
                  <a:lnTo>
                    <a:pt x="62" y="108"/>
                  </a:lnTo>
                  <a:lnTo>
                    <a:pt x="74" y="93"/>
                  </a:lnTo>
                  <a:lnTo>
                    <a:pt x="88" y="78"/>
                  </a:lnTo>
                  <a:lnTo>
                    <a:pt x="102" y="64"/>
                  </a:lnTo>
                  <a:lnTo>
                    <a:pt x="119" y="53"/>
                  </a:lnTo>
                  <a:lnTo>
                    <a:pt x="136" y="42"/>
                  </a:lnTo>
                  <a:lnTo>
                    <a:pt x="154" y="33"/>
                  </a:lnTo>
                  <a:lnTo>
                    <a:pt x="173" y="26"/>
                  </a:lnTo>
                  <a:lnTo>
                    <a:pt x="193" y="21"/>
                  </a:lnTo>
                  <a:lnTo>
                    <a:pt x="213" y="17"/>
                  </a:lnTo>
                  <a:lnTo>
                    <a:pt x="235" y="16"/>
                  </a:lnTo>
                  <a:lnTo>
                    <a:pt x="235" y="16"/>
                  </a:lnTo>
                  <a:lnTo>
                    <a:pt x="247" y="17"/>
                  </a:lnTo>
                  <a:lnTo>
                    <a:pt x="247" y="1"/>
                  </a:lnTo>
                  <a:lnTo>
                    <a:pt x="247" y="1"/>
                  </a:lnTo>
                  <a:lnTo>
                    <a:pt x="225" y="0"/>
                  </a:lnTo>
                  <a:close/>
                </a:path>
              </a:pathLst>
            </a:custGeom>
            <a:solidFill>
              <a:srgbClr val="DBA75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0" name="Freeform 717">
              <a:extLst>
                <a:ext uri="{FF2B5EF4-FFF2-40B4-BE49-F238E27FC236}">
                  <a16:creationId xmlns:a16="http://schemas.microsoft.com/office/drawing/2014/main" id="{3FE87D85-6B1C-AE7F-E4FD-FC2360AC2291}"/>
                </a:ext>
              </a:extLst>
            </p:cNvPr>
            <p:cNvSpPr>
              <a:spLocks/>
            </p:cNvSpPr>
            <p:nvPr/>
          </p:nvSpPr>
          <p:spPr bwMode="auto">
            <a:xfrm>
              <a:off x="3706813" y="5216525"/>
              <a:ext cx="49213" cy="90488"/>
            </a:xfrm>
            <a:custGeom>
              <a:avLst/>
              <a:gdLst/>
              <a:ahLst/>
              <a:cxnLst>
                <a:cxn ang="0">
                  <a:pos x="225" y="0"/>
                </a:cxn>
                <a:cxn ang="0">
                  <a:pos x="179" y="4"/>
                </a:cxn>
                <a:cxn ang="0">
                  <a:pos x="137" y="17"/>
                </a:cxn>
                <a:cxn ang="0">
                  <a:pos x="99" y="38"/>
                </a:cxn>
                <a:cxn ang="0">
                  <a:pos x="66" y="66"/>
                </a:cxn>
                <a:cxn ang="0">
                  <a:pos x="38" y="99"/>
                </a:cxn>
                <a:cxn ang="0">
                  <a:pos x="18" y="137"/>
                </a:cxn>
                <a:cxn ang="0">
                  <a:pos x="4" y="179"/>
                </a:cxn>
                <a:cxn ang="0">
                  <a:pos x="0" y="225"/>
                </a:cxn>
                <a:cxn ang="0">
                  <a:pos x="1" y="248"/>
                </a:cxn>
                <a:cxn ang="0">
                  <a:pos x="9" y="292"/>
                </a:cxn>
                <a:cxn ang="0">
                  <a:pos x="27" y="333"/>
                </a:cxn>
                <a:cxn ang="0">
                  <a:pos x="50" y="368"/>
                </a:cxn>
                <a:cxn ang="0">
                  <a:pos x="81" y="399"/>
                </a:cxn>
                <a:cxn ang="0">
                  <a:pos x="117" y="423"/>
                </a:cxn>
                <a:cxn ang="0">
                  <a:pos x="158" y="440"/>
                </a:cxn>
                <a:cxn ang="0">
                  <a:pos x="202" y="449"/>
                </a:cxn>
                <a:cxn ang="0">
                  <a:pos x="225" y="450"/>
                </a:cxn>
                <a:cxn ang="0">
                  <a:pos x="247" y="433"/>
                </a:cxn>
                <a:cxn ang="0">
                  <a:pos x="235" y="434"/>
                </a:cxn>
                <a:cxn ang="0">
                  <a:pos x="213" y="432"/>
                </a:cxn>
                <a:cxn ang="0">
                  <a:pos x="173" y="423"/>
                </a:cxn>
                <a:cxn ang="0">
                  <a:pos x="136" y="408"/>
                </a:cxn>
                <a:cxn ang="0">
                  <a:pos x="102" y="385"/>
                </a:cxn>
                <a:cxn ang="0">
                  <a:pos x="74" y="357"/>
                </a:cxn>
                <a:cxn ang="0">
                  <a:pos x="52" y="324"/>
                </a:cxn>
                <a:cxn ang="0">
                  <a:pos x="36" y="287"/>
                </a:cxn>
                <a:cxn ang="0">
                  <a:pos x="28" y="246"/>
                </a:cxn>
                <a:cxn ang="0">
                  <a:pos x="27" y="225"/>
                </a:cxn>
                <a:cxn ang="0">
                  <a:pos x="31" y="183"/>
                </a:cxn>
                <a:cxn ang="0">
                  <a:pos x="43" y="144"/>
                </a:cxn>
                <a:cxn ang="0">
                  <a:pos x="62" y="108"/>
                </a:cxn>
                <a:cxn ang="0">
                  <a:pos x="88" y="78"/>
                </a:cxn>
                <a:cxn ang="0">
                  <a:pos x="119" y="53"/>
                </a:cxn>
                <a:cxn ang="0">
                  <a:pos x="154" y="33"/>
                </a:cxn>
                <a:cxn ang="0">
                  <a:pos x="193" y="21"/>
                </a:cxn>
                <a:cxn ang="0">
                  <a:pos x="235" y="16"/>
                </a:cxn>
                <a:cxn ang="0">
                  <a:pos x="247" y="17"/>
                </a:cxn>
                <a:cxn ang="0">
                  <a:pos x="247" y="1"/>
                </a:cxn>
              </a:cxnLst>
              <a:rect l="0" t="0" r="r" b="b"/>
              <a:pathLst>
                <a:path w="247" h="450">
                  <a:moveTo>
                    <a:pt x="225" y="0"/>
                  </a:moveTo>
                  <a:lnTo>
                    <a:pt x="225" y="0"/>
                  </a:lnTo>
                  <a:lnTo>
                    <a:pt x="202" y="1"/>
                  </a:lnTo>
                  <a:lnTo>
                    <a:pt x="179" y="4"/>
                  </a:lnTo>
                  <a:lnTo>
                    <a:pt x="158" y="10"/>
                  </a:lnTo>
                  <a:lnTo>
                    <a:pt x="137" y="17"/>
                  </a:lnTo>
                  <a:lnTo>
                    <a:pt x="117" y="27"/>
                  </a:lnTo>
                  <a:lnTo>
                    <a:pt x="99" y="38"/>
                  </a:lnTo>
                  <a:lnTo>
                    <a:pt x="81" y="51"/>
                  </a:lnTo>
                  <a:lnTo>
                    <a:pt x="66" y="66"/>
                  </a:lnTo>
                  <a:lnTo>
                    <a:pt x="50" y="81"/>
                  </a:lnTo>
                  <a:lnTo>
                    <a:pt x="38" y="99"/>
                  </a:lnTo>
                  <a:lnTo>
                    <a:pt x="27" y="117"/>
                  </a:lnTo>
                  <a:lnTo>
                    <a:pt x="18" y="137"/>
                  </a:lnTo>
                  <a:lnTo>
                    <a:pt x="9" y="158"/>
                  </a:lnTo>
                  <a:lnTo>
                    <a:pt x="4" y="179"/>
                  </a:lnTo>
                  <a:lnTo>
                    <a:pt x="1" y="202"/>
                  </a:lnTo>
                  <a:lnTo>
                    <a:pt x="0" y="225"/>
                  </a:lnTo>
                  <a:lnTo>
                    <a:pt x="0" y="225"/>
                  </a:lnTo>
                  <a:lnTo>
                    <a:pt x="1" y="248"/>
                  </a:lnTo>
                  <a:lnTo>
                    <a:pt x="4" y="270"/>
                  </a:lnTo>
                  <a:lnTo>
                    <a:pt x="9" y="292"/>
                  </a:lnTo>
                  <a:lnTo>
                    <a:pt x="18" y="312"/>
                  </a:lnTo>
                  <a:lnTo>
                    <a:pt x="27" y="333"/>
                  </a:lnTo>
                  <a:lnTo>
                    <a:pt x="38" y="351"/>
                  </a:lnTo>
                  <a:lnTo>
                    <a:pt x="50" y="368"/>
                  </a:lnTo>
                  <a:lnTo>
                    <a:pt x="66" y="384"/>
                  </a:lnTo>
                  <a:lnTo>
                    <a:pt x="81" y="399"/>
                  </a:lnTo>
                  <a:lnTo>
                    <a:pt x="99" y="412"/>
                  </a:lnTo>
                  <a:lnTo>
                    <a:pt x="117" y="423"/>
                  </a:lnTo>
                  <a:lnTo>
                    <a:pt x="137" y="433"/>
                  </a:lnTo>
                  <a:lnTo>
                    <a:pt x="158" y="440"/>
                  </a:lnTo>
                  <a:lnTo>
                    <a:pt x="179" y="446"/>
                  </a:lnTo>
                  <a:lnTo>
                    <a:pt x="202" y="449"/>
                  </a:lnTo>
                  <a:lnTo>
                    <a:pt x="225" y="450"/>
                  </a:lnTo>
                  <a:lnTo>
                    <a:pt x="225" y="450"/>
                  </a:lnTo>
                  <a:lnTo>
                    <a:pt x="247" y="449"/>
                  </a:lnTo>
                  <a:lnTo>
                    <a:pt x="247" y="433"/>
                  </a:lnTo>
                  <a:lnTo>
                    <a:pt x="247" y="433"/>
                  </a:lnTo>
                  <a:lnTo>
                    <a:pt x="235" y="434"/>
                  </a:lnTo>
                  <a:lnTo>
                    <a:pt x="235" y="434"/>
                  </a:lnTo>
                  <a:lnTo>
                    <a:pt x="213" y="432"/>
                  </a:lnTo>
                  <a:lnTo>
                    <a:pt x="193" y="429"/>
                  </a:lnTo>
                  <a:lnTo>
                    <a:pt x="173" y="423"/>
                  </a:lnTo>
                  <a:lnTo>
                    <a:pt x="154" y="417"/>
                  </a:lnTo>
                  <a:lnTo>
                    <a:pt x="136" y="408"/>
                  </a:lnTo>
                  <a:lnTo>
                    <a:pt x="119" y="398"/>
                  </a:lnTo>
                  <a:lnTo>
                    <a:pt x="102" y="385"/>
                  </a:lnTo>
                  <a:lnTo>
                    <a:pt x="88" y="372"/>
                  </a:lnTo>
                  <a:lnTo>
                    <a:pt x="74" y="357"/>
                  </a:lnTo>
                  <a:lnTo>
                    <a:pt x="62" y="341"/>
                  </a:lnTo>
                  <a:lnTo>
                    <a:pt x="52" y="324"/>
                  </a:lnTo>
                  <a:lnTo>
                    <a:pt x="43" y="306"/>
                  </a:lnTo>
                  <a:lnTo>
                    <a:pt x="36" y="287"/>
                  </a:lnTo>
                  <a:lnTo>
                    <a:pt x="31" y="267"/>
                  </a:lnTo>
                  <a:lnTo>
                    <a:pt x="28" y="246"/>
                  </a:lnTo>
                  <a:lnTo>
                    <a:pt x="27" y="225"/>
                  </a:lnTo>
                  <a:lnTo>
                    <a:pt x="27" y="225"/>
                  </a:lnTo>
                  <a:lnTo>
                    <a:pt x="28" y="204"/>
                  </a:lnTo>
                  <a:lnTo>
                    <a:pt x="31" y="183"/>
                  </a:lnTo>
                  <a:lnTo>
                    <a:pt x="36" y="163"/>
                  </a:lnTo>
                  <a:lnTo>
                    <a:pt x="43" y="144"/>
                  </a:lnTo>
                  <a:lnTo>
                    <a:pt x="52" y="126"/>
                  </a:lnTo>
                  <a:lnTo>
                    <a:pt x="62" y="108"/>
                  </a:lnTo>
                  <a:lnTo>
                    <a:pt x="74" y="93"/>
                  </a:lnTo>
                  <a:lnTo>
                    <a:pt x="88" y="78"/>
                  </a:lnTo>
                  <a:lnTo>
                    <a:pt x="102" y="64"/>
                  </a:lnTo>
                  <a:lnTo>
                    <a:pt x="119" y="53"/>
                  </a:lnTo>
                  <a:lnTo>
                    <a:pt x="136" y="42"/>
                  </a:lnTo>
                  <a:lnTo>
                    <a:pt x="154" y="33"/>
                  </a:lnTo>
                  <a:lnTo>
                    <a:pt x="173" y="26"/>
                  </a:lnTo>
                  <a:lnTo>
                    <a:pt x="193" y="21"/>
                  </a:lnTo>
                  <a:lnTo>
                    <a:pt x="213" y="17"/>
                  </a:lnTo>
                  <a:lnTo>
                    <a:pt x="235" y="16"/>
                  </a:lnTo>
                  <a:lnTo>
                    <a:pt x="235" y="16"/>
                  </a:lnTo>
                  <a:lnTo>
                    <a:pt x="247" y="17"/>
                  </a:lnTo>
                  <a:lnTo>
                    <a:pt x="247" y="1"/>
                  </a:lnTo>
                  <a:lnTo>
                    <a:pt x="247" y="1"/>
                  </a:lnTo>
                  <a:lnTo>
                    <a:pt x="225"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1" name="Freeform 718">
              <a:extLst>
                <a:ext uri="{FF2B5EF4-FFF2-40B4-BE49-F238E27FC236}">
                  <a16:creationId xmlns:a16="http://schemas.microsoft.com/office/drawing/2014/main" id="{1245F428-59A4-DD47-96BA-20661D19D159}"/>
                </a:ext>
              </a:extLst>
            </p:cNvPr>
            <p:cNvSpPr>
              <a:spLocks/>
            </p:cNvSpPr>
            <p:nvPr/>
          </p:nvSpPr>
          <p:spPr bwMode="auto">
            <a:xfrm>
              <a:off x="3711576" y="5219700"/>
              <a:ext cx="44450" cy="84138"/>
            </a:xfrm>
            <a:custGeom>
              <a:avLst/>
              <a:gdLst/>
              <a:ahLst/>
              <a:cxnLst>
                <a:cxn ang="0">
                  <a:pos x="208" y="0"/>
                </a:cxn>
                <a:cxn ang="0">
                  <a:pos x="208" y="0"/>
                </a:cxn>
                <a:cxn ang="0">
                  <a:pos x="186" y="1"/>
                </a:cxn>
                <a:cxn ang="0">
                  <a:pos x="166" y="5"/>
                </a:cxn>
                <a:cxn ang="0">
                  <a:pos x="146" y="10"/>
                </a:cxn>
                <a:cxn ang="0">
                  <a:pos x="127" y="17"/>
                </a:cxn>
                <a:cxn ang="0">
                  <a:pos x="109" y="26"/>
                </a:cxn>
                <a:cxn ang="0">
                  <a:pos x="92" y="37"/>
                </a:cxn>
                <a:cxn ang="0">
                  <a:pos x="75" y="48"/>
                </a:cxn>
                <a:cxn ang="0">
                  <a:pos x="61" y="62"/>
                </a:cxn>
                <a:cxn ang="0">
                  <a:pos x="47" y="77"/>
                </a:cxn>
                <a:cxn ang="0">
                  <a:pos x="35" y="92"/>
                </a:cxn>
                <a:cxn ang="0">
                  <a:pos x="25" y="110"/>
                </a:cxn>
                <a:cxn ang="0">
                  <a:pos x="16" y="128"/>
                </a:cxn>
                <a:cxn ang="0">
                  <a:pos x="9" y="147"/>
                </a:cxn>
                <a:cxn ang="0">
                  <a:pos x="4" y="167"/>
                </a:cxn>
                <a:cxn ang="0">
                  <a:pos x="1" y="188"/>
                </a:cxn>
                <a:cxn ang="0">
                  <a:pos x="0" y="209"/>
                </a:cxn>
                <a:cxn ang="0">
                  <a:pos x="0" y="209"/>
                </a:cxn>
                <a:cxn ang="0">
                  <a:pos x="1" y="230"/>
                </a:cxn>
                <a:cxn ang="0">
                  <a:pos x="4" y="251"/>
                </a:cxn>
                <a:cxn ang="0">
                  <a:pos x="9" y="271"/>
                </a:cxn>
                <a:cxn ang="0">
                  <a:pos x="16" y="290"/>
                </a:cxn>
                <a:cxn ang="0">
                  <a:pos x="25" y="308"/>
                </a:cxn>
                <a:cxn ang="0">
                  <a:pos x="35" y="325"/>
                </a:cxn>
                <a:cxn ang="0">
                  <a:pos x="47" y="341"/>
                </a:cxn>
                <a:cxn ang="0">
                  <a:pos x="61" y="356"/>
                </a:cxn>
                <a:cxn ang="0">
                  <a:pos x="75" y="369"/>
                </a:cxn>
                <a:cxn ang="0">
                  <a:pos x="92" y="382"/>
                </a:cxn>
                <a:cxn ang="0">
                  <a:pos x="109" y="392"/>
                </a:cxn>
                <a:cxn ang="0">
                  <a:pos x="127" y="401"/>
                </a:cxn>
                <a:cxn ang="0">
                  <a:pos x="146" y="407"/>
                </a:cxn>
                <a:cxn ang="0">
                  <a:pos x="166" y="413"/>
                </a:cxn>
                <a:cxn ang="0">
                  <a:pos x="186" y="416"/>
                </a:cxn>
                <a:cxn ang="0">
                  <a:pos x="208" y="418"/>
                </a:cxn>
                <a:cxn ang="0">
                  <a:pos x="208" y="418"/>
                </a:cxn>
                <a:cxn ang="0">
                  <a:pos x="220" y="417"/>
                </a:cxn>
                <a:cxn ang="0">
                  <a:pos x="220" y="1"/>
                </a:cxn>
                <a:cxn ang="0">
                  <a:pos x="220" y="1"/>
                </a:cxn>
                <a:cxn ang="0">
                  <a:pos x="208" y="0"/>
                </a:cxn>
              </a:cxnLst>
              <a:rect l="0" t="0" r="r" b="b"/>
              <a:pathLst>
                <a:path w="220" h="418">
                  <a:moveTo>
                    <a:pt x="208" y="0"/>
                  </a:moveTo>
                  <a:lnTo>
                    <a:pt x="208" y="0"/>
                  </a:lnTo>
                  <a:lnTo>
                    <a:pt x="186" y="1"/>
                  </a:lnTo>
                  <a:lnTo>
                    <a:pt x="166" y="5"/>
                  </a:lnTo>
                  <a:lnTo>
                    <a:pt x="146" y="10"/>
                  </a:lnTo>
                  <a:lnTo>
                    <a:pt x="127" y="17"/>
                  </a:lnTo>
                  <a:lnTo>
                    <a:pt x="109" y="26"/>
                  </a:lnTo>
                  <a:lnTo>
                    <a:pt x="92" y="37"/>
                  </a:lnTo>
                  <a:lnTo>
                    <a:pt x="75" y="48"/>
                  </a:lnTo>
                  <a:lnTo>
                    <a:pt x="61" y="62"/>
                  </a:lnTo>
                  <a:lnTo>
                    <a:pt x="47" y="77"/>
                  </a:lnTo>
                  <a:lnTo>
                    <a:pt x="35" y="92"/>
                  </a:lnTo>
                  <a:lnTo>
                    <a:pt x="25" y="110"/>
                  </a:lnTo>
                  <a:lnTo>
                    <a:pt x="16" y="128"/>
                  </a:lnTo>
                  <a:lnTo>
                    <a:pt x="9" y="147"/>
                  </a:lnTo>
                  <a:lnTo>
                    <a:pt x="4" y="167"/>
                  </a:lnTo>
                  <a:lnTo>
                    <a:pt x="1" y="188"/>
                  </a:lnTo>
                  <a:lnTo>
                    <a:pt x="0" y="209"/>
                  </a:lnTo>
                  <a:lnTo>
                    <a:pt x="0" y="209"/>
                  </a:lnTo>
                  <a:lnTo>
                    <a:pt x="1" y="230"/>
                  </a:lnTo>
                  <a:lnTo>
                    <a:pt x="4" y="251"/>
                  </a:lnTo>
                  <a:lnTo>
                    <a:pt x="9" y="271"/>
                  </a:lnTo>
                  <a:lnTo>
                    <a:pt x="16" y="290"/>
                  </a:lnTo>
                  <a:lnTo>
                    <a:pt x="25" y="308"/>
                  </a:lnTo>
                  <a:lnTo>
                    <a:pt x="35" y="325"/>
                  </a:lnTo>
                  <a:lnTo>
                    <a:pt x="47" y="341"/>
                  </a:lnTo>
                  <a:lnTo>
                    <a:pt x="61" y="356"/>
                  </a:lnTo>
                  <a:lnTo>
                    <a:pt x="75" y="369"/>
                  </a:lnTo>
                  <a:lnTo>
                    <a:pt x="92" y="382"/>
                  </a:lnTo>
                  <a:lnTo>
                    <a:pt x="109" y="392"/>
                  </a:lnTo>
                  <a:lnTo>
                    <a:pt x="127" y="401"/>
                  </a:lnTo>
                  <a:lnTo>
                    <a:pt x="146" y="407"/>
                  </a:lnTo>
                  <a:lnTo>
                    <a:pt x="166" y="413"/>
                  </a:lnTo>
                  <a:lnTo>
                    <a:pt x="186" y="416"/>
                  </a:lnTo>
                  <a:lnTo>
                    <a:pt x="208" y="418"/>
                  </a:lnTo>
                  <a:lnTo>
                    <a:pt x="208" y="418"/>
                  </a:lnTo>
                  <a:lnTo>
                    <a:pt x="220" y="417"/>
                  </a:lnTo>
                  <a:lnTo>
                    <a:pt x="220" y="1"/>
                  </a:lnTo>
                  <a:lnTo>
                    <a:pt x="220" y="1"/>
                  </a:lnTo>
                  <a:lnTo>
                    <a:pt x="208" y="0"/>
                  </a:lnTo>
                  <a:close/>
                </a:path>
              </a:pathLst>
            </a:custGeom>
            <a:solidFill>
              <a:srgbClr val="FCBF5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2" name="Freeform 719">
              <a:extLst>
                <a:ext uri="{FF2B5EF4-FFF2-40B4-BE49-F238E27FC236}">
                  <a16:creationId xmlns:a16="http://schemas.microsoft.com/office/drawing/2014/main" id="{B59DD158-630E-1D62-44C5-7ECDB7324CB3}"/>
                </a:ext>
              </a:extLst>
            </p:cNvPr>
            <p:cNvSpPr>
              <a:spLocks/>
            </p:cNvSpPr>
            <p:nvPr/>
          </p:nvSpPr>
          <p:spPr bwMode="auto">
            <a:xfrm>
              <a:off x="3711576" y="5219700"/>
              <a:ext cx="44450" cy="84138"/>
            </a:xfrm>
            <a:custGeom>
              <a:avLst/>
              <a:gdLst/>
              <a:ahLst/>
              <a:cxnLst>
                <a:cxn ang="0">
                  <a:pos x="208" y="0"/>
                </a:cxn>
                <a:cxn ang="0">
                  <a:pos x="208" y="0"/>
                </a:cxn>
                <a:cxn ang="0">
                  <a:pos x="186" y="1"/>
                </a:cxn>
                <a:cxn ang="0">
                  <a:pos x="166" y="5"/>
                </a:cxn>
                <a:cxn ang="0">
                  <a:pos x="146" y="10"/>
                </a:cxn>
                <a:cxn ang="0">
                  <a:pos x="127" y="17"/>
                </a:cxn>
                <a:cxn ang="0">
                  <a:pos x="109" y="26"/>
                </a:cxn>
                <a:cxn ang="0">
                  <a:pos x="92" y="37"/>
                </a:cxn>
                <a:cxn ang="0">
                  <a:pos x="75" y="48"/>
                </a:cxn>
                <a:cxn ang="0">
                  <a:pos x="61" y="62"/>
                </a:cxn>
                <a:cxn ang="0">
                  <a:pos x="47" y="77"/>
                </a:cxn>
                <a:cxn ang="0">
                  <a:pos x="35" y="92"/>
                </a:cxn>
                <a:cxn ang="0">
                  <a:pos x="25" y="110"/>
                </a:cxn>
                <a:cxn ang="0">
                  <a:pos x="16" y="128"/>
                </a:cxn>
                <a:cxn ang="0">
                  <a:pos x="9" y="147"/>
                </a:cxn>
                <a:cxn ang="0">
                  <a:pos x="4" y="167"/>
                </a:cxn>
                <a:cxn ang="0">
                  <a:pos x="1" y="188"/>
                </a:cxn>
                <a:cxn ang="0">
                  <a:pos x="0" y="209"/>
                </a:cxn>
                <a:cxn ang="0">
                  <a:pos x="0" y="209"/>
                </a:cxn>
                <a:cxn ang="0">
                  <a:pos x="1" y="230"/>
                </a:cxn>
                <a:cxn ang="0">
                  <a:pos x="4" y="251"/>
                </a:cxn>
                <a:cxn ang="0">
                  <a:pos x="9" y="271"/>
                </a:cxn>
                <a:cxn ang="0">
                  <a:pos x="16" y="290"/>
                </a:cxn>
                <a:cxn ang="0">
                  <a:pos x="25" y="308"/>
                </a:cxn>
                <a:cxn ang="0">
                  <a:pos x="35" y="325"/>
                </a:cxn>
                <a:cxn ang="0">
                  <a:pos x="47" y="341"/>
                </a:cxn>
                <a:cxn ang="0">
                  <a:pos x="61" y="356"/>
                </a:cxn>
                <a:cxn ang="0">
                  <a:pos x="75" y="369"/>
                </a:cxn>
                <a:cxn ang="0">
                  <a:pos x="92" y="382"/>
                </a:cxn>
                <a:cxn ang="0">
                  <a:pos x="109" y="392"/>
                </a:cxn>
                <a:cxn ang="0">
                  <a:pos x="127" y="401"/>
                </a:cxn>
                <a:cxn ang="0">
                  <a:pos x="146" y="407"/>
                </a:cxn>
                <a:cxn ang="0">
                  <a:pos x="166" y="413"/>
                </a:cxn>
                <a:cxn ang="0">
                  <a:pos x="186" y="416"/>
                </a:cxn>
                <a:cxn ang="0">
                  <a:pos x="208" y="418"/>
                </a:cxn>
                <a:cxn ang="0">
                  <a:pos x="208" y="418"/>
                </a:cxn>
                <a:cxn ang="0">
                  <a:pos x="220" y="417"/>
                </a:cxn>
                <a:cxn ang="0">
                  <a:pos x="220" y="1"/>
                </a:cxn>
                <a:cxn ang="0">
                  <a:pos x="220" y="1"/>
                </a:cxn>
                <a:cxn ang="0">
                  <a:pos x="208" y="0"/>
                </a:cxn>
              </a:cxnLst>
              <a:rect l="0" t="0" r="r" b="b"/>
              <a:pathLst>
                <a:path w="220" h="418">
                  <a:moveTo>
                    <a:pt x="208" y="0"/>
                  </a:moveTo>
                  <a:lnTo>
                    <a:pt x="208" y="0"/>
                  </a:lnTo>
                  <a:lnTo>
                    <a:pt x="186" y="1"/>
                  </a:lnTo>
                  <a:lnTo>
                    <a:pt x="166" y="5"/>
                  </a:lnTo>
                  <a:lnTo>
                    <a:pt x="146" y="10"/>
                  </a:lnTo>
                  <a:lnTo>
                    <a:pt x="127" y="17"/>
                  </a:lnTo>
                  <a:lnTo>
                    <a:pt x="109" y="26"/>
                  </a:lnTo>
                  <a:lnTo>
                    <a:pt x="92" y="37"/>
                  </a:lnTo>
                  <a:lnTo>
                    <a:pt x="75" y="48"/>
                  </a:lnTo>
                  <a:lnTo>
                    <a:pt x="61" y="62"/>
                  </a:lnTo>
                  <a:lnTo>
                    <a:pt x="47" y="77"/>
                  </a:lnTo>
                  <a:lnTo>
                    <a:pt x="35" y="92"/>
                  </a:lnTo>
                  <a:lnTo>
                    <a:pt x="25" y="110"/>
                  </a:lnTo>
                  <a:lnTo>
                    <a:pt x="16" y="128"/>
                  </a:lnTo>
                  <a:lnTo>
                    <a:pt x="9" y="147"/>
                  </a:lnTo>
                  <a:lnTo>
                    <a:pt x="4" y="167"/>
                  </a:lnTo>
                  <a:lnTo>
                    <a:pt x="1" y="188"/>
                  </a:lnTo>
                  <a:lnTo>
                    <a:pt x="0" y="209"/>
                  </a:lnTo>
                  <a:lnTo>
                    <a:pt x="0" y="209"/>
                  </a:lnTo>
                  <a:lnTo>
                    <a:pt x="1" y="230"/>
                  </a:lnTo>
                  <a:lnTo>
                    <a:pt x="4" y="251"/>
                  </a:lnTo>
                  <a:lnTo>
                    <a:pt x="9" y="271"/>
                  </a:lnTo>
                  <a:lnTo>
                    <a:pt x="16" y="290"/>
                  </a:lnTo>
                  <a:lnTo>
                    <a:pt x="25" y="308"/>
                  </a:lnTo>
                  <a:lnTo>
                    <a:pt x="35" y="325"/>
                  </a:lnTo>
                  <a:lnTo>
                    <a:pt x="47" y="341"/>
                  </a:lnTo>
                  <a:lnTo>
                    <a:pt x="61" y="356"/>
                  </a:lnTo>
                  <a:lnTo>
                    <a:pt x="75" y="369"/>
                  </a:lnTo>
                  <a:lnTo>
                    <a:pt x="92" y="382"/>
                  </a:lnTo>
                  <a:lnTo>
                    <a:pt x="109" y="392"/>
                  </a:lnTo>
                  <a:lnTo>
                    <a:pt x="127" y="401"/>
                  </a:lnTo>
                  <a:lnTo>
                    <a:pt x="146" y="407"/>
                  </a:lnTo>
                  <a:lnTo>
                    <a:pt x="166" y="413"/>
                  </a:lnTo>
                  <a:lnTo>
                    <a:pt x="186" y="416"/>
                  </a:lnTo>
                  <a:lnTo>
                    <a:pt x="208" y="418"/>
                  </a:lnTo>
                  <a:lnTo>
                    <a:pt x="208" y="418"/>
                  </a:lnTo>
                  <a:lnTo>
                    <a:pt x="220" y="417"/>
                  </a:lnTo>
                  <a:lnTo>
                    <a:pt x="220" y="1"/>
                  </a:lnTo>
                  <a:lnTo>
                    <a:pt x="220" y="1"/>
                  </a:lnTo>
                  <a:lnTo>
                    <a:pt x="20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203" name="Group 202">
            <a:extLst>
              <a:ext uri="{FF2B5EF4-FFF2-40B4-BE49-F238E27FC236}">
                <a16:creationId xmlns:a16="http://schemas.microsoft.com/office/drawing/2014/main" id="{583A45FD-196A-A203-5D68-AF5604EB1D47}"/>
              </a:ext>
            </a:extLst>
          </p:cNvPr>
          <p:cNvGrpSpPr/>
          <p:nvPr/>
        </p:nvGrpSpPr>
        <p:grpSpPr>
          <a:xfrm>
            <a:off x="435092" y="6030940"/>
            <a:ext cx="360717" cy="326286"/>
            <a:chOff x="3336926" y="2260600"/>
            <a:chExt cx="839788" cy="838200"/>
          </a:xfrm>
        </p:grpSpPr>
        <p:sp>
          <p:nvSpPr>
            <p:cNvPr id="204" name="Freeform 720">
              <a:extLst>
                <a:ext uri="{FF2B5EF4-FFF2-40B4-BE49-F238E27FC236}">
                  <a16:creationId xmlns:a16="http://schemas.microsoft.com/office/drawing/2014/main" id="{6206F55C-457F-BDB7-FABE-ABE09B493B45}"/>
                </a:ext>
              </a:extLst>
            </p:cNvPr>
            <p:cNvSpPr>
              <a:spLocks/>
            </p:cNvSpPr>
            <p:nvPr/>
          </p:nvSpPr>
          <p:spPr bwMode="auto">
            <a:xfrm>
              <a:off x="3336926" y="2260600"/>
              <a:ext cx="839788" cy="838200"/>
            </a:xfrm>
            <a:custGeom>
              <a:avLst/>
              <a:gdLst/>
              <a:ahLst/>
              <a:cxnLst>
                <a:cxn ang="0">
                  <a:pos x="4223" y="2276"/>
                </a:cxn>
                <a:cxn ang="0">
                  <a:pos x="4187" y="2540"/>
                </a:cxn>
                <a:cxn ang="0">
                  <a:pos x="4119" y="2792"/>
                </a:cxn>
                <a:cxn ang="0">
                  <a:pos x="4021" y="3030"/>
                </a:cxn>
                <a:cxn ang="0">
                  <a:pos x="3896" y="3253"/>
                </a:cxn>
                <a:cxn ang="0">
                  <a:pos x="3747" y="3459"/>
                </a:cxn>
                <a:cxn ang="0">
                  <a:pos x="3574" y="3644"/>
                </a:cxn>
                <a:cxn ang="0">
                  <a:pos x="3380" y="3808"/>
                </a:cxn>
                <a:cxn ang="0">
                  <a:pos x="3168" y="3948"/>
                </a:cxn>
                <a:cxn ang="0">
                  <a:pos x="2938" y="4062"/>
                </a:cxn>
                <a:cxn ang="0">
                  <a:pos x="2694" y="4148"/>
                </a:cxn>
                <a:cxn ang="0">
                  <a:pos x="2437" y="4204"/>
                </a:cxn>
                <a:cxn ang="0">
                  <a:pos x="2169" y="4227"/>
                </a:cxn>
                <a:cxn ang="0">
                  <a:pos x="1953" y="4221"/>
                </a:cxn>
                <a:cxn ang="0">
                  <a:pos x="1689" y="4185"/>
                </a:cxn>
                <a:cxn ang="0">
                  <a:pos x="1436" y="4117"/>
                </a:cxn>
                <a:cxn ang="0">
                  <a:pos x="1198" y="4019"/>
                </a:cxn>
                <a:cxn ang="0">
                  <a:pos x="975" y="3895"/>
                </a:cxn>
                <a:cxn ang="0">
                  <a:pos x="770" y="3745"/>
                </a:cxn>
                <a:cxn ang="0">
                  <a:pos x="584" y="3572"/>
                </a:cxn>
                <a:cxn ang="0">
                  <a:pos x="420" y="3379"/>
                </a:cxn>
                <a:cxn ang="0">
                  <a:pos x="280" y="3166"/>
                </a:cxn>
                <a:cxn ang="0">
                  <a:pos x="167" y="2937"/>
                </a:cxn>
                <a:cxn ang="0">
                  <a:pos x="80" y="2692"/>
                </a:cxn>
                <a:cxn ang="0">
                  <a:pos x="25" y="2436"/>
                </a:cxn>
                <a:cxn ang="0">
                  <a:pos x="1" y="2168"/>
                </a:cxn>
                <a:cxn ang="0">
                  <a:pos x="6" y="1952"/>
                </a:cxn>
                <a:cxn ang="0">
                  <a:pos x="43" y="1688"/>
                </a:cxn>
                <a:cxn ang="0">
                  <a:pos x="111" y="1436"/>
                </a:cxn>
                <a:cxn ang="0">
                  <a:pos x="209" y="1198"/>
                </a:cxn>
                <a:cxn ang="0">
                  <a:pos x="334" y="974"/>
                </a:cxn>
                <a:cxn ang="0">
                  <a:pos x="483" y="769"/>
                </a:cxn>
                <a:cxn ang="0">
                  <a:pos x="656" y="584"/>
                </a:cxn>
                <a:cxn ang="0">
                  <a:pos x="850" y="420"/>
                </a:cxn>
                <a:cxn ang="0">
                  <a:pos x="1062" y="280"/>
                </a:cxn>
                <a:cxn ang="0">
                  <a:pos x="1292" y="167"/>
                </a:cxn>
                <a:cxn ang="0">
                  <a:pos x="1536" y="80"/>
                </a:cxn>
                <a:cxn ang="0">
                  <a:pos x="1793" y="24"/>
                </a:cxn>
                <a:cxn ang="0">
                  <a:pos x="2060" y="1"/>
                </a:cxn>
                <a:cxn ang="0">
                  <a:pos x="2277" y="6"/>
                </a:cxn>
                <a:cxn ang="0">
                  <a:pos x="2541" y="43"/>
                </a:cxn>
                <a:cxn ang="0">
                  <a:pos x="2794" y="111"/>
                </a:cxn>
                <a:cxn ang="0">
                  <a:pos x="3032" y="209"/>
                </a:cxn>
                <a:cxn ang="0">
                  <a:pos x="3254" y="333"/>
                </a:cxn>
                <a:cxn ang="0">
                  <a:pos x="3460" y="483"/>
                </a:cxn>
                <a:cxn ang="0">
                  <a:pos x="3646" y="656"/>
                </a:cxn>
                <a:cxn ang="0">
                  <a:pos x="3810" y="850"/>
                </a:cxn>
                <a:cxn ang="0">
                  <a:pos x="3950" y="1062"/>
                </a:cxn>
                <a:cxn ang="0">
                  <a:pos x="4063" y="1291"/>
                </a:cxn>
                <a:cxn ang="0">
                  <a:pos x="4150" y="1536"/>
                </a:cxn>
                <a:cxn ang="0">
                  <a:pos x="4205" y="1792"/>
                </a:cxn>
                <a:cxn ang="0">
                  <a:pos x="4229" y="2059"/>
                </a:cxn>
              </a:cxnLst>
              <a:rect l="0" t="0" r="r" b="b"/>
              <a:pathLst>
                <a:path w="4229" h="4227">
                  <a:moveTo>
                    <a:pt x="4229" y="2114"/>
                  </a:moveTo>
                  <a:lnTo>
                    <a:pt x="4229" y="2114"/>
                  </a:lnTo>
                  <a:lnTo>
                    <a:pt x="4229" y="2168"/>
                  </a:lnTo>
                  <a:lnTo>
                    <a:pt x="4227" y="2223"/>
                  </a:lnTo>
                  <a:lnTo>
                    <a:pt x="4223" y="2276"/>
                  </a:lnTo>
                  <a:lnTo>
                    <a:pt x="4219" y="2330"/>
                  </a:lnTo>
                  <a:lnTo>
                    <a:pt x="4212" y="2383"/>
                  </a:lnTo>
                  <a:lnTo>
                    <a:pt x="4205" y="2436"/>
                  </a:lnTo>
                  <a:lnTo>
                    <a:pt x="4196" y="2489"/>
                  </a:lnTo>
                  <a:lnTo>
                    <a:pt x="4187" y="2540"/>
                  </a:lnTo>
                  <a:lnTo>
                    <a:pt x="4175" y="2592"/>
                  </a:lnTo>
                  <a:lnTo>
                    <a:pt x="4163" y="2642"/>
                  </a:lnTo>
                  <a:lnTo>
                    <a:pt x="4150" y="2692"/>
                  </a:lnTo>
                  <a:lnTo>
                    <a:pt x="4134" y="2743"/>
                  </a:lnTo>
                  <a:lnTo>
                    <a:pt x="4119" y="2792"/>
                  </a:lnTo>
                  <a:lnTo>
                    <a:pt x="4101" y="2841"/>
                  </a:lnTo>
                  <a:lnTo>
                    <a:pt x="4083" y="2889"/>
                  </a:lnTo>
                  <a:lnTo>
                    <a:pt x="4063" y="2937"/>
                  </a:lnTo>
                  <a:lnTo>
                    <a:pt x="4042" y="2984"/>
                  </a:lnTo>
                  <a:lnTo>
                    <a:pt x="4021" y="3030"/>
                  </a:lnTo>
                  <a:lnTo>
                    <a:pt x="3998" y="3077"/>
                  </a:lnTo>
                  <a:lnTo>
                    <a:pt x="3974" y="3122"/>
                  </a:lnTo>
                  <a:lnTo>
                    <a:pt x="3950" y="3166"/>
                  </a:lnTo>
                  <a:lnTo>
                    <a:pt x="3923" y="3210"/>
                  </a:lnTo>
                  <a:lnTo>
                    <a:pt x="3896" y="3253"/>
                  </a:lnTo>
                  <a:lnTo>
                    <a:pt x="3868" y="3296"/>
                  </a:lnTo>
                  <a:lnTo>
                    <a:pt x="3839" y="3337"/>
                  </a:lnTo>
                  <a:lnTo>
                    <a:pt x="3810" y="3379"/>
                  </a:lnTo>
                  <a:lnTo>
                    <a:pt x="3779" y="3419"/>
                  </a:lnTo>
                  <a:lnTo>
                    <a:pt x="3747" y="3459"/>
                  </a:lnTo>
                  <a:lnTo>
                    <a:pt x="3714" y="3497"/>
                  </a:lnTo>
                  <a:lnTo>
                    <a:pt x="3680" y="3535"/>
                  </a:lnTo>
                  <a:lnTo>
                    <a:pt x="3646" y="3572"/>
                  </a:lnTo>
                  <a:lnTo>
                    <a:pt x="3610" y="3608"/>
                  </a:lnTo>
                  <a:lnTo>
                    <a:pt x="3574" y="3644"/>
                  </a:lnTo>
                  <a:lnTo>
                    <a:pt x="3536" y="3678"/>
                  </a:lnTo>
                  <a:lnTo>
                    <a:pt x="3498" y="3712"/>
                  </a:lnTo>
                  <a:lnTo>
                    <a:pt x="3460" y="3745"/>
                  </a:lnTo>
                  <a:lnTo>
                    <a:pt x="3420" y="3777"/>
                  </a:lnTo>
                  <a:lnTo>
                    <a:pt x="3380" y="3808"/>
                  </a:lnTo>
                  <a:lnTo>
                    <a:pt x="3339" y="3838"/>
                  </a:lnTo>
                  <a:lnTo>
                    <a:pt x="3297" y="3867"/>
                  </a:lnTo>
                  <a:lnTo>
                    <a:pt x="3254" y="3895"/>
                  </a:lnTo>
                  <a:lnTo>
                    <a:pt x="3211" y="3921"/>
                  </a:lnTo>
                  <a:lnTo>
                    <a:pt x="3168" y="3948"/>
                  </a:lnTo>
                  <a:lnTo>
                    <a:pt x="3123" y="3973"/>
                  </a:lnTo>
                  <a:lnTo>
                    <a:pt x="3078" y="3997"/>
                  </a:lnTo>
                  <a:lnTo>
                    <a:pt x="3032" y="4019"/>
                  </a:lnTo>
                  <a:lnTo>
                    <a:pt x="2985" y="4041"/>
                  </a:lnTo>
                  <a:lnTo>
                    <a:pt x="2938" y="4062"/>
                  </a:lnTo>
                  <a:lnTo>
                    <a:pt x="2890" y="4081"/>
                  </a:lnTo>
                  <a:lnTo>
                    <a:pt x="2842" y="4100"/>
                  </a:lnTo>
                  <a:lnTo>
                    <a:pt x="2794" y="4117"/>
                  </a:lnTo>
                  <a:lnTo>
                    <a:pt x="2744" y="4133"/>
                  </a:lnTo>
                  <a:lnTo>
                    <a:pt x="2694" y="4148"/>
                  </a:lnTo>
                  <a:lnTo>
                    <a:pt x="2643" y="4162"/>
                  </a:lnTo>
                  <a:lnTo>
                    <a:pt x="2593" y="4174"/>
                  </a:lnTo>
                  <a:lnTo>
                    <a:pt x="2541" y="4185"/>
                  </a:lnTo>
                  <a:lnTo>
                    <a:pt x="2490" y="4194"/>
                  </a:lnTo>
                  <a:lnTo>
                    <a:pt x="2437" y="4204"/>
                  </a:lnTo>
                  <a:lnTo>
                    <a:pt x="2384" y="4211"/>
                  </a:lnTo>
                  <a:lnTo>
                    <a:pt x="2331" y="4217"/>
                  </a:lnTo>
                  <a:lnTo>
                    <a:pt x="2277" y="4221"/>
                  </a:lnTo>
                  <a:lnTo>
                    <a:pt x="2224" y="4225"/>
                  </a:lnTo>
                  <a:lnTo>
                    <a:pt x="2169" y="4227"/>
                  </a:lnTo>
                  <a:lnTo>
                    <a:pt x="2114" y="4227"/>
                  </a:lnTo>
                  <a:lnTo>
                    <a:pt x="2114" y="4227"/>
                  </a:lnTo>
                  <a:lnTo>
                    <a:pt x="2060" y="4227"/>
                  </a:lnTo>
                  <a:lnTo>
                    <a:pt x="2006" y="4225"/>
                  </a:lnTo>
                  <a:lnTo>
                    <a:pt x="1953" y="4221"/>
                  </a:lnTo>
                  <a:lnTo>
                    <a:pt x="1899" y="4217"/>
                  </a:lnTo>
                  <a:lnTo>
                    <a:pt x="1846" y="4211"/>
                  </a:lnTo>
                  <a:lnTo>
                    <a:pt x="1793" y="4204"/>
                  </a:lnTo>
                  <a:lnTo>
                    <a:pt x="1740" y="4194"/>
                  </a:lnTo>
                  <a:lnTo>
                    <a:pt x="1689" y="4185"/>
                  </a:lnTo>
                  <a:lnTo>
                    <a:pt x="1637" y="4174"/>
                  </a:lnTo>
                  <a:lnTo>
                    <a:pt x="1587" y="4162"/>
                  </a:lnTo>
                  <a:lnTo>
                    <a:pt x="1536" y="4148"/>
                  </a:lnTo>
                  <a:lnTo>
                    <a:pt x="1486" y="4133"/>
                  </a:lnTo>
                  <a:lnTo>
                    <a:pt x="1436" y="4117"/>
                  </a:lnTo>
                  <a:lnTo>
                    <a:pt x="1388" y="4100"/>
                  </a:lnTo>
                  <a:lnTo>
                    <a:pt x="1340" y="4081"/>
                  </a:lnTo>
                  <a:lnTo>
                    <a:pt x="1292" y="4062"/>
                  </a:lnTo>
                  <a:lnTo>
                    <a:pt x="1245" y="4041"/>
                  </a:lnTo>
                  <a:lnTo>
                    <a:pt x="1198" y="4019"/>
                  </a:lnTo>
                  <a:lnTo>
                    <a:pt x="1152" y="3997"/>
                  </a:lnTo>
                  <a:lnTo>
                    <a:pt x="1107" y="3973"/>
                  </a:lnTo>
                  <a:lnTo>
                    <a:pt x="1062" y="3948"/>
                  </a:lnTo>
                  <a:lnTo>
                    <a:pt x="1018" y="3921"/>
                  </a:lnTo>
                  <a:lnTo>
                    <a:pt x="975" y="3895"/>
                  </a:lnTo>
                  <a:lnTo>
                    <a:pt x="933" y="3867"/>
                  </a:lnTo>
                  <a:lnTo>
                    <a:pt x="891" y="3838"/>
                  </a:lnTo>
                  <a:lnTo>
                    <a:pt x="850" y="3808"/>
                  </a:lnTo>
                  <a:lnTo>
                    <a:pt x="810" y="3777"/>
                  </a:lnTo>
                  <a:lnTo>
                    <a:pt x="770" y="3745"/>
                  </a:lnTo>
                  <a:lnTo>
                    <a:pt x="732" y="3712"/>
                  </a:lnTo>
                  <a:lnTo>
                    <a:pt x="693" y="3678"/>
                  </a:lnTo>
                  <a:lnTo>
                    <a:pt x="656" y="3644"/>
                  </a:lnTo>
                  <a:lnTo>
                    <a:pt x="619" y="3608"/>
                  </a:lnTo>
                  <a:lnTo>
                    <a:pt x="584" y="3572"/>
                  </a:lnTo>
                  <a:lnTo>
                    <a:pt x="549" y="3535"/>
                  </a:lnTo>
                  <a:lnTo>
                    <a:pt x="516" y="3497"/>
                  </a:lnTo>
                  <a:lnTo>
                    <a:pt x="483" y="3459"/>
                  </a:lnTo>
                  <a:lnTo>
                    <a:pt x="451" y="3419"/>
                  </a:lnTo>
                  <a:lnTo>
                    <a:pt x="420" y="3379"/>
                  </a:lnTo>
                  <a:lnTo>
                    <a:pt x="391" y="3337"/>
                  </a:lnTo>
                  <a:lnTo>
                    <a:pt x="362" y="3296"/>
                  </a:lnTo>
                  <a:lnTo>
                    <a:pt x="334" y="3253"/>
                  </a:lnTo>
                  <a:lnTo>
                    <a:pt x="306" y="3210"/>
                  </a:lnTo>
                  <a:lnTo>
                    <a:pt x="280" y="3166"/>
                  </a:lnTo>
                  <a:lnTo>
                    <a:pt x="256" y="3122"/>
                  </a:lnTo>
                  <a:lnTo>
                    <a:pt x="232" y="3077"/>
                  </a:lnTo>
                  <a:lnTo>
                    <a:pt x="209" y="3030"/>
                  </a:lnTo>
                  <a:lnTo>
                    <a:pt x="188" y="2984"/>
                  </a:lnTo>
                  <a:lnTo>
                    <a:pt x="167" y="2937"/>
                  </a:lnTo>
                  <a:lnTo>
                    <a:pt x="147" y="2889"/>
                  </a:lnTo>
                  <a:lnTo>
                    <a:pt x="129" y="2841"/>
                  </a:lnTo>
                  <a:lnTo>
                    <a:pt x="111" y="2792"/>
                  </a:lnTo>
                  <a:lnTo>
                    <a:pt x="96" y="2743"/>
                  </a:lnTo>
                  <a:lnTo>
                    <a:pt x="80" y="2692"/>
                  </a:lnTo>
                  <a:lnTo>
                    <a:pt x="67" y="2642"/>
                  </a:lnTo>
                  <a:lnTo>
                    <a:pt x="55" y="2592"/>
                  </a:lnTo>
                  <a:lnTo>
                    <a:pt x="43" y="2540"/>
                  </a:lnTo>
                  <a:lnTo>
                    <a:pt x="33" y="2489"/>
                  </a:lnTo>
                  <a:lnTo>
                    <a:pt x="25" y="2436"/>
                  </a:lnTo>
                  <a:lnTo>
                    <a:pt x="18" y="2383"/>
                  </a:lnTo>
                  <a:lnTo>
                    <a:pt x="11" y="2330"/>
                  </a:lnTo>
                  <a:lnTo>
                    <a:pt x="6" y="2276"/>
                  </a:lnTo>
                  <a:lnTo>
                    <a:pt x="3" y="2223"/>
                  </a:lnTo>
                  <a:lnTo>
                    <a:pt x="1" y="2168"/>
                  </a:lnTo>
                  <a:lnTo>
                    <a:pt x="0" y="2114"/>
                  </a:lnTo>
                  <a:lnTo>
                    <a:pt x="0" y="2114"/>
                  </a:lnTo>
                  <a:lnTo>
                    <a:pt x="1" y="2059"/>
                  </a:lnTo>
                  <a:lnTo>
                    <a:pt x="3" y="2005"/>
                  </a:lnTo>
                  <a:lnTo>
                    <a:pt x="6" y="1952"/>
                  </a:lnTo>
                  <a:lnTo>
                    <a:pt x="11" y="1898"/>
                  </a:lnTo>
                  <a:lnTo>
                    <a:pt x="18" y="1845"/>
                  </a:lnTo>
                  <a:lnTo>
                    <a:pt x="25" y="1792"/>
                  </a:lnTo>
                  <a:lnTo>
                    <a:pt x="33" y="1740"/>
                  </a:lnTo>
                  <a:lnTo>
                    <a:pt x="43" y="1688"/>
                  </a:lnTo>
                  <a:lnTo>
                    <a:pt x="55" y="1637"/>
                  </a:lnTo>
                  <a:lnTo>
                    <a:pt x="67" y="1586"/>
                  </a:lnTo>
                  <a:lnTo>
                    <a:pt x="80" y="1536"/>
                  </a:lnTo>
                  <a:lnTo>
                    <a:pt x="96" y="1485"/>
                  </a:lnTo>
                  <a:lnTo>
                    <a:pt x="111" y="1436"/>
                  </a:lnTo>
                  <a:lnTo>
                    <a:pt x="129" y="1387"/>
                  </a:lnTo>
                  <a:lnTo>
                    <a:pt x="147" y="1339"/>
                  </a:lnTo>
                  <a:lnTo>
                    <a:pt x="167" y="1291"/>
                  </a:lnTo>
                  <a:lnTo>
                    <a:pt x="188" y="1244"/>
                  </a:lnTo>
                  <a:lnTo>
                    <a:pt x="209" y="1198"/>
                  </a:lnTo>
                  <a:lnTo>
                    <a:pt x="232" y="1151"/>
                  </a:lnTo>
                  <a:lnTo>
                    <a:pt x="256" y="1106"/>
                  </a:lnTo>
                  <a:lnTo>
                    <a:pt x="280" y="1062"/>
                  </a:lnTo>
                  <a:lnTo>
                    <a:pt x="306" y="1017"/>
                  </a:lnTo>
                  <a:lnTo>
                    <a:pt x="334" y="974"/>
                  </a:lnTo>
                  <a:lnTo>
                    <a:pt x="362" y="932"/>
                  </a:lnTo>
                  <a:lnTo>
                    <a:pt x="391" y="891"/>
                  </a:lnTo>
                  <a:lnTo>
                    <a:pt x="420" y="850"/>
                  </a:lnTo>
                  <a:lnTo>
                    <a:pt x="451" y="809"/>
                  </a:lnTo>
                  <a:lnTo>
                    <a:pt x="483" y="769"/>
                  </a:lnTo>
                  <a:lnTo>
                    <a:pt x="516" y="731"/>
                  </a:lnTo>
                  <a:lnTo>
                    <a:pt x="549" y="693"/>
                  </a:lnTo>
                  <a:lnTo>
                    <a:pt x="584" y="656"/>
                  </a:lnTo>
                  <a:lnTo>
                    <a:pt x="619" y="619"/>
                  </a:lnTo>
                  <a:lnTo>
                    <a:pt x="656" y="584"/>
                  </a:lnTo>
                  <a:lnTo>
                    <a:pt x="693" y="549"/>
                  </a:lnTo>
                  <a:lnTo>
                    <a:pt x="732" y="516"/>
                  </a:lnTo>
                  <a:lnTo>
                    <a:pt x="770" y="483"/>
                  </a:lnTo>
                  <a:lnTo>
                    <a:pt x="810" y="451"/>
                  </a:lnTo>
                  <a:lnTo>
                    <a:pt x="850" y="420"/>
                  </a:lnTo>
                  <a:lnTo>
                    <a:pt x="891" y="390"/>
                  </a:lnTo>
                  <a:lnTo>
                    <a:pt x="933" y="361"/>
                  </a:lnTo>
                  <a:lnTo>
                    <a:pt x="975" y="333"/>
                  </a:lnTo>
                  <a:lnTo>
                    <a:pt x="1018" y="306"/>
                  </a:lnTo>
                  <a:lnTo>
                    <a:pt x="1062" y="280"/>
                  </a:lnTo>
                  <a:lnTo>
                    <a:pt x="1107" y="255"/>
                  </a:lnTo>
                  <a:lnTo>
                    <a:pt x="1152" y="231"/>
                  </a:lnTo>
                  <a:lnTo>
                    <a:pt x="1198" y="209"/>
                  </a:lnTo>
                  <a:lnTo>
                    <a:pt x="1245" y="187"/>
                  </a:lnTo>
                  <a:lnTo>
                    <a:pt x="1292" y="167"/>
                  </a:lnTo>
                  <a:lnTo>
                    <a:pt x="1340" y="147"/>
                  </a:lnTo>
                  <a:lnTo>
                    <a:pt x="1388" y="128"/>
                  </a:lnTo>
                  <a:lnTo>
                    <a:pt x="1436" y="111"/>
                  </a:lnTo>
                  <a:lnTo>
                    <a:pt x="1486" y="95"/>
                  </a:lnTo>
                  <a:lnTo>
                    <a:pt x="1536" y="80"/>
                  </a:lnTo>
                  <a:lnTo>
                    <a:pt x="1587" y="67"/>
                  </a:lnTo>
                  <a:lnTo>
                    <a:pt x="1637" y="54"/>
                  </a:lnTo>
                  <a:lnTo>
                    <a:pt x="1689" y="43"/>
                  </a:lnTo>
                  <a:lnTo>
                    <a:pt x="1740" y="33"/>
                  </a:lnTo>
                  <a:lnTo>
                    <a:pt x="1793" y="24"/>
                  </a:lnTo>
                  <a:lnTo>
                    <a:pt x="1846" y="17"/>
                  </a:lnTo>
                  <a:lnTo>
                    <a:pt x="1899" y="11"/>
                  </a:lnTo>
                  <a:lnTo>
                    <a:pt x="1953" y="6"/>
                  </a:lnTo>
                  <a:lnTo>
                    <a:pt x="2006" y="3"/>
                  </a:lnTo>
                  <a:lnTo>
                    <a:pt x="2060" y="1"/>
                  </a:lnTo>
                  <a:lnTo>
                    <a:pt x="2114" y="0"/>
                  </a:lnTo>
                  <a:lnTo>
                    <a:pt x="2114" y="0"/>
                  </a:lnTo>
                  <a:lnTo>
                    <a:pt x="2169" y="1"/>
                  </a:lnTo>
                  <a:lnTo>
                    <a:pt x="2224" y="3"/>
                  </a:lnTo>
                  <a:lnTo>
                    <a:pt x="2277" y="6"/>
                  </a:lnTo>
                  <a:lnTo>
                    <a:pt x="2331" y="11"/>
                  </a:lnTo>
                  <a:lnTo>
                    <a:pt x="2384" y="17"/>
                  </a:lnTo>
                  <a:lnTo>
                    <a:pt x="2437" y="24"/>
                  </a:lnTo>
                  <a:lnTo>
                    <a:pt x="2490" y="33"/>
                  </a:lnTo>
                  <a:lnTo>
                    <a:pt x="2541" y="43"/>
                  </a:lnTo>
                  <a:lnTo>
                    <a:pt x="2593" y="54"/>
                  </a:lnTo>
                  <a:lnTo>
                    <a:pt x="2643" y="67"/>
                  </a:lnTo>
                  <a:lnTo>
                    <a:pt x="2694" y="80"/>
                  </a:lnTo>
                  <a:lnTo>
                    <a:pt x="2744" y="95"/>
                  </a:lnTo>
                  <a:lnTo>
                    <a:pt x="2794" y="111"/>
                  </a:lnTo>
                  <a:lnTo>
                    <a:pt x="2842" y="128"/>
                  </a:lnTo>
                  <a:lnTo>
                    <a:pt x="2890" y="147"/>
                  </a:lnTo>
                  <a:lnTo>
                    <a:pt x="2938" y="167"/>
                  </a:lnTo>
                  <a:lnTo>
                    <a:pt x="2985" y="187"/>
                  </a:lnTo>
                  <a:lnTo>
                    <a:pt x="3032" y="209"/>
                  </a:lnTo>
                  <a:lnTo>
                    <a:pt x="3078" y="231"/>
                  </a:lnTo>
                  <a:lnTo>
                    <a:pt x="3123" y="255"/>
                  </a:lnTo>
                  <a:lnTo>
                    <a:pt x="3168" y="280"/>
                  </a:lnTo>
                  <a:lnTo>
                    <a:pt x="3211" y="306"/>
                  </a:lnTo>
                  <a:lnTo>
                    <a:pt x="3254" y="333"/>
                  </a:lnTo>
                  <a:lnTo>
                    <a:pt x="3297" y="361"/>
                  </a:lnTo>
                  <a:lnTo>
                    <a:pt x="3339" y="390"/>
                  </a:lnTo>
                  <a:lnTo>
                    <a:pt x="3380" y="420"/>
                  </a:lnTo>
                  <a:lnTo>
                    <a:pt x="3420" y="451"/>
                  </a:lnTo>
                  <a:lnTo>
                    <a:pt x="3460" y="483"/>
                  </a:lnTo>
                  <a:lnTo>
                    <a:pt x="3498" y="516"/>
                  </a:lnTo>
                  <a:lnTo>
                    <a:pt x="3536" y="549"/>
                  </a:lnTo>
                  <a:lnTo>
                    <a:pt x="3574" y="584"/>
                  </a:lnTo>
                  <a:lnTo>
                    <a:pt x="3610" y="619"/>
                  </a:lnTo>
                  <a:lnTo>
                    <a:pt x="3646" y="656"/>
                  </a:lnTo>
                  <a:lnTo>
                    <a:pt x="3680" y="693"/>
                  </a:lnTo>
                  <a:lnTo>
                    <a:pt x="3714" y="731"/>
                  </a:lnTo>
                  <a:lnTo>
                    <a:pt x="3747" y="769"/>
                  </a:lnTo>
                  <a:lnTo>
                    <a:pt x="3779" y="809"/>
                  </a:lnTo>
                  <a:lnTo>
                    <a:pt x="3810" y="850"/>
                  </a:lnTo>
                  <a:lnTo>
                    <a:pt x="3839" y="891"/>
                  </a:lnTo>
                  <a:lnTo>
                    <a:pt x="3868" y="932"/>
                  </a:lnTo>
                  <a:lnTo>
                    <a:pt x="3896" y="974"/>
                  </a:lnTo>
                  <a:lnTo>
                    <a:pt x="3923" y="1017"/>
                  </a:lnTo>
                  <a:lnTo>
                    <a:pt x="3950" y="1062"/>
                  </a:lnTo>
                  <a:lnTo>
                    <a:pt x="3974" y="1106"/>
                  </a:lnTo>
                  <a:lnTo>
                    <a:pt x="3998" y="1151"/>
                  </a:lnTo>
                  <a:lnTo>
                    <a:pt x="4021" y="1198"/>
                  </a:lnTo>
                  <a:lnTo>
                    <a:pt x="4042" y="1244"/>
                  </a:lnTo>
                  <a:lnTo>
                    <a:pt x="4063" y="1291"/>
                  </a:lnTo>
                  <a:lnTo>
                    <a:pt x="4083" y="1339"/>
                  </a:lnTo>
                  <a:lnTo>
                    <a:pt x="4101" y="1387"/>
                  </a:lnTo>
                  <a:lnTo>
                    <a:pt x="4119" y="1436"/>
                  </a:lnTo>
                  <a:lnTo>
                    <a:pt x="4134" y="1485"/>
                  </a:lnTo>
                  <a:lnTo>
                    <a:pt x="4150" y="1536"/>
                  </a:lnTo>
                  <a:lnTo>
                    <a:pt x="4163" y="1586"/>
                  </a:lnTo>
                  <a:lnTo>
                    <a:pt x="4175" y="1637"/>
                  </a:lnTo>
                  <a:lnTo>
                    <a:pt x="4187" y="1688"/>
                  </a:lnTo>
                  <a:lnTo>
                    <a:pt x="4196" y="1740"/>
                  </a:lnTo>
                  <a:lnTo>
                    <a:pt x="4205" y="1792"/>
                  </a:lnTo>
                  <a:lnTo>
                    <a:pt x="4212" y="1845"/>
                  </a:lnTo>
                  <a:lnTo>
                    <a:pt x="4219" y="1898"/>
                  </a:lnTo>
                  <a:lnTo>
                    <a:pt x="4223" y="1952"/>
                  </a:lnTo>
                  <a:lnTo>
                    <a:pt x="4227" y="2005"/>
                  </a:lnTo>
                  <a:lnTo>
                    <a:pt x="4229" y="2059"/>
                  </a:lnTo>
                  <a:lnTo>
                    <a:pt x="4229" y="2114"/>
                  </a:lnTo>
                  <a:close/>
                </a:path>
              </a:pathLst>
            </a:custGeom>
            <a:solidFill>
              <a:srgbClr val="4CC5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5" name="Freeform 721">
              <a:extLst>
                <a:ext uri="{FF2B5EF4-FFF2-40B4-BE49-F238E27FC236}">
                  <a16:creationId xmlns:a16="http://schemas.microsoft.com/office/drawing/2014/main" id="{B2676E75-14E1-57FF-0309-2A85B11FEBA9}"/>
                </a:ext>
              </a:extLst>
            </p:cNvPr>
            <p:cNvSpPr>
              <a:spLocks/>
            </p:cNvSpPr>
            <p:nvPr/>
          </p:nvSpPr>
          <p:spPr bwMode="auto">
            <a:xfrm>
              <a:off x="3336926" y="2260600"/>
              <a:ext cx="839788" cy="838200"/>
            </a:xfrm>
            <a:custGeom>
              <a:avLst/>
              <a:gdLst/>
              <a:ahLst/>
              <a:cxnLst>
                <a:cxn ang="0">
                  <a:pos x="4223" y="2276"/>
                </a:cxn>
                <a:cxn ang="0">
                  <a:pos x="4187" y="2540"/>
                </a:cxn>
                <a:cxn ang="0">
                  <a:pos x="4119" y="2792"/>
                </a:cxn>
                <a:cxn ang="0">
                  <a:pos x="4021" y="3030"/>
                </a:cxn>
                <a:cxn ang="0">
                  <a:pos x="3896" y="3253"/>
                </a:cxn>
                <a:cxn ang="0">
                  <a:pos x="3747" y="3459"/>
                </a:cxn>
                <a:cxn ang="0">
                  <a:pos x="3574" y="3644"/>
                </a:cxn>
                <a:cxn ang="0">
                  <a:pos x="3380" y="3808"/>
                </a:cxn>
                <a:cxn ang="0">
                  <a:pos x="3168" y="3948"/>
                </a:cxn>
                <a:cxn ang="0">
                  <a:pos x="2938" y="4062"/>
                </a:cxn>
                <a:cxn ang="0">
                  <a:pos x="2694" y="4148"/>
                </a:cxn>
                <a:cxn ang="0">
                  <a:pos x="2437" y="4204"/>
                </a:cxn>
                <a:cxn ang="0">
                  <a:pos x="2169" y="4227"/>
                </a:cxn>
                <a:cxn ang="0">
                  <a:pos x="1953" y="4221"/>
                </a:cxn>
                <a:cxn ang="0">
                  <a:pos x="1689" y="4185"/>
                </a:cxn>
                <a:cxn ang="0">
                  <a:pos x="1436" y="4117"/>
                </a:cxn>
                <a:cxn ang="0">
                  <a:pos x="1198" y="4019"/>
                </a:cxn>
                <a:cxn ang="0">
                  <a:pos x="975" y="3895"/>
                </a:cxn>
                <a:cxn ang="0">
                  <a:pos x="770" y="3745"/>
                </a:cxn>
                <a:cxn ang="0">
                  <a:pos x="584" y="3572"/>
                </a:cxn>
                <a:cxn ang="0">
                  <a:pos x="420" y="3379"/>
                </a:cxn>
                <a:cxn ang="0">
                  <a:pos x="280" y="3166"/>
                </a:cxn>
                <a:cxn ang="0">
                  <a:pos x="167" y="2937"/>
                </a:cxn>
                <a:cxn ang="0">
                  <a:pos x="80" y="2692"/>
                </a:cxn>
                <a:cxn ang="0">
                  <a:pos x="25" y="2436"/>
                </a:cxn>
                <a:cxn ang="0">
                  <a:pos x="1" y="2168"/>
                </a:cxn>
                <a:cxn ang="0">
                  <a:pos x="6" y="1952"/>
                </a:cxn>
                <a:cxn ang="0">
                  <a:pos x="43" y="1688"/>
                </a:cxn>
                <a:cxn ang="0">
                  <a:pos x="111" y="1436"/>
                </a:cxn>
                <a:cxn ang="0">
                  <a:pos x="209" y="1198"/>
                </a:cxn>
                <a:cxn ang="0">
                  <a:pos x="334" y="974"/>
                </a:cxn>
                <a:cxn ang="0">
                  <a:pos x="483" y="769"/>
                </a:cxn>
                <a:cxn ang="0">
                  <a:pos x="656" y="584"/>
                </a:cxn>
                <a:cxn ang="0">
                  <a:pos x="850" y="420"/>
                </a:cxn>
                <a:cxn ang="0">
                  <a:pos x="1062" y="280"/>
                </a:cxn>
                <a:cxn ang="0">
                  <a:pos x="1292" y="167"/>
                </a:cxn>
                <a:cxn ang="0">
                  <a:pos x="1536" y="80"/>
                </a:cxn>
                <a:cxn ang="0">
                  <a:pos x="1793" y="24"/>
                </a:cxn>
                <a:cxn ang="0">
                  <a:pos x="2060" y="1"/>
                </a:cxn>
                <a:cxn ang="0">
                  <a:pos x="2277" y="6"/>
                </a:cxn>
                <a:cxn ang="0">
                  <a:pos x="2541" y="43"/>
                </a:cxn>
                <a:cxn ang="0">
                  <a:pos x="2794" y="111"/>
                </a:cxn>
                <a:cxn ang="0">
                  <a:pos x="3032" y="209"/>
                </a:cxn>
                <a:cxn ang="0">
                  <a:pos x="3254" y="333"/>
                </a:cxn>
                <a:cxn ang="0">
                  <a:pos x="3460" y="483"/>
                </a:cxn>
                <a:cxn ang="0">
                  <a:pos x="3646" y="656"/>
                </a:cxn>
                <a:cxn ang="0">
                  <a:pos x="3810" y="850"/>
                </a:cxn>
                <a:cxn ang="0">
                  <a:pos x="3950" y="1062"/>
                </a:cxn>
                <a:cxn ang="0">
                  <a:pos x="4063" y="1291"/>
                </a:cxn>
                <a:cxn ang="0">
                  <a:pos x="4150" y="1536"/>
                </a:cxn>
                <a:cxn ang="0">
                  <a:pos x="4205" y="1792"/>
                </a:cxn>
                <a:cxn ang="0">
                  <a:pos x="4229" y="2059"/>
                </a:cxn>
              </a:cxnLst>
              <a:rect l="0" t="0" r="r" b="b"/>
              <a:pathLst>
                <a:path w="4229" h="4227">
                  <a:moveTo>
                    <a:pt x="4229" y="2114"/>
                  </a:moveTo>
                  <a:lnTo>
                    <a:pt x="4229" y="2114"/>
                  </a:lnTo>
                  <a:lnTo>
                    <a:pt x="4229" y="2168"/>
                  </a:lnTo>
                  <a:lnTo>
                    <a:pt x="4227" y="2223"/>
                  </a:lnTo>
                  <a:lnTo>
                    <a:pt x="4223" y="2276"/>
                  </a:lnTo>
                  <a:lnTo>
                    <a:pt x="4219" y="2330"/>
                  </a:lnTo>
                  <a:lnTo>
                    <a:pt x="4212" y="2383"/>
                  </a:lnTo>
                  <a:lnTo>
                    <a:pt x="4205" y="2436"/>
                  </a:lnTo>
                  <a:lnTo>
                    <a:pt x="4196" y="2489"/>
                  </a:lnTo>
                  <a:lnTo>
                    <a:pt x="4187" y="2540"/>
                  </a:lnTo>
                  <a:lnTo>
                    <a:pt x="4175" y="2592"/>
                  </a:lnTo>
                  <a:lnTo>
                    <a:pt x="4163" y="2642"/>
                  </a:lnTo>
                  <a:lnTo>
                    <a:pt x="4150" y="2692"/>
                  </a:lnTo>
                  <a:lnTo>
                    <a:pt x="4134" y="2743"/>
                  </a:lnTo>
                  <a:lnTo>
                    <a:pt x="4119" y="2792"/>
                  </a:lnTo>
                  <a:lnTo>
                    <a:pt x="4101" y="2841"/>
                  </a:lnTo>
                  <a:lnTo>
                    <a:pt x="4083" y="2889"/>
                  </a:lnTo>
                  <a:lnTo>
                    <a:pt x="4063" y="2937"/>
                  </a:lnTo>
                  <a:lnTo>
                    <a:pt x="4042" y="2984"/>
                  </a:lnTo>
                  <a:lnTo>
                    <a:pt x="4021" y="3030"/>
                  </a:lnTo>
                  <a:lnTo>
                    <a:pt x="3998" y="3077"/>
                  </a:lnTo>
                  <a:lnTo>
                    <a:pt x="3974" y="3122"/>
                  </a:lnTo>
                  <a:lnTo>
                    <a:pt x="3950" y="3166"/>
                  </a:lnTo>
                  <a:lnTo>
                    <a:pt x="3923" y="3210"/>
                  </a:lnTo>
                  <a:lnTo>
                    <a:pt x="3896" y="3253"/>
                  </a:lnTo>
                  <a:lnTo>
                    <a:pt x="3868" y="3296"/>
                  </a:lnTo>
                  <a:lnTo>
                    <a:pt x="3839" y="3337"/>
                  </a:lnTo>
                  <a:lnTo>
                    <a:pt x="3810" y="3379"/>
                  </a:lnTo>
                  <a:lnTo>
                    <a:pt x="3779" y="3419"/>
                  </a:lnTo>
                  <a:lnTo>
                    <a:pt x="3747" y="3459"/>
                  </a:lnTo>
                  <a:lnTo>
                    <a:pt x="3714" y="3497"/>
                  </a:lnTo>
                  <a:lnTo>
                    <a:pt x="3680" y="3535"/>
                  </a:lnTo>
                  <a:lnTo>
                    <a:pt x="3646" y="3572"/>
                  </a:lnTo>
                  <a:lnTo>
                    <a:pt x="3610" y="3608"/>
                  </a:lnTo>
                  <a:lnTo>
                    <a:pt x="3574" y="3644"/>
                  </a:lnTo>
                  <a:lnTo>
                    <a:pt x="3536" y="3678"/>
                  </a:lnTo>
                  <a:lnTo>
                    <a:pt x="3498" y="3712"/>
                  </a:lnTo>
                  <a:lnTo>
                    <a:pt x="3460" y="3745"/>
                  </a:lnTo>
                  <a:lnTo>
                    <a:pt x="3420" y="3777"/>
                  </a:lnTo>
                  <a:lnTo>
                    <a:pt x="3380" y="3808"/>
                  </a:lnTo>
                  <a:lnTo>
                    <a:pt x="3339" y="3838"/>
                  </a:lnTo>
                  <a:lnTo>
                    <a:pt x="3297" y="3867"/>
                  </a:lnTo>
                  <a:lnTo>
                    <a:pt x="3254" y="3895"/>
                  </a:lnTo>
                  <a:lnTo>
                    <a:pt x="3211" y="3921"/>
                  </a:lnTo>
                  <a:lnTo>
                    <a:pt x="3168" y="3948"/>
                  </a:lnTo>
                  <a:lnTo>
                    <a:pt x="3123" y="3973"/>
                  </a:lnTo>
                  <a:lnTo>
                    <a:pt x="3078" y="3997"/>
                  </a:lnTo>
                  <a:lnTo>
                    <a:pt x="3032" y="4019"/>
                  </a:lnTo>
                  <a:lnTo>
                    <a:pt x="2985" y="4041"/>
                  </a:lnTo>
                  <a:lnTo>
                    <a:pt x="2938" y="4062"/>
                  </a:lnTo>
                  <a:lnTo>
                    <a:pt x="2890" y="4081"/>
                  </a:lnTo>
                  <a:lnTo>
                    <a:pt x="2842" y="4100"/>
                  </a:lnTo>
                  <a:lnTo>
                    <a:pt x="2794" y="4117"/>
                  </a:lnTo>
                  <a:lnTo>
                    <a:pt x="2744" y="4133"/>
                  </a:lnTo>
                  <a:lnTo>
                    <a:pt x="2694" y="4148"/>
                  </a:lnTo>
                  <a:lnTo>
                    <a:pt x="2643" y="4162"/>
                  </a:lnTo>
                  <a:lnTo>
                    <a:pt x="2593" y="4174"/>
                  </a:lnTo>
                  <a:lnTo>
                    <a:pt x="2541" y="4185"/>
                  </a:lnTo>
                  <a:lnTo>
                    <a:pt x="2490" y="4194"/>
                  </a:lnTo>
                  <a:lnTo>
                    <a:pt x="2437" y="4204"/>
                  </a:lnTo>
                  <a:lnTo>
                    <a:pt x="2384" y="4211"/>
                  </a:lnTo>
                  <a:lnTo>
                    <a:pt x="2331" y="4217"/>
                  </a:lnTo>
                  <a:lnTo>
                    <a:pt x="2277" y="4221"/>
                  </a:lnTo>
                  <a:lnTo>
                    <a:pt x="2224" y="4225"/>
                  </a:lnTo>
                  <a:lnTo>
                    <a:pt x="2169" y="4227"/>
                  </a:lnTo>
                  <a:lnTo>
                    <a:pt x="2114" y="4227"/>
                  </a:lnTo>
                  <a:lnTo>
                    <a:pt x="2114" y="4227"/>
                  </a:lnTo>
                  <a:lnTo>
                    <a:pt x="2060" y="4227"/>
                  </a:lnTo>
                  <a:lnTo>
                    <a:pt x="2006" y="4225"/>
                  </a:lnTo>
                  <a:lnTo>
                    <a:pt x="1953" y="4221"/>
                  </a:lnTo>
                  <a:lnTo>
                    <a:pt x="1899" y="4217"/>
                  </a:lnTo>
                  <a:lnTo>
                    <a:pt x="1846" y="4211"/>
                  </a:lnTo>
                  <a:lnTo>
                    <a:pt x="1793" y="4204"/>
                  </a:lnTo>
                  <a:lnTo>
                    <a:pt x="1740" y="4194"/>
                  </a:lnTo>
                  <a:lnTo>
                    <a:pt x="1689" y="4185"/>
                  </a:lnTo>
                  <a:lnTo>
                    <a:pt x="1637" y="4174"/>
                  </a:lnTo>
                  <a:lnTo>
                    <a:pt x="1587" y="4162"/>
                  </a:lnTo>
                  <a:lnTo>
                    <a:pt x="1536" y="4148"/>
                  </a:lnTo>
                  <a:lnTo>
                    <a:pt x="1486" y="4133"/>
                  </a:lnTo>
                  <a:lnTo>
                    <a:pt x="1436" y="4117"/>
                  </a:lnTo>
                  <a:lnTo>
                    <a:pt x="1388" y="4100"/>
                  </a:lnTo>
                  <a:lnTo>
                    <a:pt x="1340" y="4081"/>
                  </a:lnTo>
                  <a:lnTo>
                    <a:pt x="1292" y="4062"/>
                  </a:lnTo>
                  <a:lnTo>
                    <a:pt x="1245" y="4041"/>
                  </a:lnTo>
                  <a:lnTo>
                    <a:pt x="1198" y="4019"/>
                  </a:lnTo>
                  <a:lnTo>
                    <a:pt x="1152" y="3997"/>
                  </a:lnTo>
                  <a:lnTo>
                    <a:pt x="1107" y="3973"/>
                  </a:lnTo>
                  <a:lnTo>
                    <a:pt x="1062" y="3948"/>
                  </a:lnTo>
                  <a:lnTo>
                    <a:pt x="1018" y="3921"/>
                  </a:lnTo>
                  <a:lnTo>
                    <a:pt x="975" y="3895"/>
                  </a:lnTo>
                  <a:lnTo>
                    <a:pt x="933" y="3867"/>
                  </a:lnTo>
                  <a:lnTo>
                    <a:pt x="891" y="3838"/>
                  </a:lnTo>
                  <a:lnTo>
                    <a:pt x="850" y="3808"/>
                  </a:lnTo>
                  <a:lnTo>
                    <a:pt x="810" y="3777"/>
                  </a:lnTo>
                  <a:lnTo>
                    <a:pt x="770" y="3745"/>
                  </a:lnTo>
                  <a:lnTo>
                    <a:pt x="732" y="3712"/>
                  </a:lnTo>
                  <a:lnTo>
                    <a:pt x="693" y="3678"/>
                  </a:lnTo>
                  <a:lnTo>
                    <a:pt x="656" y="3644"/>
                  </a:lnTo>
                  <a:lnTo>
                    <a:pt x="619" y="3608"/>
                  </a:lnTo>
                  <a:lnTo>
                    <a:pt x="584" y="3572"/>
                  </a:lnTo>
                  <a:lnTo>
                    <a:pt x="549" y="3535"/>
                  </a:lnTo>
                  <a:lnTo>
                    <a:pt x="516" y="3497"/>
                  </a:lnTo>
                  <a:lnTo>
                    <a:pt x="483" y="3459"/>
                  </a:lnTo>
                  <a:lnTo>
                    <a:pt x="451" y="3419"/>
                  </a:lnTo>
                  <a:lnTo>
                    <a:pt x="420" y="3379"/>
                  </a:lnTo>
                  <a:lnTo>
                    <a:pt x="391" y="3337"/>
                  </a:lnTo>
                  <a:lnTo>
                    <a:pt x="362" y="3296"/>
                  </a:lnTo>
                  <a:lnTo>
                    <a:pt x="334" y="3253"/>
                  </a:lnTo>
                  <a:lnTo>
                    <a:pt x="306" y="3210"/>
                  </a:lnTo>
                  <a:lnTo>
                    <a:pt x="280" y="3166"/>
                  </a:lnTo>
                  <a:lnTo>
                    <a:pt x="256" y="3122"/>
                  </a:lnTo>
                  <a:lnTo>
                    <a:pt x="232" y="3077"/>
                  </a:lnTo>
                  <a:lnTo>
                    <a:pt x="209" y="3030"/>
                  </a:lnTo>
                  <a:lnTo>
                    <a:pt x="188" y="2984"/>
                  </a:lnTo>
                  <a:lnTo>
                    <a:pt x="167" y="2937"/>
                  </a:lnTo>
                  <a:lnTo>
                    <a:pt x="147" y="2889"/>
                  </a:lnTo>
                  <a:lnTo>
                    <a:pt x="129" y="2841"/>
                  </a:lnTo>
                  <a:lnTo>
                    <a:pt x="111" y="2792"/>
                  </a:lnTo>
                  <a:lnTo>
                    <a:pt x="96" y="2743"/>
                  </a:lnTo>
                  <a:lnTo>
                    <a:pt x="80" y="2692"/>
                  </a:lnTo>
                  <a:lnTo>
                    <a:pt x="67" y="2642"/>
                  </a:lnTo>
                  <a:lnTo>
                    <a:pt x="55" y="2592"/>
                  </a:lnTo>
                  <a:lnTo>
                    <a:pt x="43" y="2540"/>
                  </a:lnTo>
                  <a:lnTo>
                    <a:pt x="33" y="2489"/>
                  </a:lnTo>
                  <a:lnTo>
                    <a:pt x="25" y="2436"/>
                  </a:lnTo>
                  <a:lnTo>
                    <a:pt x="18" y="2383"/>
                  </a:lnTo>
                  <a:lnTo>
                    <a:pt x="11" y="2330"/>
                  </a:lnTo>
                  <a:lnTo>
                    <a:pt x="6" y="2276"/>
                  </a:lnTo>
                  <a:lnTo>
                    <a:pt x="3" y="2223"/>
                  </a:lnTo>
                  <a:lnTo>
                    <a:pt x="1" y="2168"/>
                  </a:lnTo>
                  <a:lnTo>
                    <a:pt x="0" y="2114"/>
                  </a:lnTo>
                  <a:lnTo>
                    <a:pt x="0" y="2114"/>
                  </a:lnTo>
                  <a:lnTo>
                    <a:pt x="1" y="2059"/>
                  </a:lnTo>
                  <a:lnTo>
                    <a:pt x="3" y="2005"/>
                  </a:lnTo>
                  <a:lnTo>
                    <a:pt x="6" y="1952"/>
                  </a:lnTo>
                  <a:lnTo>
                    <a:pt x="11" y="1898"/>
                  </a:lnTo>
                  <a:lnTo>
                    <a:pt x="18" y="1845"/>
                  </a:lnTo>
                  <a:lnTo>
                    <a:pt x="25" y="1792"/>
                  </a:lnTo>
                  <a:lnTo>
                    <a:pt x="33" y="1740"/>
                  </a:lnTo>
                  <a:lnTo>
                    <a:pt x="43" y="1688"/>
                  </a:lnTo>
                  <a:lnTo>
                    <a:pt x="55" y="1637"/>
                  </a:lnTo>
                  <a:lnTo>
                    <a:pt x="67" y="1586"/>
                  </a:lnTo>
                  <a:lnTo>
                    <a:pt x="80" y="1536"/>
                  </a:lnTo>
                  <a:lnTo>
                    <a:pt x="96" y="1485"/>
                  </a:lnTo>
                  <a:lnTo>
                    <a:pt x="111" y="1436"/>
                  </a:lnTo>
                  <a:lnTo>
                    <a:pt x="129" y="1387"/>
                  </a:lnTo>
                  <a:lnTo>
                    <a:pt x="147" y="1339"/>
                  </a:lnTo>
                  <a:lnTo>
                    <a:pt x="167" y="1291"/>
                  </a:lnTo>
                  <a:lnTo>
                    <a:pt x="188" y="1244"/>
                  </a:lnTo>
                  <a:lnTo>
                    <a:pt x="209" y="1198"/>
                  </a:lnTo>
                  <a:lnTo>
                    <a:pt x="232" y="1151"/>
                  </a:lnTo>
                  <a:lnTo>
                    <a:pt x="256" y="1106"/>
                  </a:lnTo>
                  <a:lnTo>
                    <a:pt x="280" y="1062"/>
                  </a:lnTo>
                  <a:lnTo>
                    <a:pt x="306" y="1017"/>
                  </a:lnTo>
                  <a:lnTo>
                    <a:pt x="334" y="974"/>
                  </a:lnTo>
                  <a:lnTo>
                    <a:pt x="362" y="932"/>
                  </a:lnTo>
                  <a:lnTo>
                    <a:pt x="391" y="891"/>
                  </a:lnTo>
                  <a:lnTo>
                    <a:pt x="420" y="850"/>
                  </a:lnTo>
                  <a:lnTo>
                    <a:pt x="451" y="809"/>
                  </a:lnTo>
                  <a:lnTo>
                    <a:pt x="483" y="769"/>
                  </a:lnTo>
                  <a:lnTo>
                    <a:pt x="516" y="731"/>
                  </a:lnTo>
                  <a:lnTo>
                    <a:pt x="549" y="693"/>
                  </a:lnTo>
                  <a:lnTo>
                    <a:pt x="584" y="656"/>
                  </a:lnTo>
                  <a:lnTo>
                    <a:pt x="619" y="619"/>
                  </a:lnTo>
                  <a:lnTo>
                    <a:pt x="656" y="584"/>
                  </a:lnTo>
                  <a:lnTo>
                    <a:pt x="693" y="549"/>
                  </a:lnTo>
                  <a:lnTo>
                    <a:pt x="732" y="516"/>
                  </a:lnTo>
                  <a:lnTo>
                    <a:pt x="770" y="483"/>
                  </a:lnTo>
                  <a:lnTo>
                    <a:pt x="810" y="451"/>
                  </a:lnTo>
                  <a:lnTo>
                    <a:pt x="850" y="420"/>
                  </a:lnTo>
                  <a:lnTo>
                    <a:pt x="891" y="390"/>
                  </a:lnTo>
                  <a:lnTo>
                    <a:pt x="933" y="361"/>
                  </a:lnTo>
                  <a:lnTo>
                    <a:pt x="975" y="333"/>
                  </a:lnTo>
                  <a:lnTo>
                    <a:pt x="1018" y="306"/>
                  </a:lnTo>
                  <a:lnTo>
                    <a:pt x="1062" y="280"/>
                  </a:lnTo>
                  <a:lnTo>
                    <a:pt x="1107" y="255"/>
                  </a:lnTo>
                  <a:lnTo>
                    <a:pt x="1152" y="231"/>
                  </a:lnTo>
                  <a:lnTo>
                    <a:pt x="1198" y="209"/>
                  </a:lnTo>
                  <a:lnTo>
                    <a:pt x="1245" y="187"/>
                  </a:lnTo>
                  <a:lnTo>
                    <a:pt x="1292" y="167"/>
                  </a:lnTo>
                  <a:lnTo>
                    <a:pt x="1340" y="147"/>
                  </a:lnTo>
                  <a:lnTo>
                    <a:pt x="1388" y="128"/>
                  </a:lnTo>
                  <a:lnTo>
                    <a:pt x="1436" y="111"/>
                  </a:lnTo>
                  <a:lnTo>
                    <a:pt x="1486" y="95"/>
                  </a:lnTo>
                  <a:lnTo>
                    <a:pt x="1536" y="80"/>
                  </a:lnTo>
                  <a:lnTo>
                    <a:pt x="1587" y="67"/>
                  </a:lnTo>
                  <a:lnTo>
                    <a:pt x="1637" y="54"/>
                  </a:lnTo>
                  <a:lnTo>
                    <a:pt x="1689" y="43"/>
                  </a:lnTo>
                  <a:lnTo>
                    <a:pt x="1740" y="33"/>
                  </a:lnTo>
                  <a:lnTo>
                    <a:pt x="1793" y="24"/>
                  </a:lnTo>
                  <a:lnTo>
                    <a:pt x="1846" y="17"/>
                  </a:lnTo>
                  <a:lnTo>
                    <a:pt x="1899" y="11"/>
                  </a:lnTo>
                  <a:lnTo>
                    <a:pt x="1953" y="6"/>
                  </a:lnTo>
                  <a:lnTo>
                    <a:pt x="2006" y="3"/>
                  </a:lnTo>
                  <a:lnTo>
                    <a:pt x="2060" y="1"/>
                  </a:lnTo>
                  <a:lnTo>
                    <a:pt x="2114" y="0"/>
                  </a:lnTo>
                  <a:lnTo>
                    <a:pt x="2114" y="0"/>
                  </a:lnTo>
                  <a:lnTo>
                    <a:pt x="2169" y="1"/>
                  </a:lnTo>
                  <a:lnTo>
                    <a:pt x="2224" y="3"/>
                  </a:lnTo>
                  <a:lnTo>
                    <a:pt x="2277" y="6"/>
                  </a:lnTo>
                  <a:lnTo>
                    <a:pt x="2331" y="11"/>
                  </a:lnTo>
                  <a:lnTo>
                    <a:pt x="2384" y="17"/>
                  </a:lnTo>
                  <a:lnTo>
                    <a:pt x="2437" y="24"/>
                  </a:lnTo>
                  <a:lnTo>
                    <a:pt x="2490" y="33"/>
                  </a:lnTo>
                  <a:lnTo>
                    <a:pt x="2541" y="43"/>
                  </a:lnTo>
                  <a:lnTo>
                    <a:pt x="2593" y="54"/>
                  </a:lnTo>
                  <a:lnTo>
                    <a:pt x="2643" y="67"/>
                  </a:lnTo>
                  <a:lnTo>
                    <a:pt x="2694" y="80"/>
                  </a:lnTo>
                  <a:lnTo>
                    <a:pt x="2744" y="95"/>
                  </a:lnTo>
                  <a:lnTo>
                    <a:pt x="2794" y="111"/>
                  </a:lnTo>
                  <a:lnTo>
                    <a:pt x="2842" y="128"/>
                  </a:lnTo>
                  <a:lnTo>
                    <a:pt x="2890" y="147"/>
                  </a:lnTo>
                  <a:lnTo>
                    <a:pt x="2938" y="167"/>
                  </a:lnTo>
                  <a:lnTo>
                    <a:pt x="2985" y="187"/>
                  </a:lnTo>
                  <a:lnTo>
                    <a:pt x="3032" y="209"/>
                  </a:lnTo>
                  <a:lnTo>
                    <a:pt x="3078" y="231"/>
                  </a:lnTo>
                  <a:lnTo>
                    <a:pt x="3123" y="255"/>
                  </a:lnTo>
                  <a:lnTo>
                    <a:pt x="3168" y="280"/>
                  </a:lnTo>
                  <a:lnTo>
                    <a:pt x="3211" y="306"/>
                  </a:lnTo>
                  <a:lnTo>
                    <a:pt x="3254" y="333"/>
                  </a:lnTo>
                  <a:lnTo>
                    <a:pt x="3297" y="361"/>
                  </a:lnTo>
                  <a:lnTo>
                    <a:pt x="3339" y="390"/>
                  </a:lnTo>
                  <a:lnTo>
                    <a:pt x="3380" y="420"/>
                  </a:lnTo>
                  <a:lnTo>
                    <a:pt x="3420" y="451"/>
                  </a:lnTo>
                  <a:lnTo>
                    <a:pt x="3460" y="483"/>
                  </a:lnTo>
                  <a:lnTo>
                    <a:pt x="3498" y="516"/>
                  </a:lnTo>
                  <a:lnTo>
                    <a:pt x="3536" y="549"/>
                  </a:lnTo>
                  <a:lnTo>
                    <a:pt x="3574" y="584"/>
                  </a:lnTo>
                  <a:lnTo>
                    <a:pt x="3610" y="619"/>
                  </a:lnTo>
                  <a:lnTo>
                    <a:pt x="3646" y="656"/>
                  </a:lnTo>
                  <a:lnTo>
                    <a:pt x="3680" y="693"/>
                  </a:lnTo>
                  <a:lnTo>
                    <a:pt x="3714" y="731"/>
                  </a:lnTo>
                  <a:lnTo>
                    <a:pt x="3747" y="769"/>
                  </a:lnTo>
                  <a:lnTo>
                    <a:pt x="3779" y="809"/>
                  </a:lnTo>
                  <a:lnTo>
                    <a:pt x="3810" y="850"/>
                  </a:lnTo>
                  <a:lnTo>
                    <a:pt x="3839" y="891"/>
                  </a:lnTo>
                  <a:lnTo>
                    <a:pt x="3868" y="932"/>
                  </a:lnTo>
                  <a:lnTo>
                    <a:pt x="3896" y="974"/>
                  </a:lnTo>
                  <a:lnTo>
                    <a:pt x="3923" y="1017"/>
                  </a:lnTo>
                  <a:lnTo>
                    <a:pt x="3950" y="1062"/>
                  </a:lnTo>
                  <a:lnTo>
                    <a:pt x="3974" y="1106"/>
                  </a:lnTo>
                  <a:lnTo>
                    <a:pt x="3998" y="1151"/>
                  </a:lnTo>
                  <a:lnTo>
                    <a:pt x="4021" y="1198"/>
                  </a:lnTo>
                  <a:lnTo>
                    <a:pt x="4042" y="1244"/>
                  </a:lnTo>
                  <a:lnTo>
                    <a:pt x="4063" y="1291"/>
                  </a:lnTo>
                  <a:lnTo>
                    <a:pt x="4083" y="1339"/>
                  </a:lnTo>
                  <a:lnTo>
                    <a:pt x="4101" y="1387"/>
                  </a:lnTo>
                  <a:lnTo>
                    <a:pt x="4119" y="1436"/>
                  </a:lnTo>
                  <a:lnTo>
                    <a:pt x="4134" y="1485"/>
                  </a:lnTo>
                  <a:lnTo>
                    <a:pt x="4150" y="1536"/>
                  </a:lnTo>
                  <a:lnTo>
                    <a:pt x="4163" y="1586"/>
                  </a:lnTo>
                  <a:lnTo>
                    <a:pt x="4175" y="1637"/>
                  </a:lnTo>
                  <a:lnTo>
                    <a:pt x="4187" y="1688"/>
                  </a:lnTo>
                  <a:lnTo>
                    <a:pt x="4196" y="1740"/>
                  </a:lnTo>
                  <a:lnTo>
                    <a:pt x="4205" y="1792"/>
                  </a:lnTo>
                  <a:lnTo>
                    <a:pt x="4212" y="1845"/>
                  </a:lnTo>
                  <a:lnTo>
                    <a:pt x="4219" y="1898"/>
                  </a:lnTo>
                  <a:lnTo>
                    <a:pt x="4223" y="1952"/>
                  </a:lnTo>
                  <a:lnTo>
                    <a:pt x="4227" y="2005"/>
                  </a:lnTo>
                  <a:lnTo>
                    <a:pt x="4229" y="2059"/>
                  </a:lnTo>
                  <a:lnTo>
                    <a:pt x="4229" y="2114"/>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6" name="Freeform 722">
              <a:extLst>
                <a:ext uri="{FF2B5EF4-FFF2-40B4-BE49-F238E27FC236}">
                  <a16:creationId xmlns:a16="http://schemas.microsoft.com/office/drawing/2014/main" id="{538CF32D-FB75-45F6-3C04-DEFFCF1F4869}"/>
                </a:ext>
              </a:extLst>
            </p:cNvPr>
            <p:cNvSpPr>
              <a:spLocks/>
            </p:cNvSpPr>
            <p:nvPr/>
          </p:nvSpPr>
          <p:spPr bwMode="auto">
            <a:xfrm>
              <a:off x="3600451" y="2392363"/>
              <a:ext cx="314325" cy="314325"/>
            </a:xfrm>
            <a:custGeom>
              <a:avLst/>
              <a:gdLst/>
              <a:ahLst/>
              <a:cxnLst>
                <a:cxn ang="0">
                  <a:pos x="1582" y="832"/>
                </a:cxn>
                <a:cxn ang="0">
                  <a:pos x="1567" y="951"/>
                </a:cxn>
                <a:cxn ang="0">
                  <a:pos x="1535" y="1063"/>
                </a:cxn>
                <a:cxn ang="0">
                  <a:pos x="1488" y="1168"/>
                </a:cxn>
                <a:cxn ang="0">
                  <a:pos x="1426" y="1265"/>
                </a:cxn>
                <a:cxn ang="0">
                  <a:pos x="1351" y="1351"/>
                </a:cxn>
                <a:cxn ang="0">
                  <a:pos x="1265" y="1426"/>
                </a:cxn>
                <a:cxn ang="0">
                  <a:pos x="1169" y="1488"/>
                </a:cxn>
                <a:cxn ang="0">
                  <a:pos x="1063" y="1535"/>
                </a:cxn>
                <a:cxn ang="0">
                  <a:pos x="951" y="1567"/>
                </a:cxn>
                <a:cxn ang="0">
                  <a:pos x="833" y="1581"/>
                </a:cxn>
                <a:cxn ang="0">
                  <a:pos x="751" y="1581"/>
                </a:cxn>
                <a:cxn ang="0">
                  <a:pos x="633" y="1567"/>
                </a:cxn>
                <a:cxn ang="0">
                  <a:pos x="519" y="1535"/>
                </a:cxn>
                <a:cxn ang="0">
                  <a:pos x="414" y="1488"/>
                </a:cxn>
                <a:cxn ang="0">
                  <a:pos x="318" y="1426"/>
                </a:cxn>
                <a:cxn ang="0">
                  <a:pos x="232" y="1351"/>
                </a:cxn>
                <a:cxn ang="0">
                  <a:pos x="158" y="1265"/>
                </a:cxn>
                <a:cxn ang="0">
                  <a:pos x="96" y="1168"/>
                </a:cxn>
                <a:cxn ang="0">
                  <a:pos x="49" y="1063"/>
                </a:cxn>
                <a:cxn ang="0">
                  <a:pos x="17" y="951"/>
                </a:cxn>
                <a:cxn ang="0">
                  <a:pos x="1" y="832"/>
                </a:cxn>
                <a:cxn ang="0">
                  <a:pos x="1" y="751"/>
                </a:cxn>
                <a:cxn ang="0">
                  <a:pos x="17" y="633"/>
                </a:cxn>
                <a:cxn ang="0">
                  <a:pos x="49" y="519"/>
                </a:cxn>
                <a:cxn ang="0">
                  <a:pos x="96" y="414"/>
                </a:cxn>
                <a:cxn ang="0">
                  <a:pos x="158" y="318"/>
                </a:cxn>
                <a:cxn ang="0">
                  <a:pos x="232" y="232"/>
                </a:cxn>
                <a:cxn ang="0">
                  <a:pos x="318" y="158"/>
                </a:cxn>
                <a:cxn ang="0">
                  <a:pos x="414" y="96"/>
                </a:cxn>
                <a:cxn ang="0">
                  <a:pos x="519" y="48"/>
                </a:cxn>
                <a:cxn ang="0">
                  <a:pos x="633" y="17"/>
                </a:cxn>
                <a:cxn ang="0">
                  <a:pos x="751" y="1"/>
                </a:cxn>
                <a:cxn ang="0">
                  <a:pos x="833" y="1"/>
                </a:cxn>
                <a:cxn ang="0">
                  <a:pos x="951" y="17"/>
                </a:cxn>
                <a:cxn ang="0">
                  <a:pos x="1063" y="48"/>
                </a:cxn>
                <a:cxn ang="0">
                  <a:pos x="1169" y="96"/>
                </a:cxn>
                <a:cxn ang="0">
                  <a:pos x="1265" y="158"/>
                </a:cxn>
                <a:cxn ang="0">
                  <a:pos x="1351" y="232"/>
                </a:cxn>
                <a:cxn ang="0">
                  <a:pos x="1426" y="318"/>
                </a:cxn>
                <a:cxn ang="0">
                  <a:pos x="1488" y="414"/>
                </a:cxn>
                <a:cxn ang="0">
                  <a:pos x="1535" y="519"/>
                </a:cxn>
                <a:cxn ang="0">
                  <a:pos x="1567" y="633"/>
                </a:cxn>
                <a:cxn ang="0">
                  <a:pos x="1582" y="751"/>
                </a:cxn>
              </a:cxnLst>
              <a:rect l="0" t="0" r="r" b="b"/>
              <a:pathLst>
                <a:path w="1583" h="1582">
                  <a:moveTo>
                    <a:pt x="1583" y="791"/>
                  </a:moveTo>
                  <a:lnTo>
                    <a:pt x="1583" y="791"/>
                  </a:lnTo>
                  <a:lnTo>
                    <a:pt x="1582" y="832"/>
                  </a:lnTo>
                  <a:lnTo>
                    <a:pt x="1579" y="873"/>
                  </a:lnTo>
                  <a:lnTo>
                    <a:pt x="1575" y="912"/>
                  </a:lnTo>
                  <a:lnTo>
                    <a:pt x="1567" y="951"/>
                  </a:lnTo>
                  <a:lnTo>
                    <a:pt x="1558" y="989"/>
                  </a:lnTo>
                  <a:lnTo>
                    <a:pt x="1548" y="1027"/>
                  </a:lnTo>
                  <a:lnTo>
                    <a:pt x="1535" y="1063"/>
                  </a:lnTo>
                  <a:lnTo>
                    <a:pt x="1521" y="1099"/>
                  </a:lnTo>
                  <a:lnTo>
                    <a:pt x="1506" y="1134"/>
                  </a:lnTo>
                  <a:lnTo>
                    <a:pt x="1488" y="1168"/>
                  </a:lnTo>
                  <a:lnTo>
                    <a:pt x="1468" y="1202"/>
                  </a:lnTo>
                  <a:lnTo>
                    <a:pt x="1448" y="1234"/>
                  </a:lnTo>
                  <a:lnTo>
                    <a:pt x="1426" y="1265"/>
                  </a:lnTo>
                  <a:lnTo>
                    <a:pt x="1403" y="1295"/>
                  </a:lnTo>
                  <a:lnTo>
                    <a:pt x="1378" y="1324"/>
                  </a:lnTo>
                  <a:lnTo>
                    <a:pt x="1351" y="1351"/>
                  </a:lnTo>
                  <a:lnTo>
                    <a:pt x="1324" y="1377"/>
                  </a:lnTo>
                  <a:lnTo>
                    <a:pt x="1295" y="1402"/>
                  </a:lnTo>
                  <a:lnTo>
                    <a:pt x="1265" y="1426"/>
                  </a:lnTo>
                  <a:lnTo>
                    <a:pt x="1235" y="1447"/>
                  </a:lnTo>
                  <a:lnTo>
                    <a:pt x="1203" y="1468"/>
                  </a:lnTo>
                  <a:lnTo>
                    <a:pt x="1169" y="1488"/>
                  </a:lnTo>
                  <a:lnTo>
                    <a:pt x="1135" y="1505"/>
                  </a:lnTo>
                  <a:lnTo>
                    <a:pt x="1100" y="1521"/>
                  </a:lnTo>
                  <a:lnTo>
                    <a:pt x="1063" y="1535"/>
                  </a:lnTo>
                  <a:lnTo>
                    <a:pt x="1027" y="1547"/>
                  </a:lnTo>
                  <a:lnTo>
                    <a:pt x="989" y="1558"/>
                  </a:lnTo>
                  <a:lnTo>
                    <a:pt x="951" y="1567"/>
                  </a:lnTo>
                  <a:lnTo>
                    <a:pt x="912" y="1574"/>
                  </a:lnTo>
                  <a:lnTo>
                    <a:pt x="873" y="1578"/>
                  </a:lnTo>
                  <a:lnTo>
                    <a:pt x="833" y="1581"/>
                  </a:lnTo>
                  <a:lnTo>
                    <a:pt x="791" y="1582"/>
                  </a:lnTo>
                  <a:lnTo>
                    <a:pt x="791" y="1582"/>
                  </a:lnTo>
                  <a:lnTo>
                    <a:pt x="751" y="1581"/>
                  </a:lnTo>
                  <a:lnTo>
                    <a:pt x="711" y="1578"/>
                  </a:lnTo>
                  <a:lnTo>
                    <a:pt x="671" y="1574"/>
                  </a:lnTo>
                  <a:lnTo>
                    <a:pt x="633" y="1567"/>
                  </a:lnTo>
                  <a:lnTo>
                    <a:pt x="594" y="1558"/>
                  </a:lnTo>
                  <a:lnTo>
                    <a:pt x="557" y="1547"/>
                  </a:lnTo>
                  <a:lnTo>
                    <a:pt x="519" y="1535"/>
                  </a:lnTo>
                  <a:lnTo>
                    <a:pt x="483" y="1521"/>
                  </a:lnTo>
                  <a:lnTo>
                    <a:pt x="448" y="1505"/>
                  </a:lnTo>
                  <a:lnTo>
                    <a:pt x="414" y="1488"/>
                  </a:lnTo>
                  <a:lnTo>
                    <a:pt x="381" y="1468"/>
                  </a:lnTo>
                  <a:lnTo>
                    <a:pt x="349" y="1447"/>
                  </a:lnTo>
                  <a:lnTo>
                    <a:pt x="318" y="1426"/>
                  </a:lnTo>
                  <a:lnTo>
                    <a:pt x="289" y="1402"/>
                  </a:lnTo>
                  <a:lnTo>
                    <a:pt x="260" y="1377"/>
                  </a:lnTo>
                  <a:lnTo>
                    <a:pt x="232" y="1351"/>
                  </a:lnTo>
                  <a:lnTo>
                    <a:pt x="206" y="1324"/>
                  </a:lnTo>
                  <a:lnTo>
                    <a:pt x="181" y="1295"/>
                  </a:lnTo>
                  <a:lnTo>
                    <a:pt x="158" y="1265"/>
                  </a:lnTo>
                  <a:lnTo>
                    <a:pt x="136" y="1234"/>
                  </a:lnTo>
                  <a:lnTo>
                    <a:pt x="115" y="1202"/>
                  </a:lnTo>
                  <a:lnTo>
                    <a:pt x="96" y="1168"/>
                  </a:lnTo>
                  <a:lnTo>
                    <a:pt x="78" y="1134"/>
                  </a:lnTo>
                  <a:lnTo>
                    <a:pt x="63" y="1099"/>
                  </a:lnTo>
                  <a:lnTo>
                    <a:pt x="49" y="1063"/>
                  </a:lnTo>
                  <a:lnTo>
                    <a:pt x="36" y="1027"/>
                  </a:lnTo>
                  <a:lnTo>
                    <a:pt x="26" y="989"/>
                  </a:lnTo>
                  <a:lnTo>
                    <a:pt x="17" y="951"/>
                  </a:lnTo>
                  <a:lnTo>
                    <a:pt x="9" y="912"/>
                  </a:lnTo>
                  <a:lnTo>
                    <a:pt x="4" y="873"/>
                  </a:lnTo>
                  <a:lnTo>
                    <a:pt x="1" y="832"/>
                  </a:lnTo>
                  <a:lnTo>
                    <a:pt x="0" y="791"/>
                  </a:lnTo>
                  <a:lnTo>
                    <a:pt x="0" y="791"/>
                  </a:lnTo>
                  <a:lnTo>
                    <a:pt x="1" y="751"/>
                  </a:lnTo>
                  <a:lnTo>
                    <a:pt x="4" y="711"/>
                  </a:lnTo>
                  <a:lnTo>
                    <a:pt x="9" y="671"/>
                  </a:lnTo>
                  <a:lnTo>
                    <a:pt x="17" y="633"/>
                  </a:lnTo>
                  <a:lnTo>
                    <a:pt x="26" y="593"/>
                  </a:lnTo>
                  <a:lnTo>
                    <a:pt x="36" y="556"/>
                  </a:lnTo>
                  <a:lnTo>
                    <a:pt x="49" y="519"/>
                  </a:lnTo>
                  <a:lnTo>
                    <a:pt x="63" y="483"/>
                  </a:lnTo>
                  <a:lnTo>
                    <a:pt x="78" y="448"/>
                  </a:lnTo>
                  <a:lnTo>
                    <a:pt x="96" y="414"/>
                  </a:lnTo>
                  <a:lnTo>
                    <a:pt x="115" y="381"/>
                  </a:lnTo>
                  <a:lnTo>
                    <a:pt x="136" y="349"/>
                  </a:lnTo>
                  <a:lnTo>
                    <a:pt x="158" y="318"/>
                  </a:lnTo>
                  <a:lnTo>
                    <a:pt x="181" y="289"/>
                  </a:lnTo>
                  <a:lnTo>
                    <a:pt x="206" y="260"/>
                  </a:lnTo>
                  <a:lnTo>
                    <a:pt x="232" y="232"/>
                  </a:lnTo>
                  <a:lnTo>
                    <a:pt x="260" y="206"/>
                  </a:lnTo>
                  <a:lnTo>
                    <a:pt x="289" y="181"/>
                  </a:lnTo>
                  <a:lnTo>
                    <a:pt x="318" y="158"/>
                  </a:lnTo>
                  <a:lnTo>
                    <a:pt x="349" y="136"/>
                  </a:lnTo>
                  <a:lnTo>
                    <a:pt x="381" y="115"/>
                  </a:lnTo>
                  <a:lnTo>
                    <a:pt x="414" y="96"/>
                  </a:lnTo>
                  <a:lnTo>
                    <a:pt x="448" y="78"/>
                  </a:lnTo>
                  <a:lnTo>
                    <a:pt x="483" y="63"/>
                  </a:lnTo>
                  <a:lnTo>
                    <a:pt x="519" y="48"/>
                  </a:lnTo>
                  <a:lnTo>
                    <a:pt x="557" y="36"/>
                  </a:lnTo>
                  <a:lnTo>
                    <a:pt x="594" y="26"/>
                  </a:lnTo>
                  <a:lnTo>
                    <a:pt x="633" y="17"/>
                  </a:lnTo>
                  <a:lnTo>
                    <a:pt x="671" y="9"/>
                  </a:lnTo>
                  <a:lnTo>
                    <a:pt x="711" y="4"/>
                  </a:lnTo>
                  <a:lnTo>
                    <a:pt x="751" y="1"/>
                  </a:lnTo>
                  <a:lnTo>
                    <a:pt x="791" y="0"/>
                  </a:lnTo>
                  <a:lnTo>
                    <a:pt x="791" y="0"/>
                  </a:lnTo>
                  <a:lnTo>
                    <a:pt x="833" y="1"/>
                  </a:lnTo>
                  <a:lnTo>
                    <a:pt x="873" y="4"/>
                  </a:lnTo>
                  <a:lnTo>
                    <a:pt x="912" y="9"/>
                  </a:lnTo>
                  <a:lnTo>
                    <a:pt x="951" y="17"/>
                  </a:lnTo>
                  <a:lnTo>
                    <a:pt x="989" y="26"/>
                  </a:lnTo>
                  <a:lnTo>
                    <a:pt x="1027" y="36"/>
                  </a:lnTo>
                  <a:lnTo>
                    <a:pt x="1063" y="48"/>
                  </a:lnTo>
                  <a:lnTo>
                    <a:pt x="1100" y="63"/>
                  </a:lnTo>
                  <a:lnTo>
                    <a:pt x="1135" y="78"/>
                  </a:lnTo>
                  <a:lnTo>
                    <a:pt x="1169" y="96"/>
                  </a:lnTo>
                  <a:lnTo>
                    <a:pt x="1203" y="115"/>
                  </a:lnTo>
                  <a:lnTo>
                    <a:pt x="1235" y="136"/>
                  </a:lnTo>
                  <a:lnTo>
                    <a:pt x="1265" y="158"/>
                  </a:lnTo>
                  <a:lnTo>
                    <a:pt x="1295" y="181"/>
                  </a:lnTo>
                  <a:lnTo>
                    <a:pt x="1324" y="206"/>
                  </a:lnTo>
                  <a:lnTo>
                    <a:pt x="1351" y="232"/>
                  </a:lnTo>
                  <a:lnTo>
                    <a:pt x="1378" y="260"/>
                  </a:lnTo>
                  <a:lnTo>
                    <a:pt x="1403" y="289"/>
                  </a:lnTo>
                  <a:lnTo>
                    <a:pt x="1426" y="318"/>
                  </a:lnTo>
                  <a:lnTo>
                    <a:pt x="1448" y="349"/>
                  </a:lnTo>
                  <a:lnTo>
                    <a:pt x="1468" y="381"/>
                  </a:lnTo>
                  <a:lnTo>
                    <a:pt x="1488" y="414"/>
                  </a:lnTo>
                  <a:lnTo>
                    <a:pt x="1506" y="448"/>
                  </a:lnTo>
                  <a:lnTo>
                    <a:pt x="1521" y="483"/>
                  </a:lnTo>
                  <a:lnTo>
                    <a:pt x="1535" y="519"/>
                  </a:lnTo>
                  <a:lnTo>
                    <a:pt x="1548" y="556"/>
                  </a:lnTo>
                  <a:lnTo>
                    <a:pt x="1558" y="593"/>
                  </a:lnTo>
                  <a:lnTo>
                    <a:pt x="1567" y="633"/>
                  </a:lnTo>
                  <a:lnTo>
                    <a:pt x="1575" y="671"/>
                  </a:lnTo>
                  <a:lnTo>
                    <a:pt x="1579" y="711"/>
                  </a:lnTo>
                  <a:lnTo>
                    <a:pt x="1582" y="751"/>
                  </a:lnTo>
                  <a:lnTo>
                    <a:pt x="1583" y="791"/>
                  </a:lnTo>
                  <a:close/>
                </a:path>
              </a:pathLst>
            </a:custGeom>
            <a:solidFill>
              <a:srgbClr val="475059"/>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7" name="Freeform 723">
              <a:extLst>
                <a:ext uri="{FF2B5EF4-FFF2-40B4-BE49-F238E27FC236}">
                  <a16:creationId xmlns:a16="http://schemas.microsoft.com/office/drawing/2014/main" id="{3021A1A0-9A9E-39BA-2144-00526F253A86}"/>
                </a:ext>
              </a:extLst>
            </p:cNvPr>
            <p:cNvSpPr>
              <a:spLocks/>
            </p:cNvSpPr>
            <p:nvPr/>
          </p:nvSpPr>
          <p:spPr bwMode="auto">
            <a:xfrm>
              <a:off x="3600451" y="2392363"/>
              <a:ext cx="314325" cy="314325"/>
            </a:xfrm>
            <a:custGeom>
              <a:avLst/>
              <a:gdLst/>
              <a:ahLst/>
              <a:cxnLst>
                <a:cxn ang="0">
                  <a:pos x="1582" y="832"/>
                </a:cxn>
                <a:cxn ang="0">
                  <a:pos x="1567" y="951"/>
                </a:cxn>
                <a:cxn ang="0">
                  <a:pos x="1535" y="1063"/>
                </a:cxn>
                <a:cxn ang="0">
                  <a:pos x="1488" y="1168"/>
                </a:cxn>
                <a:cxn ang="0">
                  <a:pos x="1426" y="1265"/>
                </a:cxn>
                <a:cxn ang="0">
                  <a:pos x="1351" y="1351"/>
                </a:cxn>
                <a:cxn ang="0">
                  <a:pos x="1265" y="1426"/>
                </a:cxn>
                <a:cxn ang="0">
                  <a:pos x="1169" y="1488"/>
                </a:cxn>
                <a:cxn ang="0">
                  <a:pos x="1063" y="1535"/>
                </a:cxn>
                <a:cxn ang="0">
                  <a:pos x="951" y="1567"/>
                </a:cxn>
                <a:cxn ang="0">
                  <a:pos x="833" y="1581"/>
                </a:cxn>
                <a:cxn ang="0">
                  <a:pos x="751" y="1581"/>
                </a:cxn>
                <a:cxn ang="0">
                  <a:pos x="633" y="1567"/>
                </a:cxn>
                <a:cxn ang="0">
                  <a:pos x="519" y="1535"/>
                </a:cxn>
                <a:cxn ang="0">
                  <a:pos x="414" y="1488"/>
                </a:cxn>
                <a:cxn ang="0">
                  <a:pos x="318" y="1426"/>
                </a:cxn>
                <a:cxn ang="0">
                  <a:pos x="232" y="1351"/>
                </a:cxn>
                <a:cxn ang="0">
                  <a:pos x="158" y="1265"/>
                </a:cxn>
                <a:cxn ang="0">
                  <a:pos x="96" y="1168"/>
                </a:cxn>
                <a:cxn ang="0">
                  <a:pos x="49" y="1063"/>
                </a:cxn>
                <a:cxn ang="0">
                  <a:pos x="17" y="951"/>
                </a:cxn>
                <a:cxn ang="0">
                  <a:pos x="1" y="832"/>
                </a:cxn>
                <a:cxn ang="0">
                  <a:pos x="1" y="751"/>
                </a:cxn>
                <a:cxn ang="0">
                  <a:pos x="17" y="633"/>
                </a:cxn>
                <a:cxn ang="0">
                  <a:pos x="49" y="519"/>
                </a:cxn>
                <a:cxn ang="0">
                  <a:pos x="96" y="414"/>
                </a:cxn>
                <a:cxn ang="0">
                  <a:pos x="158" y="318"/>
                </a:cxn>
                <a:cxn ang="0">
                  <a:pos x="232" y="232"/>
                </a:cxn>
                <a:cxn ang="0">
                  <a:pos x="318" y="158"/>
                </a:cxn>
                <a:cxn ang="0">
                  <a:pos x="414" y="96"/>
                </a:cxn>
                <a:cxn ang="0">
                  <a:pos x="519" y="48"/>
                </a:cxn>
                <a:cxn ang="0">
                  <a:pos x="633" y="17"/>
                </a:cxn>
                <a:cxn ang="0">
                  <a:pos x="751" y="1"/>
                </a:cxn>
                <a:cxn ang="0">
                  <a:pos x="833" y="1"/>
                </a:cxn>
                <a:cxn ang="0">
                  <a:pos x="951" y="17"/>
                </a:cxn>
                <a:cxn ang="0">
                  <a:pos x="1063" y="48"/>
                </a:cxn>
                <a:cxn ang="0">
                  <a:pos x="1169" y="96"/>
                </a:cxn>
                <a:cxn ang="0">
                  <a:pos x="1265" y="158"/>
                </a:cxn>
                <a:cxn ang="0">
                  <a:pos x="1351" y="232"/>
                </a:cxn>
                <a:cxn ang="0">
                  <a:pos x="1426" y="318"/>
                </a:cxn>
                <a:cxn ang="0">
                  <a:pos x="1488" y="414"/>
                </a:cxn>
                <a:cxn ang="0">
                  <a:pos x="1535" y="519"/>
                </a:cxn>
                <a:cxn ang="0">
                  <a:pos x="1567" y="633"/>
                </a:cxn>
                <a:cxn ang="0">
                  <a:pos x="1582" y="751"/>
                </a:cxn>
              </a:cxnLst>
              <a:rect l="0" t="0" r="r" b="b"/>
              <a:pathLst>
                <a:path w="1583" h="1582">
                  <a:moveTo>
                    <a:pt x="1583" y="791"/>
                  </a:moveTo>
                  <a:lnTo>
                    <a:pt x="1583" y="791"/>
                  </a:lnTo>
                  <a:lnTo>
                    <a:pt x="1582" y="832"/>
                  </a:lnTo>
                  <a:lnTo>
                    <a:pt x="1579" y="873"/>
                  </a:lnTo>
                  <a:lnTo>
                    <a:pt x="1575" y="912"/>
                  </a:lnTo>
                  <a:lnTo>
                    <a:pt x="1567" y="951"/>
                  </a:lnTo>
                  <a:lnTo>
                    <a:pt x="1558" y="989"/>
                  </a:lnTo>
                  <a:lnTo>
                    <a:pt x="1548" y="1027"/>
                  </a:lnTo>
                  <a:lnTo>
                    <a:pt x="1535" y="1063"/>
                  </a:lnTo>
                  <a:lnTo>
                    <a:pt x="1521" y="1099"/>
                  </a:lnTo>
                  <a:lnTo>
                    <a:pt x="1506" y="1134"/>
                  </a:lnTo>
                  <a:lnTo>
                    <a:pt x="1488" y="1168"/>
                  </a:lnTo>
                  <a:lnTo>
                    <a:pt x="1468" y="1202"/>
                  </a:lnTo>
                  <a:lnTo>
                    <a:pt x="1448" y="1234"/>
                  </a:lnTo>
                  <a:lnTo>
                    <a:pt x="1426" y="1265"/>
                  </a:lnTo>
                  <a:lnTo>
                    <a:pt x="1403" y="1295"/>
                  </a:lnTo>
                  <a:lnTo>
                    <a:pt x="1378" y="1324"/>
                  </a:lnTo>
                  <a:lnTo>
                    <a:pt x="1351" y="1351"/>
                  </a:lnTo>
                  <a:lnTo>
                    <a:pt x="1324" y="1377"/>
                  </a:lnTo>
                  <a:lnTo>
                    <a:pt x="1295" y="1402"/>
                  </a:lnTo>
                  <a:lnTo>
                    <a:pt x="1265" y="1426"/>
                  </a:lnTo>
                  <a:lnTo>
                    <a:pt x="1235" y="1447"/>
                  </a:lnTo>
                  <a:lnTo>
                    <a:pt x="1203" y="1468"/>
                  </a:lnTo>
                  <a:lnTo>
                    <a:pt x="1169" y="1488"/>
                  </a:lnTo>
                  <a:lnTo>
                    <a:pt x="1135" y="1505"/>
                  </a:lnTo>
                  <a:lnTo>
                    <a:pt x="1100" y="1521"/>
                  </a:lnTo>
                  <a:lnTo>
                    <a:pt x="1063" y="1535"/>
                  </a:lnTo>
                  <a:lnTo>
                    <a:pt x="1027" y="1547"/>
                  </a:lnTo>
                  <a:lnTo>
                    <a:pt x="989" y="1558"/>
                  </a:lnTo>
                  <a:lnTo>
                    <a:pt x="951" y="1567"/>
                  </a:lnTo>
                  <a:lnTo>
                    <a:pt x="912" y="1574"/>
                  </a:lnTo>
                  <a:lnTo>
                    <a:pt x="873" y="1578"/>
                  </a:lnTo>
                  <a:lnTo>
                    <a:pt x="833" y="1581"/>
                  </a:lnTo>
                  <a:lnTo>
                    <a:pt x="791" y="1582"/>
                  </a:lnTo>
                  <a:lnTo>
                    <a:pt x="791" y="1582"/>
                  </a:lnTo>
                  <a:lnTo>
                    <a:pt x="751" y="1581"/>
                  </a:lnTo>
                  <a:lnTo>
                    <a:pt x="711" y="1578"/>
                  </a:lnTo>
                  <a:lnTo>
                    <a:pt x="671" y="1574"/>
                  </a:lnTo>
                  <a:lnTo>
                    <a:pt x="633" y="1567"/>
                  </a:lnTo>
                  <a:lnTo>
                    <a:pt x="594" y="1558"/>
                  </a:lnTo>
                  <a:lnTo>
                    <a:pt x="557" y="1547"/>
                  </a:lnTo>
                  <a:lnTo>
                    <a:pt x="519" y="1535"/>
                  </a:lnTo>
                  <a:lnTo>
                    <a:pt x="483" y="1521"/>
                  </a:lnTo>
                  <a:lnTo>
                    <a:pt x="448" y="1505"/>
                  </a:lnTo>
                  <a:lnTo>
                    <a:pt x="414" y="1488"/>
                  </a:lnTo>
                  <a:lnTo>
                    <a:pt x="381" y="1468"/>
                  </a:lnTo>
                  <a:lnTo>
                    <a:pt x="349" y="1447"/>
                  </a:lnTo>
                  <a:lnTo>
                    <a:pt x="318" y="1426"/>
                  </a:lnTo>
                  <a:lnTo>
                    <a:pt x="289" y="1402"/>
                  </a:lnTo>
                  <a:lnTo>
                    <a:pt x="260" y="1377"/>
                  </a:lnTo>
                  <a:lnTo>
                    <a:pt x="232" y="1351"/>
                  </a:lnTo>
                  <a:lnTo>
                    <a:pt x="206" y="1324"/>
                  </a:lnTo>
                  <a:lnTo>
                    <a:pt x="181" y="1295"/>
                  </a:lnTo>
                  <a:lnTo>
                    <a:pt x="158" y="1265"/>
                  </a:lnTo>
                  <a:lnTo>
                    <a:pt x="136" y="1234"/>
                  </a:lnTo>
                  <a:lnTo>
                    <a:pt x="115" y="1202"/>
                  </a:lnTo>
                  <a:lnTo>
                    <a:pt x="96" y="1168"/>
                  </a:lnTo>
                  <a:lnTo>
                    <a:pt x="78" y="1134"/>
                  </a:lnTo>
                  <a:lnTo>
                    <a:pt x="63" y="1099"/>
                  </a:lnTo>
                  <a:lnTo>
                    <a:pt x="49" y="1063"/>
                  </a:lnTo>
                  <a:lnTo>
                    <a:pt x="36" y="1027"/>
                  </a:lnTo>
                  <a:lnTo>
                    <a:pt x="26" y="989"/>
                  </a:lnTo>
                  <a:lnTo>
                    <a:pt x="17" y="951"/>
                  </a:lnTo>
                  <a:lnTo>
                    <a:pt x="9" y="912"/>
                  </a:lnTo>
                  <a:lnTo>
                    <a:pt x="4" y="873"/>
                  </a:lnTo>
                  <a:lnTo>
                    <a:pt x="1" y="832"/>
                  </a:lnTo>
                  <a:lnTo>
                    <a:pt x="0" y="791"/>
                  </a:lnTo>
                  <a:lnTo>
                    <a:pt x="0" y="791"/>
                  </a:lnTo>
                  <a:lnTo>
                    <a:pt x="1" y="751"/>
                  </a:lnTo>
                  <a:lnTo>
                    <a:pt x="4" y="711"/>
                  </a:lnTo>
                  <a:lnTo>
                    <a:pt x="9" y="671"/>
                  </a:lnTo>
                  <a:lnTo>
                    <a:pt x="17" y="633"/>
                  </a:lnTo>
                  <a:lnTo>
                    <a:pt x="26" y="593"/>
                  </a:lnTo>
                  <a:lnTo>
                    <a:pt x="36" y="556"/>
                  </a:lnTo>
                  <a:lnTo>
                    <a:pt x="49" y="519"/>
                  </a:lnTo>
                  <a:lnTo>
                    <a:pt x="63" y="483"/>
                  </a:lnTo>
                  <a:lnTo>
                    <a:pt x="78" y="448"/>
                  </a:lnTo>
                  <a:lnTo>
                    <a:pt x="96" y="414"/>
                  </a:lnTo>
                  <a:lnTo>
                    <a:pt x="115" y="381"/>
                  </a:lnTo>
                  <a:lnTo>
                    <a:pt x="136" y="349"/>
                  </a:lnTo>
                  <a:lnTo>
                    <a:pt x="158" y="318"/>
                  </a:lnTo>
                  <a:lnTo>
                    <a:pt x="181" y="289"/>
                  </a:lnTo>
                  <a:lnTo>
                    <a:pt x="206" y="260"/>
                  </a:lnTo>
                  <a:lnTo>
                    <a:pt x="232" y="232"/>
                  </a:lnTo>
                  <a:lnTo>
                    <a:pt x="260" y="206"/>
                  </a:lnTo>
                  <a:lnTo>
                    <a:pt x="289" y="181"/>
                  </a:lnTo>
                  <a:lnTo>
                    <a:pt x="318" y="158"/>
                  </a:lnTo>
                  <a:lnTo>
                    <a:pt x="349" y="136"/>
                  </a:lnTo>
                  <a:lnTo>
                    <a:pt x="381" y="115"/>
                  </a:lnTo>
                  <a:lnTo>
                    <a:pt x="414" y="96"/>
                  </a:lnTo>
                  <a:lnTo>
                    <a:pt x="448" y="78"/>
                  </a:lnTo>
                  <a:lnTo>
                    <a:pt x="483" y="63"/>
                  </a:lnTo>
                  <a:lnTo>
                    <a:pt x="519" y="48"/>
                  </a:lnTo>
                  <a:lnTo>
                    <a:pt x="557" y="36"/>
                  </a:lnTo>
                  <a:lnTo>
                    <a:pt x="594" y="26"/>
                  </a:lnTo>
                  <a:lnTo>
                    <a:pt x="633" y="17"/>
                  </a:lnTo>
                  <a:lnTo>
                    <a:pt x="671" y="9"/>
                  </a:lnTo>
                  <a:lnTo>
                    <a:pt x="711" y="4"/>
                  </a:lnTo>
                  <a:lnTo>
                    <a:pt x="751" y="1"/>
                  </a:lnTo>
                  <a:lnTo>
                    <a:pt x="791" y="0"/>
                  </a:lnTo>
                  <a:lnTo>
                    <a:pt x="791" y="0"/>
                  </a:lnTo>
                  <a:lnTo>
                    <a:pt x="833" y="1"/>
                  </a:lnTo>
                  <a:lnTo>
                    <a:pt x="873" y="4"/>
                  </a:lnTo>
                  <a:lnTo>
                    <a:pt x="912" y="9"/>
                  </a:lnTo>
                  <a:lnTo>
                    <a:pt x="951" y="17"/>
                  </a:lnTo>
                  <a:lnTo>
                    <a:pt x="989" y="26"/>
                  </a:lnTo>
                  <a:lnTo>
                    <a:pt x="1027" y="36"/>
                  </a:lnTo>
                  <a:lnTo>
                    <a:pt x="1063" y="48"/>
                  </a:lnTo>
                  <a:lnTo>
                    <a:pt x="1100" y="63"/>
                  </a:lnTo>
                  <a:lnTo>
                    <a:pt x="1135" y="78"/>
                  </a:lnTo>
                  <a:lnTo>
                    <a:pt x="1169" y="96"/>
                  </a:lnTo>
                  <a:lnTo>
                    <a:pt x="1203" y="115"/>
                  </a:lnTo>
                  <a:lnTo>
                    <a:pt x="1235" y="136"/>
                  </a:lnTo>
                  <a:lnTo>
                    <a:pt x="1265" y="158"/>
                  </a:lnTo>
                  <a:lnTo>
                    <a:pt x="1295" y="181"/>
                  </a:lnTo>
                  <a:lnTo>
                    <a:pt x="1324" y="206"/>
                  </a:lnTo>
                  <a:lnTo>
                    <a:pt x="1351" y="232"/>
                  </a:lnTo>
                  <a:lnTo>
                    <a:pt x="1378" y="260"/>
                  </a:lnTo>
                  <a:lnTo>
                    <a:pt x="1403" y="289"/>
                  </a:lnTo>
                  <a:lnTo>
                    <a:pt x="1426" y="318"/>
                  </a:lnTo>
                  <a:lnTo>
                    <a:pt x="1448" y="349"/>
                  </a:lnTo>
                  <a:lnTo>
                    <a:pt x="1468" y="381"/>
                  </a:lnTo>
                  <a:lnTo>
                    <a:pt x="1488" y="414"/>
                  </a:lnTo>
                  <a:lnTo>
                    <a:pt x="1506" y="448"/>
                  </a:lnTo>
                  <a:lnTo>
                    <a:pt x="1521" y="483"/>
                  </a:lnTo>
                  <a:lnTo>
                    <a:pt x="1535" y="519"/>
                  </a:lnTo>
                  <a:lnTo>
                    <a:pt x="1548" y="556"/>
                  </a:lnTo>
                  <a:lnTo>
                    <a:pt x="1558" y="593"/>
                  </a:lnTo>
                  <a:lnTo>
                    <a:pt x="1567" y="633"/>
                  </a:lnTo>
                  <a:lnTo>
                    <a:pt x="1575" y="671"/>
                  </a:lnTo>
                  <a:lnTo>
                    <a:pt x="1579" y="711"/>
                  </a:lnTo>
                  <a:lnTo>
                    <a:pt x="1582" y="751"/>
                  </a:lnTo>
                  <a:lnTo>
                    <a:pt x="1583" y="791"/>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8" name="Freeform 724">
              <a:extLst>
                <a:ext uri="{FF2B5EF4-FFF2-40B4-BE49-F238E27FC236}">
                  <a16:creationId xmlns:a16="http://schemas.microsoft.com/office/drawing/2014/main" id="{6F0E804F-5FA2-B881-621C-59138DED6295}"/>
                </a:ext>
              </a:extLst>
            </p:cNvPr>
            <p:cNvSpPr>
              <a:spLocks/>
            </p:cNvSpPr>
            <p:nvPr/>
          </p:nvSpPr>
          <p:spPr bwMode="auto">
            <a:xfrm>
              <a:off x="3638551" y="2432050"/>
              <a:ext cx="236538" cy="234950"/>
            </a:xfrm>
            <a:custGeom>
              <a:avLst/>
              <a:gdLst/>
              <a:ahLst/>
              <a:cxnLst>
                <a:cxn ang="0">
                  <a:pos x="623" y="1"/>
                </a:cxn>
                <a:cxn ang="0">
                  <a:pos x="711" y="11"/>
                </a:cxn>
                <a:cxn ang="0">
                  <a:pos x="794" y="35"/>
                </a:cxn>
                <a:cxn ang="0">
                  <a:pos x="874" y="70"/>
                </a:cxn>
                <a:cxn ang="0">
                  <a:pos x="947" y="116"/>
                </a:cxn>
                <a:cxn ang="0">
                  <a:pos x="1014" y="174"/>
                </a:cxn>
                <a:cxn ang="0">
                  <a:pos x="1053" y="218"/>
                </a:cxn>
                <a:cxn ang="0">
                  <a:pos x="1104" y="289"/>
                </a:cxn>
                <a:cxn ang="0">
                  <a:pos x="1143" y="367"/>
                </a:cxn>
                <a:cxn ang="0">
                  <a:pos x="1169" y="449"/>
                </a:cxn>
                <a:cxn ang="0">
                  <a:pos x="1185" y="535"/>
                </a:cxn>
                <a:cxn ang="0">
                  <a:pos x="1187" y="593"/>
                </a:cxn>
                <a:cxn ang="0">
                  <a:pos x="1181" y="682"/>
                </a:cxn>
                <a:cxn ang="0">
                  <a:pos x="1162" y="766"/>
                </a:cxn>
                <a:cxn ang="0">
                  <a:pos x="1130" y="848"/>
                </a:cxn>
                <a:cxn ang="0">
                  <a:pos x="1088" y="923"/>
                </a:cxn>
                <a:cxn ang="0">
                  <a:pos x="1034" y="992"/>
                </a:cxn>
                <a:cxn ang="0">
                  <a:pos x="992" y="1034"/>
                </a:cxn>
                <a:cxn ang="0">
                  <a:pos x="923" y="1088"/>
                </a:cxn>
                <a:cxn ang="0">
                  <a:pos x="848" y="1131"/>
                </a:cxn>
                <a:cxn ang="0">
                  <a:pos x="767" y="1162"/>
                </a:cxn>
                <a:cxn ang="0">
                  <a:pos x="682" y="1180"/>
                </a:cxn>
                <a:cxn ang="0">
                  <a:pos x="593" y="1187"/>
                </a:cxn>
                <a:cxn ang="0">
                  <a:pos x="535" y="1185"/>
                </a:cxn>
                <a:cxn ang="0">
                  <a:pos x="449" y="1169"/>
                </a:cxn>
                <a:cxn ang="0">
                  <a:pos x="367" y="1142"/>
                </a:cxn>
                <a:cxn ang="0">
                  <a:pos x="289" y="1103"/>
                </a:cxn>
                <a:cxn ang="0">
                  <a:pos x="218" y="1053"/>
                </a:cxn>
                <a:cxn ang="0">
                  <a:pos x="174" y="1014"/>
                </a:cxn>
                <a:cxn ang="0">
                  <a:pos x="116" y="947"/>
                </a:cxn>
                <a:cxn ang="0">
                  <a:pos x="70" y="873"/>
                </a:cxn>
                <a:cxn ang="0">
                  <a:pos x="35" y="794"/>
                </a:cxn>
                <a:cxn ang="0">
                  <a:pos x="11" y="711"/>
                </a:cxn>
                <a:cxn ang="0">
                  <a:pos x="1" y="623"/>
                </a:cxn>
                <a:cxn ang="0">
                  <a:pos x="1" y="564"/>
                </a:cxn>
                <a:cxn ang="0">
                  <a:pos x="11" y="477"/>
                </a:cxn>
                <a:cxn ang="0">
                  <a:pos x="35" y="393"/>
                </a:cxn>
                <a:cxn ang="0">
                  <a:pos x="70" y="314"/>
                </a:cxn>
                <a:cxn ang="0">
                  <a:pos x="116" y="241"/>
                </a:cxn>
                <a:cxn ang="0">
                  <a:pos x="174" y="174"/>
                </a:cxn>
                <a:cxn ang="0">
                  <a:pos x="218" y="135"/>
                </a:cxn>
                <a:cxn ang="0">
                  <a:pos x="289" y="84"/>
                </a:cxn>
                <a:cxn ang="0">
                  <a:pos x="367" y="45"/>
                </a:cxn>
                <a:cxn ang="0">
                  <a:pos x="449" y="18"/>
                </a:cxn>
                <a:cxn ang="0">
                  <a:pos x="535" y="3"/>
                </a:cxn>
              </a:cxnLst>
              <a:rect l="0" t="0" r="r" b="b"/>
              <a:pathLst>
                <a:path w="1187" h="1187">
                  <a:moveTo>
                    <a:pt x="593" y="0"/>
                  </a:moveTo>
                  <a:lnTo>
                    <a:pt x="593" y="0"/>
                  </a:lnTo>
                  <a:lnTo>
                    <a:pt x="623" y="1"/>
                  </a:lnTo>
                  <a:lnTo>
                    <a:pt x="653" y="3"/>
                  </a:lnTo>
                  <a:lnTo>
                    <a:pt x="682" y="7"/>
                  </a:lnTo>
                  <a:lnTo>
                    <a:pt x="711" y="11"/>
                  </a:lnTo>
                  <a:lnTo>
                    <a:pt x="739" y="18"/>
                  </a:lnTo>
                  <a:lnTo>
                    <a:pt x="767" y="26"/>
                  </a:lnTo>
                  <a:lnTo>
                    <a:pt x="794" y="35"/>
                  </a:lnTo>
                  <a:lnTo>
                    <a:pt x="821" y="45"/>
                  </a:lnTo>
                  <a:lnTo>
                    <a:pt x="848" y="57"/>
                  </a:lnTo>
                  <a:lnTo>
                    <a:pt x="874" y="70"/>
                  </a:lnTo>
                  <a:lnTo>
                    <a:pt x="898" y="84"/>
                  </a:lnTo>
                  <a:lnTo>
                    <a:pt x="923" y="100"/>
                  </a:lnTo>
                  <a:lnTo>
                    <a:pt x="947" y="116"/>
                  </a:lnTo>
                  <a:lnTo>
                    <a:pt x="970" y="135"/>
                  </a:lnTo>
                  <a:lnTo>
                    <a:pt x="992" y="153"/>
                  </a:lnTo>
                  <a:lnTo>
                    <a:pt x="1014" y="174"/>
                  </a:lnTo>
                  <a:lnTo>
                    <a:pt x="1014" y="174"/>
                  </a:lnTo>
                  <a:lnTo>
                    <a:pt x="1034" y="196"/>
                  </a:lnTo>
                  <a:lnTo>
                    <a:pt x="1053" y="218"/>
                  </a:lnTo>
                  <a:lnTo>
                    <a:pt x="1072" y="241"/>
                  </a:lnTo>
                  <a:lnTo>
                    <a:pt x="1088" y="265"/>
                  </a:lnTo>
                  <a:lnTo>
                    <a:pt x="1104" y="289"/>
                  </a:lnTo>
                  <a:lnTo>
                    <a:pt x="1118" y="314"/>
                  </a:lnTo>
                  <a:lnTo>
                    <a:pt x="1130" y="340"/>
                  </a:lnTo>
                  <a:lnTo>
                    <a:pt x="1143" y="367"/>
                  </a:lnTo>
                  <a:lnTo>
                    <a:pt x="1153" y="393"/>
                  </a:lnTo>
                  <a:lnTo>
                    <a:pt x="1162" y="421"/>
                  </a:lnTo>
                  <a:lnTo>
                    <a:pt x="1169" y="449"/>
                  </a:lnTo>
                  <a:lnTo>
                    <a:pt x="1176" y="477"/>
                  </a:lnTo>
                  <a:lnTo>
                    <a:pt x="1181" y="506"/>
                  </a:lnTo>
                  <a:lnTo>
                    <a:pt x="1185" y="535"/>
                  </a:lnTo>
                  <a:lnTo>
                    <a:pt x="1187" y="564"/>
                  </a:lnTo>
                  <a:lnTo>
                    <a:pt x="1187" y="593"/>
                  </a:lnTo>
                  <a:lnTo>
                    <a:pt x="1187" y="593"/>
                  </a:lnTo>
                  <a:lnTo>
                    <a:pt x="1187" y="623"/>
                  </a:lnTo>
                  <a:lnTo>
                    <a:pt x="1185" y="653"/>
                  </a:lnTo>
                  <a:lnTo>
                    <a:pt x="1181" y="682"/>
                  </a:lnTo>
                  <a:lnTo>
                    <a:pt x="1176" y="711"/>
                  </a:lnTo>
                  <a:lnTo>
                    <a:pt x="1169" y="738"/>
                  </a:lnTo>
                  <a:lnTo>
                    <a:pt x="1162" y="766"/>
                  </a:lnTo>
                  <a:lnTo>
                    <a:pt x="1153" y="794"/>
                  </a:lnTo>
                  <a:lnTo>
                    <a:pt x="1143" y="821"/>
                  </a:lnTo>
                  <a:lnTo>
                    <a:pt x="1130" y="848"/>
                  </a:lnTo>
                  <a:lnTo>
                    <a:pt x="1118" y="873"/>
                  </a:lnTo>
                  <a:lnTo>
                    <a:pt x="1104" y="898"/>
                  </a:lnTo>
                  <a:lnTo>
                    <a:pt x="1088" y="923"/>
                  </a:lnTo>
                  <a:lnTo>
                    <a:pt x="1072" y="947"/>
                  </a:lnTo>
                  <a:lnTo>
                    <a:pt x="1053" y="969"/>
                  </a:lnTo>
                  <a:lnTo>
                    <a:pt x="1034" y="992"/>
                  </a:lnTo>
                  <a:lnTo>
                    <a:pt x="1014" y="1014"/>
                  </a:lnTo>
                  <a:lnTo>
                    <a:pt x="1014" y="1014"/>
                  </a:lnTo>
                  <a:lnTo>
                    <a:pt x="992" y="1034"/>
                  </a:lnTo>
                  <a:lnTo>
                    <a:pt x="970" y="1053"/>
                  </a:lnTo>
                  <a:lnTo>
                    <a:pt x="947" y="1071"/>
                  </a:lnTo>
                  <a:lnTo>
                    <a:pt x="923" y="1088"/>
                  </a:lnTo>
                  <a:lnTo>
                    <a:pt x="898" y="1103"/>
                  </a:lnTo>
                  <a:lnTo>
                    <a:pt x="874" y="1118"/>
                  </a:lnTo>
                  <a:lnTo>
                    <a:pt x="848" y="1131"/>
                  </a:lnTo>
                  <a:lnTo>
                    <a:pt x="821" y="1142"/>
                  </a:lnTo>
                  <a:lnTo>
                    <a:pt x="794" y="1153"/>
                  </a:lnTo>
                  <a:lnTo>
                    <a:pt x="767" y="1162"/>
                  </a:lnTo>
                  <a:lnTo>
                    <a:pt x="739" y="1169"/>
                  </a:lnTo>
                  <a:lnTo>
                    <a:pt x="711" y="1175"/>
                  </a:lnTo>
                  <a:lnTo>
                    <a:pt x="682" y="1180"/>
                  </a:lnTo>
                  <a:lnTo>
                    <a:pt x="653" y="1185"/>
                  </a:lnTo>
                  <a:lnTo>
                    <a:pt x="623" y="1187"/>
                  </a:lnTo>
                  <a:lnTo>
                    <a:pt x="593" y="1187"/>
                  </a:lnTo>
                  <a:lnTo>
                    <a:pt x="593" y="1187"/>
                  </a:lnTo>
                  <a:lnTo>
                    <a:pt x="565" y="1187"/>
                  </a:lnTo>
                  <a:lnTo>
                    <a:pt x="535" y="1185"/>
                  </a:lnTo>
                  <a:lnTo>
                    <a:pt x="506" y="1180"/>
                  </a:lnTo>
                  <a:lnTo>
                    <a:pt x="477" y="1175"/>
                  </a:lnTo>
                  <a:lnTo>
                    <a:pt x="449" y="1169"/>
                  </a:lnTo>
                  <a:lnTo>
                    <a:pt x="421" y="1162"/>
                  </a:lnTo>
                  <a:lnTo>
                    <a:pt x="394" y="1153"/>
                  </a:lnTo>
                  <a:lnTo>
                    <a:pt x="367" y="1142"/>
                  </a:lnTo>
                  <a:lnTo>
                    <a:pt x="340" y="1131"/>
                  </a:lnTo>
                  <a:lnTo>
                    <a:pt x="314" y="1118"/>
                  </a:lnTo>
                  <a:lnTo>
                    <a:pt x="289" y="1103"/>
                  </a:lnTo>
                  <a:lnTo>
                    <a:pt x="265" y="1088"/>
                  </a:lnTo>
                  <a:lnTo>
                    <a:pt x="241" y="1071"/>
                  </a:lnTo>
                  <a:lnTo>
                    <a:pt x="218" y="1053"/>
                  </a:lnTo>
                  <a:lnTo>
                    <a:pt x="196" y="1034"/>
                  </a:lnTo>
                  <a:lnTo>
                    <a:pt x="174" y="1014"/>
                  </a:lnTo>
                  <a:lnTo>
                    <a:pt x="174" y="1014"/>
                  </a:lnTo>
                  <a:lnTo>
                    <a:pt x="153" y="992"/>
                  </a:lnTo>
                  <a:lnTo>
                    <a:pt x="135" y="969"/>
                  </a:lnTo>
                  <a:lnTo>
                    <a:pt x="116" y="947"/>
                  </a:lnTo>
                  <a:lnTo>
                    <a:pt x="100" y="923"/>
                  </a:lnTo>
                  <a:lnTo>
                    <a:pt x="84" y="898"/>
                  </a:lnTo>
                  <a:lnTo>
                    <a:pt x="70" y="873"/>
                  </a:lnTo>
                  <a:lnTo>
                    <a:pt x="57" y="848"/>
                  </a:lnTo>
                  <a:lnTo>
                    <a:pt x="45" y="821"/>
                  </a:lnTo>
                  <a:lnTo>
                    <a:pt x="35" y="794"/>
                  </a:lnTo>
                  <a:lnTo>
                    <a:pt x="26" y="766"/>
                  </a:lnTo>
                  <a:lnTo>
                    <a:pt x="18" y="738"/>
                  </a:lnTo>
                  <a:lnTo>
                    <a:pt x="11" y="711"/>
                  </a:lnTo>
                  <a:lnTo>
                    <a:pt x="7" y="682"/>
                  </a:lnTo>
                  <a:lnTo>
                    <a:pt x="3" y="653"/>
                  </a:lnTo>
                  <a:lnTo>
                    <a:pt x="1" y="623"/>
                  </a:lnTo>
                  <a:lnTo>
                    <a:pt x="0" y="593"/>
                  </a:lnTo>
                  <a:lnTo>
                    <a:pt x="0" y="593"/>
                  </a:lnTo>
                  <a:lnTo>
                    <a:pt x="1" y="564"/>
                  </a:lnTo>
                  <a:lnTo>
                    <a:pt x="3" y="535"/>
                  </a:lnTo>
                  <a:lnTo>
                    <a:pt x="7" y="506"/>
                  </a:lnTo>
                  <a:lnTo>
                    <a:pt x="11" y="477"/>
                  </a:lnTo>
                  <a:lnTo>
                    <a:pt x="18" y="449"/>
                  </a:lnTo>
                  <a:lnTo>
                    <a:pt x="26" y="421"/>
                  </a:lnTo>
                  <a:lnTo>
                    <a:pt x="35" y="393"/>
                  </a:lnTo>
                  <a:lnTo>
                    <a:pt x="45" y="367"/>
                  </a:lnTo>
                  <a:lnTo>
                    <a:pt x="57" y="340"/>
                  </a:lnTo>
                  <a:lnTo>
                    <a:pt x="70" y="314"/>
                  </a:lnTo>
                  <a:lnTo>
                    <a:pt x="84" y="289"/>
                  </a:lnTo>
                  <a:lnTo>
                    <a:pt x="100" y="265"/>
                  </a:lnTo>
                  <a:lnTo>
                    <a:pt x="116" y="241"/>
                  </a:lnTo>
                  <a:lnTo>
                    <a:pt x="135" y="218"/>
                  </a:lnTo>
                  <a:lnTo>
                    <a:pt x="153" y="196"/>
                  </a:lnTo>
                  <a:lnTo>
                    <a:pt x="174" y="174"/>
                  </a:lnTo>
                  <a:lnTo>
                    <a:pt x="174" y="174"/>
                  </a:lnTo>
                  <a:lnTo>
                    <a:pt x="196" y="153"/>
                  </a:lnTo>
                  <a:lnTo>
                    <a:pt x="218" y="135"/>
                  </a:lnTo>
                  <a:lnTo>
                    <a:pt x="241" y="116"/>
                  </a:lnTo>
                  <a:lnTo>
                    <a:pt x="265" y="100"/>
                  </a:lnTo>
                  <a:lnTo>
                    <a:pt x="289" y="84"/>
                  </a:lnTo>
                  <a:lnTo>
                    <a:pt x="314" y="70"/>
                  </a:lnTo>
                  <a:lnTo>
                    <a:pt x="340" y="57"/>
                  </a:lnTo>
                  <a:lnTo>
                    <a:pt x="367" y="45"/>
                  </a:lnTo>
                  <a:lnTo>
                    <a:pt x="394" y="35"/>
                  </a:lnTo>
                  <a:lnTo>
                    <a:pt x="421" y="26"/>
                  </a:lnTo>
                  <a:lnTo>
                    <a:pt x="449" y="18"/>
                  </a:lnTo>
                  <a:lnTo>
                    <a:pt x="477" y="11"/>
                  </a:lnTo>
                  <a:lnTo>
                    <a:pt x="506" y="7"/>
                  </a:lnTo>
                  <a:lnTo>
                    <a:pt x="535" y="3"/>
                  </a:lnTo>
                  <a:lnTo>
                    <a:pt x="565" y="1"/>
                  </a:lnTo>
                  <a:lnTo>
                    <a:pt x="593" y="0"/>
                  </a:lnTo>
                  <a:close/>
                </a:path>
              </a:pathLst>
            </a:custGeom>
            <a:solidFill>
              <a:srgbClr val="3C9987"/>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9" name="Freeform 725">
              <a:extLst>
                <a:ext uri="{FF2B5EF4-FFF2-40B4-BE49-F238E27FC236}">
                  <a16:creationId xmlns:a16="http://schemas.microsoft.com/office/drawing/2014/main" id="{63FEB418-1C28-68E3-EB12-0C325B105FE0}"/>
                </a:ext>
              </a:extLst>
            </p:cNvPr>
            <p:cNvSpPr>
              <a:spLocks/>
            </p:cNvSpPr>
            <p:nvPr/>
          </p:nvSpPr>
          <p:spPr bwMode="auto">
            <a:xfrm>
              <a:off x="3638551" y="2432050"/>
              <a:ext cx="236538" cy="234950"/>
            </a:xfrm>
            <a:custGeom>
              <a:avLst/>
              <a:gdLst/>
              <a:ahLst/>
              <a:cxnLst>
                <a:cxn ang="0">
                  <a:pos x="623" y="1"/>
                </a:cxn>
                <a:cxn ang="0">
                  <a:pos x="711" y="11"/>
                </a:cxn>
                <a:cxn ang="0">
                  <a:pos x="794" y="35"/>
                </a:cxn>
                <a:cxn ang="0">
                  <a:pos x="874" y="70"/>
                </a:cxn>
                <a:cxn ang="0">
                  <a:pos x="947" y="116"/>
                </a:cxn>
                <a:cxn ang="0">
                  <a:pos x="1014" y="174"/>
                </a:cxn>
                <a:cxn ang="0">
                  <a:pos x="1053" y="218"/>
                </a:cxn>
                <a:cxn ang="0">
                  <a:pos x="1104" y="289"/>
                </a:cxn>
                <a:cxn ang="0">
                  <a:pos x="1143" y="367"/>
                </a:cxn>
                <a:cxn ang="0">
                  <a:pos x="1169" y="449"/>
                </a:cxn>
                <a:cxn ang="0">
                  <a:pos x="1185" y="535"/>
                </a:cxn>
                <a:cxn ang="0">
                  <a:pos x="1187" y="593"/>
                </a:cxn>
                <a:cxn ang="0">
                  <a:pos x="1181" y="682"/>
                </a:cxn>
                <a:cxn ang="0">
                  <a:pos x="1162" y="766"/>
                </a:cxn>
                <a:cxn ang="0">
                  <a:pos x="1130" y="848"/>
                </a:cxn>
                <a:cxn ang="0">
                  <a:pos x="1088" y="923"/>
                </a:cxn>
                <a:cxn ang="0">
                  <a:pos x="1034" y="992"/>
                </a:cxn>
                <a:cxn ang="0">
                  <a:pos x="992" y="1034"/>
                </a:cxn>
                <a:cxn ang="0">
                  <a:pos x="923" y="1088"/>
                </a:cxn>
                <a:cxn ang="0">
                  <a:pos x="848" y="1131"/>
                </a:cxn>
                <a:cxn ang="0">
                  <a:pos x="767" y="1162"/>
                </a:cxn>
                <a:cxn ang="0">
                  <a:pos x="682" y="1180"/>
                </a:cxn>
                <a:cxn ang="0">
                  <a:pos x="593" y="1187"/>
                </a:cxn>
                <a:cxn ang="0">
                  <a:pos x="535" y="1185"/>
                </a:cxn>
                <a:cxn ang="0">
                  <a:pos x="449" y="1169"/>
                </a:cxn>
                <a:cxn ang="0">
                  <a:pos x="367" y="1142"/>
                </a:cxn>
                <a:cxn ang="0">
                  <a:pos x="289" y="1103"/>
                </a:cxn>
                <a:cxn ang="0">
                  <a:pos x="218" y="1053"/>
                </a:cxn>
                <a:cxn ang="0">
                  <a:pos x="174" y="1014"/>
                </a:cxn>
                <a:cxn ang="0">
                  <a:pos x="116" y="947"/>
                </a:cxn>
                <a:cxn ang="0">
                  <a:pos x="70" y="873"/>
                </a:cxn>
                <a:cxn ang="0">
                  <a:pos x="35" y="794"/>
                </a:cxn>
                <a:cxn ang="0">
                  <a:pos x="11" y="711"/>
                </a:cxn>
                <a:cxn ang="0">
                  <a:pos x="1" y="623"/>
                </a:cxn>
                <a:cxn ang="0">
                  <a:pos x="1" y="564"/>
                </a:cxn>
                <a:cxn ang="0">
                  <a:pos x="11" y="477"/>
                </a:cxn>
                <a:cxn ang="0">
                  <a:pos x="35" y="393"/>
                </a:cxn>
                <a:cxn ang="0">
                  <a:pos x="70" y="314"/>
                </a:cxn>
                <a:cxn ang="0">
                  <a:pos x="116" y="241"/>
                </a:cxn>
                <a:cxn ang="0">
                  <a:pos x="174" y="174"/>
                </a:cxn>
                <a:cxn ang="0">
                  <a:pos x="218" y="135"/>
                </a:cxn>
                <a:cxn ang="0">
                  <a:pos x="289" y="84"/>
                </a:cxn>
                <a:cxn ang="0">
                  <a:pos x="367" y="45"/>
                </a:cxn>
                <a:cxn ang="0">
                  <a:pos x="449" y="18"/>
                </a:cxn>
                <a:cxn ang="0">
                  <a:pos x="535" y="3"/>
                </a:cxn>
              </a:cxnLst>
              <a:rect l="0" t="0" r="r" b="b"/>
              <a:pathLst>
                <a:path w="1187" h="1187">
                  <a:moveTo>
                    <a:pt x="593" y="0"/>
                  </a:moveTo>
                  <a:lnTo>
                    <a:pt x="593" y="0"/>
                  </a:lnTo>
                  <a:lnTo>
                    <a:pt x="623" y="1"/>
                  </a:lnTo>
                  <a:lnTo>
                    <a:pt x="653" y="3"/>
                  </a:lnTo>
                  <a:lnTo>
                    <a:pt x="682" y="7"/>
                  </a:lnTo>
                  <a:lnTo>
                    <a:pt x="711" y="11"/>
                  </a:lnTo>
                  <a:lnTo>
                    <a:pt x="739" y="18"/>
                  </a:lnTo>
                  <a:lnTo>
                    <a:pt x="767" y="26"/>
                  </a:lnTo>
                  <a:lnTo>
                    <a:pt x="794" y="35"/>
                  </a:lnTo>
                  <a:lnTo>
                    <a:pt x="821" y="45"/>
                  </a:lnTo>
                  <a:lnTo>
                    <a:pt x="848" y="57"/>
                  </a:lnTo>
                  <a:lnTo>
                    <a:pt x="874" y="70"/>
                  </a:lnTo>
                  <a:lnTo>
                    <a:pt x="898" y="84"/>
                  </a:lnTo>
                  <a:lnTo>
                    <a:pt x="923" y="100"/>
                  </a:lnTo>
                  <a:lnTo>
                    <a:pt x="947" y="116"/>
                  </a:lnTo>
                  <a:lnTo>
                    <a:pt x="970" y="135"/>
                  </a:lnTo>
                  <a:lnTo>
                    <a:pt x="992" y="153"/>
                  </a:lnTo>
                  <a:lnTo>
                    <a:pt x="1014" y="174"/>
                  </a:lnTo>
                  <a:lnTo>
                    <a:pt x="1014" y="174"/>
                  </a:lnTo>
                  <a:lnTo>
                    <a:pt x="1034" y="196"/>
                  </a:lnTo>
                  <a:lnTo>
                    <a:pt x="1053" y="218"/>
                  </a:lnTo>
                  <a:lnTo>
                    <a:pt x="1072" y="241"/>
                  </a:lnTo>
                  <a:lnTo>
                    <a:pt x="1088" y="265"/>
                  </a:lnTo>
                  <a:lnTo>
                    <a:pt x="1104" y="289"/>
                  </a:lnTo>
                  <a:lnTo>
                    <a:pt x="1118" y="314"/>
                  </a:lnTo>
                  <a:lnTo>
                    <a:pt x="1130" y="340"/>
                  </a:lnTo>
                  <a:lnTo>
                    <a:pt x="1143" y="367"/>
                  </a:lnTo>
                  <a:lnTo>
                    <a:pt x="1153" y="393"/>
                  </a:lnTo>
                  <a:lnTo>
                    <a:pt x="1162" y="421"/>
                  </a:lnTo>
                  <a:lnTo>
                    <a:pt x="1169" y="449"/>
                  </a:lnTo>
                  <a:lnTo>
                    <a:pt x="1176" y="477"/>
                  </a:lnTo>
                  <a:lnTo>
                    <a:pt x="1181" y="506"/>
                  </a:lnTo>
                  <a:lnTo>
                    <a:pt x="1185" y="535"/>
                  </a:lnTo>
                  <a:lnTo>
                    <a:pt x="1187" y="564"/>
                  </a:lnTo>
                  <a:lnTo>
                    <a:pt x="1187" y="593"/>
                  </a:lnTo>
                  <a:lnTo>
                    <a:pt x="1187" y="593"/>
                  </a:lnTo>
                  <a:lnTo>
                    <a:pt x="1187" y="623"/>
                  </a:lnTo>
                  <a:lnTo>
                    <a:pt x="1185" y="653"/>
                  </a:lnTo>
                  <a:lnTo>
                    <a:pt x="1181" y="682"/>
                  </a:lnTo>
                  <a:lnTo>
                    <a:pt x="1176" y="711"/>
                  </a:lnTo>
                  <a:lnTo>
                    <a:pt x="1169" y="738"/>
                  </a:lnTo>
                  <a:lnTo>
                    <a:pt x="1162" y="766"/>
                  </a:lnTo>
                  <a:lnTo>
                    <a:pt x="1153" y="794"/>
                  </a:lnTo>
                  <a:lnTo>
                    <a:pt x="1143" y="821"/>
                  </a:lnTo>
                  <a:lnTo>
                    <a:pt x="1130" y="848"/>
                  </a:lnTo>
                  <a:lnTo>
                    <a:pt x="1118" y="873"/>
                  </a:lnTo>
                  <a:lnTo>
                    <a:pt x="1104" y="898"/>
                  </a:lnTo>
                  <a:lnTo>
                    <a:pt x="1088" y="923"/>
                  </a:lnTo>
                  <a:lnTo>
                    <a:pt x="1072" y="947"/>
                  </a:lnTo>
                  <a:lnTo>
                    <a:pt x="1053" y="969"/>
                  </a:lnTo>
                  <a:lnTo>
                    <a:pt x="1034" y="992"/>
                  </a:lnTo>
                  <a:lnTo>
                    <a:pt x="1014" y="1014"/>
                  </a:lnTo>
                  <a:lnTo>
                    <a:pt x="1014" y="1014"/>
                  </a:lnTo>
                  <a:lnTo>
                    <a:pt x="992" y="1034"/>
                  </a:lnTo>
                  <a:lnTo>
                    <a:pt x="970" y="1053"/>
                  </a:lnTo>
                  <a:lnTo>
                    <a:pt x="947" y="1071"/>
                  </a:lnTo>
                  <a:lnTo>
                    <a:pt x="923" y="1088"/>
                  </a:lnTo>
                  <a:lnTo>
                    <a:pt x="898" y="1103"/>
                  </a:lnTo>
                  <a:lnTo>
                    <a:pt x="874" y="1118"/>
                  </a:lnTo>
                  <a:lnTo>
                    <a:pt x="848" y="1131"/>
                  </a:lnTo>
                  <a:lnTo>
                    <a:pt x="821" y="1142"/>
                  </a:lnTo>
                  <a:lnTo>
                    <a:pt x="794" y="1153"/>
                  </a:lnTo>
                  <a:lnTo>
                    <a:pt x="767" y="1162"/>
                  </a:lnTo>
                  <a:lnTo>
                    <a:pt x="739" y="1169"/>
                  </a:lnTo>
                  <a:lnTo>
                    <a:pt x="711" y="1175"/>
                  </a:lnTo>
                  <a:lnTo>
                    <a:pt x="682" y="1180"/>
                  </a:lnTo>
                  <a:lnTo>
                    <a:pt x="653" y="1185"/>
                  </a:lnTo>
                  <a:lnTo>
                    <a:pt x="623" y="1187"/>
                  </a:lnTo>
                  <a:lnTo>
                    <a:pt x="593" y="1187"/>
                  </a:lnTo>
                  <a:lnTo>
                    <a:pt x="593" y="1187"/>
                  </a:lnTo>
                  <a:lnTo>
                    <a:pt x="565" y="1187"/>
                  </a:lnTo>
                  <a:lnTo>
                    <a:pt x="535" y="1185"/>
                  </a:lnTo>
                  <a:lnTo>
                    <a:pt x="506" y="1180"/>
                  </a:lnTo>
                  <a:lnTo>
                    <a:pt x="477" y="1175"/>
                  </a:lnTo>
                  <a:lnTo>
                    <a:pt x="449" y="1169"/>
                  </a:lnTo>
                  <a:lnTo>
                    <a:pt x="421" y="1162"/>
                  </a:lnTo>
                  <a:lnTo>
                    <a:pt x="394" y="1153"/>
                  </a:lnTo>
                  <a:lnTo>
                    <a:pt x="367" y="1142"/>
                  </a:lnTo>
                  <a:lnTo>
                    <a:pt x="340" y="1131"/>
                  </a:lnTo>
                  <a:lnTo>
                    <a:pt x="314" y="1118"/>
                  </a:lnTo>
                  <a:lnTo>
                    <a:pt x="289" y="1103"/>
                  </a:lnTo>
                  <a:lnTo>
                    <a:pt x="265" y="1088"/>
                  </a:lnTo>
                  <a:lnTo>
                    <a:pt x="241" y="1071"/>
                  </a:lnTo>
                  <a:lnTo>
                    <a:pt x="218" y="1053"/>
                  </a:lnTo>
                  <a:lnTo>
                    <a:pt x="196" y="1034"/>
                  </a:lnTo>
                  <a:lnTo>
                    <a:pt x="174" y="1014"/>
                  </a:lnTo>
                  <a:lnTo>
                    <a:pt x="174" y="1014"/>
                  </a:lnTo>
                  <a:lnTo>
                    <a:pt x="153" y="992"/>
                  </a:lnTo>
                  <a:lnTo>
                    <a:pt x="135" y="969"/>
                  </a:lnTo>
                  <a:lnTo>
                    <a:pt x="116" y="947"/>
                  </a:lnTo>
                  <a:lnTo>
                    <a:pt x="100" y="923"/>
                  </a:lnTo>
                  <a:lnTo>
                    <a:pt x="84" y="898"/>
                  </a:lnTo>
                  <a:lnTo>
                    <a:pt x="70" y="873"/>
                  </a:lnTo>
                  <a:lnTo>
                    <a:pt x="57" y="848"/>
                  </a:lnTo>
                  <a:lnTo>
                    <a:pt x="45" y="821"/>
                  </a:lnTo>
                  <a:lnTo>
                    <a:pt x="35" y="794"/>
                  </a:lnTo>
                  <a:lnTo>
                    <a:pt x="26" y="766"/>
                  </a:lnTo>
                  <a:lnTo>
                    <a:pt x="18" y="738"/>
                  </a:lnTo>
                  <a:lnTo>
                    <a:pt x="11" y="711"/>
                  </a:lnTo>
                  <a:lnTo>
                    <a:pt x="7" y="682"/>
                  </a:lnTo>
                  <a:lnTo>
                    <a:pt x="3" y="653"/>
                  </a:lnTo>
                  <a:lnTo>
                    <a:pt x="1" y="623"/>
                  </a:lnTo>
                  <a:lnTo>
                    <a:pt x="0" y="593"/>
                  </a:lnTo>
                  <a:lnTo>
                    <a:pt x="0" y="593"/>
                  </a:lnTo>
                  <a:lnTo>
                    <a:pt x="1" y="564"/>
                  </a:lnTo>
                  <a:lnTo>
                    <a:pt x="3" y="535"/>
                  </a:lnTo>
                  <a:lnTo>
                    <a:pt x="7" y="506"/>
                  </a:lnTo>
                  <a:lnTo>
                    <a:pt x="11" y="477"/>
                  </a:lnTo>
                  <a:lnTo>
                    <a:pt x="18" y="449"/>
                  </a:lnTo>
                  <a:lnTo>
                    <a:pt x="26" y="421"/>
                  </a:lnTo>
                  <a:lnTo>
                    <a:pt x="35" y="393"/>
                  </a:lnTo>
                  <a:lnTo>
                    <a:pt x="45" y="367"/>
                  </a:lnTo>
                  <a:lnTo>
                    <a:pt x="57" y="340"/>
                  </a:lnTo>
                  <a:lnTo>
                    <a:pt x="70" y="314"/>
                  </a:lnTo>
                  <a:lnTo>
                    <a:pt x="84" y="289"/>
                  </a:lnTo>
                  <a:lnTo>
                    <a:pt x="100" y="265"/>
                  </a:lnTo>
                  <a:lnTo>
                    <a:pt x="116" y="241"/>
                  </a:lnTo>
                  <a:lnTo>
                    <a:pt x="135" y="218"/>
                  </a:lnTo>
                  <a:lnTo>
                    <a:pt x="153" y="196"/>
                  </a:lnTo>
                  <a:lnTo>
                    <a:pt x="174" y="174"/>
                  </a:lnTo>
                  <a:lnTo>
                    <a:pt x="174" y="174"/>
                  </a:lnTo>
                  <a:lnTo>
                    <a:pt x="196" y="153"/>
                  </a:lnTo>
                  <a:lnTo>
                    <a:pt x="218" y="135"/>
                  </a:lnTo>
                  <a:lnTo>
                    <a:pt x="241" y="116"/>
                  </a:lnTo>
                  <a:lnTo>
                    <a:pt x="265" y="100"/>
                  </a:lnTo>
                  <a:lnTo>
                    <a:pt x="289" y="84"/>
                  </a:lnTo>
                  <a:lnTo>
                    <a:pt x="314" y="70"/>
                  </a:lnTo>
                  <a:lnTo>
                    <a:pt x="340" y="57"/>
                  </a:lnTo>
                  <a:lnTo>
                    <a:pt x="367" y="45"/>
                  </a:lnTo>
                  <a:lnTo>
                    <a:pt x="394" y="35"/>
                  </a:lnTo>
                  <a:lnTo>
                    <a:pt x="421" y="26"/>
                  </a:lnTo>
                  <a:lnTo>
                    <a:pt x="449" y="18"/>
                  </a:lnTo>
                  <a:lnTo>
                    <a:pt x="477" y="11"/>
                  </a:lnTo>
                  <a:lnTo>
                    <a:pt x="506" y="7"/>
                  </a:lnTo>
                  <a:lnTo>
                    <a:pt x="535" y="3"/>
                  </a:lnTo>
                  <a:lnTo>
                    <a:pt x="565" y="1"/>
                  </a:lnTo>
                  <a:lnTo>
                    <a:pt x="593"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0" name="Rectangle 726">
              <a:extLst>
                <a:ext uri="{FF2B5EF4-FFF2-40B4-BE49-F238E27FC236}">
                  <a16:creationId xmlns:a16="http://schemas.microsoft.com/office/drawing/2014/main" id="{6BDCB11C-F0BC-316B-3267-0119E86B1086}"/>
                </a:ext>
              </a:extLst>
            </p:cNvPr>
            <p:cNvSpPr>
              <a:spLocks noChangeArrowheads="1"/>
            </p:cNvSpPr>
            <p:nvPr/>
          </p:nvSpPr>
          <p:spPr bwMode="auto">
            <a:xfrm>
              <a:off x="3736976" y="2706688"/>
              <a:ext cx="39688" cy="157163"/>
            </a:xfrm>
            <a:prstGeom prst="rect">
              <a:avLst/>
            </a:prstGeom>
            <a:solidFill>
              <a:srgbClr val="CCBEAC"/>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1" name="Rectangle 727">
              <a:extLst>
                <a:ext uri="{FF2B5EF4-FFF2-40B4-BE49-F238E27FC236}">
                  <a16:creationId xmlns:a16="http://schemas.microsoft.com/office/drawing/2014/main" id="{A748E69E-9833-492D-171D-8759578F4E59}"/>
                </a:ext>
              </a:extLst>
            </p:cNvPr>
            <p:cNvSpPr>
              <a:spLocks noChangeArrowheads="1"/>
            </p:cNvSpPr>
            <p:nvPr/>
          </p:nvSpPr>
          <p:spPr bwMode="auto">
            <a:xfrm>
              <a:off x="3736976" y="2706688"/>
              <a:ext cx="39688" cy="1571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2" name="Rectangle 728">
              <a:extLst>
                <a:ext uri="{FF2B5EF4-FFF2-40B4-BE49-F238E27FC236}">
                  <a16:creationId xmlns:a16="http://schemas.microsoft.com/office/drawing/2014/main" id="{04C346E9-46FF-2849-3544-1543512699A7}"/>
                </a:ext>
              </a:extLst>
            </p:cNvPr>
            <p:cNvSpPr>
              <a:spLocks noChangeArrowheads="1"/>
            </p:cNvSpPr>
            <p:nvPr/>
          </p:nvSpPr>
          <p:spPr bwMode="auto">
            <a:xfrm>
              <a:off x="3717926" y="2759075"/>
              <a:ext cx="77788" cy="209550"/>
            </a:xfrm>
            <a:prstGeom prst="rect">
              <a:avLst/>
            </a:prstGeom>
            <a:solidFill>
              <a:srgbClr val="475059"/>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3" name="Rectangle 729">
              <a:extLst>
                <a:ext uri="{FF2B5EF4-FFF2-40B4-BE49-F238E27FC236}">
                  <a16:creationId xmlns:a16="http://schemas.microsoft.com/office/drawing/2014/main" id="{5FBEAEBF-C14F-0E1F-2771-C029FFD02FEC}"/>
                </a:ext>
              </a:extLst>
            </p:cNvPr>
            <p:cNvSpPr>
              <a:spLocks noChangeArrowheads="1"/>
            </p:cNvSpPr>
            <p:nvPr/>
          </p:nvSpPr>
          <p:spPr bwMode="auto">
            <a:xfrm>
              <a:off x="3717926" y="2759075"/>
              <a:ext cx="77788" cy="2095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4" name="Freeform 730">
              <a:extLst>
                <a:ext uri="{FF2B5EF4-FFF2-40B4-BE49-F238E27FC236}">
                  <a16:creationId xmlns:a16="http://schemas.microsoft.com/office/drawing/2014/main" id="{DBC8F73D-606A-7A5D-2AEB-C283C14CC635}"/>
                </a:ext>
              </a:extLst>
            </p:cNvPr>
            <p:cNvSpPr>
              <a:spLocks/>
            </p:cNvSpPr>
            <p:nvPr/>
          </p:nvSpPr>
          <p:spPr bwMode="auto">
            <a:xfrm>
              <a:off x="3671888" y="2463800"/>
              <a:ext cx="104775" cy="104775"/>
            </a:xfrm>
            <a:custGeom>
              <a:avLst/>
              <a:gdLst/>
              <a:ahLst/>
              <a:cxnLst>
                <a:cxn ang="0">
                  <a:pos x="99" y="527"/>
                </a:cxn>
                <a:cxn ang="0">
                  <a:pos x="79" y="525"/>
                </a:cxn>
                <a:cxn ang="0">
                  <a:pos x="61" y="520"/>
                </a:cxn>
                <a:cxn ang="0">
                  <a:pos x="44" y="511"/>
                </a:cxn>
                <a:cxn ang="0">
                  <a:pos x="30" y="498"/>
                </a:cxn>
                <a:cxn ang="0">
                  <a:pos x="17" y="484"/>
                </a:cxn>
                <a:cxn ang="0">
                  <a:pos x="8" y="467"/>
                </a:cxn>
                <a:cxn ang="0">
                  <a:pos x="2" y="449"/>
                </a:cxn>
                <a:cxn ang="0">
                  <a:pos x="0" y="428"/>
                </a:cxn>
                <a:cxn ang="0">
                  <a:pos x="1" y="408"/>
                </a:cxn>
                <a:cxn ang="0">
                  <a:pos x="5" y="365"/>
                </a:cxn>
                <a:cxn ang="0">
                  <a:pos x="13" y="324"/>
                </a:cxn>
                <a:cxn ang="0">
                  <a:pos x="26" y="284"/>
                </a:cxn>
                <a:cxn ang="0">
                  <a:pos x="41" y="246"/>
                </a:cxn>
                <a:cxn ang="0">
                  <a:pos x="61" y="209"/>
                </a:cxn>
                <a:cxn ang="0">
                  <a:pos x="84" y="174"/>
                </a:cxn>
                <a:cxn ang="0">
                  <a:pos x="111" y="141"/>
                </a:cxn>
                <a:cxn ang="0">
                  <a:pos x="126" y="125"/>
                </a:cxn>
                <a:cxn ang="0">
                  <a:pos x="157" y="97"/>
                </a:cxn>
                <a:cxn ang="0">
                  <a:pos x="191" y="72"/>
                </a:cxn>
                <a:cxn ang="0">
                  <a:pos x="228" y="50"/>
                </a:cxn>
                <a:cxn ang="0">
                  <a:pos x="265" y="33"/>
                </a:cxn>
                <a:cxn ang="0">
                  <a:pos x="304" y="18"/>
                </a:cxn>
                <a:cxn ang="0">
                  <a:pos x="345" y="8"/>
                </a:cxn>
                <a:cxn ang="0">
                  <a:pos x="386" y="2"/>
                </a:cxn>
                <a:cxn ang="0">
                  <a:pos x="428" y="0"/>
                </a:cxn>
                <a:cxn ang="0">
                  <a:pos x="439" y="1"/>
                </a:cxn>
                <a:cxn ang="0">
                  <a:pos x="458" y="5"/>
                </a:cxn>
                <a:cxn ang="0">
                  <a:pos x="476" y="12"/>
                </a:cxn>
                <a:cxn ang="0">
                  <a:pos x="491" y="22"/>
                </a:cxn>
                <a:cxn ang="0">
                  <a:pos x="505" y="36"/>
                </a:cxn>
                <a:cxn ang="0">
                  <a:pos x="516" y="52"/>
                </a:cxn>
                <a:cxn ang="0">
                  <a:pos x="523" y="70"/>
                </a:cxn>
                <a:cxn ang="0">
                  <a:pos x="527" y="89"/>
                </a:cxn>
                <a:cxn ang="0">
                  <a:pos x="527" y="99"/>
                </a:cxn>
                <a:cxn ang="0">
                  <a:pos x="525" y="119"/>
                </a:cxn>
                <a:cxn ang="0">
                  <a:pos x="520" y="138"/>
                </a:cxn>
                <a:cxn ang="0">
                  <a:pos x="511" y="154"/>
                </a:cxn>
                <a:cxn ang="0">
                  <a:pos x="499" y="169"/>
                </a:cxn>
                <a:cxn ang="0">
                  <a:pos x="484" y="181"/>
                </a:cxn>
                <a:cxn ang="0">
                  <a:pos x="468" y="190"/>
                </a:cxn>
                <a:cxn ang="0">
                  <a:pos x="449" y="195"/>
                </a:cxn>
                <a:cxn ang="0">
                  <a:pos x="428" y="197"/>
                </a:cxn>
                <a:cxn ang="0">
                  <a:pos x="406" y="200"/>
                </a:cxn>
                <a:cxn ang="0">
                  <a:pos x="361" y="208"/>
                </a:cxn>
                <a:cxn ang="0">
                  <a:pos x="320" y="225"/>
                </a:cxn>
                <a:cxn ang="0">
                  <a:pos x="283" y="250"/>
                </a:cxn>
                <a:cxn ang="0">
                  <a:pos x="266" y="265"/>
                </a:cxn>
                <a:cxn ang="0">
                  <a:pos x="237" y="300"/>
                </a:cxn>
                <a:cxn ang="0">
                  <a:pos x="215" y="341"/>
                </a:cxn>
                <a:cxn ang="0">
                  <a:pos x="203" y="383"/>
                </a:cxn>
                <a:cxn ang="0">
                  <a:pos x="198" y="428"/>
                </a:cxn>
                <a:cxn ang="0">
                  <a:pos x="198" y="439"/>
                </a:cxn>
                <a:cxn ang="0">
                  <a:pos x="194" y="458"/>
                </a:cxn>
                <a:cxn ang="0">
                  <a:pos x="186" y="476"/>
                </a:cxn>
                <a:cxn ang="0">
                  <a:pos x="175" y="491"/>
                </a:cxn>
                <a:cxn ang="0">
                  <a:pos x="162" y="505"/>
                </a:cxn>
                <a:cxn ang="0">
                  <a:pos x="146" y="516"/>
                </a:cxn>
                <a:cxn ang="0">
                  <a:pos x="129" y="523"/>
                </a:cxn>
                <a:cxn ang="0">
                  <a:pos x="109" y="527"/>
                </a:cxn>
              </a:cxnLst>
              <a:rect l="0" t="0" r="r" b="b"/>
              <a:pathLst>
                <a:path w="527" h="527">
                  <a:moveTo>
                    <a:pt x="99" y="527"/>
                  </a:moveTo>
                  <a:lnTo>
                    <a:pt x="99" y="527"/>
                  </a:lnTo>
                  <a:lnTo>
                    <a:pt x="89" y="527"/>
                  </a:lnTo>
                  <a:lnTo>
                    <a:pt x="79" y="525"/>
                  </a:lnTo>
                  <a:lnTo>
                    <a:pt x="70" y="523"/>
                  </a:lnTo>
                  <a:lnTo>
                    <a:pt x="61" y="520"/>
                  </a:lnTo>
                  <a:lnTo>
                    <a:pt x="52" y="516"/>
                  </a:lnTo>
                  <a:lnTo>
                    <a:pt x="44" y="511"/>
                  </a:lnTo>
                  <a:lnTo>
                    <a:pt x="36" y="505"/>
                  </a:lnTo>
                  <a:lnTo>
                    <a:pt x="30" y="498"/>
                  </a:lnTo>
                  <a:lnTo>
                    <a:pt x="22" y="491"/>
                  </a:lnTo>
                  <a:lnTo>
                    <a:pt x="17" y="484"/>
                  </a:lnTo>
                  <a:lnTo>
                    <a:pt x="12" y="476"/>
                  </a:lnTo>
                  <a:lnTo>
                    <a:pt x="8" y="467"/>
                  </a:lnTo>
                  <a:lnTo>
                    <a:pt x="5" y="458"/>
                  </a:lnTo>
                  <a:lnTo>
                    <a:pt x="2" y="449"/>
                  </a:lnTo>
                  <a:lnTo>
                    <a:pt x="1" y="439"/>
                  </a:lnTo>
                  <a:lnTo>
                    <a:pt x="0" y="428"/>
                  </a:lnTo>
                  <a:lnTo>
                    <a:pt x="0" y="428"/>
                  </a:lnTo>
                  <a:lnTo>
                    <a:pt x="1" y="408"/>
                  </a:lnTo>
                  <a:lnTo>
                    <a:pt x="2" y="386"/>
                  </a:lnTo>
                  <a:lnTo>
                    <a:pt x="5" y="365"/>
                  </a:lnTo>
                  <a:lnTo>
                    <a:pt x="8" y="345"/>
                  </a:lnTo>
                  <a:lnTo>
                    <a:pt x="13" y="324"/>
                  </a:lnTo>
                  <a:lnTo>
                    <a:pt x="18" y="304"/>
                  </a:lnTo>
                  <a:lnTo>
                    <a:pt x="26" y="284"/>
                  </a:lnTo>
                  <a:lnTo>
                    <a:pt x="33" y="264"/>
                  </a:lnTo>
                  <a:lnTo>
                    <a:pt x="41" y="246"/>
                  </a:lnTo>
                  <a:lnTo>
                    <a:pt x="50" y="227"/>
                  </a:lnTo>
                  <a:lnTo>
                    <a:pt x="61" y="209"/>
                  </a:lnTo>
                  <a:lnTo>
                    <a:pt x="72" y="191"/>
                  </a:lnTo>
                  <a:lnTo>
                    <a:pt x="84" y="174"/>
                  </a:lnTo>
                  <a:lnTo>
                    <a:pt x="97" y="157"/>
                  </a:lnTo>
                  <a:lnTo>
                    <a:pt x="111" y="141"/>
                  </a:lnTo>
                  <a:lnTo>
                    <a:pt x="126" y="125"/>
                  </a:lnTo>
                  <a:lnTo>
                    <a:pt x="126" y="125"/>
                  </a:lnTo>
                  <a:lnTo>
                    <a:pt x="141" y="111"/>
                  </a:lnTo>
                  <a:lnTo>
                    <a:pt x="157" y="97"/>
                  </a:lnTo>
                  <a:lnTo>
                    <a:pt x="174" y="84"/>
                  </a:lnTo>
                  <a:lnTo>
                    <a:pt x="191" y="72"/>
                  </a:lnTo>
                  <a:lnTo>
                    <a:pt x="209" y="60"/>
                  </a:lnTo>
                  <a:lnTo>
                    <a:pt x="228" y="50"/>
                  </a:lnTo>
                  <a:lnTo>
                    <a:pt x="246" y="41"/>
                  </a:lnTo>
                  <a:lnTo>
                    <a:pt x="265" y="33"/>
                  </a:lnTo>
                  <a:lnTo>
                    <a:pt x="284" y="25"/>
                  </a:lnTo>
                  <a:lnTo>
                    <a:pt x="304" y="18"/>
                  </a:lnTo>
                  <a:lnTo>
                    <a:pt x="324" y="13"/>
                  </a:lnTo>
                  <a:lnTo>
                    <a:pt x="345" y="8"/>
                  </a:lnTo>
                  <a:lnTo>
                    <a:pt x="366" y="5"/>
                  </a:lnTo>
                  <a:lnTo>
                    <a:pt x="386" y="2"/>
                  </a:lnTo>
                  <a:lnTo>
                    <a:pt x="408" y="1"/>
                  </a:lnTo>
                  <a:lnTo>
                    <a:pt x="428" y="0"/>
                  </a:lnTo>
                  <a:lnTo>
                    <a:pt x="428" y="0"/>
                  </a:lnTo>
                  <a:lnTo>
                    <a:pt x="439" y="1"/>
                  </a:lnTo>
                  <a:lnTo>
                    <a:pt x="449" y="2"/>
                  </a:lnTo>
                  <a:lnTo>
                    <a:pt x="458" y="5"/>
                  </a:lnTo>
                  <a:lnTo>
                    <a:pt x="468" y="8"/>
                  </a:lnTo>
                  <a:lnTo>
                    <a:pt x="476" y="12"/>
                  </a:lnTo>
                  <a:lnTo>
                    <a:pt x="484" y="17"/>
                  </a:lnTo>
                  <a:lnTo>
                    <a:pt x="491" y="22"/>
                  </a:lnTo>
                  <a:lnTo>
                    <a:pt x="499" y="30"/>
                  </a:lnTo>
                  <a:lnTo>
                    <a:pt x="505" y="36"/>
                  </a:lnTo>
                  <a:lnTo>
                    <a:pt x="511" y="44"/>
                  </a:lnTo>
                  <a:lnTo>
                    <a:pt x="516" y="52"/>
                  </a:lnTo>
                  <a:lnTo>
                    <a:pt x="520" y="60"/>
                  </a:lnTo>
                  <a:lnTo>
                    <a:pt x="523" y="70"/>
                  </a:lnTo>
                  <a:lnTo>
                    <a:pt x="525" y="79"/>
                  </a:lnTo>
                  <a:lnTo>
                    <a:pt x="527" y="89"/>
                  </a:lnTo>
                  <a:lnTo>
                    <a:pt x="527" y="99"/>
                  </a:lnTo>
                  <a:lnTo>
                    <a:pt x="527" y="99"/>
                  </a:lnTo>
                  <a:lnTo>
                    <a:pt x="527" y="109"/>
                  </a:lnTo>
                  <a:lnTo>
                    <a:pt x="525" y="119"/>
                  </a:lnTo>
                  <a:lnTo>
                    <a:pt x="523" y="128"/>
                  </a:lnTo>
                  <a:lnTo>
                    <a:pt x="520" y="138"/>
                  </a:lnTo>
                  <a:lnTo>
                    <a:pt x="516" y="146"/>
                  </a:lnTo>
                  <a:lnTo>
                    <a:pt x="511" y="154"/>
                  </a:lnTo>
                  <a:lnTo>
                    <a:pt x="505" y="161"/>
                  </a:lnTo>
                  <a:lnTo>
                    <a:pt x="499" y="169"/>
                  </a:lnTo>
                  <a:lnTo>
                    <a:pt x="491" y="176"/>
                  </a:lnTo>
                  <a:lnTo>
                    <a:pt x="484" y="181"/>
                  </a:lnTo>
                  <a:lnTo>
                    <a:pt x="476" y="186"/>
                  </a:lnTo>
                  <a:lnTo>
                    <a:pt x="468" y="190"/>
                  </a:lnTo>
                  <a:lnTo>
                    <a:pt x="458" y="193"/>
                  </a:lnTo>
                  <a:lnTo>
                    <a:pt x="449" y="195"/>
                  </a:lnTo>
                  <a:lnTo>
                    <a:pt x="439" y="197"/>
                  </a:lnTo>
                  <a:lnTo>
                    <a:pt x="428" y="197"/>
                  </a:lnTo>
                  <a:lnTo>
                    <a:pt x="428" y="197"/>
                  </a:lnTo>
                  <a:lnTo>
                    <a:pt x="406" y="200"/>
                  </a:lnTo>
                  <a:lnTo>
                    <a:pt x="383" y="203"/>
                  </a:lnTo>
                  <a:lnTo>
                    <a:pt x="361" y="208"/>
                  </a:lnTo>
                  <a:lnTo>
                    <a:pt x="341" y="215"/>
                  </a:lnTo>
                  <a:lnTo>
                    <a:pt x="320" y="225"/>
                  </a:lnTo>
                  <a:lnTo>
                    <a:pt x="301" y="237"/>
                  </a:lnTo>
                  <a:lnTo>
                    <a:pt x="283" y="250"/>
                  </a:lnTo>
                  <a:lnTo>
                    <a:pt x="266" y="265"/>
                  </a:lnTo>
                  <a:lnTo>
                    <a:pt x="266" y="265"/>
                  </a:lnTo>
                  <a:lnTo>
                    <a:pt x="250" y="283"/>
                  </a:lnTo>
                  <a:lnTo>
                    <a:pt x="237" y="300"/>
                  </a:lnTo>
                  <a:lnTo>
                    <a:pt x="225" y="320"/>
                  </a:lnTo>
                  <a:lnTo>
                    <a:pt x="215" y="341"/>
                  </a:lnTo>
                  <a:lnTo>
                    <a:pt x="208" y="361"/>
                  </a:lnTo>
                  <a:lnTo>
                    <a:pt x="203" y="383"/>
                  </a:lnTo>
                  <a:lnTo>
                    <a:pt x="199" y="406"/>
                  </a:lnTo>
                  <a:lnTo>
                    <a:pt x="198" y="428"/>
                  </a:lnTo>
                  <a:lnTo>
                    <a:pt x="198" y="428"/>
                  </a:lnTo>
                  <a:lnTo>
                    <a:pt x="198" y="439"/>
                  </a:lnTo>
                  <a:lnTo>
                    <a:pt x="196" y="449"/>
                  </a:lnTo>
                  <a:lnTo>
                    <a:pt x="194" y="458"/>
                  </a:lnTo>
                  <a:lnTo>
                    <a:pt x="190" y="467"/>
                  </a:lnTo>
                  <a:lnTo>
                    <a:pt x="186" y="476"/>
                  </a:lnTo>
                  <a:lnTo>
                    <a:pt x="181" y="484"/>
                  </a:lnTo>
                  <a:lnTo>
                    <a:pt x="175" y="491"/>
                  </a:lnTo>
                  <a:lnTo>
                    <a:pt x="169" y="498"/>
                  </a:lnTo>
                  <a:lnTo>
                    <a:pt x="162" y="505"/>
                  </a:lnTo>
                  <a:lnTo>
                    <a:pt x="154" y="511"/>
                  </a:lnTo>
                  <a:lnTo>
                    <a:pt x="146" y="516"/>
                  </a:lnTo>
                  <a:lnTo>
                    <a:pt x="138" y="520"/>
                  </a:lnTo>
                  <a:lnTo>
                    <a:pt x="129" y="523"/>
                  </a:lnTo>
                  <a:lnTo>
                    <a:pt x="119" y="525"/>
                  </a:lnTo>
                  <a:lnTo>
                    <a:pt x="109" y="527"/>
                  </a:lnTo>
                  <a:lnTo>
                    <a:pt x="99" y="527"/>
                  </a:lnTo>
                  <a:close/>
                </a:path>
              </a:pathLst>
            </a:custGeom>
            <a:solidFill>
              <a:srgbClr val="FFEED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36" name="Freeform 731">
              <a:extLst>
                <a:ext uri="{FF2B5EF4-FFF2-40B4-BE49-F238E27FC236}">
                  <a16:creationId xmlns:a16="http://schemas.microsoft.com/office/drawing/2014/main" id="{06D04251-CEAB-0615-DCDC-2F95DBFB0ABF}"/>
                </a:ext>
              </a:extLst>
            </p:cNvPr>
            <p:cNvSpPr>
              <a:spLocks/>
            </p:cNvSpPr>
            <p:nvPr/>
          </p:nvSpPr>
          <p:spPr bwMode="auto">
            <a:xfrm>
              <a:off x="3671888" y="2463800"/>
              <a:ext cx="104775" cy="104775"/>
            </a:xfrm>
            <a:custGeom>
              <a:avLst/>
              <a:gdLst/>
              <a:ahLst/>
              <a:cxnLst>
                <a:cxn ang="0">
                  <a:pos x="99" y="527"/>
                </a:cxn>
                <a:cxn ang="0">
                  <a:pos x="79" y="525"/>
                </a:cxn>
                <a:cxn ang="0">
                  <a:pos x="61" y="520"/>
                </a:cxn>
                <a:cxn ang="0">
                  <a:pos x="44" y="511"/>
                </a:cxn>
                <a:cxn ang="0">
                  <a:pos x="30" y="498"/>
                </a:cxn>
                <a:cxn ang="0">
                  <a:pos x="17" y="484"/>
                </a:cxn>
                <a:cxn ang="0">
                  <a:pos x="8" y="467"/>
                </a:cxn>
                <a:cxn ang="0">
                  <a:pos x="2" y="449"/>
                </a:cxn>
                <a:cxn ang="0">
                  <a:pos x="0" y="428"/>
                </a:cxn>
                <a:cxn ang="0">
                  <a:pos x="1" y="408"/>
                </a:cxn>
                <a:cxn ang="0">
                  <a:pos x="5" y="365"/>
                </a:cxn>
                <a:cxn ang="0">
                  <a:pos x="13" y="324"/>
                </a:cxn>
                <a:cxn ang="0">
                  <a:pos x="26" y="284"/>
                </a:cxn>
                <a:cxn ang="0">
                  <a:pos x="41" y="246"/>
                </a:cxn>
                <a:cxn ang="0">
                  <a:pos x="61" y="209"/>
                </a:cxn>
                <a:cxn ang="0">
                  <a:pos x="84" y="174"/>
                </a:cxn>
                <a:cxn ang="0">
                  <a:pos x="111" y="141"/>
                </a:cxn>
                <a:cxn ang="0">
                  <a:pos x="126" y="125"/>
                </a:cxn>
                <a:cxn ang="0">
                  <a:pos x="157" y="97"/>
                </a:cxn>
                <a:cxn ang="0">
                  <a:pos x="191" y="72"/>
                </a:cxn>
                <a:cxn ang="0">
                  <a:pos x="228" y="50"/>
                </a:cxn>
                <a:cxn ang="0">
                  <a:pos x="265" y="33"/>
                </a:cxn>
                <a:cxn ang="0">
                  <a:pos x="304" y="18"/>
                </a:cxn>
                <a:cxn ang="0">
                  <a:pos x="345" y="8"/>
                </a:cxn>
                <a:cxn ang="0">
                  <a:pos x="386" y="2"/>
                </a:cxn>
                <a:cxn ang="0">
                  <a:pos x="428" y="0"/>
                </a:cxn>
                <a:cxn ang="0">
                  <a:pos x="439" y="1"/>
                </a:cxn>
                <a:cxn ang="0">
                  <a:pos x="458" y="5"/>
                </a:cxn>
                <a:cxn ang="0">
                  <a:pos x="476" y="12"/>
                </a:cxn>
                <a:cxn ang="0">
                  <a:pos x="491" y="22"/>
                </a:cxn>
                <a:cxn ang="0">
                  <a:pos x="505" y="36"/>
                </a:cxn>
                <a:cxn ang="0">
                  <a:pos x="516" y="52"/>
                </a:cxn>
                <a:cxn ang="0">
                  <a:pos x="523" y="70"/>
                </a:cxn>
                <a:cxn ang="0">
                  <a:pos x="527" y="89"/>
                </a:cxn>
                <a:cxn ang="0">
                  <a:pos x="527" y="99"/>
                </a:cxn>
                <a:cxn ang="0">
                  <a:pos x="525" y="119"/>
                </a:cxn>
                <a:cxn ang="0">
                  <a:pos x="520" y="138"/>
                </a:cxn>
                <a:cxn ang="0">
                  <a:pos x="511" y="154"/>
                </a:cxn>
                <a:cxn ang="0">
                  <a:pos x="499" y="169"/>
                </a:cxn>
                <a:cxn ang="0">
                  <a:pos x="484" y="181"/>
                </a:cxn>
                <a:cxn ang="0">
                  <a:pos x="468" y="190"/>
                </a:cxn>
                <a:cxn ang="0">
                  <a:pos x="449" y="195"/>
                </a:cxn>
                <a:cxn ang="0">
                  <a:pos x="428" y="197"/>
                </a:cxn>
                <a:cxn ang="0">
                  <a:pos x="406" y="200"/>
                </a:cxn>
                <a:cxn ang="0">
                  <a:pos x="361" y="208"/>
                </a:cxn>
                <a:cxn ang="0">
                  <a:pos x="320" y="225"/>
                </a:cxn>
                <a:cxn ang="0">
                  <a:pos x="283" y="250"/>
                </a:cxn>
                <a:cxn ang="0">
                  <a:pos x="266" y="265"/>
                </a:cxn>
                <a:cxn ang="0">
                  <a:pos x="237" y="300"/>
                </a:cxn>
                <a:cxn ang="0">
                  <a:pos x="215" y="341"/>
                </a:cxn>
                <a:cxn ang="0">
                  <a:pos x="203" y="383"/>
                </a:cxn>
                <a:cxn ang="0">
                  <a:pos x="198" y="428"/>
                </a:cxn>
                <a:cxn ang="0">
                  <a:pos x="198" y="439"/>
                </a:cxn>
                <a:cxn ang="0">
                  <a:pos x="194" y="458"/>
                </a:cxn>
                <a:cxn ang="0">
                  <a:pos x="186" y="476"/>
                </a:cxn>
                <a:cxn ang="0">
                  <a:pos x="175" y="491"/>
                </a:cxn>
                <a:cxn ang="0">
                  <a:pos x="162" y="505"/>
                </a:cxn>
                <a:cxn ang="0">
                  <a:pos x="146" y="516"/>
                </a:cxn>
                <a:cxn ang="0">
                  <a:pos x="129" y="523"/>
                </a:cxn>
                <a:cxn ang="0">
                  <a:pos x="109" y="527"/>
                </a:cxn>
              </a:cxnLst>
              <a:rect l="0" t="0" r="r" b="b"/>
              <a:pathLst>
                <a:path w="527" h="527">
                  <a:moveTo>
                    <a:pt x="99" y="527"/>
                  </a:moveTo>
                  <a:lnTo>
                    <a:pt x="99" y="527"/>
                  </a:lnTo>
                  <a:lnTo>
                    <a:pt x="89" y="527"/>
                  </a:lnTo>
                  <a:lnTo>
                    <a:pt x="79" y="525"/>
                  </a:lnTo>
                  <a:lnTo>
                    <a:pt x="70" y="523"/>
                  </a:lnTo>
                  <a:lnTo>
                    <a:pt x="61" y="520"/>
                  </a:lnTo>
                  <a:lnTo>
                    <a:pt x="52" y="516"/>
                  </a:lnTo>
                  <a:lnTo>
                    <a:pt x="44" y="511"/>
                  </a:lnTo>
                  <a:lnTo>
                    <a:pt x="36" y="505"/>
                  </a:lnTo>
                  <a:lnTo>
                    <a:pt x="30" y="498"/>
                  </a:lnTo>
                  <a:lnTo>
                    <a:pt x="22" y="491"/>
                  </a:lnTo>
                  <a:lnTo>
                    <a:pt x="17" y="484"/>
                  </a:lnTo>
                  <a:lnTo>
                    <a:pt x="12" y="476"/>
                  </a:lnTo>
                  <a:lnTo>
                    <a:pt x="8" y="467"/>
                  </a:lnTo>
                  <a:lnTo>
                    <a:pt x="5" y="458"/>
                  </a:lnTo>
                  <a:lnTo>
                    <a:pt x="2" y="449"/>
                  </a:lnTo>
                  <a:lnTo>
                    <a:pt x="1" y="439"/>
                  </a:lnTo>
                  <a:lnTo>
                    <a:pt x="0" y="428"/>
                  </a:lnTo>
                  <a:lnTo>
                    <a:pt x="0" y="428"/>
                  </a:lnTo>
                  <a:lnTo>
                    <a:pt x="1" y="408"/>
                  </a:lnTo>
                  <a:lnTo>
                    <a:pt x="2" y="386"/>
                  </a:lnTo>
                  <a:lnTo>
                    <a:pt x="5" y="365"/>
                  </a:lnTo>
                  <a:lnTo>
                    <a:pt x="8" y="345"/>
                  </a:lnTo>
                  <a:lnTo>
                    <a:pt x="13" y="324"/>
                  </a:lnTo>
                  <a:lnTo>
                    <a:pt x="18" y="304"/>
                  </a:lnTo>
                  <a:lnTo>
                    <a:pt x="26" y="284"/>
                  </a:lnTo>
                  <a:lnTo>
                    <a:pt x="33" y="264"/>
                  </a:lnTo>
                  <a:lnTo>
                    <a:pt x="41" y="246"/>
                  </a:lnTo>
                  <a:lnTo>
                    <a:pt x="50" y="227"/>
                  </a:lnTo>
                  <a:lnTo>
                    <a:pt x="61" y="209"/>
                  </a:lnTo>
                  <a:lnTo>
                    <a:pt x="72" y="191"/>
                  </a:lnTo>
                  <a:lnTo>
                    <a:pt x="84" y="174"/>
                  </a:lnTo>
                  <a:lnTo>
                    <a:pt x="97" y="157"/>
                  </a:lnTo>
                  <a:lnTo>
                    <a:pt x="111" y="141"/>
                  </a:lnTo>
                  <a:lnTo>
                    <a:pt x="126" y="125"/>
                  </a:lnTo>
                  <a:lnTo>
                    <a:pt x="126" y="125"/>
                  </a:lnTo>
                  <a:lnTo>
                    <a:pt x="141" y="111"/>
                  </a:lnTo>
                  <a:lnTo>
                    <a:pt x="157" y="97"/>
                  </a:lnTo>
                  <a:lnTo>
                    <a:pt x="174" y="84"/>
                  </a:lnTo>
                  <a:lnTo>
                    <a:pt x="191" y="72"/>
                  </a:lnTo>
                  <a:lnTo>
                    <a:pt x="209" y="60"/>
                  </a:lnTo>
                  <a:lnTo>
                    <a:pt x="228" y="50"/>
                  </a:lnTo>
                  <a:lnTo>
                    <a:pt x="246" y="41"/>
                  </a:lnTo>
                  <a:lnTo>
                    <a:pt x="265" y="33"/>
                  </a:lnTo>
                  <a:lnTo>
                    <a:pt x="284" y="25"/>
                  </a:lnTo>
                  <a:lnTo>
                    <a:pt x="304" y="18"/>
                  </a:lnTo>
                  <a:lnTo>
                    <a:pt x="324" y="13"/>
                  </a:lnTo>
                  <a:lnTo>
                    <a:pt x="345" y="8"/>
                  </a:lnTo>
                  <a:lnTo>
                    <a:pt x="366" y="5"/>
                  </a:lnTo>
                  <a:lnTo>
                    <a:pt x="386" y="2"/>
                  </a:lnTo>
                  <a:lnTo>
                    <a:pt x="408" y="1"/>
                  </a:lnTo>
                  <a:lnTo>
                    <a:pt x="428" y="0"/>
                  </a:lnTo>
                  <a:lnTo>
                    <a:pt x="428" y="0"/>
                  </a:lnTo>
                  <a:lnTo>
                    <a:pt x="439" y="1"/>
                  </a:lnTo>
                  <a:lnTo>
                    <a:pt x="449" y="2"/>
                  </a:lnTo>
                  <a:lnTo>
                    <a:pt x="458" y="5"/>
                  </a:lnTo>
                  <a:lnTo>
                    <a:pt x="468" y="8"/>
                  </a:lnTo>
                  <a:lnTo>
                    <a:pt x="476" y="12"/>
                  </a:lnTo>
                  <a:lnTo>
                    <a:pt x="484" y="17"/>
                  </a:lnTo>
                  <a:lnTo>
                    <a:pt x="491" y="22"/>
                  </a:lnTo>
                  <a:lnTo>
                    <a:pt x="499" y="30"/>
                  </a:lnTo>
                  <a:lnTo>
                    <a:pt x="505" y="36"/>
                  </a:lnTo>
                  <a:lnTo>
                    <a:pt x="511" y="44"/>
                  </a:lnTo>
                  <a:lnTo>
                    <a:pt x="516" y="52"/>
                  </a:lnTo>
                  <a:lnTo>
                    <a:pt x="520" y="60"/>
                  </a:lnTo>
                  <a:lnTo>
                    <a:pt x="523" y="70"/>
                  </a:lnTo>
                  <a:lnTo>
                    <a:pt x="525" y="79"/>
                  </a:lnTo>
                  <a:lnTo>
                    <a:pt x="527" y="89"/>
                  </a:lnTo>
                  <a:lnTo>
                    <a:pt x="527" y="99"/>
                  </a:lnTo>
                  <a:lnTo>
                    <a:pt x="527" y="99"/>
                  </a:lnTo>
                  <a:lnTo>
                    <a:pt x="527" y="109"/>
                  </a:lnTo>
                  <a:lnTo>
                    <a:pt x="525" y="119"/>
                  </a:lnTo>
                  <a:lnTo>
                    <a:pt x="523" y="128"/>
                  </a:lnTo>
                  <a:lnTo>
                    <a:pt x="520" y="138"/>
                  </a:lnTo>
                  <a:lnTo>
                    <a:pt x="516" y="146"/>
                  </a:lnTo>
                  <a:lnTo>
                    <a:pt x="511" y="154"/>
                  </a:lnTo>
                  <a:lnTo>
                    <a:pt x="505" y="161"/>
                  </a:lnTo>
                  <a:lnTo>
                    <a:pt x="499" y="169"/>
                  </a:lnTo>
                  <a:lnTo>
                    <a:pt x="491" y="176"/>
                  </a:lnTo>
                  <a:lnTo>
                    <a:pt x="484" y="181"/>
                  </a:lnTo>
                  <a:lnTo>
                    <a:pt x="476" y="186"/>
                  </a:lnTo>
                  <a:lnTo>
                    <a:pt x="468" y="190"/>
                  </a:lnTo>
                  <a:lnTo>
                    <a:pt x="458" y="193"/>
                  </a:lnTo>
                  <a:lnTo>
                    <a:pt x="449" y="195"/>
                  </a:lnTo>
                  <a:lnTo>
                    <a:pt x="439" y="197"/>
                  </a:lnTo>
                  <a:lnTo>
                    <a:pt x="428" y="197"/>
                  </a:lnTo>
                  <a:lnTo>
                    <a:pt x="428" y="197"/>
                  </a:lnTo>
                  <a:lnTo>
                    <a:pt x="406" y="200"/>
                  </a:lnTo>
                  <a:lnTo>
                    <a:pt x="383" y="203"/>
                  </a:lnTo>
                  <a:lnTo>
                    <a:pt x="361" y="208"/>
                  </a:lnTo>
                  <a:lnTo>
                    <a:pt x="341" y="215"/>
                  </a:lnTo>
                  <a:lnTo>
                    <a:pt x="320" y="225"/>
                  </a:lnTo>
                  <a:lnTo>
                    <a:pt x="301" y="237"/>
                  </a:lnTo>
                  <a:lnTo>
                    <a:pt x="283" y="250"/>
                  </a:lnTo>
                  <a:lnTo>
                    <a:pt x="266" y="265"/>
                  </a:lnTo>
                  <a:lnTo>
                    <a:pt x="266" y="265"/>
                  </a:lnTo>
                  <a:lnTo>
                    <a:pt x="250" y="283"/>
                  </a:lnTo>
                  <a:lnTo>
                    <a:pt x="237" y="300"/>
                  </a:lnTo>
                  <a:lnTo>
                    <a:pt x="225" y="320"/>
                  </a:lnTo>
                  <a:lnTo>
                    <a:pt x="215" y="341"/>
                  </a:lnTo>
                  <a:lnTo>
                    <a:pt x="208" y="361"/>
                  </a:lnTo>
                  <a:lnTo>
                    <a:pt x="203" y="383"/>
                  </a:lnTo>
                  <a:lnTo>
                    <a:pt x="199" y="406"/>
                  </a:lnTo>
                  <a:lnTo>
                    <a:pt x="198" y="428"/>
                  </a:lnTo>
                  <a:lnTo>
                    <a:pt x="198" y="428"/>
                  </a:lnTo>
                  <a:lnTo>
                    <a:pt x="198" y="439"/>
                  </a:lnTo>
                  <a:lnTo>
                    <a:pt x="196" y="449"/>
                  </a:lnTo>
                  <a:lnTo>
                    <a:pt x="194" y="458"/>
                  </a:lnTo>
                  <a:lnTo>
                    <a:pt x="190" y="467"/>
                  </a:lnTo>
                  <a:lnTo>
                    <a:pt x="186" y="476"/>
                  </a:lnTo>
                  <a:lnTo>
                    <a:pt x="181" y="484"/>
                  </a:lnTo>
                  <a:lnTo>
                    <a:pt x="175" y="491"/>
                  </a:lnTo>
                  <a:lnTo>
                    <a:pt x="169" y="498"/>
                  </a:lnTo>
                  <a:lnTo>
                    <a:pt x="162" y="505"/>
                  </a:lnTo>
                  <a:lnTo>
                    <a:pt x="154" y="511"/>
                  </a:lnTo>
                  <a:lnTo>
                    <a:pt x="146" y="516"/>
                  </a:lnTo>
                  <a:lnTo>
                    <a:pt x="138" y="520"/>
                  </a:lnTo>
                  <a:lnTo>
                    <a:pt x="129" y="523"/>
                  </a:lnTo>
                  <a:lnTo>
                    <a:pt x="119" y="525"/>
                  </a:lnTo>
                  <a:lnTo>
                    <a:pt x="109" y="527"/>
                  </a:lnTo>
                  <a:lnTo>
                    <a:pt x="99" y="527"/>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37" name="Freeform 732">
              <a:extLst>
                <a:ext uri="{FF2B5EF4-FFF2-40B4-BE49-F238E27FC236}">
                  <a16:creationId xmlns:a16="http://schemas.microsoft.com/office/drawing/2014/main" id="{24E16BD6-6B6D-F351-4072-4FA8070B778B}"/>
                </a:ext>
              </a:extLst>
            </p:cNvPr>
            <p:cNvSpPr>
              <a:spLocks/>
            </p:cNvSpPr>
            <p:nvPr/>
          </p:nvSpPr>
          <p:spPr bwMode="auto">
            <a:xfrm>
              <a:off x="3600451" y="2392363"/>
              <a:ext cx="157163" cy="314325"/>
            </a:xfrm>
            <a:custGeom>
              <a:avLst/>
              <a:gdLst/>
              <a:ahLst/>
              <a:cxnLst>
                <a:cxn ang="0">
                  <a:pos x="751" y="1"/>
                </a:cxn>
                <a:cxn ang="0">
                  <a:pos x="633" y="17"/>
                </a:cxn>
                <a:cxn ang="0">
                  <a:pos x="519" y="48"/>
                </a:cxn>
                <a:cxn ang="0">
                  <a:pos x="414" y="96"/>
                </a:cxn>
                <a:cxn ang="0">
                  <a:pos x="318" y="158"/>
                </a:cxn>
                <a:cxn ang="0">
                  <a:pos x="232" y="232"/>
                </a:cxn>
                <a:cxn ang="0">
                  <a:pos x="158" y="318"/>
                </a:cxn>
                <a:cxn ang="0">
                  <a:pos x="96" y="414"/>
                </a:cxn>
                <a:cxn ang="0">
                  <a:pos x="49" y="519"/>
                </a:cxn>
                <a:cxn ang="0">
                  <a:pos x="17" y="633"/>
                </a:cxn>
                <a:cxn ang="0">
                  <a:pos x="1" y="751"/>
                </a:cxn>
                <a:cxn ang="0">
                  <a:pos x="1" y="832"/>
                </a:cxn>
                <a:cxn ang="0">
                  <a:pos x="17" y="951"/>
                </a:cxn>
                <a:cxn ang="0">
                  <a:pos x="49" y="1063"/>
                </a:cxn>
                <a:cxn ang="0">
                  <a:pos x="96" y="1168"/>
                </a:cxn>
                <a:cxn ang="0">
                  <a:pos x="158" y="1265"/>
                </a:cxn>
                <a:cxn ang="0">
                  <a:pos x="232" y="1351"/>
                </a:cxn>
                <a:cxn ang="0">
                  <a:pos x="318" y="1426"/>
                </a:cxn>
                <a:cxn ang="0">
                  <a:pos x="414" y="1488"/>
                </a:cxn>
                <a:cxn ang="0">
                  <a:pos x="519" y="1535"/>
                </a:cxn>
                <a:cxn ang="0">
                  <a:pos x="633" y="1567"/>
                </a:cxn>
                <a:cxn ang="0">
                  <a:pos x="751" y="1581"/>
                </a:cxn>
                <a:cxn ang="0">
                  <a:pos x="791" y="1385"/>
                </a:cxn>
                <a:cxn ang="0">
                  <a:pos x="763" y="1385"/>
                </a:cxn>
                <a:cxn ang="0">
                  <a:pos x="675" y="1373"/>
                </a:cxn>
                <a:cxn ang="0">
                  <a:pos x="592" y="1351"/>
                </a:cxn>
                <a:cxn ang="0">
                  <a:pos x="512" y="1316"/>
                </a:cxn>
                <a:cxn ang="0">
                  <a:pos x="439" y="1269"/>
                </a:cxn>
                <a:cxn ang="0">
                  <a:pos x="372" y="1212"/>
                </a:cxn>
                <a:cxn ang="0">
                  <a:pos x="333" y="1167"/>
                </a:cxn>
                <a:cxn ang="0">
                  <a:pos x="282" y="1096"/>
                </a:cxn>
                <a:cxn ang="0">
                  <a:pos x="243" y="1019"/>
                </a:cxn>
                <a:cxn ang="0">
                  <a:pos x="216" y="936"/>
                </a:cxn>
                <a:cxn ang="0">
                  <a:pos x="201" y="851"/>
                </a:cxn>
                <a:cxn ang="0">
                  <a:pos x="198" y="791"/>
                </a:cxn>
                <a:cxn ang="0">
                  <a:pos x="205" y="704"/>
                </a:cxn>
                <a:cxn ang="0">
                  <a:pos x="224" y="619"/>
                </a:cxn>
                <a:cxn ang="0">
                  <a:pos x="255" y="538"/>
                </a:cxn>
                <a:cxn ang="0">
                  <a:pos x="298" y="463"/>
                </a:cxn>
                <a:cxn ang="0">
                  <a:pos x="351" y="394"/>
                </a:cxn>
                <a:cxn ang="0">
                  <a:pos x="394" y="351"/>
                </a:cxn>
                <a:cxn ang="0">
                  <a:pos x="463" y="298"/>
                </a:cxn>
                <a:cxn ang="0">
                  <a:pos x="538" y="255"/>
                </a:cxn>
                <a:cxn ang="0">
                  <a:pos x="619" y="224"/>
                </a:cxn>
                <a:cxn ang="0">
                  <a:pos x="704" y="205"/>
                </a:cxn>
                <a:cxn ang="0">
                  <a:pos x="791" y="198"/>
                </a:cxn>
                <a:cxn ang="0">
                  <a:pos x="791" y="0"/>
                </a:cxn>
              </a:cxnLst>
              <a:rect l="0" t="0" r="r" b="b"/>
              <a:pathLst>
                <a:path w="791" h="1582">
                  <a:moveTo>
                    <a:pt x="791" y="0"/>
                  </a:moveTo>
                  <a:lnTo>
                    <a:pt x="791" y="0"/>
                  </a:lnTo>
                  <a:lnTo>
                    <a:pt x="751" y="1"/>
                  </a:lnTo>
                  <a:lnTo>
                    <a:pt x="711" y="4"/>
                  </a:lnTo>
                  <a:lnTo>
                    <a:pt x="671" y="9"/>
                  </a:lnTo>
                  <a:lnTo>
                    <a:pt x="633" y="17"/>
                  </a:lnTo>
                  <a:lnTo>
                    <a:pt x="594" y="26"/>
                  </a:lnTo>
                  <a:lnTo>
                    <a:pt x="557" y="36"/>
                  </a:lnTo>
                  <a:lnTo>
                    <a:pt x="519" y="48"/>
                  </a:lnTo>
                  <a:lnTo>
                    <a:pt x="483" y="63"/>
                  </a:lnTo>
                  <a:lnTo>
                    <a:pt x="448" y="78"/>
                  </a:lnTo>
                  <a:lnTo>
                    <a:pt x="414" y="96"/>
                  </a:lnTo>
                  <a:lnTo>
                    <a:pt x="381" y="115"/>
                  </a:lnTo>
                  <a:lnTo>
                    <a:pt x="349" y="136"/>
                  </a:lnTo>
                  <a:lnTo>
                    <a:pt x="318" y="158"/>
                  </a:lnTo>
                  <a:lnTo>
                    <a:pt x="289" y="181"/>
                  </a:lnTo>
                  <a:lnTo>
                    <a:pt x="260" y="206"/>
                  </a:lnTo>
                  <a:lnTo>
                    <a:pt x="232" y="232"/>
                  </a:lnTo>
                  <a:lnTo>
                    <a:pt x="206" y="260"/>
                  </a:lnTo>
                  <a:lnTo>
                    <a:pt x="181" y="289"/>
                  </a:lnTo>
                  <a:lnTo>
                    <a:pt x="158" y="318"/>
                  </a:lnTo>
                  <a:lnTo>
                    <a:pt x="136" y="349"/>
                  </a:lnTo>
                  <a:lnTo>
                    <a:pt x="115" y="381"/>
                  </a:lnTo>
                  <a:lnTo>
                    <a:pt x="96" y="414"/>
                  </a:lnTo>
                  <a:lnTo>
                    <a:pt x="78" y="448"/>
                  </a:lnTo>
                  <a:lnTo>
                    <a:pt x="63" y="483"/>
                  </a:lnTo>
                  <a:lnTo>
                    <a:pt x="49" y="519"/>
                  </a:lnTo>
                  <a:lnTo>
                    <a:pt x="36" y="556"/>
                  </a:lnTo>
                  <a:lnTo>
                    <a:pt x="26" y="593"/>
                  </a:lnTo>
                  <a:lnTo>
                    <a:pt x="17" y="633"/>
                  </a:lnTo>
                  <a:lnTo>
                    <a:pt x="9" y="671"/>
                  </a:lnTo>
                  <a:lnTo>
                    <a:pt x="4" y="711"/>
                  </a:lnTo>
                  <a:lnTo>
                    <a:pt x="1" y="751"/>
                  </a:lnTo>
                  <a:lnTo>
                    <a:pt x="0" y="791"/>
                  </a:lnTo>
                  <a:lnTo>
                    <a:pt x="0" y="791"/>
                  </a:lnTo>
                  <a:lnTo>
                    <a:pt x="1" y="832"/>
                  </a:lnTo>
                  <a:lnTo>
                    <a:pt x="4" y="873"/>
                  </a:lnTo>
                  <a:lnTo>
                    <a:pt x="9" y="912"/>
                  </a:lnTo>
                  <a:lnTo>
                    <a:pt x="17" y="951"/>
                  </a:lnTo>
                  <a:lnTo>
                    <a:pt x="26" y="989"/>
                  </a:lnTo>
                  <a:lnTo>
                    <a:pt x="36" y="1027"/>
                  </a:lnTo>
                  <a:lnTo>
                    <a:pt x="49" y="1063"/>
                  </a:lnTo>
                  <a:lnTo>
                    <a:pt x="63" y="1099"/>
                  </a:lnTo>
                  <a:lnTo>
                    <a:pt x="78" y="1134"/>
                  </a:lnTo>
                  <a:lnTo>
                    <a:pt x="96" y="1168"/>
                  </a:lnTo>
                  <a:lnTo>
                    <a:pt x="115" y="1202"/>
                  </a:lnTo>
                  <a:lnTo>
                    <a:pt x="136" y="1234"/>
                  </a:lnTo>
                  <a:lnTo>
                    <a:pt x="158" y="1265"/>
                  </a:lnTo>
                  <a:lnTo>
                    <a:pt x="181" y="1295"/>
                  </a:lnTo>
                  <a:lnTo>
                    <a:pt x="206" y="1324"/>
                  </a:lnTo>
                  <a:lnTo>
                    <a:pt x="232" y="1351"/>
                  </a:lnTo>
                  <a:lnTo>
                    <a:pt x="260" y="1377"/>
                  </a:lnTo>
                  <a:lnTo>
                    <a:pt x="289" y="1402"/>
                  </a:lnTo>
                  <a:lnTo>
                    <a:pt x="318" y="1426"/>
                  </a:lnTo>
                  <a:lnTo>
                    <a:pt x="349" y="1447"/>
                  </a:lnTo>
                  <a:lnTo>
                    <a:pt x="381" y="1468"/>
                  </a:lnTo>
                  <a:lnTo>
                    <a:pt x="414" y="1488"/>
                  </a:lnTo>
                  <a:lnTo>
                    <a:pt x="448" y="1505"/>
                  </a:lnTo>
                  <a:lnTo>
                    <a:pt x="483" y="1521"/>
                  </a:lnTo>
                  <a:lnTo>
                    <a:pt x="519" y="1535"/>
                  </a:lnTo>
                  <a:lnTo>
                    <a:pt x="557" y="1547"/>
                  </a:lnTo>
                  <a:lnTo>
                    <a:pt x="594" y="1558"/>
                  </a:lnTo>
                  <a:lnTo>
                    <a:pt x="633" y="1567"/>
                  </a:lnTo>
                  <a:lnTo>
                    <a:pt x="671" y="1574"/>
                  </a:lnTo>
                  <a:lnTo>
                    <a:pt x="711" y="1578"/>
                  </a:lnTo>
                  <a:lnTo>
                    <a:pt x="751" y="1581"/>
                  </a:lnTo>
                  <a:lnTo>
                    <a:pt x="791" y="1582"/>
                  </a:lnTo>
                  <a:lnTo>
                    <a:pt x="791" y="1582"/>
                  </a:lnTo>
                  <a:lnTo>
                    <a:pt x="791" y="1385"/>
                  </a:lnTo>
                  <a:lnTo>
                    <a:pt x="791" y="1385"/>
                  </a:lnTo>
                  <a:lnTo>
                    <a:pt x="791" y="1385"/>
                  </a:lnTo>
                  <a:lnTo>
                    <a:pt x="763" y="1385"/>
                  </a:lnTo>
                  <a:lnTo>
                    <a:pt x="733" y="1383"/>
                  </a:lnTo>
                  <a:lnTo>
                    <a:pt x="704" y="1378"/>
                  </a:lnTo>
                  <a:lnTo>
                    <a:pt x="675" y="1373"/>
                  </a:lnTo>
                  <a:lnTo>
                    <a:pt x="647" y="1367"/>
                  </a:lnTo>
                  <a:lnTo>
                    <a:pt x="619" y="1360"/>
                  </a:lnTo>
                  <a:lnTo>
                    <a:pt x="592" y="1351"/>
                  </a:lnTo>
                  <a:lnTo>
                    <a:pt x="565" y="1340"/>
                  </a:lnTo>
                  <a:lnTo>
                    <a:pt x="538" y="1329"/>
                  </a:lnTo>
                  <a:lnTo>
                    <a:pt x="512" y="1316"/>
                  </a:lnTo>
                  <a:lnTo>
                    <a:pt x="487" y="1301"/>
                  </a:lnTo>
                  <a:lnTo>
                    <a:pt x="463" y="1286"/>
                  </a:lnTo>
                  <a:lnTo>
                    <a:pt x="439" y="1269"/>
                  </a:lnTo>
                  <a:lnTo>
                    <a:pt x="416" y="1251"/>
                  </a:lnTo>
                  <a:lnTo>
                    <a:pt x="394" y="1232"/>
                  </a:lnTo>
                  <a:lnTo>
                    <a:pt x="372" y="1212"/>
                  </a:lnTo>
                  <a:lnTo>
                    <a:pt x="372" y="1212"/>
                  </a:lnTo>
                  <a:lnTo>
                    <a:pt x="351" y="1190"/>
                  </a:lnTo>
                  <a:lnTo>
                    <a:pt x="333" y="1167"/>
                  </a:lnTo>
                  <a:lnTo>
                    <a:pt x="314" y="1145"/>
                  </a:lnTo>
                  <a:lnTo>
                    <a:pt x="298" y="1121"/>
                  </a:lnTo>
                  <a:lnTo>
                    <a:pt x="282" y="1096"/>
                  </a:lnTo>
                  <a:lnTo>
                    <a:pt x="268" y="1071"/>
                  </a:lnTo>
                  <a:lnTo>
                    <a:pt x="255" y="1046"/>
                  </a:lnTo>
                  <a:lnTo>
                    <a:pt x="243" y="1019"/>
                  </a:lnTo>
                  <a:lnTo>
                    <a:pt x="233" y="992"/>
                  </a:lnTo>
                  <a:lnTo>
                    <a:pt x="224" y="964"/>
                  </a:lnTo>
                  <a:lnTo>
                    <a:pt x="216" y="936"/>
                  </a:lnTo>
                  <a:lnTo>
                    <a:pt x="209" y="909"/>
                  </a:lnTo>
                  <a:lnTo>
                    <a:pt x="205" y="880"/>
                  </a:lnTo>
                  <a:lnTo>
                    <a:pt x="201" y="851"/>
                  </a:lnTo>
                  <a:lnTo>
                    <a:pt x="199" y="821"/>
                  </a:lnTo>
                  <a:lnTo>
                    <a:pt x="198" y="791"/>
                  </a:lnTo>
                  <a:lnTo>
                    <a:pt x="198" y="791"/>
                  </a:lnTo>
                  <a:lnTo>
                    <a:pt x="199" y="762"/>
                  </a:lnTo>
                  <a:lnTo>
                    <a:pt x="201" y="733"/>
                  </a:lnTo>
                  <a:lnTo>
                    <a:pt x="205" y="704"/>
                  </a:lnTo>
                  <a:lnTo>
                    <a:pt x="209" y="675"/>
                  </a:lnTo>
                  <a:lnTo>
                    <a:pt x="216" y="647"/>
                  </a:lnTo>
                  <a:lnTo>
                    <a:pt x="224" y="619"/>
                  </a:lnTo>
                  <a:lnTo>
                    <a:pt x="233" y="591"/>
                  </a:lnTo>
                  <a:lnTo>
                    <a:pt x="243" y="565"/>
                  </a:lnTo>
                  <a:lnTo>
                    <a:pt x="255" y="538"/>
                  </a:lnTo>
                  <a:lnTo>
                    <a:pt x="268" y="512"/>
                  </a:lnTo>
                  <a:lnTo>
                    <a:pt x="282" y="487"/>
                  </a:lnTo>
                  <a:lnTo>
                    <a:pt x="298" y="463"/>
                  </a:lnTo>
                  <a:lnTo>
                    <a:pt x="314" y="439"/>
                  </a:lnTo>
                  <a:lnTo>
                    <a:pt x="333" y="416"/>
                  </a:lnTo>
                  <a:lnTo>
                    <a:pt x="351" y="394"/>
                  </a:lnTo>
                  <a:lnTo>
                    <a:pt x="372" y="372"/>
                  </a:lnTo>
                  <a:lnTo>
                    <a:pt x="372" y="372"/>
                  </a:lnTo>
                  <a:lnTo>
                    <a:pt x="394" y="351"/>
                  </a:lnTo>
                  <a:lnTo>
                    <a:pt x="416" y="333"/>
                  </a:lnTo>
                  <a:lnTo>
                    <a:pt x="439" y="314"/>
                  </a:lnTo>
                  <a:lnTo>
                    <a:pt x="463" y="298"/>
                  </a:lnTo>
                  <a:lnTo>
                    <a:pt x="487" y="282"/>
                  </a:lnTo>
                  <a:lnTo>
                    <a:pt x="512" y="268"/>
                  </a:lnTo>
                  <a:lnTo>
                    <a:pt x="538" y="255"/>
                  </a:lnTo>
                  <a:lnTo>
                    <a:pt x="565" y="243"/>
                  </a:lnTo>
                  <a:lnTo>
                    <a:pt x="592" y="233"/>
                  </a:lnTo>
                  <a:lnTo>
                    <a:pt x="619" y="224"/>
                  </a:lnTo>
                  <a:lnTo>
                    <a:pt x="647" y="216"/>
                  </a:lnTo>
                  <a:lnTo>
                    <a:pt x="675" y="209"/>
                  </a:lnTo>
                  <a:lnTo>
                    <a:pt x="704" y="205"/>
                  </a:lnTo>
                  <a:lnTo>
                    <a:pt x="733" y="201"/>
                  </a:lnTo>
                  <a:lnTo>
                    <a:pt x="763" y="199"/>
                  </a:lnTo>
                  <a:lnTo>
                    <a:pt x="791" y="198"/>
                  </a:lnTo>
                  <a:lnTo>
                    <a:pt x="791" y="198"/>
                  </a:lnTo>
                  <a:lnTo>
                    <a:pt x="791" y="0"/>
                  </a:lnTo>
                  <a:lnTo>
                    <a:pt x="791" y="0"/>
                  </a:lnTo>
                  <a:close/>
                </a:path>
              </a:pathLst>
            </a:custGeom>
            <a:solidFill>
              <a:srgbClr val="7F807E"/>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38" name="Freeform 733">
              <a:extLst>
                <a:ext uri="{FF2B5EF4-FFF2-40B4-BE49-F238E27FC236}">
                  <a16:creationId xmlns:a16="http://schemas.microsoft.com/office/drawing/2014/main" id="{660C891F-1AFB-5B88-C969-496A07330968}"/>
                </a:ext>
              </a:extLst>
            </p:cNvPr>
            <p:cNvSpPr>
              <a:spLocks/>
            </p:cNvSpPr>
            <p:nvPr/>
          </p:nvSpPr>
          <p:spPr bwMode="auto">
            <a:xfrm>
              <a:off x="3600451" y="2392363"/>
              <a:ext cx="157163" cy="314325"/>
            </a:xfrm>
            <a:custGeom>
              <a:avLst/>
              <a:gdLst/>
              <a:ahLst/>
              <a:cxnLst>
                <a:cxn ang="0">
                  <a:pos x="751" y="1"/>
                </a:cxn>
                <a:cxn ang="0">
                  <a:pos x="633" y="17"/>
                </a:cxn>
                <a:cxn ang="0">
                  <a:pos x="519" y="48"/>
                </a:cxn>
                <a:cxn ang="0">
                  <a:pos x="414" y="96"/>
                </a:cxn>
                <a:cxn ang="0">
                  <a:pos x="318" y="158"/>
                </a:cxn>
                <a:cxn ang="0">
                  <a:pos x="232" y="232"/>
                </a:cxn>
                <a:cxn ang="0">
                  <a:pos x="158" y="318"/>
                </a:cxn>
                <a:cxn ang="0">
                  <a:pos x="96" y="414"/>
                </a:cxn>
                <a:cxn ang="0">
                  <a:pos x="49" y="519"/>
                </a:cxn>
                <a:cxn ang="0">
                  <a:pos x="17" y="633"/>
                </a:cxn>
                <a:cxn ang="0">
                  <a:pos x="1" y="751"/>
                </a:cxn>
                <a:cxn ang="0">
                  <a:pos x="1" y="832"/>
                </a:cxn>
                <a:cxn ang="0">
                  <a:pos x="17" y="951"/>
                </a:cxn>
                <a:cxn ang="0">
                  <a:pos x="49" y="1063"/>
                </a:cxn>
                <a:cxn ang="0">
                  <a:pos x="96" y="1168"/>
                </a:cxn>
                <a:cxn ang="0">
                  <a:pos x="158" y="1265"/>
                </a:cxn>
                <a:cxn ang="0">
                  <a:pos x="232" y="1351"/>
                </a:cxn>
                <a:cxn ang="0">
                  <a:pos x="318" y="1426"/>
                </a:cxn>
                <a:cxn ang="0">
                  <a:pos x="414" y="1488"/>
                </a:cxn>
                <a:cxn ang="0">
                  <a:pos x="519" y="1535"/>
                </a:cxn>
                <a:cxn ang="0">
                  <a:pos x="633" y="1567"/>
                </a:cxn>
                <a:cxn ang="0">
                  <a:pos x="751" y="1581"/>
                </a:cxn>
                <a:cxn ang="0">
                  <a:pos x="791" y="1385"/>
                </a:cxn>
                <a:cxn ang="0">
                  <a:pos x="763" y="1385"/>
                </a:cxn>
                <a:cxn ang="0">
                  <a:pos x="675" y="1373"/>
                </a:cxn>
                <a:cxn ang="0">
                  <a:pos x="592" y="1351"/>
                </a:cxn>
                <a:cxn ang="0">
                  <a:pos x="512" y="1316"/>
                </a:cxn>
                <a:cxn ang="0">
                  <a:pos x="439" y="1269"/>
                </a:cxn>
                <a:cxn ang="0">
                  <a:pos x="372" y="1212"/>
                </a:cxn>
                <a:cxn ang="0">
                  <a:pos x="333" y="1167"/>
                </a:cxn>
                <a:cxn ang="0">
                  <a:pos x="282" y="1096"/>
                </a:cxn>
                <a:cxn ang="0">
                  <a:pos x="243" y="1019"/>
                </a:cxn>
                <a:cxn ang="0">
                  <a:pos x="216" y="936"/>
                </a:cxn>
                <a:cxn ang="0">
                  <a:pos x="201" y="851"/>
                </a:cxn>
                <a:cxn ang="0">
                  <a:pos x="198" y="791"/>
                </a:cxn>
                <a:cxn ang="0">
                  <a:pos x="205" y="704"/>
                </a:cxn>
                <a:cxn ang="0">
                  <a:pos x="224" y="619"/>
                </a:cxn>
                <a:cxn ang="0">
                  <a:pos x="255" y="538"/>
                </a:cxn>
                <a:cxn ang="0">
                  <a:pos x="298" y="463"/>
                </a:cxn>
                <a:cxn ang="0">
                  <a:pos x="351" y="394"/>
                </a:cxn>
                <a:cxn ang="0">
                  <a:pos x="394" y="351"/>
                </a:cxn>
                <a:cxn ang="0">
                  <a:pos x="463" y="298"/>
                </a:cxn>
                <a:cxn ang="0">
                  <a:pos x="538" y="255"/>
                </a:cxn>
                <a:cxn ang="0">
                  <a:pos x="619" y="224"/>
                </a:cxn>
                <a:cxn ang="0">
                  <a:pos x="704" y="205"/>
                </a:cxn>
                <a:cxn ang="0">
                  <a:pos x="791" y="198"/>
                </a:cxn>
                <a:cxn ang="0">
                  <a:pos x="791" y="0"/>
                </a:cxn>
              </a:cxnLst>
              <a:rect l="0" t="0" r="r" b="b"/>
              <a:pathLst>
                <a:path w="791" h="1582">
                  <a:moveTo>
                    <a:pt x="791" y="0"/>
                  </a:moveTo>
                  <a:lnTo>
                    <a:pt x="791" y="0"/>
                  </a:lnTo>
                  <a:lnTo>
                    <a:pt x="751" y="1"/>
                  </a:lnTo>
                  <a:lnTo>
                    <a:pt x="711" y="4"/>
                  </a:lnTo>
                  <a:lnTo>
                    <a:pt x="671" y="9"/>
                  </a:lnTo>
                  <a:lnTo>
                    <a:pt x="633" y="17"/>
                  </a:lnTo>
                  <a:lnTo>
                    <a:pt x="594" y="26"/>
                  </a:lnTo>
                  <a:lnTo>
                    <a:pt x="557" y="36"/>
                  </a:lnTo>
                  <a:lnTo>
                    <a:pt x="519" y="48"/>
                  </a:lnTo>
                  <a:lnTo>
                    <a:pt x="483" y="63"/>
                  </a:lnTo>
                  <a:lnTo>
                    <a:pt x="448" y="78"/>
                  </a:lnTo>
                  <a:lnTo>
                    <a:pt x="414" y="96"/>
                  </a:lnTo>
                  <a:lnTo>
                    <a:pt x="381" y="115"/>
                  </a:lnTo>
                  <a:lnTo>
                    <a:pt x="349" y="136"/>
                  </a:lnTo>
                  <a:lnTo>
                    <a:pt x="318" y="158"/>
                  </a:lnTo>
                  <a:lnTo>
                    <a:pt x="289" y="181"/>
                  </a:lnTo>
                  <a:lnTo>
                    <a:pt x="260" y="206"/>
                  </a:lnTo>
                  <a:lnTo>
                    <a:pt x="232" y="232"/>
                  </a:lnTo>
                  <a:lnTo>
                    <a:pt x="206" y="260"/>
                  </a:lnTo>
                  <a:lnTo>
                    <a:pt x="181" y="289"/>
                  </a:lnTo>
                  <a:lnTo>
                    <a:pt x="158" y="318"/>
                  </a:lnTo>
                  <a:lnTo>
                    <a:pt x="136" y="349"/>
                  </a:lnTo>
                  <a:lnTo>
                    <a:pt x="115" y="381"/>
                  </a:lnTo>
                  <a:lnTo>
                    <a:pt x="96" y="414"/>
                  </a:lnTo>
                  <a:lnTo>
                    <a:pt x="78" y="448"/>
                  </a:lnTo>
                  <a:lnTo>
                    <a:pt x="63" y="483"/>
                  </a:lnTo>
                  <a:lnTo>
                    <a:pt x="49" y="519"/>
                  </a:lnTo>
                  <a:lnTo>
                    <a:pt x="36" y="556"/>
                  </a:lnTo>
                  <a:lnTo>
                    <a:pt x="26" y="593"/>
                  </a:lnTo>
                  <a:lnTo>
                    <a:pt x="17" y="633"/>
                  </a:lnTo>
                  <a:lnTo>
                    <a:pt x="9" y="671"/>
                  </a:lnTo>
                  <a:lnTo>
                    <a:pt x="4" y="711"/>
                  </a:lnTo>
                  <a:lnTo>
                    <a:pt x="1" y="751"/>
                  </a:lnTo>
                  <a:lnTo>
                    <a:pt x="0" y="791"/>
                  </a:lnTo>
                  <a:lnTo>
                    <a:pt x="0" y="791"/>
                  </a:lnTo>
                  <a:lnTo>
                    <a:pt x="1" y="832"/>
                  </a:lnTo>
                  <a:lnTo>
                    <a:pt x="4" y="873"/>
                  </a:lnTo>
                  <a:lnTo>
                    <a:pt x="9" y="912"/>
                  </a:lnTo>
                  <a:lnTo>
                    <a:pt x="17" y="951"/>
                  </a:lnTo>
                  <a:lnTo>
                    <a:pt x="26" y="989"/>
                  </a:lnTo>
                  <a:lnTo>
                    <a:pt x="36" y="1027"/>
                  </a:lnTo>
                  <a:lnTo>
                    <a:pt x="49" y="1063"/>
                  </a:lnTo>
                  <a:lnTo>
                    <a:pt x="63" y="1099"/>
                  </a:lnTo>
                  <a:lnTo>
                    <a:pt x="78" y="1134"/>
                  </a:lnTo>
                  <a:lnTo>
                    <a:pt x="96" y="1168"/>
                  </a:lnTo>
                  <a:lnTo>
                    <a:pt x="115" y="1202"/>
                  </a:lnTo>
                  <a:lnTo>
                    <a:pt x="136" y="1234"/>
                  </a:lnTo>
                  <a:lnTo>
                    <a:pt x="158" y="1265"/>
                  </a:lnTo>
                  <a:lnTo>
                    <a:pt x="181" y="1295"/>
                  </a:lnTo>
                  <a:lnTo>
                    <a:pt x="206" y="1324"/>
                  </a:lnTo>
                  <a:lnTo>
                    <a:pt x="232" y="1351"/>
                  </a:lnTo>
                  <a:lnTo>
                    <a:pt x="260" y="1377"/>
                  </a:lnTo>
                  <a:lnTo>
                    <a:pt x="289" y="1402"/>
                  </a:lnTo>
                  <a:lnTo>
                    <a:pt x="318" y="1426"/>
                  </a:lnTo>
                  <a:lnTo>
                    <a:pt x="349" y="1447"/>
                  </a:lnTo>
                  <a:lnTo>
                    <a:pt x="381" y="1468"/>
                  </a:lnTo>
                  <a:lnTo>
                    <a:pt x="414" y="1488"/>
                  </a:lnTo>
                  <a:lnTo>
                    <a:pt x="448" y="1505"/>
                  </a:lnTo>
                  <a:lnTo>
                    <a:pt x="483" y="1521"/>
                  </a:lnTo>
                  <a:lnTo>
                    <a:pt x="519" y="1535"/>
                  </a:lnTo>
                  <a:lnTo>
                    <a:pt x="557" y="1547"/>
                  </a:lnTo>
                  <a:lnTo>
                    <a:pt x="594" y="1558"/>
                  </a:lnTo>
                  <a:lnTo>
                    <a:pt x="633" y="1567"/>
                  </a:lnTo>
                  <a:lnTo>
                    <a:pt x="671" y="1574"/>
                  </a:lnTo>
                  <a:lnTo>
                    <a:pt x="711" y="1578"/>
                  </a:lnTo>
                  <a:lnTo>
                    <a:pt x="751" y="1581"/>
                  </a:lnTo>
                  <a:lnTo>
                    <a:pt x="791" y="1582"/>
                  </a:lnTo>
                  <a:lnTo>
                    <a:pt x="791" y="1582"/>
                  </a:lnTo>
                  <a:lnTo>
                    <a:pt x="791" y="1385"/>
                  </a:lnTo>
                  <a:lnTo>
                    <a:pt x="791" y="1385"/>
                  </a:lnTo>
                  <a:lnTo>
                    <a:pt x="791" y="1385"/>
                  </a:lnTo>
                  <a:lnTo>
                    <a:pt x="763" y="1385"/>
                  </a:lnTo>
                  <a:lnTo>
                    <a:pt x="733" y="1383"/>
                  </a:lnTo>
                  <a:lnTo>
                    <a:pt x="704" y="1378"/>
                  </a:lnTo>
                  <a:lnTo>
                    <a:pt x="675" y="1373"/>
                  </a:lnTo>
                  <a:lnTo>
                    <a:pt x="647" y="1367"/>
                  </a:lnTo>
                  <a:lnTo>
                    <a:pt x="619" y="1360"/>
                  </a:lnTo>
                  <a:lnTo>
                    <a:pt x="592" y="1351"/>
                  </a:lnTo>
                  <a:lnTo>
                    <a:pt x="565" y="1340"/>
                  </a:lnTo>
                  <a:lnTo>
                    <a:pt x="538" y="1329"/>
                  </a:lnTo>
                  <a:lnTo>
                    <a:pt x="512" y="1316"/>
                  </a:lnTo>
                  <a:lnTo>
                    <a:pt x="487" y="1301"/>
                  </a:lnTo>
                  <a:lnTo>
                    <a:pt x="463" y="1286"/>
                  </a:lnTo>
                  <a:lnTo>
                    <a:pt x="439" y="1269"/>
                  </a:lnTo>
                  <a:lnTo>
                    <a:pt x="416" y="1251"/>
                  </a:lnTo>
                  <a:lnTo>
                    <a:pt x="394" y="1232"/>
                  </a:lnTo>
                  <a:lnTo>
                    <a:pt x="372" y="1212"/>
                  </a:lnTo>
                  <a:lnTo>
                    <a:pt x="372" y="1212"/>
                  </a:lnTo>
                  <a:lnTo>
                    <a:pt x="351" y="1190"/>
                  </a:lnTo>
                  <a:lnTo>
                    <a:pt x="333" y="1167"/>
                  </a:lnTo>
                  <a:lnTo>
                    <a:pt x="314" y="1145"/>
                  </a:lnTo>
                  <a:lnTo>
                    <a:pt x="298" y="1121"/>
                  </a:lnTo>
                  <a:lnTo>
                    <a:pt x="282" y="1096"/>
                  </a:lnTo>
                  <a:lnTo>
                    <a:pt x="268" y="1071"/>
                  </a:lnTo>
                  <a:lnTo>
                    <a:pt x="255" y="1046"/>
                  </a:lnTo>
                  <a:lnTo>
                    <a:pt x="243" y="1019"/>
                  </a:lnTo>
                  <a:lnTo>
                    <a:pt x="233" y="992"/>
                  </a:lnTo>
                  <a:lnTo>
                    <a:pt x="224" y="964"/>
                  </a:lnTo>
                  <a:lnTo>
                    <a:pt x="216" y="936"/>
                  </a:lnTo>
                  <a:lnTo>
                    <a:pt x="209" y="909"/>
                  </a:lnTo>
                  <a:lnTo>
                    <a:pt x="205" y="880"/>
                  </a:lnTo>
                  <a:lnTo>
                    <a:pt x="201" y="851"/>
                  </a:lnTo>
                  <a:lnTo>
                    <a:pt x="199" y="821"/>
                  </a:lnTo>
                  <a:lnTo>
                    <a:pt x="198" y="791"/>
                  </a:lnTo>
                  <a:lnTo>
                    <a:pt x="198" y="791"/>
                  </a:lnTo>
                  <a:lnTo>
                    <a:pt x="199" y="762"/>
                  </a:lnTo>
                  <a:lnTo>
                    <a:pt x="201" y="733"/>
                  </a:lnTo>
                  <a:lnTo>
                    <a:pt x="205" y="704"/>
                  </a:lnTo>
                  <a:lnTo>
                    <a:pt x="209" y="675"/>
                  </a:lnTo>
                  <a:lnTo>
                    <a:pt x="216" y="647"/>
                  </a:lnTo>
                  <a:lnTo>
                    <a:pt x="224" y="619"/>
                  </a:lnTo>
                  <a:lnTo>
                    <a:pt x="233" y="591"/>
                  </a:lnTo>
                  <a:lnTo>
                    <a:pt x="243" y="565"/>
                  </a:lnTo>
                  <a:lnTo>
                    <a:pt x="255" y="538"/>
                  </a:lnTo>
                  <a:lnTo>
                    <a:pt x="268" y="512"/>
                  </a:lnTo>
                  <a:lnTo>
                    <a:pt x="282" y="487"/>
                  </a:lnTo>
                  <a:lnTo>
                    <a:pt x="298" y="463"/>
                  </a:lnTo>
                  <a:lnTo>
                    <a:pt x="314" y="439"/>
                  </a:lnTo>
                  <a:lnTo>
                    <a:pt x="333" y="416"/>
                  </a:lnTo>
                  <a:lnTo>
                    <a:pt x="351" y="394"/>
                  </a:lnTo>
                  <a:lnTo>
                    <a:pt x="372" y="372"/>
                  </a:lnTo>
                  <a:lnTo>
                    <a:pt x="372" y="372"/>
                  </a:lnTo>
                  <a:lnTo>
                    <a:pt x="394" y="351"/>
                  </a:lnTo>
                  <a:lnTo>
                    <a:pt x="416" y="333"/>
                  </a:lnTo>
                  <a:lnTo>
                    <a:pt x="439" y="314"/>
                  </a:lnTo>
                  <a:lnTo>
                    <a:pt x="463" y="298"/>
                  </a:lnTo>
                  <a:lnTo>
                    <a:pt x="487" y="282"/>
                  </a:lnTo>
                  <a:lnTo>
                    <a:pt x="512" y="268"/>
                  </a:lnTo>
                  <a:lnTo>
                    <a:pt x="538" y="255"/>
                  </a:lnTo>
                  <a:lnTo>
                    <a:pt x="565" y="243"/>
                  </a:lnTo>
                  <a:lnTo>
                    <a:pt x="592" y="233"/>
                  </a:lnTo>
                  <a:lnTo>
                    <a:pt x="619" y="224"/>
                  </a:lnTo>
                  <a:lnTo>
                    <a:pt x="647" y="216"/>
                  </a:lnTo>
                  <a:lnTo>
                    <a:pt x="675" y="209"/>
                  </a:lnTo>
                  <a:lnTo>
                    <a:pt x="704" y="205"/>
                  </a:lnTo>
                  <a:lnTo>
                    <a:pt x="733" y="201"/>
                  </a:lnTo>
                  <a:lnTo>
                    <a:pt x="763" y="199"/>
                  </a:lnTo>
                  <a:lnTo>
                    <a:pt x="791" y="198"/>
                  </a:lnTo>
                  <a:lnTo>
                    <a:pt x="791" y="198"/>
                  </a:lnTo>
                  <a:lnTo>
                    <a:pt x="791" y="0"/>
                  </a:lnTo>
                  <a:lnTo>
                    <a:pt x="791"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39" name="Freeform 734">
              <a:extLst>
                <a:ext uri="{FF2B5EF4-FFF2-40B4-BE49-F238E27FC236}">
                  <a16:creationId xmlns:a16="http://schemas.microsoft.com/office/drawing/2014/main" id="{1DD21D5C-52C2-6BCA-6336-1BA941C974B6}"/>
                </a:ext>
              </a:extLst>
            </p:cNvPr>
            <p:cNvSpPr>
              <a:spLocks/>
            </p:cNvSpPr>
            <p:nvPr/>
          </p:nvSpPr>
          <p:spPr bwMode="auto">
            <a:xfrm>
              <a:off x="3638551" y="2432050"/>
              <a:ext cx="119063" cy="234950"/>
            </a:xfrm>
            <a:custGeom>
              <a:avLst/>
              <a:gdLst/>
              <a:ahLst/>
              <a:cxnLst>
                <a:cxn ang="0">
                  <a:pos x="565" y="1"/>
                </a:cxn>
                <a:cxn ang="0">
                  <a:pos x="477" y="11"/>
                </a:cxn>
                <a:cxn ang="0">
                  <a:pos x="394" y="35"/>
                </a:cxn>
                <a:cxn ang="0">
                  <a:pos x="314" y="70"/>
                </a:cxn>
                <a:cxn ang="0">
                  <a:pos x="241" y="116"/>
                </a:cxn>
                <a:cxn ang="0">
                  <a:pos x="174" y="174"/>
                </a:cxn>
                <a:cxn ang="0">
                  <a:pos x="135" y="218"/>
                </a:cxn>
                <a:cxn ang="0">
                  <a:pos x="84" y="289"/>
                </a:cxn>
                <a:cxn ang="0">
                  <a:pos x="45" y="367"/>
                </a:cxn>
                <a:cxn ang="0">
                  <a:pos x="18" y="449"/>
                </a:cxn>
                <a:cxn ang="0">
                  <a:pos x="3" y="535"/>
                </a:cxn>
                <a:cxn ang="0">
                  <a:pos x="0" y="593"/>
                </a:cxn>
                <a:cxn ang="0">
                  <a:pos x="7" y="682"/>
                </a:cxn>
                <a:cxn ang="0">
                  <a:pos x="26" y="766"/>
                </a:cxn>
                <a:cxn ang="0">
                  <a:pos x="57" y="848"/>
                </a:cxn>
                <a:cxn ang="0">
                  <a:pos x="100" y="923"/>
                </a:cxn>
                <a:cxn ang="0">
                  <a:pos x="153" y="992"/>
                </a:cxn>
                <a:cxn ang="0">
                  <a:pos x="196" y="1034"/>
                </a:cxn>
                <a:cxn ang="0">
                  <a:pos x="265" y="1088"/>
                </a:cxn>
                <a:cxn ang="0">
                  <a:pos x="340" y="1131"/>
                </a:cxn>
                <a:cxn ang="0">
                  <a:pos x="421" y="1162"/>
                </a:cxn>
                <a:cxn ang="0">
                  <a:pos x="506" y="1180"/>
                </a:cxn>
                <a:cxn ang="0">
                  <a:pos x="593" y="1187"/>
                </a:cxn>
                <a:cxn ang="0">
                  <a:pos x="593" y="362"/>
                </a:cxn>
                <a:cxn ang="0">
                  <a:pos x="548" y="368"/>
                </a:cxn>
                <a:cxn ang="0">
                  <a:pos x="485" y="390"/>
                </a:cxn>
                <a:cxn ang="0">
                  <a:pos x="431" y="430"/>
                </a:cxn>
                <a:cxn ang="0">
                  <a:pos x="402" y="465"/>
                </a:cxn>
                <a:cxn ang="0">
                  <a:pos x="373" y="526"/>
                </a:cxn>
                <a:cxn ang="0">
                  <a:pos x="363" y="593"/>
                </a:cxn>
                <a:cxn ang="0">
                  <a:pos x="361" y="614"/>
                </a:cxn>
                <a:cxn ang="0">
                  <a:pos x="351" y="641"/>
                </a:cxn>
                <a:cxn ang="0">
                  <a:pos x="334" y="663"/>
                </a:cxn>
                <a:cxn ang="0">
                  <a:pos x="311" y="681"/>
                </a:cxn>
                <a:cxn ang="0">
                  <a:pos x="284" y="690"/>
                </a:cxn>
                <a:cxn ang="0">
                  <a:pos x="264" y="692"/>
                </a:cxn>
                <a:cxn ang="0">
                  <a:pos x="235" y="688"/>
                </a:cxn>
                <a:cxn ang="0">
                  <a:pos x="209" y="676"/>
                </a:cxn>
                <a:cxn ang="0">
                  <a:pos x="187" y="656"/>
                </a:cxn>
                <a:cxn ang="0">
                  <a:pos x="173" y="632"/>
                </a:cxn>
                <a:cxn ang="0">
                  <a:pos x="166" y="604"/>
                </a:cxn>
                <a:cxn ang="0">
                  <a:pos x="166" y="573"/>
                </a:cxn>
                <a:cxn ang="0">
                  <a:pos x="173" y="510"/>
                </a:cxn>
                <a:cxn ang="0">
                  <a:pos x="191" y="449"/>
                </a:cxn>
                <a:cxn ang="0">
                  <a:pos x="215" y="392"/>
                </a:cxn>
                <a:cxn ang="0">
                  <a:pos x="249" y="339"/>
                </a:cxn>
                <a:cxn ang="0">
                  <a:pos x="291" y="290"/>
                </a:cxn>
                <a:cxn ang="0">
                  <a:pos x="322" y="262"/>
                </a:cxn>
                <a:cxn ang="0">
                  <a:pos x="374" y="225"/>
                </a:cxn>
                <a:cxn ang="0">
                  <a:pos x="430" y="198"/>
                </a:cxn>
                <a:cxn ang="0">
                  <a:pos x="489" y="178"/>
                </a:cxn>
                <a:cxn ang="0">
                  <a:pos x="551" y="167"/>
                </a:cxn>
                <a:cxn ang="0">
                  <a:pos x="593" y="165"/>
                </a:cxn>
              </a:cxnLst>
              <a:rect l="0" t="0" r="r" b="b"/>
              <a:pathLst>
                <a:path w="593" h="1187">
                  <a:moveTo>
                    <a:pt x="593" y="0"/>
                  </a:moveTo>
                  <a:lnTo>
                    <a:pt x="593" y="0"/>
                  </a:lnTo>
                  <a:lnTo>
                    <a:pt x="565" y="1"/>
                  </a:lnTo>
                  <a:lnTo>
                    <a:pt x="535" y="3"/>
                  </a:lnTo>
                  <a:lnTo>
                    <a:pt x="506" y="7"/>
                  </a:lnTo>
                  <a:lnTo>
                    <a:pt x="477" y="11"/>
                  </a:lnTo>
                  <a:lnTo>
                    <a:pt x="449" y="18"/>
                  </a:lnTo>
                  <a:lnTo>
                    <a:pt x="421" y="26"/>
                  </a:lnTo>
                  <a:lnTo>
                    <a:pt x="394" y="35"/>
                  </a:lnTo>
                  <a:lnTo>
                    <a:pt x="367" y="45"/>
                  </a:lnTo>
                  <a:lnTo>
                    <a:pt x="340" y="57"/>
                  </a:lnTo>
                  <a:lnTo>
                    <a:pt x="314" y="70"/>
                  </a:lnTo>
                  <a:lnTo>
                    <a:pt x="289" y="84"/>
                  </a:lnTo>
                  <a:lnTo>
                    <a:pt x="265" y="100"/>
                  </a:lnTo>
                  <a:lnTo>
                    <a:pt x="241" y="116"/>
                  </a:lnTo>
                  <a:lnTo>
                    <a:pt x="218" y="135"/>
                  </a:lnTo>
                  <a:lnTo>
                    <a:pt x="196" y="153"/>
                  </a:lnTo>
                  <a:lnTo>
                    <a:pt x="174" y="174"/>
                  </a:lnTo>
                  <a:lnTo>
                    <a:pt x="174" y="174"/>
                  </a:lnTo>
                  <a:lnTo>
                    <a:pt x="153" y="196"/>
                  </a:lnTo>
                  <a:lnTo>
                    <a:pt x="135" y="218"/>
                  </a:lnTo>
                  <a:lnTo>
                    <a:pt x="116" y="241"/>
                  </a:lnTo>
                  <a:lnTo>
                    <a:pt x="100" y="265"/>
                  </a:lnTo>
                  <a:lnTo>
                    <a:pt x="84" y="289"/>
                  </a:lnTo>
                  <a:lnTo>
                    <a:pt x="70" y="314"/>
                  </a:lnTo>
                  <a:lnTo>
                    <a:pt x="57" y="340"/>
                  </a:lnTo>
                  <a:lnTo>
                    <a:pt x="45" y="367"/>
                  </a:lnTo>
                  <a:lnTo>
                    <a:pt x="35" y="393"/>
                  </a:lnTo>
                  <a:lnTo>
                    <a:pt x="26" y="421"/>
                  </a:lnTo>
                  <a:lnTo>
                    <a:pt x="18" y="449"/>
                  </a:lnTo>
                  <a:lnTo>
                    <a:pt x="11" y="477"/>
                  </a:lnTo>
                  <a:lnTo>
                    <a:pt x="7" y="506"/>
                  </a:lnTo>
                  <a:lnTo>
                    <a:pt x="3" y="535"/>
                  </a:lnTo>
                  <a:lnTo>
                    <a:pt x="1" y="564"/>
                  </a:lnTo>
                  <a:lnTo>
                    <a:pt x="0" y="593"/>
                  </a:lnTo>
                  <a:lnTo>
                    <a:pt x="0" y="593"/>
                  </a:lnTo>
                  <a:lnTo>
                    <a:pt x="1" y="623"/>
                  </a:lnTo>
                  <a:lnTo>
                    <a:pt x="3" y="653"/>
                  </a:lnTo>
                  <a:lnTo>
                    <a:pt x="7" y="682"/>
                  </a:lnTo>
                  <a:lnTo>
                    <a:pt x="11" y="711"/>
                  </a:lnTo>
                  <a:lnTo>
                    <a:pt x="18" y="738"/>
                  </a:lnTo>
                  <a:lnTo>
                    <a:pt x="26" y="766"/>
                  </a:lnTo>
                  <a:lnTo>
                    <a:pt x="35" y="794"/>
                  </a:lnTo>
                  <a:lnTo>
                    <a:pt x="45" y="821"/>
                  </a:lnTo>
                  <a:lnTo>
                    <a:pt x="57" y="848"/>
                  </a:lnTo>
                  <a:lnTo>
                    <a:pt x="70" y="873"/>
                  </a:lnTo>
                  <a:lnTo>
                    <a:pt x="84" y="898"/>
                  </a:lnTo>
                  <a:lnTo>
                    <a:pt x="100" y="923"/>
                  </a:lnTo>
                  <a:lnTo>
                    <a:pt x="116" y="947"/>
                  </a:lnTo>
                  <a:lnTo>
                    <a:pt x="135" y="969"/>
                  </a:lnTo>
                  <a:lnTo>
                    <a:pt x="153" y="992"/>
                  </a:lnTo>
                  <a:lnTo>
                    <a:pt x="174" y="1014"/>
                  </a:lnTo>
                  <a:lnTo>
                    <a:pt x="174" y="1014"/>
                  </a:lnTo>
                  <a:lnTo>
                    <a:pt x="196" y="1034"/>
                  </a:lnTo>
                  <a:lnTo>
                    <a:pt x="218" y="1053"/>
                  </a:lnTo>
                  <a:lnTo>
                    <a:pt x="241" y="1071"/>
                  </a:lnTo>
                  <a:lnTo>
                    <a:pt x="265" y="1088"/>
                  </a:lnTo>
                  <a:lnTo>
                    <a:pt x="289" y="1103"/>
                  </a:lnTo>
                  <a:lnTo>
                    <a:pt x="314" y="1118"/>
                  </a:lnTo>
                  <a:lnTo>
                    <a:pt x="340" y="1131"/>
                  </a:lnTo>
                  <a:lnTo>
                    <a:pt x="367" y="1142"/>
                  </a:lnTo>
                  <a:lnTo>
                    <a:pt x="394" y="1153"/>
                  </a:lnTo>
                  <a:lnTo>
                    <a:pt x="421" y="1162"/>
                  </a:lnTo>
                  <a:lnTo>
                    <a:pt x="449" y="1169"/>
                  </a:lnTo>
                  <a:lnTo>
                    <a:pt x="477" y="1175"/>
                  </a:lnTo>
                  <a:lnTo>
                    <a:pt x="506" y="1180"/>
                  </a:lnTo>
                  <a:lnTo>
                    <a:pt x="535" y="1185"/>
                  </a:lnTo>
                  <a:lnTo>
                    <a:pt x="565" y="1187"/>
                  </a:lnTo>
                  <a:lnTo>
                    <a:pt x="593" y="1187"/>
                  </a:lnTo>
                  <a:lnTo>
                    <a:pt x="593" y="1187"/>
                  </a:lnTo>
                  <a:lnTo>
                    <a:pt x="593" y="362"/>
                  </a:lnTo>
                  <a:lnTo>
                    <a:pt x="593" y="362"/>
                  </a:lnTo>
                  <a:lnTo>
                    <a:pt x="593" y="362"/>
                  </a:lnTo>
                  <a:lnTo>
                    <a:pt x="571" y="365"/>
                  </a:lnTo>
                  <a:lnTo>
                    <a:pt x="548" y="368"/>
                  </a:lnTo>
                  <a:lnTo>
                    <a:pt x="526" y="373"/>
                  </a:lnTo>
                  <a:lnTo>
                    <a:pt x="506" y="380"/>
                  </a:lnTo>
                  <a:lnTo>
                    <a:pt x="485" y="390"/>
                  </a:lnTo>
                  <a:lnTo>
                    <a:pt x="466" y="402"/>
                  </a:lnTo>
                  <a:lnTo>
                    <a:pt x="448" y="415"/>
                  </a:lnTo>
                  <a:lnTo>
                    <a:pt x="431" y="430"/>
                  </a:lnTo>
                  <a:lnTo>
                    <a:pt x="431" y="430"/>
                  </a:lnTo>
                  <a:lnTo>
                    <a:pt x="415" y="448"/>
                  </a:lnTo>
                  <a:lnTo>
                    <a:pt x="402" y="465"/>
                  </a:lnTo>
                  <a:lnTo>
                    <a:pt x="390" y="485"/>
                  </a:lnTo>
                  <a:lnTo>
                    <a:pt x="380" y="506"/>
                  </a:lnTo>
                  <a:lnTo>
                    <a:pt x="373" y="526"/>
                  </a:lnTo>
                  <a:lnTo>
                    <a:pt x="368" y="548"/>
                  </a:lnTo>
                  <a:lnTo>
                    <a:pt x="364" y="571"/>
                  </a:lnTo>
                  <a:lnTo>
                    <a:pt x="363" y="593"/>
                  </a:lnTo>
                  <a:lnTo>
                    <a:pt x="363" y="593"/>
                  </a:lnTo>
                  <a:lnTo>
                    <a:pt x="363" y="604"/>
                  </a:lnTo>
                  <a:lnTo>
                    <a:pt x="361" y="614"/>
                  </a:lnTo>
                  <a:lnTo>
                    <a:pt x="359" y="623"/>
                  </a:lnTo>
                  <a:lnTo>
                    <a:pt x="355" y="632"/>
                  </a:lnTo>
                  <a:lnTo>
                    <a:pt x="351" y="641"/>
                  </a:lnTo>
                  <a:lnTo>
                    <a:pt x="346" y="649"/>
                  </a:lnTo>
                  <a:lnTo>
                    <a:pt x="340" y="656"/>
                  </a:lnTo>
                  <a:lnTo>
                    <a:pt x="334" y="663"/>
                  </a:lnTo>
                  <a:lnTo>
                    <a:pt x="327" y="670"/>
                  </a:lnTo>
                  <a:lnTo>
                    <a:pt x="319" y="676"/>
                  </a:lnTo>
                  <a:lnTo>
                    <a:pt x="311" y="681"/>
                  </a:lnTo>
                  <a:lnTo>
                    <a:pt x="303" y="685"/>
                  </a:lnTo>
                  <a:lnTo>
                    <a:pt x="294" y="688"/>
                  </a:lnTo>
                  <a:lnTo>
                    <a:pt x="284" y="690"/>
                  </a:lnTo>
                  <a:lnTo>
                    <a:pt x="274" y="692"/>
                  </a:lnTo>
                  <a:lnTo>
                    <a:pt x="264" y="692"/>
                  </a:lnTo>
                  <a:lnTo>
                    <a:pt x="264" y="692"/>
                  </a:lnTo>
                  <a:lnTo>
                    <a:pt x="254" y="692"/>
                  </a:lnTo>
                  <a:lnTo>
                    <a:pt x="244" y="690"/>
                  </a:lnTo>
                  <a:lnTo>
                    <a:pt x="235" y="688"/>
                  </a:lnTo>
                  <a:lnTo>
                    <a:pt x="226" y="685"/>
                  </a:lnTo>
                  <a:lnTo>
                    <a:pt x="217" y="681"/>
                  </a:lnTo>
                  <a:lnTo>
                    <a:pt x="209" y="676"/>
                  </a:lnTo>
                  <a:lnTo>
                    <a:pt x="201" y="670"/>
                  </a:lnTo>
                  <a:lnTo>
                    <a:pt x="195" y="663"/>
                  </a:lnTo>
                  <a:lnTo>
                    <a:pt x="187" y="656"/>
                  </a:lnTo>
                  <a:lnTo>
                    <a:pt x="182" y="649"/>
                  </a:lnTo>
                  <a:lnTo>
                    <a:pt x="177" y="641"/>
                  </a:lnTo>
                  <a:lnTo>
                    <a:pt x="173" y="632"/>
                  </a:lnTo>
                  <a:lnTo>
                    <a:pt x="170" y="623"/>
                  </a:lnTo>
                  <a:lnTo>
                    <a:pt x="167" y="614"/>
                  </a:lnTo>
                  <a:lnTo>
                    <a:pt x="166" y="604"/>
                  </a:lnTo>
                  <a:lnTo>
                    <a:pt x="165" y="593"/>
                  </a:lnTo>
                  <a:lnTo>
                    <a:pt x="165" y="593"/>
                  </a:lnTo>
                  <a:lnTo>
                    <a:pt x="166" y="573"/>
                  </a:lnTo>
                  <a:lnTo>
                    <a:pt x="167" y="551"/>
                  </a:lnTo>
                  <a:lnTo>
                    <a:pt x="170" y="530"/>
                  </a:lnTo>
                  <a:lnTo>
                    <a:pt x="173" y="510"/>
                  </a:lnTo>
                  <a:lnTo>
                    <a:pt x="178" y="489"/>
                  </a:lnTo>
                  <a:lnTo>
                    <a:pt x="183" y="469"/>
                  </a:lnTo>
                  <a:lnTo>
                    <a:pt x="191" y="449"/>
                  </a:lnTo>
                  <a:lnTo>
                    <a:pt x="198" y="429"/>
                  </a:lnTo>
                  <a:lnTo>
                    <a:pt x="206" y="411"/>
                  </a:lnTo>
                  <a:lnTo>
                    <a:pt x="215" y="392"/>
                  </a:lnTo>
                  <a:lnTo>
                    <a:pt x="226" y="374"/>
                  </a:lnTo>
                  <a:lnTo>
                    <a:pt x="237" y="356"/>
                  </a:lnTo>
                  <a:lnTo>
                    <a:pt x="249" y="339"/>
                  </a:lnTo>
                  <a:lnTo>
                    <a:pt x="262" y="322"/>
                  </a:lnTo>
                  <a:lnTo>
                    <a:pt x="276" y="306"/>
                  </a:lnTo>
                  <a:lnTo>
                    <a:pt x="291" y="290"/>
                  </a:lnTo>
                  <a:lnTo>
                    <a:pt x="291" y="290"/>
                  </a:lnTo>
                  <a:lnTo>
                    <a:pt x="306" y="276"/>
                  </a:lnTo>
                  <a:lnTo>
                    <a:pt x="322" y="262"/>
                  </a:lnTo>
                  <a:lnTo>
                    <a:pt x="339" y="249"/>
                  </a:lnTo>
                  <a:lnTo>
                    <a:pt x="356" y="237"/>
                  </a:lnTo>
                  <a:lnTo>
                    <a:pt x="374" y="225"/>
                  </a:lnTo>
                  <a:lnTo>
                    <a:pt x="393" y="215"/>
                  </a:lnTo>
                  <a:lnTo>
                    <a:pt x="411" y="206"/>
                  </a:lnTo>
                  <a:lnTo>
                    <a:pt x="430" y="198"/>
                  </a:lnTo>
                  <a:lnTo>
                    <a:pt x="449" y="190"/>
                  </a:lnTo>
                  <a:lnTo>
                    <a:pt x="469" y="183"/>
                  </a:lnTo>
                  <a:lnTo>
                    <a:pt x="489" y="178"/>
                  </a:lnTo>
                  <a:lnTo>
                    <a:pt x="510" y="173"/>
                  </a:lnTo>
                  <a:lnTo>
                    <a:pt x="531" y="170"/>
                  </a:lnTo>
                  <a:lnTo>
                    <a:pt x="551" y="167"/>
                  </a:lnTo>
                  <a:lnTo>
                    <a:pt x="573" y="166"/>
                  </a:lnTo>
                  <a:lnTo>
                    <a:pt x="593" y="165"/>
                  </a:lnTo>
                  <a:lnTo>
                    <a:pt x="593" y="165"/>
                  </a:lnTo>
                  <a:lnTo>
                    <a:pt x="593" y="0"/>
                  </a:lnTo>
                  <a:lnTo>
                    <a:pt x="593" y="0"/>
                  </a:lnTo>
                  <a:close/>
                </a:path>
              </a:pathLst>
            </a:custGeom>
            <a:solidFill>
              <a:srgbClr val="77B39E"/>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0" name="Freeform 735">
              <a:extLst>
                <a:ext uri="{FF2B5EF4-FFF2-40B4-BE49-F238E27FC236}">
                  <a16:creationId xmlns:a16="http://schemas.microsoft.com/office/drawing/2014/main" id="{F2A42CCF-0E47-A955-A02F-FD86E0742F34}"/>
                </a:ext>
              </a:extLst>
            </p:cNvPr>
            <p:cNvSpPr>
              <a:spLocks/>
            </p:cNvSpPr>
            <p:nvPr/>
          </p:nvSpPr>
          <p:spPr bwMode="auto">
            <a:xfrm>
              <a:off x="3638551" y="2432050"/>
              <a:ext cx="119063" cy="234950"/>
            </a:xfrm>
            <a:custGeom>
              <a:avLst/>
              <a:gdLst/>
              <a:ahLst/>
              <a:cxnLst>
                <a:cxn ang="0">
                  <a:pos x="565" y="1"/>
                </a:cxn>
                <a:cxn ang="0">
                  <a:pos x="477" y="11"/>
                </a:cxn>
                <a:cxn ang="0">
                  <a:pos x="394" y="35"/>
                </a:cxn>
                <a:cxn ang="0">
                  <a:pos x="314" y="70"/>
                </a:cxn>
                <a:cxn ang="0">
                  <a:pos x="241" y="116"/>
                </a:cxn>
                <a:cxn ang="0">
                  <a:pos x="174" y="174"/>
                </a:cxn>
                <a:cxn ang="0">
                  <a:pos x="135" y="218"/>
                </a:cxn>
                <a:cxn ang="0">
                  <a:pos x="84" y="289"/>
                </a:cxn>
                <a:cxn ang="0">
                  <a:pos x="45" y="367"/>
                </a:cxn>
                <a:cxn ang="0">
                  <a:pos x="18" y="449"/>
                </a:cxn>
                <a:cxn ang="0">
                  <a:pos x="3" y="535"/>
                </a:cxn>
                <a:cxn ang="0">
                  <a:pos x="0" y="593"/>
                </a:cxn>
                <a:cxn ang="0">
                  <a:pos x="7" y="682"/>
                </a:cxn>
                <a:cxn ang="0">
                  <a:pos x="26" y="766"/>
                </a:cxn>
                <a:cxn ang="0">
                  <a:pos x="57" y="848"/>
                </a:cxn>
                <a:cxn ang="0">
                  <a:pos x="100" y="923"/>
                </a:cxn>
                <a:cxn ang="0">
                  <a:pos x="153" y="992"/>
                </a:cxn>
                <a:cxn ang="0">
                  <a:pos x="196" y="1034"/>
                </a:cxn>
                <a:cxn ang="0">
                  <a:pos x="265" y="1088"/>
                </a:cxn>
                <a:cxn ang="0">
                  <a:pos x="340" y="1131"/>
                </a:cxn>
                <a:cxn ang="0">
                  <a:pos x="421" y="1162"/>
                </a:cxn>
                <a:cxn ang="0">
                  <a:pos x="506" y="1180"/>
                </a:cxn>
                <a:cxn ang="0">
                  <a:pos x="593" y="1187"/>
                </a:cxn>
                <a:cxn ang="0">
                  <a:pos x="593" y="362"/>
                </a:cxn>
                <a:cxn ang="0">
                  <a:pos x="548" y="368"/>
                </a:cxn>
                <a:cxn ang="0">
                  <a:pos x="485" y="390"/>
                </a:cxn>
                <a:cxn ang="0">
                  <a:pos x="431" y="430"/>
                </a:cxn>
                <a:cxn ang="0">
                  <a:pos x="402" y="465"/>
                </a:cxn>
                <a:cxn ang="0">
                  <a:pos x="373" y="526"/>
                </a:cxn>
                <a:cxn ang="0">
                  <a:pos x="363" y="593"/>
                </a:cxn>
                <a:cxn ang="0">
                  <a:pos x="361" y="614"/>
                </a:cxn>
                <a:cxn ang="0">
                  <a:pos x="351" y="641"/>
                </a:cxn>
                <a:cxn ang="0">
                  <a:pos x="334" y="663"/>
                </a:cxn>
                <a:cxn ang="0">
                  <a:pos x="311" y="681"/>
                </a:cxn>
                <a:cxn ang="0">
                  <a:pos x="284" y="690"/>
                </a:cxn>
                <a:cxn ang="0">
                  <a:pos x="264" y="692"/>
                </a:cxn>
                <a:cxn ang="0">
                  <a:pos x="235" y="688"/>
                </a:cxn>
                <a:cxn ang="0">
                  <a:pos x="209" y="676"/>
                </a:cxn>
                <a:cxn ang="0">
                  <a:pos x="187" y="656"/>
                </a:cxn>
                <a:cxn ang="0">
                  <a:pos x="173" y="632"/>
                </a:cxn>
                <a:cxn ang="0">
                  <a:pos x="166" y="604"/>
                </a:cxn>
                <a:cxn ang="0">
                  <a:pos x="166" y="573"/>
                </a:cxn>
                <a:cxn ang="0">
                  <a:pos x="173" y="510"/>
                </a:cxn>
                <a:cxn ang="0">
                  <a:pos x="191" y="449"/>
                </a:cxn>
                <a:cxn ang="0">
                  <a:pos x="215" y="392"/>
                </a:cxn>
                <a:cxn ang="0">
                  <a:pos x="249" y="339"/>
                </a:cxn>
                <a:cxn ang="0">
                  <a:pos x="291" y="290"/>
                </a:cxn>
                <a:cxn ang="0">
                  <a:pos x="322" y="262"/>
                </a:cxn>
                <a:cxn ang="0">
                  <a:pos x="374" y="225"/>
                </a:cxn>
                <a:cxn ang="0">
                  <a:pos x="430" y="198"/>
                </a:cxn>
                <a:cxn ang="0">
                  <a:pos x="489" y="178"/>
                </a:cxn>
                <a:cxn ang="0">
                  <a:pos x="551" y="167"/>
                </a:cxn>
                <a:cxn ang="0">
                  <a:pos x="593" y="165"/>
                </a:cxn>
              </a:cxnLst>
              <a:rect l="0" t="0" r="r" b="b"/>
              <a:pathLst>
                <a:path w="593" h="1187">
                  <a:moveTo>
                    <a:pt x="593" y="0"/>
                  </a:moveTo>
                  <a:lnTo>
                    <a:pt x="593" y="0"/>
                  </a:lnTo>
                  <a:lnTo>
                    <a:pt x="565" y="1"/>
                  </a:lnTo>
                  <a:lnTo>
                    <a:pt x="535" y="3"/>
                  </a:lnTo>
                  <a:lnTo>
                    <a:pt x="506" y="7"/>
                  </a:lnTo>
                  <a:lnTo>
                    <a:pt x="477" y="11"/>
                  </a:lnTo>
                  <a:lnTo>
                    <a:pt x="449" y="18"/>
                  </a:lnTo>
                  <a:lnTo>
                    <a:pt x="421" y="26"/>
                  </a:lnTo>
                  <a:lnTo>
                    <a:pt x="394" y="35"/>
                  </a:lnTo>
                  <a:lnTo>
                    <a:pt x="367" y="45"/>
                  </a:lnTo>
                  <a:lnTo>
                    <a:pt x="340" y="57"/>
                  </a:lnTo>
                  <a:lnTo>
                    <a:pt x="314" y="70"/>
                  </a:lnTo>
                  <a:lnTo>
                    <a:pt x="289" y="84"/>
                  </a:lnTo>
                  <a:lnTo>
                    <a:pt x="265" y="100"/>
                  </a:lnTo>
                  <a:lnTo>
                    <a:pt x="241" y="116"/>
                  </a:lnTo>
                  <a:lnTo>
                    <a:pt x="218" y="135"/>
                  </a:lnTo>
                  <a:lnTo>
                    <a:pt x="196" y="153"/>
                  </a:lnTo>
                  <a:lnTo>
                    <a:pt x="174" y="174"/>
                  </a:lnTo>
                  <a:lnTo>
                    <a:pt x="174" y="174"/>
                  </a:lnTo>
                  <a:lnTo>
                    <a:pt x="153" y="196"/>
                  </a:lnTo>
                  <a:lnTo>
                    <a:pt x="135" y="218"/>
                  </a:lnTo>
                  <a:lnTo>
                    <a:pt x="116" y="241"/>
                  </a:lnTo>
                  <a:lnTo>
                    <a:pt x="100" y="265"/>
                  </a:lnTo>
                  <a:lnTo>
                    <a:pt x="84" y="289"/>
                  </a:lnTo>
                  <a:lnTo>
                    <a:pt x="70" y="314"/>
                  </a:lnTo>
                  <a:lnTo>
                    <a:pt x="57" y="340"/>
                  </a:lnTo>
                  <a:lnTo>
                    <a:pt x="45" y="367"/>
                  </a:lnTo>
                  <a:lnTo>
                    <a:pt x="35" y="393"/>
                  </a:lnTo>
                  <a:lnTo>
                    <a:pt x="26" y="421"/>
                  </a:lnTo>
                  <a:lnTo>
                    <a:pt x="18" y="449"/>
                  </a:lnTo>
                  <a:lnTo>
                    <a:pt x="11" y="477"/>
                  </a:lnTo>
                  <a:lnTo>
                    <a:pt x="7" y="506"/>
                  </a:lnTo>
                  <a:lnTo>
                    <a:pt x="3" y="535"/>
                  </a:lnTo>
                  <a:lnTo>
                    <a:pt x="1" y="564"/>
                  </a:lnTo>
                  <a:lnTo>
                    <a:pt x="0" y="593"/>
                  </a:lnTo>
                  <a:lnTo>
                    <a:pt x="0" y="593"/>
                  </a:lnTo>
                  <a:lnTo>
                    <a:pt x="1" y="623"/>
                  </a:lnTo>
                  <a:lnTo>
                    <a:pt x="3" y="653"/>
                  </a:lnTo>
                  <a:lnTo>
                    <a:pt x="7" y="682"/>
                  </a:lnTo>
                  <a:lnTo>
                    <a:pt x="11" y="711"/>
                  </a:lnTo>
                  <a:lnTo>
                    <a:pt x="18" y="738"/>
                  </a:lnTo>
                  <a:lnTo>
                    <a:pt x="26" y="766"/>
                  </a:lnTo>
                  <a:lnTo>
                    <a:pt x="35" y="794"/>
                  </a:lnTo>
                  <a:lnTo>
                    <a:pt x="45" y="821"/>
                  </a:lnTo>
                  <a:lnTo>
                    <a:pt x="57" y="848"/>
                  </a:lnTo>
                  <a:lnTo>
                    <a:pt x="70" y="873"/>
                  </a:lnTo>
                  <a:lnTo>
                    <a:pt x="84" y="898"/>
                  </a:lnTo>
                  <a:lnTo>
                    <a:pt x="100" y="923"/>
                  </a:lnTo>
                  <a:lnTo>
                    <a:pt x="116" y="947"/>
                  </a:lnTo>
                  <a:lnTo>
                    <a:pt x="135" y="969"/>
                  </a:lnTo>
                  <a:lnTo>
                    <a:pt x="153" y="992"/>
                  </a:lnTo>
                  <a:lnTo>
                    <a:pt x="174" y="1014"/>
                  </a:lnTo>
                  <a:lnTo>
                    <a:pt x="174" y="1014"/>
                  </a:lnTo>
                  <a:lnTo>
                    <a:pt x="196" y="1034"/>
                  </a:lnTo>
                  <a:lnTo>
                    <a:pt x="218" y="1053"/>
                  </a:lnTo>
                  <a:lnTo>
                    <a:pt x="241" y="1071"/>
                  </a:lnTo>
                  <a:lnTo>
                    <a:pt x="265" y="1088"/>
                  </a:lnTo>
                  <a:lnTo>
                    <a:pt x="289" y="1103"/>
                  </a:lnTo>
                  <a:lnTo>
                    <a:pt x="314" y="1118"/>
                  </a:lnTo>
                  <a:lnTo>
                    <a:pt x="340" y="1131"/>
                  </a:lnTo>
                  <a:lnTo>
                    <a:pt x="367" y="1142"/>
                  </a:lnTo>
                  <a:lnTo>
                    <a:pt x="394" y="1153"/>
                  </a:lnTo>
                  <a:lnTo>
                    <a:pt x="421" y="1162"/>
                  </a:lnTo>
                  <a:lnTo>
                    <a:pt x="449" y="1169"/>
                  </a:lnTo>
                  <a:lnTo>
                    <a:pt x="477" y="1175"/>
                  </a:lnTo>
                  <a:lnTo>
                    <a:pt x="506" y="1180"/>
                  </a:lnTo>
                  <a:lnTo>
                    <a:pt x="535" y="1185"/>
                  </a:lnTo>
                  <a:lnTo>
                    <a:pt x="565" y="1187"/>
                  </a:lnTo>
                  <a:lnTo>
                    <a:pt x="593" y="1187"/>
                  </a:lnTo>
                  <a:lnTo>
                    <a:pt x="593" y="1187"/>
                  </a:lnTo>
                  <a:lnTo>
                    <a:pt x="593" y="362"/>
                  </a:lnTo>
                  <a:lnTo>
                    <a:pt x="593" y="362"/>
                  </a:lnTo>
                  <a:lnTo>
                    <a:pt x="593" y="362"/>
                  </a:lnTo>
                  <a:lnTo>
                    <a:pt x="571" y="365"/>
                  </a:lnTo>
                  <a:lnTo>
                    <a:pt x="548" y="368"/>
                  </a:lnTo>
                  <a:lnTo>
                    <a:pt x="526" y="373"/>
                  </a:lnTo>
                  <a:lnTo>
                    <a:pt x="506" y="380"/>
                  </a:lnTo>
                  <a:lnTo>
                    <a:pt x="485" y="390"/>
                  </a:lnTo>
                  <a:lnTo>
                    <a:pt x="466" y="402"/>
                  </a:lnTo>
                  <a:lnTo>
                    <a:pt x="448" y="415"/>
                  </a:lnTo>
                  <a:lnTo>
                    <a:pt x="431" y="430"/>
                  </a:lnTo>
                  <a:lnTo>
                    <a:pt x="431" y="430"/>
                  </a:lnTo>
                  <a:lnTo>
                    <a:pt x="415" y="448"/>
                  </a:lnTo>
                  <a:lnTo>
                    <a:pt x="402" y="465"/>
                  </a:lnTo>
                  <a:lnTo>
                    <a:pt x="390" y="485"/>
                  </a:lnTo>
                  <a:lnTo>
                    <a:pt x="380" y="506"/>
                  </a:lnTo>
                  <a:lnTo>
                    <a:pt x="373" y="526"/>
                  </a:lnTo>
                  <a:lnTo>
                    <a:pt x="368" y="548"/>
                  </a:lnTo>
                  <a:lnTo>
                    <a:pt x="364" y="571"/>
                  </a:lnTo>
                  <a:lnTo>
                    <a:pt x="363" y="593"/>
                  </a:lnTo>
                  <a:lnTo>
                    <a:pt x="363" y="593"/>
                  </a:lnTo>
                  <a:lnTo>
                    <a:pt x="363" y="604"/>
                  </a:lnTo>
                  <a:lnTo>
                    <a:pt x="361" y="614"/>
                  </a:lnTo>
                  <a:lnTo>
                    <a:pt x="359" y="623"/>
                  </a:lnTo>
                  <a:lnTo>
                    <a:pt x="355" y="632"/>
                  </a:lnTo>
                  <a:lnTo>
                    <a:pt x="351" y="641"/>
                  </a:lnTo>
                  <a:lnTo>
                    <a:pt x="346" y="649"/>
                  </a:lnTo>
                  <a:lnTo>
                    <a:pt x="340" y="656"/>
                  </a:lnTo>
                  <a:lnTo>
                    <a:pt x="334" y="663"/>
                  </a:lnTo>
                  <a:lnTo>
                    <a:pt x="327" y="670"/>
                  </a:lnTo>
                  <a:lnTo>
                    <a:pt x="319" y="676"/>
                  </a:lnTo>
                  <a:lnTo>
                    <a:pt x="311" y="681"/>
                  </a:lnTo>
                  <a:lnTo>
                    <a:pt x="303" y="685"/>
                  </a:lnTo>
                  <a:lnTo>
                    <a:pt x="294" y="688"/>
                  </a:lnTo>
                  <a:lnTo>
                    <a:pt x="284" y="690"/>
                  </a:lnTo>
                  <a:lnTo>
                    <a:pt x="274" y="692"/>
                  </a:lnTo>
                  <a:lnTo>
                    <a:pt x="264" y="692"/>
                  </a:lnTo>
                  <a:lnTo>
                    <a:pt x="264" y="692"/>
                  </a:lnTo>
                  <a:lnTo>
                    <a:pt x="254" y="692"/>
                  </a:lnTo>
                  <a:lnTo>
                    <a:pt x="244" y="690"/>
                  </a:lnTo>
                  <a:lnTo>
                    <a:pt x="235" y="688"/>
                  </a:lnTo>
                  <a:lnTo>
                    <a:pt x="226" y="685"/>
                  </a:lnTo>
                  <a:lnTo>
                    <a:pt x="217" y="681"/>
                  </a:lnTo>
                  <a:lnTo>
                    <a:pt x="209" y="676"/>
                  </a:lnTo>
                  <a:lnTo>
                    <a:pt x="201" y="670"/>
                  </a:lnTo>
                  <a:lnTo>
                    <a:pt x="195" y="663"/>
                  </a:lnTo>
                  <a:lnTo>
                    <a:pt x="187" y="656"/>
                  </a:lnTo>
                  <a:lnTo>
                    <a:pt x="182" y="649"/>
                  </a:lnTo>
                  <a:lnTo>
                    <a:pt x="177" y="641"/>
                  </a:lnTo>
                  <a:lnTo>
                    <a:pt x="173" y="632"/>
                  </a:lnTo>
                  <a:lnTo>
                    <a:pt x="170" y="623"/>
                  </a:lnTo>
                  <a:lnTo>
                    <a:pt x="167" y="614"/>
                  </a:lnTo>
                  <a:lnTo>
                    <a:pt x="166" y="604"/>
                  </a:lnTo>
                  <a:lnTo>
                    <a:pt x="165" y="593"/>
                  </a:lnTo>
                  <a:lnTo>
                    <a:pt x="165" y="593"/>
                  </a:lnTo>
                  <a:lnTo>
                    <a:pt x="166" y="573"/>
                  </a:lnTo>
                  <a:lnTo>
                    <a:pt x="167" y="551"/>
                  </a:lnTo>
                  <a:lnTo>
                    <a:pt x="170" y="530"/>
                  </a:lnTo>
                  <a:lnTo>
                    <a:pt x="173" y="510"/>
                  </a:lnTo>
                  <a:lnTo>
                    <a:pt x="178" y="489"/>
                  </a:lnTo>
                  <a:lnTo>
                    <a:pt x="183" y="469"/>
                  </a:lnTo>
                  <a:lnTo>
                    <a:pt x="191" y="449"/>
                  </a:lnTo>
                  <a:lnTo>
                    <a:pt x="198" y="429"/>
                  </a:lnTo>
                  <a:lnTo>
                    <a:pt x="206" y="411"/>
                  </a:lnTo>
                  <a:lnTo>
                    <a:pt x="215" y="392"/>
                  </a:lnTo>
                  <a:lnTo>
                    <a:pt x="226" y="374"/>
                  </a:lnTo>
                  <a:lnTo>
                    <a:pt x="237" y="356"/>
                  </a:lnTo>
                  <a:lnTo>
                    <a:pt x="249" y="339"/>
                  </a:lnTo>
                  <a:lnTo>
                    <a:pt x="262" y="322"/>
                  </a:lnTo>
                  <a:lnTo>
                    <a:pt x="276" y="306"/>
                  </a:lnTo>
                  <a:lnTo>
                    <a:pt x="291" y="290"/>
                  </a:lnTo>
                  <a:lnTo>
                    <a:pt x="291" y="290"/>
                  </a:lnTo>
                  <a:lnTo>
                    <a:pt x="306" y="276"/>
                  </a:lnTo>
                  <a:lnTo>
                    <a:pt x="322" y="262"/>
                  </a:lnTo>
                  <a:lnTo>
                    <a:pt x="339" y="249"/>
                  </a:lnTo>
                  <a:lnTo>
                    <a:pt x="356" y="237"/>
                  </a:lnTo>
                  <a:lnTo>
                    <a:pt x="374" y="225"/>
                  </a:lnTo>
                  <a:lnTo>
                    <a:pt x="393" y="215"/>
                  </a:lnTo>
                  <a:lnTo>
                    <a:pt x="411" y="206"/>
                  </a:lnTo>
                  <a:lnTo>
                    <a:pt x="430" y="198"/>
                  </a:lnTo>
                  <a:lnTo>
                    <a:pt x="449" y="190"/>
                  </a:lnTo>
                  <a:lnTo>
                    <a:pt x="469" y="183"/>
                  </a:lnTo>
                  <a:lnTo>
                    <a:pt x="489" y="178"/>
                  </a:lnTo>
                  <a:lnTo>
                    <a:pt x="510" y="173"/>
                  </a:lnTo>
                  <a:lnTo>
                    <a:pt x="531" y="170"/>
                  </a:lnTo>
                  <a:lnTo>
                    <a:pt x="551" y="167"/>
                  </a:lnTo>
                  <a:lnTo>
                    <a:pt x="573" y="166"/>
                  </a:lnTo>
                  <a:lnTo>
                    <a:pt x="593" y="165"/>
                  </a:lnTo>
                  <a:lnTo>
                    <a:pt x="593" y="165"/>
                  </a:lnTo>
                  <a:lnTo>
                    <a:pt x="593" y="0"/>
                  </a:lnTo>
                  <a:lnTo>
                    <a:pt x="593"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1" name="Freeform 736">
              <a:extLst>
                <a:ext uri="{FF2B5EF4-FFF2-40B4-BE49-F238E27FC236}">
                  <a16:creationId xmlns:a16="http://schemas.microsoft.com/office/drawing/2014/main" id="{E51988AE-D598-611C-EAAF-5718A8C76457}"/>
                </a:ext>
              </a:extLst>
            </p:cNvPr>
            <p:cNvSpPr>
              <a:spLocks/>
            </p:cNvSpPr>
            <p:nvPr/>
          </p:nvSpPr>
          <p:spPr bwMode="auto">
            <a:xfrm>
              <a:off x="3671888" y="2463800"/>
              <a:ext cx="85725" cy="104775"/>
            </a:xfrm>
            <a:custGeom>
              <a:avLst/>
              <a:gdLst/>
              <a:ahLst/>
              <a:cxnLst>
                <a:cxn ang="0">
                  <a:pos x="428" y="0"/>
                </a:cxn>
                <a:cxn ang="0">
                  <a:pos x="386" y="2"/>
                </a:cxn>
                <a:cxn ang="0">
                  <a:pos x="345" y="8"/>
                </a:cxn>
                <a:cxn ang="0">
                  <a:pos x="304" y="18"/>
                </a:cxn>
                <a:cxn ang="0">
                  <a:pos x="265" y="33"/>
                </a:cxn>
                <a:cxn ang="0">
                  <a:pos x="228" y="50"/>
                </a:cxn>
                <a:cxn ang="0">
                  <a:pos x="191" y="72"/>
                </a:cxn>
                <a:cxn ang="0">
                  <a:pos x="157" y="97"/>
                </a:cxn>
                <a:cxn ang="0">
                  <a:pos x="126" y="125"/>
                </a:cxn>
                <a:cxn ang="0">
                  <a:pos x="111" y="141"/>
                </a:cxn>
                <a:cxn ang="0">
                  <a:pos x="84" y="174"/>
                </a:cxn>
                <a:cxn ang="0">
                  <a:pos x="61" y="209"/>
                </a:cxn>
                <a:cxn ang="0">
                  <a:pos x="41" y="246"/>
                </a:cxn>
                <a:cxn ang="0">
                  <a:pos x="26" y="284"/>
                </a:cxn>
                <a:cxn ang="0">
                  <a:pos x="13" y="324"/>
                </a:cxn>
                <a:cxn ang="0">
                  <a:pos x="5" y="365"/>
                </a:cxn>
                <a:cxn ang="0">
                  <a:pos x="1" y="408"/>
                </a:cxn>
                <a:cxn ang="0">
                  <a:pos x="0" y="428"/>
                </a:cxn>
                <a:cxn ang="0">
                  <a:pos x="2" y="449"/>
                </a:cxn>
                <a:cxn ang="0">
                  <a:pos x="8" y="467"/>
                </a:cxn>
                <a:cxn ang="0">
                  <a:pos x="17" y="484"/>
                </a:cxn>
                <a:cxn ang="0">
                  <a:pos x="30" y="498"/>
                </a:cxn>
                <a:cxn ang="0">
                  <a:pos x="44" y="511"/>
                </a:cxn>
                <a:cxn ang="0">
                  <a:pos x="61" y="520"/>
                </a:cxn>
                <a:cxn ang="0">
                  <a:pos x="79" y="525"/>
                </a:cxn>
                <a:cxn ang="0">
                  <a:pos x="99" y="527"/>
                </a:cxn>
                <a:cxn ang="0">
                  <a:pos x="109" y="527"/>
                </a:cxn>
                <a:cxn ang="0">
                  <a:pos x="129" y="523"/>
                </a:cxn>
                <a:cxn ang="0">
                  <a:pos x="146" y="516"/>
                </a:cxn>
                <a:cxn ang="0">
                  <a:pos x="162" y="505"/>
                </a:cxn>
                <a:cxn ang="0">
                  <a:pos x="175" y="491"/>
                </a:cxn>
                <a:cxn ang="0">
                  <a:pos x="186" y="476"/>
                </a:cxn>
                <a:cxn ang="0">
                  <a:pos x="194" y="458"/>
                </a:cxn>
                <a:cxn ang="0">
                  <a:pos x="198" y="439"/>
                </a:cxn>
                <a:cxn ang="0">
                  <a:pos x="198" y="428"/>
                </a:cxn>
                <a:cxn ang="0">
                  <a:pos x="203" y="383"/>
                </a:cxn>
                <a:cxn ang="0">
                  <a:pos x="215" y="341"/>
                </a:cxn>
                <a:cxn ang="0">
                  <a:pos x="237" y="300"/>
                </a:cxn>
                <a:cxn ang="0">
                  <a:pos x="266" y="265"/>
                </a:cxn>
                <a:cxn ang="0">
                  <a:pos x="283" y="250"/>
                </a:cxn>
                <a:cxn ang="0">
                  <a:pos x="320" y="225"/>
                </a:cxn>
                <a:cxn ang="0">
                  <a:pos x="361" y="208"/>
                </a:cxn>
                <a:cxn ang="0">
                  <a:pos x="406" y="200"/>
                </a:cxn>
                <a:cxn ang="0">
                  <a:pos x="428" y="197"/>
                </a:cxn>
                <a:cxn ang="0">
                  <a:pos x="428" y="0"/>
                </a:cxn>
              </a:cxnLst>
              <a:rect l="0" t="0" r="r" b="b"/>
              <a:pathLst>
                <a:path w="428" h="527">
                  <a:moveTo>
                    <a:pt x="428" y="0"/>
                  </a:moveTo>
                  <a:lnTo>
                    <a:pt x="428" y="0"/>
                  </a:lnTo>
                  <a:lnTo>
                    <a:pt x="408" y="1"/>
                  </a:lnTo>
                  <a:lnTo>
                    <a:pt x="386" y="2"/>
                  </a:lnTo>
                  <a:lnTo>
                    <a:pt x="366" y="5"/>
                  </a:lnTo>
                  <a:lnTo>
                    <a:pt x="345" y="8"/>
                  </a:lnTo>
                  <a:lnTo>
                    <a:pt x="324" y="13"/>
                  </a:lnTo>
                  <a:lnTo>
                    <a:pt x="304" y="18"/>
                  </a:lnTo>
                  <a:lnTo>
                    <a:pt x="284" y="25"/>
                  </a:lnTo>
                  <a:lnTo>
                    <a:pt x="265" y="33"/>
                  </a:lnTo>
                  <a:lnTo>
                    <a:pt x="246" y="41"/>
                  </a:lnTo>
                  <a:lnTo>
                    <a:pt x="228" y="50"/>
                  </a:lnTo>
                  <a:lnTo>
                    <a:pt x="209" y="60"/>
                  </a:lnTo>
                  <a:lnTo>
                    <a:pt x="191" y="72"/>
                  </a:lnTo>
                  <a:lnTo>
                    <a:pt x="174" y="84"/>
                  </a:lnTo>
                  <a:lnTo>
                    <a:pt x="157" y="97"/>
                  </a:lnTo>
                  <a:lnTo>
                    <a:pt x="141" y="111"/>
                  </a:lnTo>
                  <a:lnTo>
                    <a:pt x="126" y="125"/>
                  </a:lnTo>
                  <a:lnTo>
                    <a:pt x="126" y="125"/>
                  </a:lnTo>
                  <a:lnTo>
                    <a:pt x="111" y="141"/>
                  </a:lnTo>
                  <a:lnTo>
                    <a:pt x="97" y="157"/>
                  </a:lnTo>
                  <a:lnTo>
                    <a:pt x="84" y="174"/>
                  </a:lnTo>
                  <a:lnTo>
                    <a:pt x="72" y="191"/>
                  </a:lnTo>
                  <a:lnTo>
                    <a:pt x="61" y="209"/>
                  </a:lnTo>
                  <a:lnTo>
                    <a:pt x="50" y="227"/>
                  </a:lnTo>
                  <a:lnTo>
                    <a:pt x="41" y="246"/>
                  </a:lnTo>
                  <a:lnTo>
                    <a:pt x="33" y="264"/>
                  </a:lnTo>
                  <a:lnTo>
                    <a:pt x="26" y="284"/>
                  </a:lnTo>
                  <a:lnTo>
                    <a:pt x="18" y="304"/>
                  </a:lnTo>
                  <a:lnTo>
                    <a:pt x="13" y="324"/>
                  </a:lnTo>
                  <a:lnTo>
                    <a:pt x="8" y="345"/>
                  </a:lnTo>
                  <a:lnTo>
                    <a:pt x="5" y="365"/>
                  </a:lnTo>
                  <a:lnTo>
                    <a:pt x="2" y="386"/>
                  </a:lnTo>
                  <a:lnTo>
                    <a:pt x="1" y="408"/>
                  </a:lnTo>
                  <a:lnTo>
                    <a:pt x="0" y="428"/>
                  </a:lnTo>
                  <a:lnTo>
                    <a:pt x="0" y="428"/>
                  </a:lnTo>
                  <a:lnTo>
                    <a:pt x="1" y="439"/>
                  </a:lnTo>
                  <a:lnTo>
                    <a:pt x="2" y="449"/>
                  </a:lnTo>
                  <a:lnTo>
                    <a:pt x="5" y="458"/>
                  </a:lnTo>
                  <a:lnTo>
                    <a:pt x="8" y="467"/>
                  </a:lnTo>
                  <a:lnTo>
                    <a:pt x="12" y="476"/>
                  </a:lnTo>
                  <a:lnTo>
                    <a:pt x="17" y="484"/>
                  </a:lnTo>
                  <a:lnTo>
                    <a:pt x="22" y="491"/>
                  </a:lnTo>
                  <a:lnTo>
                    <a:pt x="30" y="498"/>
                  </a:lnTo>
                  <a:lnTo>
                    <a:pt x="36" y="505"/>
                  </a:lnTo>
                  <a:lnTo>
                    <a:pt x="44" y="511"/>
                  </a:lnTo>
                  <a:lnTo>
                    <a:pt x="52" y="516"/>
                  </a:lnTo>
                  <a:lnTo>
                    <a:pt x="61" y="520"/>
                  </a:lnTo>
                  <a:lnTo>
                    <a:pt x="70" y="523"/>
                  </a:lnTo>
                  <a:lnTo>
                    <a:pt x="79" y="525"/>
                  </a:lnTo>
                  <a:lnTo>
                    <a:pt x="89" y="527"/>
                  </a:lnTo>
                  <a:lnTo>
                    <a:pt x="99" y="527"/>
                  </a:lnTo>
                  <a:lnTo>
                    <a:pt x="99" y="527"/>
                  </a:lnTo>
                  <a:lnTo>
                    <a:pt x="109" y="527"/>
                  </a:lnTo>
                  <a:lnTo>
                    <a:pt x="119" y="525"/>
                  </a:lnTo>
                  <a:lnTo>
                    <a:pt x="129" y="523"/>
                  </a:lnTo>
                  <a:lnTo>
                    <a:pt x="138" y="520"/>
                  </a:lnTo>
                  <a:lnTo>
                    <a:pt x="146" y="516"/>
                  </a:lnTo>
                  <a:lnTo>
                    <a:pt x="154" y="511"/>
                  </a:lnTo>
                  <a:lnTo>
                    <a:pt x="162" y="505"/>
                  </a:lnTo>
                  <a:lnTo>
                    <a:pt x="169" y="498"/>
                  </a:lnTo>
                  <a:lnTo>
                    <a:pt x="175" y="491"/>
                  </a:lnTo>
                  <a:lnTo>
                    <a:pt x="181" y="484"/>
                  </a:lnTo>
                  <a:lnTo>
                    <a:pt x="186" y="476"/>
                  </a:lnTo>
                  <a:lnTo>
                    <a:pt x="190" y="467"/>
                  </a:lnTo>
                  <a:lnTo>
                    <a:pt x="194" y="458"/>
                  </a:lnTo>
                  <a:lnTo>
                    <a:pt x="196" y="449"/>
                  </a:lnTo>
                  <a:lnTo>
                    <a:pt x="198" y="439"/>
                  </a:lnTo>
                  <a:lnTo>
                    <a:pt x="198" y="428"/>
                  </a:lnTo>
                  <a:lnTo>
                    <a:pt x="198" y="428"/>
                  </a:lnTo>
                  <a:lnTo>
                    <a:pt x="199" y="406"/>
                  </a:lnTo>
                  <a:lnTo>
                    <a:pt x="203" y="383"/>
                  </a:lnTo>
                  <a:lnTo>
                    <a:pt x="208" y="361"/>
                  </a:lnTo>
                  <a:lnTo>
                    <a:pt x="215" y="341"/>
                  </a:lnTo>
                  <a:lnTo>
                    <a:pt x="225" y="320"/>
                  </a:lnTo>
                  <a:lnTo>
                    <a:pt x="237" y="300"/>
                  </a:lnTo>
                  <a:lnTo>
                    <a:pt x="250" y="283"/>
                  </a:lnTo>
                  <a:lnTo>
                    <a:pt x="266" y="265"/>
                  </a:lnTo>
                  <a:lnTo>
                    <a:pt x="266" y="265"/>
                  </a:lnTo>
                  <a:lnTo>
                    <a:pt x="283" y="250"/>
                  </a:lnTo>
                  <a:lnTo>
                    <a:pt x="301" y="237"/>
                  </a:lnTo>
                  <a:lnTo>
                    <a:pt x="320" y="225"/>
                  </a:lnTo>
                  <a:lnTo>
                    <a:pt x="341" y="215"/>
                  </a:lnTo>
                  <a:lnTo>
                    <a:pt x="361" y="208"/>
                  </a:lnTo>
                  <a:lnTo>
                    <a:pt x="383" y="203"/>
                  </a:lnTo>
                  <a:lnTo>
                    <a:pt x="406" y="200"/>
                  </a:lnTo>
                  <a:lnTo>
                    <a:pt x="428" y="197"/>
                  </a:lnTo>
                  <a:lnTo>
                    <a:pt x="428" y="197"/>
                  </a:lnTo>
                  <a:lnTo>
                    <a:pt x="428" y="0"/>
                  </a:lnTo>
                  <a:lnTo>
                    <a:pt x="428" y="0"/>
                  </a:lnTo>
                  <a:close/>
                </a:path>
              </a:pathLst>
            </a:custGeom>
            <a:solidFill>
              <a:srgbClr val="FFEED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2" name="Freeform 737">
              <a:extLst>
                <a:ext uri="{FF2B5EF4-FFF2-40B4-BE49-F238E27FC236}">
                  <a16:creationId xmlns:a16="http://schemas.microsoft.com/office/drawing/2014/main" id="{68A2772A-2868-A432-3787-7662F9639F97}"/>
                </a:ext>
              </a:extLst>
            </p:cNvPr>
            <p:cNvSpPr>
              <a:spLocks/>
            </p:cNvSpPr>
            <p:nvPr/>
          </p:nvSpPr>
          <p:spPr bwMode="auto">
            <a:xfrm>
              <a:off x="3671888" y="2463800"/>
              <a:ext cx="85725" cy="104775"/>
            </a:xfrm>
            <a:custGeom>
              <a:avLst/>
              <a:gdLst/>
              <a:ahLst/>
              <a:cxnLst>
                <a:cxn ang="0">
                  <a:pos x="428" y="0"/>
                </a:cxn>
                <a:cxn ang="0">
                  <a:pos x="386" y="2"/>
                </a:cxn>
                <a:cxn ang="0">
                  <a:pos x="345" y="8"/>
                </a:cxn>
                <a:cxn ang="0">
                  <a:pos x="304" y="18"/>
                </a:cxn>
                <a:cxn ang="0">
                  <a:pos x="265" y="33"/>
                </a:cxn>
                <a:cxn ang="0">
                  <a:pos x="228" y="50"/>
                </a:cxn>
                <a:cxn ang="0">
                  <a:pos x="191" y="72"/>
                </a:cxn>
                <a:cxn ang="0">
                  <a:pos x="157" y="97"/>
                </a:cxn>
                <a:cxn ang="0">
                  <a:pos x="126" y="125"/>
                </a:cxn>
                <a:cxn ang="0">
                  <a:pos x="111" y="141"/>
                </a:cxn>
                <a:cxn ang="0">
                  <a:pos x="84" y="174"/>
                </a:cxn>
                <a:cxn ang="0">
                  <a:pos x="61" y="209"/>
                </a:cxn>
                <a:cxn ang="0">
                  <a:pos x="41" y="246"/>
                </a:cxn>
                <a:cxn ang="0">
                  <a:pos x="26" y="284"/>
                </a:cxn>
                <a:cxn ang="0">
                  <a:pos x="13" y="324"/>
                </a:cxn>
                <a:cxn ang="0">
                  <a:pos x="5" y="365"/>
                </a:cxn>
                <a:cxn ang="0">
                  <a:pos x="1" y="408"/>
                </a:cxn>
                <a:cxn ang="0">
                  <a:pos x="0" y="428"/>
                </a:cxn>
                <a:cxn ang="0">
                  <a:pos x="2" y="449"/>
                </a:cxn>
                <a:cxn ang="0">
                  <a:pos x="8" y="467"/>
                </a:cxn>
                <a:cxn ang="0">
                  <a:pos x="17" y="484"/>
                </a:cxn>
                <a:cxn ang="0">
                  <a:pos x="30" y="498"/>
                </a:cxn>
                <a:cxn ang="0">
                  <a:pos x="44" y="511"/>
                </a:cxn>
                <a:cxn ang="0">
                  <a:pos x="61" y="520"/>
                </a:cxn>
                <a:cxn ang="0">
                  <a:pos x="79" y="525"/>
                </a:cxn>
                <a:cxn ang="0">
                  <a:pos x="99" y="527"/>
                </a:cxn>
                <a:cxn ang="0">
                  <a:pos x="109" y="527"/>
                </a:cxn>
                <a:cxn ang="0">
                  <a:pos x="129" y="523"/>
                </a:cxn>
                <a:cxn ang="0">
                  <a:pos x="146" y="516"/>
                </a:cxn>
                <a:cxn ang="0">
                  <a:pos x="162" y="505"/>
                </a:cxn>
                <a:cxn ang="0">
                  <a:pos x="175" y="491"/>
                </a:cxn>
                <a:cxn ang="0">
                  <a:pos x="186" y="476"/>
                </a:cxn>
                <a:cxn ang="0">
                  <a:pos x="194" y="458"/>
                </a:cxn>
                <a:cxn ang="0">
                  <a:pos x="198" y="439"/>
                </a:cxn>
                <a:cxn ang="0">
                  <a:pos x="198" y="428"/>
                </a:cxn>
                <a:cxn ang="0">
                  <a:pos x="203" y="383"/>
                </a:cxn>
                <a:cxn ang="0">
                  <a:pos x="215" y="341"/>
                </a:cxn>
                <a:cxn ang="0">
                  <a:pos x="237" y="300"/>
                </a:cxn>
                <a:cxn ang="0">
                  <a:pos x="266" y="265"/>
                </a:cxn>
                <a:cxn ang="0">
                  <a:pos x="283" y="250"/>
                </a:cxn>
                <a:cxn ang="0">
                  <a:pos x="320" y="225"/>
                </a:cxn>
                <a:cxn ang="0">
                  <a:pos x="361" y="208"/>
                </a:cxn>
                <a:cxn ang="0">
                  <a:pos x="406" y="200"/>
                </a:cxn>
                <a:cxn ang="0">
                  <a:pos x="428" y="197"/>
                </a:cxn>
                <a:cxn ang="0">
                  <a:pos x="428" y="0"/>
                </a:cxn>
              </a:cxnLst>
              <a:rect l="0" t="0" r="r" b="b"/>
              <a:pathLst>
                <a:path w="428" h="527">
                  <a:moveTo>
                    <a:pt x="428" y="0"/>
                  </a:moveTo>
                  <a:lnTo>
                    <a:pt x="428" y="0"/>
                  </a:lnTo>
                  <a:lnTo>
                    <a:pt x="408" y="1"/>
                  </a:lnTo>
                  <a:lnTo>
                    <a:pt x="386" y="2"/>
                  </a:lnTo>
                  <a:lnTo>
                    <a:pt x="366" y="5"/>
                  </a:lnTo>
                  <a:lnTo>
                    <a:pt x="345" y="8"/>
                  </a:lnTo>
                  <a:lnTo>
                    <a:pt x="324" y="13"/>
                  </a:lnTo>
                  <a:lnTo>
                    <a:pt x="304" y="18"/>
                  </a:lnTo>
                  <a:lnTo>
                    <a:pt x="284" y="25"/>
                  </a:lnTo>
                  <a:lnTo>
                    <a:pt x="265" y="33"/>
                  </a:lnTo>
                  <a:lnTo>
                    <a:pt x="246" y="41"/>
                  </a:lnTo>
                  <a:lnTo>
                    <a:pt x="228" y="50"/>
                  </a:lnTo>
                  <a:lnTo>
                    <a:pt x="209" y="60"/>
                  </a:lnTo>
                  <a:lnTo>
                    <a:pt x="191" y="72"/>
                  </a:lnTo>
                  <a:lnTo>
                    <a:pt x="174" y="84"/>
                  </a:lnTo>
                  <a:lnTo>
                    <a:pt x="157" y="97"/>
                  </a:lnTo>
                  <a:lnTo>
                    <a:pt x="141" y="111"/>
                  </a:lnTo>
                  <a:lnTo>
                    <a:pt x="126" y="125"/>
                  </a:lnTo>
                  <a:lnTo>
                    <a:pt x="126" y="125"/>
                  </a:lnTo>
                  <a:lnTo>
                    <a:pt x="111" y="141"/>
                  </a:lnTo>
                  <a:lnTo>
                    <a:pt x="97" y="157"/>
                  </a:lnTo>
                  <a:lnTo>
                    <a:pt x="84" y="174"/>
                  </a:lnTo>
                  <a:lnTo>
                    <a:pt x="72" y="191"/>
                  </a:lnTo>
                  <a:lnTo>
                    <a:pt x="61" y="209"/>
                  </a:lnTo>
                  <a:lnTo>
                    <a:pt x="50" y="227"/>
                  </a:lnTo>
                  <a:lnTo>
                    <a:pt x="41" y="246"/>
                  </a:lnTo>
                  <a:lnTo>
                    <a:pt x="33" y="264"/>
                  </a:lnTo>
                  <a:lnTo>
                    <a:pt x="26" y="284"/>
                  </a:lnTo>
                  <a:lnTo>
                    <a:pt x="18" y="304"/>
                  </a:lnTo>
                  <a:lnTo>
                    <a:pt x="13" y="324"/>
                  </a:lnTo>
                  <a:lnTo>
                    <a:pt x="8" y="345"/>
                  </a:lnTo>
                  <a:lnTo>
                    <a:pt x="5" y="365"/>
                  </a:lnTo>
                  <a:lnTo>
                    <a:pt x="2" y="386"/>
                  </a:lnTo>
                  <a:lnTo>
                    <a:pt x="1" y="408"/>
                  </a:lnTo>
                  <a:lnTo>
                    <a:pt x="0" y="428"/>
                  </a:lnTo>
                  <a:lnTo>
                    <a:pt x="0" y="428"/>
                  </a:lnTo>
                  <a:lnTo>
                    <a:pt x="1" y="439"/>
                  </a:lnTo>
                  <a:lnTo>
                    <a:pt x="2" y="449"/>
                  </a:lnTo>
                  <a:lnTo>
                    <a:pt x="5" y="458"/>
                  </a:lnTo>
                  <a:lnTo>
                    <a:pt x="8" y="467"/>
                  </a:lnTo>
                  <a:lnTo>
                    <a:pt x="12" y="476"/>
                  </a:lnTo>
                  <a:lnTo>
                    <a:pt x="17" y="484"/>
                  </a:lnTo>
                  <a:lnTo>
                    <a:pt x="22" y="491"/>
                  </a:lnTo>
                  <a:lnTo>
                    <a:pt x="30" y="498"/>
                  </a:lnTo>
                  <a:lnTo>
                    <a:pt x="36" y="505"/>
                  </a:lnTo>
                  <a:lnTo>
                    <a:pt x="44" y="511"/>
                  </a:lnTo>
                  <a:lnTo>
                    <a:pt x="52" y="516"/>
                  </a:lnTo>
                  <a:lnTo>
                    <a:pt x="61" y="520"/>
                  </a:lnTo>
                  <a:lnTo>
                    <a:pt x="70" y="523"/>
                  </a:lnTo>
                  <a:lnTo>
                    <a:pt x="79" y="525"/>
                  </a:lnTo>
                  <a:lnTo>
                    <a:pt x="89" y="527"/>
                  </a:lnTo>
                  <a:lnTo>
                    <a:pt x="99" y="527"/>
                  </a:lnTo>
                  <a:lnTo>
                    <a:pt x="99" y="527"/>
                  </a:lnTo>
                  <a:lnTo>
                    <a:pt x="109" y="527"/>
                  </a:lnTo>
                  <a:lnTo>
                    <a:pt x="119" y="525"/>
                  </a:lnTo>
                  <a:lnTo>
                    <a:pt x="129" y="523"/>
                  </a:lnTo>
                  <a:lnTo>
                    <a:pt x="138" y="520"/>
                  </a:lnTo>
                  <a:lnTo>
                    <a:pt x="146" y="516"/>
                  </a:lnTo>
                  <a:lnTo>
                    <a:pt x="154" y="511"/>
                  </a:lnTo>
                  <a:lnTo>
                    <a:pt x="162" y="505"/>
                  </a:lnTo>
                  <a:lnTo>
                    <a:pt x="169" y="498"/>
                  </a:lnTo>
                  <a:lnTo>
                    <a:pt x="175" y="491"/>
                  </a:lnTo>
                  <a:lnTo>
                    <a:pt x="181" y="484"/>
                  </a:lnTo>
                  <a:lnTo>
                    <a:pt x="186" y="476"/>
                  </a:lnTo>
                  <a:lnTo>
                    <a:pt x="190" y="467"/>
                  </a:lnTo>
                  <a:lnTo>
                    <a:pt x="194" y="458"/>
                  </a:lnTo>
                  <a:lnTo>
                    <a:pt x="196" y="449"/>
                  </a:lnTo>
                  <a:lnTo>
                    <a:pt x="198" y="439"/>
                  </a:lnTo>
                  <a:lnTo>
                    <a:pt x="198" y="428"/>
                  </a:lnTo>
                  <a:lnTo>
                    <a:pt x="198" y="428"/>
                  </a:lnTo>
                  <a:lnTo>
                    <a:pt x="199" y="406"/>
                  </a:lnTo>
                  <a:lnTo>
                    <a:pt x="203" y="383"/>
                  </a:lnTo>
                  <a:lnTo>
                    <a:pt x="208" y="361"/>
                  </a:lnTo>
                  <a:lnTo>
                    <a:pt x="215" y="341"/>
                  </a:lnTo>
                  <a:lnTo>
                    <a:pt x="225" y="320"/>
                  </a:lnTo>
                  <a:lnTo>
                    <a:pt x="237" y="300"/>
                  </a:lnTo>
                  <a:lnTo>
                    <a:pt x="250" y="283"/>
                  </a:lnTo>
                  <a:lnTo>
                    <a:pt x="266" y="265"/>
                  </a:lnTo>
                  <a:lnTo>
                    <a:pt x="266" y="265"/>
                  </a:lnTo>
                  <a:lnTo>
                    <a:pt x="283" y="250"/>
                  </a:lnTo>
                  <a:lnTo>
                    <a:pt x="301" y="237"/>
                  </a:lnTo>
                  <a:lnTo>
                    <a:pt x="320" y="225"/>
                  </a:lnTo>
                  <a:lnTo>
                    <a:pt x="341" y="215"/>
                  </a:lnTo>
                  <a:lnTo>
                    <a:pt x="361" y="208"/>
                  </a:lnTo>
                  <a:lnTo>
                    <a:pt x="383" y="203"/>
                  </a:lnTo>
                  <a:lnTo>
                    <a:pt x="406" y="200"/>
                  </a:lnTo>
                  <a:lnTo>
                    <a:pt x="428" y="197"/>
                  </a:lnTo>
                  <a:lnTo>
                    <a:pt x="428" y="197"/>
                  </a:lnTo>
                  <a:lnTo>
                    <a:pt x="428" y="0"/>
                  </a:lnTo>
                  <a:lnTo>
                    <a:pt x="42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3" name="Freeform 738">
              <a:extLst>
                <a:ext uri="{FF2B5EF4-FFF2-40B4-BE49-F238E27FC236}">
                  <a16:creationId xmlns:a16="http://schemas.microsoft.com/office/drawing/2014/main" id="{BEA395B6-F054-970F-FF83-EE0EDFAE9747}"/>
                </a:ext>
              </a:extLst>
            </p:cNvPr>
            <p:cNvSpPr>
              <a:spLocks/>
            </p:cNvSpPr>
            <p:nvPr/>
          </p:nvSpPr>
          <p:spPr bwMode="auto">
            <a:xfrm>
              <a:off x="3736976" y="2706688"/>
              <a:ext cx="20638" cy="52388"/>
            </a:xfrm>
            <a:custGeom>
              <a:avLst/>
              <a:gdLst/>
              <a:ahLst/>
              <a:cxnLst>
                <a:cxn ang="0">
                  <a:pos x="98" y="0"/>
                </a:cxn>
                <a:cxn ang="0">
                  <a:pos x="98" y="0"/>
                </a:cxn>
                <a:cxn ang="0">
                  <a:pos x="0" y="0"/>
                </a:cxn>
                <a:cxn ang="0">
                  <a:pos x="0" y="264"/>
                </a:cxn>
                <a:cxn ang="0">
                  <a:pos x="98" y="264"/>
                </a:cxn>
                <a:cxn ang="0">
                  <a:pos x="98" y="0"/>
                </a:cxn>
              </a:cxnLst>
              <a:rect l="0" t="0" r="r" b="b"/>
              <a:pathLst>
                <a:path w="98" h="264">
                  <a:moveTo>
                    <a:pt x="98" y="0"/>
                  </a:moveTo>
                  <a:lnTo>
                    <a:pt x="98" y="0"/>
                  </a:lnTo>
                  <a:lnTo>
                    <a:pt x="0" y="0"/>
                  </a:lnTo>
                  <a:lnTo>
                    <a:pt x="0" y="264"/>
                  </a:lnTo>
                  <a:lnTo>
                    <a:pt x="98" y="264"/>
                  </a:lnTo>
                  <a:lnTo>
                    <a:pt x="98" y="0"/>
                  </a:lnTo>
                  <a:close/>
                </a:path>
              </a:pathLst>
            </a:custGeom>
            <a:solidFill>
              <a:srgbClr val="DBCCB7"/>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4" name="Freeform 739">
              <a:extLst>
                <a:ext uri="{FF2B5EF4-FFF2-40B4-BE49-F238E27FC236}">
                  <a16:creationId xmlns:a16="http://schemas.microsoft.com/office/drawing/2014/main" id="{5F261459-33C2-C091-AF16-66DAC61BBC14}"/>
                </a:ext>
              </a:extLst>
            </p:cNvPr>
            <p:cNvSpPr>
              <a:spLocks/>
            </p:cNvSpPr>
            <p:nvPr/>
          </p:nvSpPr>
          <p:spPr bwMode="auto">
            <a:xfrm>
              <a:off x="3736976" y="2706688"/>
              <a:ext cx="20638" cy="52388"/>
            </a:xfrm>
            <a:custGeom>
              <a:avLst/>
              <a:gdLst/>
              <a:ahLst/>
              <a:cxnLst>
                <a:cxn ang="0">
                  <a:pos x="98" y="0"/>
                </a:cxn>
                <a:cxn ang="0">
                  <a:pos x="98" y="0"/>
                </a:cxn>
                <a:cxn ang="0">
                  <a:pos x="0" y="0"/>
                </a:cxn>
                <a:cxn ang="0">
                  <a:pos x="0" y="264"/>
                </a:cxn>
                <a:cxn ang="0">
                  <a:pos x="98" y="264"/>
                </a:cxn>
                <a:cxn ang="0">
                  <a:pos x="98" y="0"/>
                </a:cxn>
              </a:cxnLst>
              <a:rect l="0" t="0" r="r" b="b"/>
              <a:pathLst>
                <a:path w="98" h="264">
                  <a:moveTo>
                    <a:pt x="98" y="0"/>
                  </a:moveTo>
                  <a:lnTo>
                    <a:pt x="98" y="0"/>
                  </a:lnTo>
                  <a:lnTo>
                    <a:pt x="0" y="0"/>
                  </a:lnTo>
                  <a:lnTo>
                    <a:pt x="0" y="264"/>
                  </a:lnTo>
                  <a:lnTo>
                    <a:pt x="98" y="264"/>
                  </a:lnTo>
                  <a:lnTo>
                    <a:pt x="9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5" name="Freeform 740">
              <a:extLst>
                <a:ext uri="{FF2B5EF4-FFF2-40B4-BE49-F238E27FC236}">
                  <a16:creationId xmlns:a16="http://schemas.microsoft.com/office/drawing/2014/main" id="{B5741982-F9CC-27B2-A8E8-69138D7A4391}"/>
                </a:ext>
              </a:extLst>
            </p:cNvPr>
            <p:cNvSpPr>
              <a:spLocks/>
            </p:cNvSpPr>
            <p:nvPr/>
          </p:nvSpPr>
          <p:spPr bwMode="auto">
            <a:xfrm>
              <a:off x="3717926" y="2759075"/>
              <a:ext cx="39688" cy="209550"/>
            </a:xfrm>
            <a:custGeom>
              <a:avLst/>
              <a:gdLst/>
              <a:ahLst/>
              <a:cxnLst>
                <a:cxn ang="0">
                  <a:pos x="197" y="0"/>
                </a:cxn>
                <a:cxn ang="0">
                  <a:pos x="99" y="0"/>
                </a:cxn>
                <a:cxn ang="0">
                  <a:pos x="0" y="0"/>
                </a:cxn>
                <a:cxn ang="0">
                  <a:pos x="0" y="1055"/>
                </a:cxn>
                <a:cxn ang="0">
                  <a:pos x="197" y="1055"/>
                </a:cxn>
                <a:cxn ang="0">
                  <a:pos x="197" y="0"/>
                </a:cxn>
              </a:cxnLst>
              <a:rect l="0" t="0" r="r" b="b"/>
              <a:pathLst>
                <a:path w="197" h="1055">
                  <a:moveTo>
                    <a:pt x="197" y="0"/>
                  </a:moveTo>
                  <a:lnTo>
                    <a:pt x="99" y="0"/>
                  </a:lnTo>
                  <a:lnTo>
                    <a:pt x="0" y="0"/>
                  </a:lnTo>
                  <a:lnTo>
                    <a:pt x="0" y="1055"/>
                  </a:lnTo>
                  <a:lnTo>
                    <a:pt x="197" y="1055"/>
                  </a:lnTo>
                  <a:lnTo>
                    <a:pt x="197" y="0"/>
                  </a:lnTo>
                  <a:close/>
                </a:path>
              </a:pathLst>
            </a:custGeom>
            <a:solidFill>
              <a:srgbClr val="7F807E"/>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6" name="Freeform 741">
              <a:extLst>
                <a:ext uri="{FF2B5EF4-FFF2-40B4-BE49-F238E27FC236}">
                  <a16:creationId xmlns:a16="http://schemas.microsoft.com/office/drawing/2014/main" id="{954D2C85-1F62-7317-660E-510A35C7777D}"/>
                </a:ext>
              </a:extLst>
            </p:cNvPr>
            <p:cNvSpPr>
              <a:spLocks/>
            </p:cNvSpPr>
            <p:nvPr/>
          </p:nvSpPr>
          <p:spPr bwMode="auto">
            <a:xfrm>
              <a:off x="3717926" y="2759075"/>
              <a:ext cx="39688" cy="209550"/>
            </a:xfrm>
            <a:custGeom>
              <a:avLst/>
              <a:gdLst/>
              <a:ahLst/>
              <a:cxnLst>
                <a:cxn ang="0">
                  <a:pos x="197" y="0"/>
                </a:cxn>
                <a:cxn ang="0">
                  <a:pos x="99" y="0"/>
                </a:cxn>
                <a:cxn ang="0">
                  <a:pos x="0" y="0"/>
                </a:cxn>
                <a:cxn ang="0">
                  <a:pos x="0" y="1055"/>
                </a:cxn>
                <a:cxn ang="0">
                  <a:pos x="197" y="1055"/>
                </a:cxn>
                <a:cxn ang="0">
                  <a:pos x="197" y="0"/>
                </a:cxn>
              </a:cxnLst>
              <a:rect l="0" t="0" r="r" b="b"/>
              <a:pathLst>
                <a:path w="197" h="1055">
                  <a:moveTo>
                    <a:pt x="197" y="0"/>
                  </a:moveTo>
                  <a:lnTo>
                    <a:pt x="99" y="0"/>
                  </a:lnTo>
                  <a:lnTo>
                    <a:pt x="0" y="0"/>
                  </a:lnTo>
                  <a:lnTo>
                    <a:pt x="0" y="1055"/>
                  </a:lnTo>
                  <a:lnTo>
                    <a:pt x="197" y="1055"/>
                  </a:lnTo>
                  <a:lnTo>
                    <a:pt x="197"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7" name="Freeform 742">
              <a:extLst>
                <a:ext uri="{FF2B5EF4-FFF2-40B4-BE49-F238E27FC236}">
                  <a16:creationId xmlns:a16="http://schemas.microsoft.com/office/drawing/2014/main" id="{AACDB89E-6547-B413-0A27-89BBE8A6C288}"/>
                </a:ext>
              </a:extLst>
            </p:cNvPr>
            <p:cNvSpPr>
              <a:spLocks/>
            </p:cNvSpPr>
            <p:nvPr/>
          </p:nvSpPr>
          <p:spPr bwMode="auto">
            <a:xfrm>
              <a:off x="3651251" y="2665413"/>
              <a:ext cx="106363" cy="85725"/>
            </a:xfrm>
            <a:custGeom>
              <a:avLst/>
              <a:gdLst/>
              <a:ahLst/>
              <a:cxnLst>
                <a:cxn ang="0">
                  <a:pos x="437" y="437"/>
                </a:cxn>
                <a:cxn ang="0">
                  <a:pos x="437" y="208"/>
                </a:cxn>
                <a:cxn ang="0">
                  <a:pos x="535" y="208"/>
                </a:cxn>
                <a:cxn ang="0">
                  <a:pos x="535" y="208"/>
                </a:cxn>
                <a:cxn ang="0">
                  <a:pos x="497" y="208"/>
                </a:cxn>
                <a:cxn ang="0">
                  <a:pos x="459" y="205"/>
                </a:cxn>
                <a:cxn ang="0">
                  <a:pos x="422" y="200"/>
                </a:cxn>
                <a:cxn ang="0">
                  <a:pos x="385" y="194"/>
                </a:cxn>
                <a:cxn ang="0">
                  <a:pos x="348" y="187"/>
                </a:cxn>
                <a:cxn ang="0">
                  <a:pos x="313" y="176"/>
                </a:cxn>
                <a:cxn ang="0">
                  <a:pos x="278" y="166"/>
                </a:cxn>
                <a:cxn ang="0">
                  <a:pos x="244" y="153"/>
                </a:cxn>
                <a:cxn ang="0">
                  <a:pos x="210" y="138"/>
                </a:cxn>
                <a:cxn ang="0">
                  <a:pos x="177" y="123"/>
                </a:cxn>
                <a:cxn ang="0">
                  <a:pos x="145" y="105"/>
                </a:cxn>
                <a:cxn ang="0">
                  <a:pos x="114" y="87"/>
                </a:cxn>
                <a:cxn ang="0">
                  <a:pos x="84" y="67"/>
                </a:cxn>
                <a:cxn ang="0">
                  <a:pos x="55" y="46"/>
                </a:cxn>
                <a:cxn ang="0">
                  <a:pos x="27" y="24"/>
                </a:cxn>
                <a:cxn ang="0">
                  <a:pos x="0" y="0"/>
                </a:cxn>
                <a:cxn ang="0">
                  <a:pos x="437" y="437"/>
                </a:cxn>
              </a:cxnLst>
              <a:rect l="0" t="0" r="r" b="b"/>
              <a:pathLst>
                <a:path w="535" h="437">
                  <a:moveTo>
                    <a:pt x="437" y="437"/>
                  </a:moveTo>
                  <a:lnTo>
                    <a:pt x="437" y="208"/>
                  </a:lnTo>
                  <a:lnTo>
                    <a:pt x="535" y="208"/>
                  </a:lnTo>
                  <a:lnTo>
                    <a:pt x="535" y="208"/>
                  </a:lnTo>
                  <a:lnTo>
                    <a:pt x="497" y="208"/>
                  </a:lnTo>
                  <a:lnTo>
                    <a:pt x="459" y="205"/>
                  </a:lnTo>
                  <a:lnTo>
                    <a:pt x="422" y="200"/>
                  </a:lnTo>
                  <a:lnTo>
                    <a:pt x="385" y="194"/>
                  </a:lnTo>
                  <a:lnTo>
                    <a:pt x="348" y="187"/>
                  </a:lnTo>
                  <a:lnTo>
                    <a:pt x="313" y="176"/>
                  </a:lnTo>
                  <a:lnTo>
                    <a:pt x="278" y="166"/>
                  </a:lnTo>
                  <a:lnTo>
                    <a:pt x="244" y="153"/>
                  </a:lnTo>
                  <a:lnTo>
                    <a:pt x="210" y="138"/>
                  </a:lnTo>
                  <a:lnTo>
                    <a:pt x="177" y="123"/>
                  </a:lnTo>
                  <a:lnTo>
                    <a:pt x="145" y="105"/>
                  </a:lnTo>
                  <a:lnTo>
                    <a:pt x="114" y="87"/>
                  </a:lnTo>
                  <a:lnTo>
                    <a:pt x="84" y="67"/>
                  </a:lnTo>
                  <a:lnTo>
                    <a:pt x="55" y="46"/>
                  </a:lnTo>
                  <a:lnTo>
                    <a:pt x="27" y="24"/>
                  </a:lnTo>
                  <a:lnTo>
                    <a:pt x="0" y="0"/>
                  </a:lnTo>
                  <a:lnTo>
                    <a:pt x="437" y="437"/>
                  </a:lnTo>
                  <a:close/>
                </a:path>
              </a:pathLst>
            </a:custGeom>
            <a:solidFill>
              <a:srgbClr val="3C9987"/>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8" name="Freeform 743">
              <a:extLst>
                <a:ext uri="{FF2B5EF4-FFF2-40B4-BE49-F238E27FC236}">
                  <a16:creationId xmlns:a16="http://schemas.microsoft.com/office/drawing/2014/main" id="{5775FDA3-C2F3-570B-B37E-1D548F109DFE}"/>
                </a:ext>
              </a:extLst>
            </p:cNvPr>
            <p:cNvSpPr>
              <a:spLocks/>
            </p:cNvSpPr>
            <p:nvPr/>
          </p:nvSpPr>
          <p:spPr bwMode="auto">
            <a:xfrm>
              <a:off x="3717926" y="2438400"/>
              <a:ext cx="454025" cy="652463"/>
            </a:xfrm>
            <a:custGeom>
              <a:avLst/>
              <a:gdLst/>
              <a:ahLst/>
              <a:cxnLst>
                <a:cxn ang="0">
                  <a:pos x="758" y="0"/>
                </a:cxn>
                <a:cxn ang="0">
                  <a:pos x="784" y="28"/>
                </a:cxn>
                <a:cxn ang="0">
                  <a:pos x="832" y="86"/>
                </a:cxn>
                <a:cxn ang="0">
                  <a:pos x="874" y="149"/>
                </a:cxn>
                <a:cxn ang="0">
                  <a:pos x="912" y="217"/>
                </a:cxn>
                <a:cxn ang="0">
                  <a:pos x="941" y="287"/>
                </a:cxn>
                <a:cxn ang="0">
                  <a:pos x="964" y="362"/>
                </a:cxn>
                <a:cxn ang="0">
                  <a:pos x="981" y="439"/>
                </a:cxn>
                <a:cxn ang="0">
                  <a:pos x="988" y="519"/>
                </a:cxn>
                <a:cxn ang="0">
                  <a:pos x="989" y="559"/>
                </a:cxn>
                <a:cxn ang="0">
                  <a:pos x="985" y="641"/>
                </a:cxn>
                <a:cxn ang="0">
                  <a:pos x="973" y="719"/>
                </a:cxn>
                <a:cxn ang="0">
                  <a:pos x="954" y="795"/>
                </a:cxn>
                <a:cxn ang="0">
                  <a:pos x="927" y="867"/>
                </a:cxn>
                <a:cxn ang="0">
                  <a:pos x="894" y="936"/>
                </a:cxn>
                <a:cxn ang="0">
                  <a:pos x="854" y="1002"/>
                </a:cxn>
                <a:cxn ang="0">
                  <a:pos x="809" y="1063"/>
                </a:cxn>
                <a:cxn ang="0">
                  <a:pos x="757" y="1119"/>
                </a:cxn>
                <a:cxn ang="0">
                  <a:pos x="701" y="1170"/>
                </a:cxn>
                <a:cxn ang="0">
                  <a:pos x="641" y="1215"/>
                </a:cxn>
                <a:cxn ang="0">
                  <a:pos x="575" y="1256"/>
                </a:cxn>
                <a:cxn ang="0">
                  <a:pos x="506" y="1289"/>
                </a:cxn>
                <a:cxn ang="0">
                  <a:pos x="433" y="1315"/>
                </a:cxn>
                <a:cxn ang="0">
                  <a:pos x="357" y="1335"/>
                </a:cxn>
                <a:cxn ang="0">
                  <a:pos x="279" y="1346"/>
                </a:cxn>
                <a:cxn ang="0">
                  <a:pos x="197" y="1350"/>
                </a:cxn>
                <a:cxn ang="0">
                  <a:pos x="296" y="1614"/>
                </a:cxn>
                <a:cxn ang="0">
                  <a:pos x="395" y="1876"/>
                </a:cxn>
                <a:cxn ang="0">
                  <a:pos x="395" y="2669"/>
                </a:cxn>
                <a:cxn ang="0">
                  <a:pos x="0" y="2669"/>
                </a:cxn>
                <a:cxn ang="0">
                  <a:pos x="621" y="3290"/>
                </a:cxn>
                <a:cxn ang="0">
                  <a:pos x="734" y="3264"/>
                </a:cxn>
                <a:cxn ang="0">
                  <a:pos x="845" y="3233"/>
                </a:cxn>
                <a:cxn ang="0">
                  <a:pos x="952" y="3194"/>
                </a:cxn>
                <a:cxn ang="0">
                  <a:pos x="1057" y="3151"/>
                </a:cxn>
                <a:cxn ang="0">
                  <a:pos x="1159" y="3103"/>
                </a:cxn>
                <a:cxn ang="0">
                  <a:pos x="1258" y="3048"/>
                </a:cxn>
                <a:cxn ang="0">
                  <a:pos x="1354" y="2989"/>
                </a:cxn>
                <a:cxn ang="0">
                  <a:pos x="1446" y="2926"/>
                </a:cxn>
                <a:cxn ang="0">
                  <a:pos x="1488" y="2895"/>
                </a:cxn>
                <a:cxn ang="0">
                  <a:pos x="1568" y="2830"/>
                </a:cxn>
                <a:cxn ang="0">
                  <a:pos x="1645" y="2761"/>
                </a:cxn>
                <a:cxn ang="0">
                  <a:pos x="1718" y="2688"/>
                </a:cxn>
                <a:cxn ang="0">
                  <a:pos x="1788" y="2611"/>
                </a:cxn>
                <a:cxn ang="0">
                  <a:pos x="1854" y="2532"/>
                </a:cxn>
                <a:cxn ang="0">
                  <a:pos x="1917" y="2450"/>
                </a:cxn>
                <a:cxn ang="0">
                  <a:pos x="1975" y="2364"/>
                </a:cxn>
                <a:cxn ang="0">
                  <a:pos x="2030" y="2275"/>
                </a:cxn>
                <a:cxn ang="0">
                  <a:pos x="2079" y="2184"/>
                </a:cxn>
                <a:cxn ang="0">
                  <a:pos x="2125" y="2090"/>
                </a:cxn>
                <a:cxn ang="0">
                  <a:pos x="2166" y="1993"/>
                </a:cxn>
                <a:cxn ang="0">
                  <a:pos x="2202" y="1894"/>
                </a:cxn>
                <a:cxn ang="0">
                  <a:pos x="2234" y="1793"/>
                </a:cxn>
                <a:cxn ang="0">
                  <a:pos x="2259" y="1690"/>
                </a:cxn>
                <a:cxn ang="0">
                  <a:pos x="2281" y="1585"/>
                </a:cxn>
                <a:cxn ang="0">
                  <a:pos x="1713" y="956"/>
                </a:cxn>
              </a:cxnLst>
              <a:rect l="0" t="0" r="r" b="b"/>
              <a:pathLst>
                <a:path w="2289" h="3290">
                  <a:moveTo>
                    <a:pt x="1713" y="956"/>
                  </a:moveTo>
                  <a:lnTo>
                    <a:pt x="758" y="0"/>
                  </a:lnTo>
                  <a:lnTo>
                    <a:pt x="758" y="0"/>
                  </a:lnTo>
                  <a:lnTo>
                    <a:pt x="784" y="28"/>
                  </a:lnTo>
                  <a:lnTo>
                    <a:pt x="809" y="57"/>
                  </a:lnTo>
                  <a:lnTo>
                    <a:pt x="832" y="86"/>
                  </a:lnTo>
                  <a:lnTo>
                    <a:pt x="854" y="117"/>
                  </a:lnTo>
                  <a:lnTo>
                    <a:pt x="874" y="149"/>
                  </a:lnTo>
                  <a:lnTo>
                    <a:pt x="894" y="182"/>
                  </a:lnTo>
                  <a:lnTo>
                    <a:pt x="912" y="217"/>
                  </a:lnTo>
                  <a:lnTo>
                    <a:pt x="927" y="252"/>
                  </a:lnTo>
                  <a:lnTo>
                    <a:pt x="941" y="287"/>
                  </a:lnTo>
                  <a:lnTo>
                    <a:pt x="954" y="324"/>
                  </a:lnTo>
                  <a:lnTo>
                    <a:pt x="964" y="362"/>
                  </a:lnTo>
                  <a:lnTo>
                    <a:pt x="973" y="401"/>
                  </a:lnTo>
                  <a:lnTo>
                    <a:pt x="981" y="439"/>
                  </a:lnTo>
                  <a:lnTo>
                    <a:pt x="985" y="479"/>
                  </a:lnTo>
                  <a:lnTo>
                    <a:pt x="988" y="519"/>
                  </a:lnTo>
                  <a:lnTo>
                    <a:pt x="989" y="559"/>
                  </a:lnTo>
                  <a:lnTo>
                    <a:pt x="989" y="559"/>
                  </a:lnTo>
                  <a:lnTo>
                    <a:pt x="988" y="600"/>
                  </a:lnTo>
                  <a:lnTo>
                    <a:pt x="985" y="641"/>
                  </a:lnTo>
                  <a:lnTo>
                    <a:pt x="981" y="680"/>
                  </a:lnTo>
                  <a:lnTo>
                    <a:pt x="973" y="719"/>
                  </a:lnTo>
                  <a:lnTo>
                    <a:pt x="964" y="757"/>
                  </a:lnTo>
                  <a:lnTo>
                    <a:pt x="954" y="795"/>
                  </a:lnTo>
                  <a:lnTo>
                    <a:pt x="941" y="831"/>
                  </a:lnTo>
                  <a:lnTo>
                    <a:pt x="927" y="867"/>
                  </a:lnTo>
                  <a:lnTo>
                    <a:pt x="912" y="902"/>
                  </a:lnTo>
                  <a:lnTo>
                    <a:pt x="894" y="936"/>
                  </a:lnTo>
                  <a:lnTo>
                    <a:pt x="874" y="970"/>
                  </a:lnTo>
                  <a:lnTo>
                    <a:pt x="854" y="1002"/>
                  </a:lnTo>
                  <a:lnTo>
                    <a:pt x="832" y="1033"/>
                  </a:lnTo>
                  <a:lnTo>
                    <a:pt x="809" y="1063"/>
                  </a:lnTo>
                  <a:lnTo>
                    <a:pt x="784" y="1092"/>
                  </a:lnTo>
                  <a:lnTo>
                    <a:pt x="757" y="1119"/>
                  </a:lnTo>
                  <a:lnTo>
                    <a:pt x="730" y="1145"/>
                  </a:lnTo>
                  <a:lnTo>
                    <a:pt x="701" y="1170"/>
                  </a:lnTo>
                  <a:lnTo>
                    <a:pt x="671" y="1194"/>
                  </a:lnTo>
                  <a:lnTo>
                    <a:pt x="641" y="1215"/>
                  </a:lnTo>
                  <a:lnTo>
                    <a:pt x="609" y="1236"/>
                  </a:lnTo>
                  <a:lnTo>
                    <a:pt x="575" y="1256"/>
                  </a:lnTo>
                  <a:lnTo>
                    <a:pt x="541" y="1273"/>
                  </a:lnTo>
                  <a:lnTo>
                    <a:pt x="506" y="1289"/>
                  </a:lnTo>
                  <a:lnTo>
                    <a:pt x="469" y="1303"/>
                  </a:lnTo>
                  <a:lnTo>
                    <a:pt x="433" y="1315"/>
                  </a:lnTo>
                  <a:lnTo>
                    <a:pt x="395" y="1326"/>
                  </a:lnTo>
                  <a:lnTo>
                    <a:pt x="357" y="1335"/>
                  </a:lnTo>
                  <a:lnTo>
                    <a:pt x="318" y="1342"/>
                  </a:lnTo>
                  <a:lnTo>
                    <a:pt x="279" y="1346"/>
                  </a:lnTo>
                  <a:lnTo>
                    <a:pt x="239" y="1349"/>
                  </a:lnTo>
                  <a:lnTo>
                    <a:pt x="197" y="1350"/>
                  </a:lnTo>
                  <a:lnTo>
                    <a:pt x="296" y="1350"/>
                  </a:lnTo>
                  <a:lnTo>
                    <a:pt x="296" y="1614"/>
                  </a:lnTo>
                  <a:lnTo>
                    <a:pt x="395" y="1614"/>
                  </a:lnTo>
                  <a:lnTo>
                    <a:pt x="395" y="1876"/>
                  </a:lnTo>
                  <a:lnTo>
                    <a:pt x="395" y="2273"/>
                  </a:lnTo>
                  <a:lnTo>
                    <a:pt x="395" y="2669"/>
                  </a:lnTo>
                  <a:lnTo>
                    <a:pt x="197" y="2669"/>
                  </a:lnTo>
                  <a:lnTo>
                    <a:pt x="0" y="2669"/>
                  </a:lnTo>
                  <a:lnTo>
                    <a:pt x="621" y="3290"/>
                  </a:lnTo>
                  <a:lnTo>
                    <a:pt x="621" y="3290"/>
                  </a:lnTo>
                  <a:lnTo>
                    <a:pt x="678" y="3278"/>
                  </a:lnTo>
                  <a:lnTo>
                    <a:pt x="734" y="3264"/>
                  </a:lnTo>
                  <a:lnTo>
                    <a:pt x="789" y="3249"/>
                  </a:lnTo>
                  <a:lnTo>
                    <a:pt x="845" y="3233"/>
                  </a:lnTo>
                  <a:lnTo>
                    <a:pt x="898" y="3214"/>
                  </a:lnTo>
                  <a:lnTo>
                    <a:pt x="952" y="3194"/>
                  </a:lnTo>
                  <a:lnTo>
                    <a:pt x="1005" y="3174"/>
                  </a:lnTo>
                  <a:lnTo>
                    <a:pt x="1057" y="3151"/>
                  </a:lnTo>
                  <a:lnTo>
                    <a:pt x="1108" y="3127"/>
                  </a:lnTo>
                  <a:lnTo>
                    <a:pt x="1159" y="3103"/>
                  </a:lnTo>
                  <a:lnTo>
                    <a:pt x="1209" y="3076"/>
                  </a:lnTo>
                  <a:lnTo>
                    <a:pt x="1258" y="3048"/>
                  </a:lnTo>
                  <a:lnTo>
                    <a:pt x="1306" y="3019"/>
                  </a:lnTo>
                  <a:lnTo>
                    <a:pt x="1354" y="2989"/>
                  </a:lnTo>
                  <a:lnTo>
                    <a:pt x="1400" y="2957"/>
                  </a:lnTo>
                  <a:lnTo>
                    <a:pt x="1446" y="2926"/>
                  </a:lnTo>
                  <a:lnTo>
                    <a:pt x="1446" y="2926"/>
                  </a:lnTo>
                  <a:lnTo>
                    <a:pt x="1488" y="2895"/>
                  </a:lnTo>
                  <a:lnTo>
                    <a:pt x="1528" y="2863"/>
                  </a:lnTo>
                  <a:lnTo>
                    <a:pt x="1568" y="2830"/>
                  </a:lnTo>
                  <a:lnTo>
                    <a:pt x="1607" y="2796"/>
                  </a:lnTo>
                  <a:lnTo>
                    <a:pt x="1645" y="2761"/>
                  </a:lnTo>
                  <a:lnTo>
                    <a:pt x="1682" y="2725"/>
                  </a:lnTo>
                  <a:lnTo>
                    <a:pt x="1718" y="2688"/>
                  </a:lnTo>
                  <a:lnTo>
                    <a:pt x="1753" y="2650"/>
                  </a:lnTo>
                  <a:lnTo>
                    <a:pt x="1788" y="2611"/>
                  </a:lnTo>
                  <a:lnTo>
                    <a:pt x="1822" y="2572"/>
                  </a:lnTo>
                  <a:lnTo>
                    <a:pt x="1854" y="2532"/>
                  </a:lnTo>
                  <a:lnTo>
                    <a:pt x="1886" y="2492"/>
                  </a:lnTo>
                  <a:lnTo>
                    <a:pt x="1917" y="2450"/>
                  </a:lnTo>
                  <a:lnTo>
                    <a:pt x="1947" y="2407"/>
                  </a:lnTo>
                  <a:lnTo>
                    <a:pt x="1975" y="2364"/>
                  </a:lnTo>
                  <a:lnTo>
                    <a:pt x="2003" y="2320"/>
                  </a:lnTo>
                  <a:lnTo>
                    <a:pt x="2030" y="2275"/>
                  </a:lnTo>
                  <a:lnTo>
                    <a:pt x="2055" y="2230"/>
                  </a:lnTo>
                  <a:lnTo>
                    <a:pt x="2079" y="2184"/>
                  </a:lnTo>
                  <a:lnTo>
                    <a:pt x="2103" y="2137"/>
                  </a:lnTo>
                  <a:lnTo>
                    <a:pt x="2125" y="2090"/>
                  </a:lnTo>
                  <a:lnTo>
                    <a:pt x="2146" y="2043"/>
                  </a:lnTo>
                  <a:lnTo>
                    <a:pt x="2166" y="1993"/>
                  </a:lnTo>
                  <a:lnTo>
                    <a:pt x="2184" y="1945"/>
                  </a:lnTo>
                  <a:lnTo>
                    <a:pt x="2202" y="1894"/>
                  </a:lnTo>
                  <a:lnTo>
                    <a:pt x="2218" y="1844"/>
                  </a:lnTo>
                  <a:lnTo>
                    <a:pt x="2234" y="1793"/>
                  </a:lnTo>
                  <a:lnTo>
                    <a:pt x="2247" y="1742"/>
                  </a:lnTo>
                  <a:lnTo>
                    <a:pt x="2259" y="1690"/>
                  </a:lnTo>
                  <a:lnTo>
                    <a:pt x="2271" y="1638"/>
                  </a:lnTo>
                  <a:lnTo>
                    <a:pt x="2281" y="1585"/>
                  </a:lnTo>
                  <a:lnTo>
                    <a:pt x="2289" y="1532"/>
                  </a:lnTo>
                  <a:lnTo>
                    <a:pt x="1713" y="956"/>
                  </a:lnTo>
                  <a:close/>
                </a:path>
              </a:pathLst>
            </a:custGeom>
            <a:solidFill>
              <a:srgbClr val="3C9987"/>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9" name="Freeform 744">
              <a:extLst>
                <a:ext uri="{FF2B5EF4-FFF2-40B4-BE49-F238E27FC236}">
                  <a16:creationId xmlns:a16="http://schemas.microsoft.com/office/drawing/2014/main" id="{0D91B214-EDF3-158B-12DA-BE0F47421E49}"/>
                </a:ext>
              </a:extLst>
            </p:cNvPr>
            <p:cNvSpPr>
              <a:spLocks/>
            </p:cNvSpPr>
            <p:nvPr/>
          </p:nvSpPr>
          <p:spPr bwMode="auto">
            <a:xfrm>
              <a:off x="3641726" y="2655888"/>
              <a:ext cx="9525" cy="9525"/>
            </a:xfrm>
            <a:custGeom>
              <a:avLst/>
              <a:gdLst/>
              <a:ahLst/>
              <a:cxnLst>
                <a:cxn ang="0">
                  <a:pos x="0" y="0"/>
                </a:cxn>
                <a:cxn ang="0">
                  <a:pos x="0" y="0"/>
                </a:cxn>
                <a:cxn ang="0">
                  <a:pos x="23" y="24"/>
                </a:cxn>
                <a:cxn ang="0">
                  <a:pos x="23" y="24"/>
                </a:cxn>
                <a:cxn ang="0">
                  <a:pos x="47" y="47"/>
                </a:cxn>
                <a:cxn ang="0">
                  <a:pos x="24" y="24"/>
                </a:cxn>
                <a:cxn ang="0">
                  <a:pos x="0" y="0"/>
                </a:cxn>
              </a:cxnLst>
              <a:rect l="0" t="0" r="r" b="b"/>
              <a:pathLst>
                <a:path w="47" h="47">
                  <a:moveTo>
                    <a:pt x="0" y="0"/>
                  </a:moveTo>
                  <a:lnTo>
                    <a:pt x="0" y="0"/>
                  </a:lnTo>
                  <a:lnTo>
                    <a:pt x="23" y="24"/>
                  </a:lnTo>
                  <a:lnTo>
                    <a:pt x="23" y="24"/>
                  </a:lnTo>
                  <a:lnTo>
                    <a:pt x="47" y="47"/>
                  </a:lnTo>
                  <a:lnTo>
                    <a:pt x="24" y="24"/>
                  </a:lnTo>
                  <a:lnTo>
                    <a:pt x="0" y="0"/>
                  </a:lnTo>
                  <a:close/>
                </a:path>
              </a:pathLst>
            </a:custGeom>
            <a:solidFill>
              <a:srgbClr val="3C9987"/>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50" name="Group 349">
            <a:extLst>
              <a:ext uri="{FF2B5EF4-FFF2-40B4-BE49-F238E27FC236}">
                <a16:creationId xmlns:a16="http://schemas.microsoft.com/office/drawing/2014/main" id="{1A9915FB-2190-1A4D-152A-5E1E7614CBC8}"/>
              </a:ext>
            </a:extLst>
          </p:cNvPr>
          <p:cNvGrpSpPr/>
          <p:nvPr/>
        </p:nvGrpSpPr>
        <p:grpSpPr>
          <a:xfrm>
            <a:off x="435092" y="3401559"/>
            <a:ext cx="358030" cy="326287"/>
            <a:chOff x="1497013" y="2260600"/>
            <a:chExt cx="839788" cy="838200"/>
          </a:xfrm>
        </p:grpSpPr>
        <p:sp>
          <p:nvSpPr>
            <p:cNvPr id="351" name="Freeform 395">
              <a:extLst>
                <a:ext uri="{FF2B5EF4-FFF2-40B4-BE49-F238E27FC236}">
                  <a16:creationId xmlns:a16="http://schemas.microsoft.com/office/drawing/2014/main" id="{139DF0AD-E247-59A0-0CA5-68D2010F7756}"/>
                </a:ext>
              </a:extLst>
            </p:cNvPr>
            <p:cNvSpPr>
              <a:spLocks/>
            </p:cNvSpPr>
            <p:nvPr/>
          </p:nvSpPr>
          <p:spPr bwMode="auto">
            <a:xfrm>
              <a:off x="1497013" y="2260600"/>
              <a:ext cx="839788" cy="838200"/>
            </a:xfrm>
            <a:custGeom>
              <a:avLst/>
              <a:gdLst/>
              <a:ahLst/>
              <a:cxnLst>
                <a:cxn ang="0">
                  <a:pos x="4223" y="2276"/>
                </a:cxn>
                <a:cxn ang="0">
                  <a:pos x="4186" y="2540"/>
                </a:cxn>
                <a:cxn ang="0">
                  <a:pos x="4118" y="2792"/>
                </a:cxn>
                <a:cxn ang="0">
                  <a:pos x="4021" y="3030"/>
                </a:cxn>
                <a:cxn ang="0">
                  <a:pos x="3896" y="3253"/>
                </a:cxn>
                <a:cxn ang="0">
                  <a:pos x="3746" y="3459"/>
                </a:cxn>
                <a:cxn ang="0">
                  <a:pos x="3574" y="3644"/>
                </a:cxn>
                <a:cxn ang="0">
                  <a:pos x="3380" y="3808"/>
                </a:cxn>
                <a:cxn ang="0">
                  <a:pos x="3167" y="3948"/>
                </a:cxn>
                <a:cxn ang="0">
                  <a:pos x="2938" y="4062"/>
                </a:cxn>
                <a:cxn ang="0">
                  <a:pos x="2694" y="4148"/>
                </a:cxn>
                <a:cxn ang="0">
                  <a:pos x="2436" y="4204"/>
                </a:cxn>
                <a:cxn ang="0">
                  <a:pos x="2169" y="4227"/>
                </a:cxn>
                <a:cxn ang="0">
                  <a:pos x="1952" y="4221"/>
                </a:cxn>
                <a:cxn ang="0">
                  <a:pos x="1688" y="4185"/>
                </a:cxn>
                <a:cxn ang="0">
                  <a:pos x="1436" y="4117"/>
                </a:cxn>
                <a:cxn ang="0">
                  <a:pos x="1197" y="4019"/>
                </a:cxn>
                <a:cxn ang="0">
                  <a:pos x="975" y="3895"/>
                </a:cxn>
                <a:cxn ang="0">
                  <a:pos x="770" y="3745"/>
                </a:cxn>
                <a:cxn ang="0">
                  <a:pos x="584" y="3572"/>
                </a:cxn>
                <a:cxn ang="0">
                  <a:pos x="420" y="3379"/>
                </a:cxn>
                <a:cxn ang="0">
                  <a:pos x="280" y="3166"/>
                </a:cxn>
                <a:cxn ang="0">
                  <a:pos x="166" y="2937"/>
                </a:cxn>
                <a:cxn ang="0">
                  <a:pos x="80" y="2692"/>
                </a:cxn>
                <a:cxn ang="0">
                  <a:pos x="25" y="2436"/>
                </a:cxn>
                <a:cxn ang="0">
                  <a:pos x="1" y="2168"/>
                </a:cxn>
                <a:cxn ang="0">
                  <a:pos x="6" y="1952"/>
                </a:cxn>
                <a:cxn ang="0">
                  <a:pos x="43" y="1688"/>
                </a:cxn>
                <a:cxn ang="0">
                  <a:pos x="111" y="1436"/>
                </a:cxn>
                <a:cxn ang="0">
                  <a:pos x="208" y="1198"/>
                </a:cxn>
                <a:cxn ang="0">
                  <a:pos x="333" y="974"/>
                </a:cxn>
                <a:cxn ang="0">
                  <a:pos x="483" y="769"/>
                </a:cxn>
                <a:cxn ang="0">
                  <a:pos x="655" y="584"/>
                </a:cxn>
                <a:cxn ang="0">
                  <a:pos x="849" y="420"/>
                </a:cxn>
                <a:cxn ang="0">
                  <a:pos x="1062" y="280"/>
                </a:cxn>
                <a:cxn ang="0">
                  <a:pos x="1291" y="167"/>
                </a:cxn>
                <a:cxn ang="0">
                  <a:pos x="1535" y="80"/>
                </a:cxn>
                <a:cxn ang="0">
                  <a:pos x="1792" y="24"/>
                </a:cxn>
                <a:cxn ang="0">
                  <a:pos x="2060" y="1"/>
                </a:cxn>
                <a:cxn ang="0">
                  <a:pos x="2277" y="6"/>
                </a:cxn>
                <a:cxn ang="0">
                  <a:pos x="2541" y="43"/>
                </a:cxn>
                <a:cxn ang="0">
                  <a:pos x="2792" y="111"/>
                </a:cxn>
                <a:cxn ang="0">
                  <a:pos x="3032" y="209"/>
                </a:cxn>
                <a:cxn ang="0">
                  <a:pos x="3254" y="333"/>
                </a:cxn>
                <a:cxn ang="0">
                  <a:pos x="3459" y="483"/>
                </a:cxn>
                <a:cxn ang="0">
                  <a:pos x="3645" y="656"/>
                </a:cxn>
                <a:cxn ang="0">
                  <a:pos x="3809" y="850"/>
                </a:cxn>
                <a:cxn ang="0">
                  <a:pos x="3949" y="1062"/>
                </a:cxn>
                <a:cxn ang="0">
                  <a:pos x="4063" y="1291"/>
                </a:cxn>
                <a:cxn ang="0">
                  <a:pos x="4149" y="1536"/>
                </a:cxn>
                <a:cxn ang="0">
                  <a:pos x="4204" y="1792"/>
                </a:cxn>
                <a:cxn ang="0">
                  <a:pos x="4228" y="2059"/>
                </a:cxn>
              </a:cxnLst>
              <a:rect l="0" t="0" r="r" b="b"/>
              <a:pathLst>
                <a:path w="4229" h="4227">
                  <a:moveTo>
                    <a:pt x="4229" y="2114"/>
                  </a:moveTo>
                  <a:lnTo>
                    <a:pt x="4229" y="2114"/>
                  </a:lnTo>
                  <a:lnTo>
                    <a:pt x="4228" y="2168"/>
                  </a:lnTo>
                  <a:lnTo>
                    <a:pt x="4226" y="2223"/>
                  </a:lnTo>
                  <a:lnTo>
                    <a:pt x="4223" y="2276"/>
                  </a:lnTo>
                  <a:lnTo>
                    <a:pt x="4218" y="2330"/>
                  </a:lnTo>
                  <a:lnTo>
                    <a:pt x="4211" y="2383"/>
                  </a:lnTo>
                  <a:lnTo>
                    <a:pt x="4204" y="2436"/>
                  </a:lnTo>
                  <a:lnTo>
                    <a:pt x="4196" y="2489"/>
                  </a:lnTo>
                  <a:lnTo>
                    <a:pt x="4186" y="2540"/>
                  </a:lnTo>
                  <a:lnTo>
                    <a:pt x="4174" y="2592"/>
                  </a:lnTo>
                  <a:lnTo>
                    <a:pt x="4162" y="2642"/>
                  </a:lnTo>
                  <a:lnTo>
                    <a:pt x="4149" y="2692"/>
                  </a:lnTo>
                  <a:lnTo>
                    <a:pt x="4134" y="2743"/>
                  </a:lnTo>
                  <a:lnTo>
                    <a:pt x="4118" y="2792"/>
                  </a:lnTo>
                  <a:lnTo>
                    <a:pt x="4100" y="2841"/>
                  </a:lnTo>
                  <a:lnTo>
                    <a:pt x="4083" y="2889"/>
                  </a:lnTo>
                  <a:lnTo>
                    <a:pt x="4063" y="2937"/>
                  </a:lnTo>
                  <a:lnTo>
                    <a:pt x="4042" y="2984"/>
                  </a:lnTo>
                  <a:lnTo>
                    <a:pt x="4021" y="3030"/>
                  </a:lnTo>
                  <a:lnTo>
                    <a:pt x="3997" y="3077"/>
                  </a:lnTo>
                  <a:lnTo>
                    <a:pt x="3973" y="3122"/>
                  </a:lnTo>
                  <a:lnTo>
                    <a:pt x="3949" y="3166"/>
                  </a:lnTo>
                  <a:lnTo>
                    <a:pt x="3923" y="3210"/>
                  </a:lnTo>
                  <a:lnTo>
                    <a:pt x="3896" y="3253"/>
                  </a:lnTo>
                  <a:lnTo>
                    <a:pt x="3868" y="3296"/>
                  </a:lnTo>
                  <a:lnTo>
                    <a:pt x="3838" y="3337"/>
                  </a:lnTo>
                  <a:lnTo>
                    <a:pt x="3809" y="3379"/>
                  </a:lnTo>
                  <a:lnTo>
                    <a:pt x="3778" y="3419"/>
                  </a:lnTo>
                  <a:lnTo>
                    <a:pt x="3746" y="3459"/>
                  </a:lnTo>
                  <a:lnTo>
                    <a:pt x="3714" y="3497"/>
                  </a:lnTo>
                  <a:lnTo>
                    <a:pt x="3680" y="3535"/>
                  </a:lnTo>
                  <a:lnTo>
                    <a:pt x="3645" y="3572"/>
                  </a:lnTo>
                  <a:lnTo>
                    <a:pt x="3610" y="3608"/>
                  </a:lnTo>
                  <a:lnTo>
                    <a:pt x="3574" y="3644"/>
                  </a:lnTo>
                  <a:lnTo>
                    <a:pt x="3536" y="3678"/>
                  </a:lnTo>
                  <a:lnTo>
                    <a:pt x="3498" y="3712"/>
                  </a:lnTo>
                  <a:lnTo>
                    <a:pt x="3459" y="3745"/>
                  </a:lnTo>
                  <a:lnTo>
                    <a:pt x="3420" y="3777"/>
                  </a:lnTo>
                  <a:lnTo>
                    <a:pt x="3380" y="3808"/>
                  </a:lnTo>
                  <a:lnTo>
                    <a:pt x="3339" y="3838"/>
                  </a:lnTo>
                  <a:lnTo>
                    <a:pt x="3296" y="3867"/>
                  </a:lnTo>
                  <a:lnTo>
                    <a:pt x="3254" y="3895"/>
                  </a:lnTo>
                  <a:lnTo>
                    <a:pt x="3211" y="3921"/>
                  </a:lnTo>
                  <a:lnTo>
                    <a:pt x="3167" y="3948"/>
                  </a:lnTo>
                  <a:lnTo>
                    <a:pt x="3122" y="3973"/>
                  </a:lnTo>
                  <a:lnTo>
                    <a:pt x="3077" y="3997"/>
                  </a:lnTo>
                  <a:lnTo>
                    <a:pt x="3032" y="4019"/>
                  </a:lnTo>
                  <a:lnTo>
                    <a:pt x="2984" y="4041"/>
                  </a:lnTo>
                  <a:lnTo>
                    <a:pt x="2938" y="4062"/>
                  </a:lnTo>
                  <a:lnTo>
                    <a:pt x="2889" y="4081"/>
                  </a:lnTo>
                  <a:lnTo>
                    <a:pt x="2842" y="4100"/>
                  </a:lnTo>
                  <a:lnTo>
                    <a:pt x="2792" y="4117"/>
                  </a:lnTo>
                  <a:lnTo>
                    <a:pt x="2743" y="4133"/>
                  </a:lnTo>
                  <a:lnTo>
                    <a:pt x="2694" y="4148"/>
                  </a:lnTo>
                  <a:lnTo>
                    <a:pt x="2643" y="4162"/>
                  </a:lnTo>
                  <a:lnTo>
                    <a:pt x="2592" y="4174"/>
                  </a:lnTo>
                  <a:lnTo>
                    <a:pt x="2541" y="4185"/>
                  </a:lnTo>
                  <a:lnTo>
                    <a:pt x="2489" y="4194"/>
                  </a:lnTo>
                  <a:lnTo>
                    <a:pt x="2436" y="4204"/>
                  </a:lnTo>
                  <a:lnTo>
                    <a:pt x="2383" y="4211"/>
                  </a:lnTo>
                  <a:lnTo>
                    <a:pt x="2331" y="4217"/>
                  </a:lnTo>
                  <a:lnTo>
                    <a:pt x="2277" y="4221"/>
                  </a:lnTo>
                  <a:lnTo>
                    <a:pt x="2224" y="4225"/>
                  </a:lnTo>
                  <a:lnTo>
                    <a:pt x="2169" y="4227"/>
                  </a:lnTo>
                  <a:lnTo>
                    <a:pt x="2114" y="4227"/>
                  </a:lnTo>
                  <a:lnTo>
                    <a:pt x="2114" y="4227"/>
                  </a:lnTo>
                  <a:lnTo>
                    <a:pt x="2060" y="4227"/>
                  </a:lnTo>
                  <a:lnTo>
                    <a:pt x="2005" y="4225"/>
                  </a:lnTo>
                  <a:lnTo>
                    <a:pt x="1952" y="4221"/>
                  </a:lnTo>
                  <a:lnTo>
                    <a:pt x="1898" y="4217"/>
                  </a:lnTo>
                  <a:lnTo>
                    <a:pt x="1846" y="4211"/>
                  </a:lnTo>
                  <a:lnTo>
                    <a:pt x="1792" y="4204"/>
                  </a:lnTo>
                  <a:lnTo>
                    <a:pt x="1740" y="4194"/>
                  </a:lnTo>
                  <a:lnTo>
                    <a:pt x="1688" y="4185"/>
                  </a:lnTo>
                  <a:lnTo>
                    <a:pt x="1637" y="4174"/>
                  </a:lnTo>
                  <a:lnTo>
                    <a:pt x="1586" y="4162"/>
                  </a:lnTo>
                  <a:lnTo>
                    <a:pt x="1535" y="4148"/>
                  </a:lnTo>
                  <a:lnTo>
                    <a:pt x="1486" y="4133"/>
                  </a:lnTo>
                  <a:lnTo>
                    <a:pt x="1436" y="4117"/>
                  </a:lnTo>
                  <a:lnTo>
                    <a:pt x="1387" y="4100"/>
                  </a:lnTo>
                  <a:lnTo>
                    <a:pt x="1340" y="4081"/>
                  </a:lnTo>
                  <a:lnTo>
                    <a:pt x="1291" y="4062"/>
                  </a:lnTo>
                  <a:lnTo>
                    <a:pt x="1244" y="4041"/>
                  </a:lnTo>
                  <a:lnTo>
                    <a:pt x="1197" y="4019"/>
                  </a:lnTo>
                  <a:lnTo>
                    <a:pt x="1152" y="3997"/>
                  </a:lnTo>
                  <a:lnTo>
                    <a:pt x="1107" y="3973"/>
                  </a:lnTo>
                  <a:lnTo>
                    <a:pt x="1062" y="3948"/>
                  </a:lnTo>
                  <a:lnTo>
                    <a:pt x="1018" y="3921"/>
                  </a:lnTo>
                  <a:lnTo>
                    <a:pt x="975" y="3895"/>
                  </a:lnTo>
                  <a:lnTo>
                    <a:pt x="933" y="3867"/>
                  </a:lnTo>
                  <a:lnTo>
                    <a:pt x="890" y="3838"/>
                  </a:lnTo>
                  <a:lnTo>
                    <a:pt x="849" y="3808"/>
                  </a:lnTo>
                  <a:lnTo>
                    <a:pt x="809" y="3777"/>
                  </a:lnTo>
                  <a:lnTo>
                    <a:pt x="770" y="3745"/>
                  </a:lnTo>
                  <a:lnTo>
                    <a:pt x="731" y="3712"/>
                  </a:lnTo>
                  <a:lnTo>
                    <a:pt x="692" y="3678"/>
                  </a:lnTo>
                  <a:lnTo>
                    <a:pt x="655" y="3644"/>
                  </a:lnTo>
                  <a:lnTo>
                    <a:pt x="619" y="3608"/>
                  </a:lnTo>
                  <a:lnTo>
                    <a:pt x="584" y="3572"/>
                  </a:lnTo>
                  <a:lnTo>
                    <a:pt x="549" y="3535"/>
                  </a:lnTo>
                  <a:lnTo>
                    <a:pt x="515" y="3497"/>
                  </a:lnTo>
                  <a:lnTo>
                    <a:pt x="483" y="3459"/>
                  </a:lnTo>
                  <a:lnTo>
                    <a:pt x="451" y="3419"/>
                  </a:lnTo>
                  <a:lnTo>
                    <a:pt x="420" y="3379"/>
                  </a:lnTo>
                  <a:lnTo>
                    <a:pt x="391" y="3337"/>
                  </a:lnTo>
                  <a:lnTo>
                    <a:pt x="361" y="3296"/>
                  </a:lnTo>
                  <a:lnTo>
                    <a:pt x="333" y="3253"/>
                  </a:lnTo>
                  <a:lnTo>
                    <a:pt x="306" y="3210"/>
                  </a:lnTo>
                  <a:lnTo>
                    <a:pt x="280" y="3166"/>
                  </a:lnTo>
                  <a:lnTo>
                    <a:pt x="256" y="3122"/>
                  </a:lnTo>
                  <a:lnTo>
                    <a:pt x="231" y="3077"/>
                  </a:lnTo>
                  <a:lnTo>
                    <a:pt x="208" y="3030"/>
                  </a:lnTo>
                  <a:lnTo>
                    <a:pt x="187" y="2984"/>
                  </a:lnTo>
                  <a:lnTo>
                    <a:pt x="166" y="2937"/>
                  </a:lnTo>
                  <a:lnTo>
                    <a:pt x="146" y="2889"/>
                  </a:lnTo>
                  <a:lnTo>
                    <a:pt x="128" y="2841"/>
                  </a:lnTo>
                  <a:lnTo>
                    <a:pt x="111" y="2792"/>
                  </a:lnTo>
                  <a:lnTo>
                    <a:pt x="95" y="2743"/>
                  </a:lnTo>
                  <a:lnTo>
                    <a:pt x="80" y="2692"/>
                  </a:lnTo>
                  <a:lnTo>
                    <a:pt x="67" y="2642"/>
                  </a:lnTo>
                  <a:lnTo>
                    <a:pt x="55" y="2592"/>
                  </a:lnTo>
                  <a:lnTo>
                    <a:pt x="43" y="2540"/>
                  </a:lnTo>
                  <a:lnTo>
                    <a:pt x="33" y="2489"/>
                  </a:lnTo>
                  <a:lnTo>
                    <a:pt x="25" y="2436"/>
                  </a:lnTo>
                  <a:lnTo>
                    <a:pt x="16" y="2383"/>
                  </a:lnTo>
                  <a:lnTo>
                    <a:pt x="11" y="2330"/>
                  </a:lnTo>
                  <a:lnTo>
                    <a:pt x="6" y="2276"/>
                  </a:lnTo>
                  <a:lnTo>
                    <a:pt x="3" y="2223"/>
                  </a:lnTo>
                  <a:lnTo>
                    <a:pt x="1" y="2168"/>
                  </a:lnTo>
                  <a:lnTo>
                    <a:pt x="0" y="2114"/>
                  </a:lnTo>
                  <a:lnTo>
                    <a:pt x="0" y="2114"/>
                  </a:lnTo>
                  <a:lnTo>
                    <a:pt x="1" y="2059"/>
                  </a:lnTo>
                  <a:lnTo>
                    <a:pt x="3" y="2005"/>
                  </a:lnTo>
                  <a:lnTo>
                    <a:pt x="6" y="1952"/>
                  </a:lnTo>
                  <a:lnTo>
                    <a:pt x="11" y="1898"/>
                  </a:lnTo>
                  <a:lnTo>
                    <a:pt x="16" y="1845"/>
                  </a:lnTo>
                  <a:lnTo>
                    <a:pt x="25" y="1792"/>
                  </a:lnTo>
                  <a:lnTo>
                    <a:pt x="33" y="1740"/>
                  </a:lnTo>
                  <a:lnTo>
                    <a:pt x="43" y="1688"/>
                  </a:lnTo>
                  <a:lnTo>
                    <a:pt x="55" y="1637"/>
                  </a:lnTo>
                  <a:lnTo>
                    <a:pt x="67" y="1586"/>
                  </a:lnTo>
                  <a:lnTo>
                    <a:pt x="80" y="1536"/>
                  </a:lnTo>
                  <a:lnTo>
                    <a:pt x="95" y="1485"/>
                  </a:lnTo>
                  <a:lnTo>
                    <a:pt x="111" y="1436"/>
                  </a:lnTo>
                  <a:lnTo>
                    <a:pt x="128" y="1387"/>
                  </a:lnTo>
                  <a:lnTo>
                    <a:pt x="146" y="1339"/>
                  </a:lnTo>
                  <a:lnTo>
                    <a:pt x="166" y="1291"/>
                  </a:lnTo>
                  <a:lnTo>
                    <a:pt x="187" y="1244"/>
                  </a:lnTo>
                  <a:lnTo>
                    <a:pt x="208" y="1198"/>
                  </a:lnTo>
                  <a:lnTo>
                    <a:pt x="231" y="1151"/>
                  </a:lnTo>
                  <a:lnTo>
                    <a:pt x="256" y="1106"/>
                  </a:lnTo>
                  <a:lnTo>
                    <a:pt x="280" y="1062"/>
                  </a:lnTo>
                  <a:lnTo>
                    <a:pt x="306" y="1017"/>
                  </a:lnTo>
                  <a:lnTo>
                    <a:pt x="333" y="974"/>
                  </a:lnTo>
                  <a:lnTo>
                    <a:pt x="361" y="932"/>
                  </a:lnTo>
                  <a:lnTo>
                    <a:pt x="391" y="891"/>
                  </a:lnTo>
                  <a:lnTo>
                    <a:pt x="420" y="850"/>
                  </a:lnTo>
                  <a:lnTo>
                    <a:pt x="451" y="809"/>
                  </a:lnTo>
                  <a:lnTo>
                    <a:pt x="483" y="769"/>
                  </a:lnTo>
                  <a:lnTo>
                    <a:pt x="515" y="731"/>
                  </a:lnTo>
                  <a:lnTo>
                    <a:pt x="549" y="693"/>
                  </a:lnTo>
                  <a:lnTo>
                    <a:pt x="584" y="656"/>
                  </a:lnTo>
                  <a:lnTo>
                    <a:pt x="619" y="619"/>
                  </a:lnTo>
                  <a:lnTo>
                    <a:pt x="655" y="584"/>
                  </a:lnTo>
                  <a:lnTo>
                    <a:pt x="692" y="549"/>
                  </a:lnTo>
                  <a:lnTo>
                    <a:pt x="731" y="516"/>
                  </a:lnTo>
                  <a:lnTo>
                    <a:pt x="770" y="483"/>
                  </a:lnTo>
                  <a:lnTo>
                    <a:pt x="809" y="451"/>
                  </a:lnTo>
                  <a:lnTo>
                    <a:pt x="849" y="420"/>
                  </a:lnTo>
                  <a:lnTo>
                    <a:pt x="890" y="390"/>
                  </a:lnTo>
                  <a:lnTo>
                    <a:pt x="933" y="361"/>
                  </a:lnTo>
                  <a:lnTo>
                    <a:pt x="975" y="333"/>
                  </a:lnTo>
                  <a:lnTo>
                    <a:pt x="1018" y="306"/>
                  </a:lnTo>
                  <a:lnTo>
                    <a:pt x="1062" y="280"/>
                  </a:lnTo>
                  <a:lnTo>
                    <a:pt x="1107" y="255"/>
                  </a:lnTo>
                  <a:lnTo>
                    <a:pt x="1152" y="231"/>
                  </a:lnTo>
                  <a:lnTo>
                    <a:pt x="1197" y="209"/>
                  </a:lnTo>
                  <a:lnTo>
                    <a:pt x="1244" y="187"/>
                  </a:lnTo>
                  <a:lnTo>
                    <a:pt x="1291" y="167"/>
                  </a:lnTo>
                  <a:lnTo>
                    <a:pt x="1340" y="147"/>
                  </a:lnTo>
                  <a:lnTo>
                    <a:pt x="1387" y="128"/>
                  </a:lnTo>
                  <a:lnTo>
                    <a:pt x="1436" y="111"/>
                  </a:lnTo>
                  <a:lnTo>
                    <a:pt x="1486" y="95"/>
                  </a:lnTo>
                  <a:lnTo>
                    <a:pt x="1535" y="80"/>
                  </a:lnTo>
                  <a:lnTo>
                    <a:pt x="1586" y="67"/>
                  </a:lnTo>
                  <a:lnTo>
                    <a:pt x="1637" y="54"/>
                  </a:lnTo>
                  <a:lnTo>
                    <a:pt x="1688" y="43"/>
                  </a:lnTo>
                  <a:lnTo>
                    <a:pt x="1740" y="33"/>
                  </a:lnTo>
                  <a:lnTo>
                    <a:pt x="1792" y="24"/>
                  </a:lnTo>
                  <a:lnTo>
                    <a:pt x="1846" y="17"/>
                  </a:lnTo>
                  <a:lnTo>
                    <a:pt x="1898" y="11"/>
                  </a:lnTo>
                  <a:lnTo>
                    <a:pt x="1952" y="6"/>
                  </a:lnTo>
                  <a:lnTo>
                    <a:pt x="2005" y="3"/>
                  </a:lnTo>
                  <a:lnTo>
                    <a:pt x="2060" y="1"/>
                  </a:lnTo>
                  <a:lnTo>
                    <a:pt x="2114" y="0"/>
                  </a:lnTo>
                  <a:lnTo>
                    <a:pt x="2114" y="0"/>
                  </a:lnTo>
                  <a:lnTo>
                    <a:pt x="2169" y="1"/>
                  </a:lnTo>
                  <a:lnTo>
                    <a:pt x="2224" y="3"/>
                  </a:lnTo>
                  <a:lnTo>
                    <a:pt x="2277" y="6"/>
                  </a:lnTo>
                  <a:lnTo>
                    <a:pt x="2331" y="11"/>
                  </a:lnTo>
                  <a:lnTo>
                    <a:pt x="2383" y="17"/>
                  </a:lnTo>
                  <a:lnTo>
                    <a:pt x="2436" y="24"/>
                  </a:lnTo>
                  <a:lnTo>
                    <a:pt x="2489" y="33"/>
                  </a:lnTo>
                  <a:lnTo>
                    <a:pt x="2541" y="43"/>
                  </a:lnTo>
                  <a:lnTo>
                    <a:pt x="2592" y="54"/>
                  </a:lnTo>
                  <a:lnTo>
                    <a:pt x="2643" y="67"/>
                  </a:lnTo>
                  <a:lnTo>
                    <a:pt x="2694" y="80"/>
                  </a:lnTo>
                  <a:lnTo>
                    <a:pt x="2743" y="95"/>
                  </a:lnTo>
                  <a:lnTo>
                    <a:pt x="2792" y="111"/>
                  </a:lnTo>
                  <a:lnTo>
                    <a:pt x="2842" y="128"/>
                  </a:lnTo>
                  <a:lnTo>
                    <a:pt x="2889" y="147"/>
                  </a:lnTo>
                  <a:lnTo>
                    <a:pt x="2938" y="167"/>
                  </a:lnTo>
                  <a:lnTo>
                    <a:pt x="2984" y="187"/>
                  </a:lnTo>
                  <a:lnTo>
                    <a:pt x="3032" y="209"/>
                  </a:lnTo>
                  <a:lnTo>
                    <a:pt x="3077" y="231"/>
                  </a:lnTo>
                  <a:lnTo>
                    <a:pt x="3122" y="255"/>
                  </a:lnTo>
                  <a:lnTo>
                    <a:pt x="3167" y="280"/>
                  </a:lnTo>
                  <a:lnTo>
                    <a:pt x="3211" y="306"/>
                  </a:lnTo>
                  <a:lnTo>
                    <a:pt x="3254" y="333"/>
                  </a:lnTo>
                  <a:lnTo>
                    <a:pt x="3296" y="361"/>
                  </a:lnTo>
                  <a:lnTo>
                    <a:pt x="3339" y="390"/>
                  </a:lnTo>
                  <a:lnTo>
                    <a:pt x="3380" y="420"/>
                  </a:lnTo>
                  <a:lnTo>
                    <a:pt x="3420" y="451"/>
                  </a:lnTo>
                  <a:lnTo>
                    <a:pt x="3459" y="483"/>
                  </a:lnTo>
                  <a:lnTo>
                    <a:pt x="3498" y="516"/>
                  </a:lnTo>
                  <a:lnTo>
                    <a:pt x="3536" y="549"/>
                  </a:lnTo>
                  <a:lnTo>
                    <a:pt x="3574" y="584"/>
                  </a:lnTo>
                  <a:lnTo>
                    <a:pt x="3610" y="619"/>
                  </a:lnTo>
                  <a:lnTo>
                    <a:pt x="3645" y="656"/>
                  </a:lnTo>
                  <a:lnTo>
                    <a:pt x="3680" y="693"/>
                  </a:lnTo>
                  <a:lnTo>
                    <a:pt x="3714" y="731"/>
                  </a:lnTo>
                  <a:lnTo>
                    <a:pt x="3746" y="769"/>
                  </a:lnTo>
                  <a:lnTo>
                    <a:pt x="3778" y="809"/>
                  </a:lnTo>
                  <a:lnTo>
                    <a:pt x="3809" y="850"/>
                  </a:lnTo>
                  <a:lnTo>
                    <a:pt x="3838" y="891"/>
                  </a:lnTo>
                  <a:lnTo>
                    <a:pt x="3868" y="932"/>
                  </a:lnTo>
                  <a:lnTo>
                    <a:pt x="3896" y="974"/>
                  </a:lnTo>
                  <a:lnTo>
                    <a:pt x="3923" y="1017"/>
                  </a:lnTo>
                  <a:lnTo>
                    <a:pt x="3949" y="1062"/>
                  </a:lnTo>
                  <a:lnTo>
                    <a:pt x="3973" y="1106"/>
                  </a:lnTo>
                  <a:lnTo>
                    <a:pt x="3997" y="1151"/>
                  </a:lnTo>
                  <a:lnTo>
                    <a:pt x="4021" y="1198"/>
                  </a:lnTo>
                  <a:lnTo>
                    <a:pt x="4042" y="1244"/>
                  </a:lnTo>
                  <a:lnTo>
                    <a:pt x="4063" y="1291"/>
                  </a:lnTo>
                  <a:lnTo>
                    <a:pt x="4083" y="1339"/>
                  </a:lnTo>
                  <a:lnTo>
                    <a:pt x="4100" y="1387"/>
                  </a:lnTo>
                  <a:lnTo>
                    <a:pt x="4118" y="1436"/>
                  </a:lnTo>
                  <a:lnTo>
                    <a:pt x="4134" y="1485"/>
                  </a:lnTo>
                  <a:lnTo>
                    <a:pt x="4149" y="1536"/>
                  </a:lnTo>
                  <a:lnTo>
                    <a:pt x="4162" y="1586"/>
                  </a:lnTo>
                  <a:lnTo>
                    <a:pt x="4174" y="1637"/>
                  </a:lnTo>
                  <a:lnTo>
                    <a:pt x="4186" y="1688"/>
                  </a:lnTo>
                  <a:lnTo>
                    <a:pt x="4196" y="1740"/>
                  </a:lnTo>
                  <a:lnTo>
                    <a:pt x="4204" y="1792"/>
                  </a:lnTo>
                  <a:lnTo>
                    <a:pt x="4211" y="1845"/>
                  </a:lnTo>
                  <a:lnTo>
                    <a:pt x="4218" y="1898"/>
                  </a:lnTo>
                  <a:lnTo>
                    <a:pt x="4223" y="1952"/>
                  </a:lnTo>
                  <a:lnTo>
                    <a:pt x="4226" y="2005"/>
                  </a:lnTo>
                  <a:lnTo>
                    <a:pt x="4228" y="2059"/>
                  </a:lnTo>
                  <a:lnTo>
                    <a:pt x="4229" y="2114"/>
                  </a:lnTo>
                  <a:close/>
                </a:path>
              </a:pathLst>
            </a:custGeom>
            <a:solidFill>
              <a:srgbClr val="4CC5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2" name="Freeform 396">
              <a:extLst>
                <a:ext uri="{FF2B5EF4-FFF2-40B4-BE49-F238E27FC236}">
                  <a16:creationId xmlns:a16="http://schemas.microsoft.com/office/drawing/2014/main" id="{1FA8ADF0-0890-9BE0-5695-CF0F2BA075BF}"/>
                </a:ext>
              </a:extLst>
            </p:cNvPr>
            <p:cNvSpPr>
              <a:spLocks/>
            </p:cNvSpPr>
            <p:nvPr/>
          </p:nvSpPr>
          <p:spPr bwMode="auto">
            <a:xfrm>
              <a:off x="1497013" y="2260600"/>
              <a:ext cx="839788" cy="838200"/>
            </a:xfrm>
            <a:custGeom>
              <a:avLst/>
              <a:gdLst/>
              <a:ahLst/>
              <a:cxnLst>
                <a:cxn ang="0">
                  <a:pos x="4223" y="2276"/>
                </a:cxn>
                <a:cxn ang="0">
                  <a:pos x="4186" y="2540"/>
                </a:cxn>
                <a:cxn ang="0">
                  <a:pos x="4118" y="2792"/>
                </a:cxn>
                <a:cxn ang="0">
                  <a:pos x="4021" y="3030"/>
                </a:cxn>
                <a:cxn ang="0">
                  <a:pos x="3896" y="3253"/>
                </a:cxn>
                <a:cxn ang="0">
                  <a:pos x="3746" y="3459"/>
                </a:cxn>
                <a:cxn ang="0">
                  <a:pos x="3574" y="3644"/>
                </a:cxn>
                <a:cxn ang="0">
                  <a:pos x="3380" y="3808"/>
                </a:cxn>
                <a:cxn ang="0">
                  <a:pos x="3167" y="3948"/>
                </a:cxn>
                <a:cxn ang="0">
                  <a:pos x="2938" y="4062"/>
                </a:cxn>
                <a:cxn ang="0">
                  <a:pos x="2694" y="4148"/>
                </a:cxn>
                <a:cxn ang="0">
                  <a:pos x="2436" y="4204"/>
                </a:cxn>
                <a:cxn ang="0">
                  <a:pos x="2169" y="4227"/>
                </a:cxn>
                <a:cxn ang="0">
                  <a:pos x="1952" y="4221"/>
                </a:cxn>
                <a:cxn ang="0">
                  <a:pos x="1688" y="4185"/>
                </a:cxn>
                <a:cxn ang="0">
                  <a:pos x="1436" y="4117"/>
                </a:cxn>
                <a:cxn ang="0">
                  <a:pos x="1197" y="4019"/>
                </a:cxn>
                <a:cxn ang="0">
                  <a:pos x="975" y="3895"/>
                </a:cxn>
                <a:cxn ang="0">
                  <a:pos x="770" y="3745"/>
                </a:cxn>
                <a:cxn ang="0">
                  <a:pos x="584" y="3572"/>
                </a:cxn>
                <a:cxn ang="0">
                  <a:pos x="420" y="3379"/>
                </a:cxn>
                <a:cxn ang="0">
                  <a:pos x="280" y="3166"/>
                </a:cxn>
                <a:cxn ang="0">
                  <a:pos x="166" y="2937"/>
                </a:cxn>
                <a:cxn ang="0">
                  <a:pos x="80" y="2692"/>
                </a:cxn>
                <a:cxn ang="0">
                  <a:pos x="25" y="2436"/>
                </a:cxn>
                <a:cxn ang="0">
                  <a:pos x="1" y="2168"/>
                </a:cxn>
                <a:cxn ang="0">
                  <a:pos x="6" y="1952"/>
                </a:cxn>
                <a:cxn ang="0">
                  <a:pos x="43" y="1688"/>
                </a:cxn>
                <a:cxn ang="0">
                  <a:pos x="111" y="1436"/>
                </a:cxn>
                <a:cxn ang="0">
                  <a:pos x="208" y="1198"/>
                </a:cxn>
                <a:cxn ang="0">
                  <a:pos x="333" y="974"/>
                </a:cxn>
                <a:cxn ang="0">
                  <a:pos x="483" y="769"/>
                </a:cxn>
                <a:cxn ang="0">
                  <a:pos x="655" y="584"/>
                </a:cxn>
                <a:cxn ang="0">
                  <a:pos x="849" y="420"/>
                </a:cxn>
                <a:cxn ang="0">
                  <a:pos x="1062" y="280"/>
                </a:cxn>
                <a:cxn ang="0">
                  <a:pos x="1291" y="167"/>
                </a:cxn>
                <a:cxn ang="0">
                  <a:pos x="1535" y="80"/>
                </a:cxn>
                <a:cxn ang="0">
                  <a:pos x="1792" y="24"/>
                </a:cxn>
                <a:cxn ang="0">
                  <a:pos x="2060" y="1"/>
                </a:cxn>
                <a:cxn ang="0">
                  <a:pos x="2277" y="6"/>
                </a:cxn>
                <a:cxn ang="0">
                  <a:pos x="2541" y="43"/>
                </a:cxn>
                <a:cxn ang="0">
                  <a:pos x="2792" y="111"/>
                </a:cxn>
                <a:cxn ang="0">
                  <a:pos x="3032" y="209"/>
                </a:cxn>
                <a:cxn ang="0">
                  <a:pos x="3254" y="333"/>
                </a:cxn>
                <a:cxn ang="0">
                  <a:pos x="3459" y="483"/>
                </a:cxn>
                <a:cxn ang="0">
                  <a:pos x="3645" y="656"/>
                </a:cxn>
                <a:cxn ang="0">
                  <a:pos x="3809" y="850"/>
                </a:cxn>
                <a:cxn ang="0">
                  <a:pos x="3949" y="1062"/>
                </a:cxn>
                <a:cxn ang="0">
                  <a:pos x="4063" y="1291"/>
                </a:cxn>
                <a:cxn ang="0">
                  <a:pos x="4149" y="1536"/>
                </a:cxn>
                <a:cxn ang="0">
                  <a:pos x="4204" y="1792"/>
                </a:cxn>
                <a:cxn ang="0">
                  <a:pos x="4228" y="2059"/>
                </a:cxn>
              </a:cxnLst>
              <a:rect l="0" t="0" r="r" b="b"/>
              <a:pathLst>
                <a:path w="4229" h="4227">
                  <a:moveTo>
                    <a:pt x="4229" y="2114"/>
                  </a:moveTo>
                  <a:lnTo>
                    <a:pt x="4229" y="2114"/>
                  </a:lnTo>
                  <a:lnTo>
                    <a:pt x="4228" y="2168"/>
                  </a:lnTo>
                  <a:lnTo>
                    <a:pt x="4226" y="2223"/>
                  </a:lnTo>
                  <a:lnTo>
                    <a:pt x="4223" y="2276"/>
                  </a:lnTo>
                  <a:lnTo>
                    <a:pt x="4218" y="2330"/>
                  </a:lnTo>
                  <a:lnTo>
                    <a:pt x="4211" y="2383"/>
                  </a:lnTo>
                  <a:lnTo>
                    <a:pt x="4204" y="2436"/>
                  </a:lnTo>
                  <a:lnTo>
                    <a:pt x="4196" y="2489"/>
                  </a:lnTo>
                  <a:lnTo>
                    <a:pt x="4186" y="2540"/>
                  </a:lnTo>
                  <a:lnTo>
                    <a:pt x="4174" y="2592"/>
                  </a:lnTo>
                  <a:lnTo>
                    <a:pt x="4162" y="2642"/>
                  </a:lnTo>
                  <a:lnTo>
                    <a:pt x="4149" y="2692"/>
                  </a:lnTo>
                  <a:lnTo>
                    <a:pt x="4134" y="2743"/>
                  </a:lnTo>
                  <a:lnTo>
                    <a:pt x="4118" y="2792"/>
                  </a:lnTo>
                  <a:lnTo>
                    <a:pt x="4100" y="2841"/>
                  </a:lnTo>
                  <a:lnTo>
                    <a:pt x="4083" y="2889"/>
                  </a:lnTo>
                  <a:lnTo>
                    <a:pt x="4063" y="2937"/>
                  </a:lnTo>
                  <a:lnTo>
                    <a:pt x="4042" y="2984"/>
                  </a:lnTo>
                  <a:lnTo>
                    <a:pt x="4021" y="3030"/>
                  </a:lnTo>
                  <a:lnTo>
                    <a:pt x="3997" y="3077"/>
                  </a:lnTo>
                  <a:lnTo>
                    <a:pt x="3973" y="3122"/>
                  </a:lnTo>
                  <a:lnTo>
                    <a:pt x="3949" y="3166"/>
                  </a:lnTo>
                  <a:lnTo>
                    <a:pt x="3923" y="3210"/>
                  </a:lnTo>
                  <a:lnTo>
                    <a:pt x="3896" y="3253"/>
                  </a:lnTo>
                  <a:lnTo>
                    <a:pt x="3868" y="3296"/>
                  </a:lnTo>
                  <a:lnTo>
                    <a:pt x="3838" y="3337"/>
                  </a:lnTo>
                  <a:lnTo>
                    <a:pt x="3809" y="3379"/>
                  </a:lnTo>
                  <a:lnTo>
                    <a:pt x="3778" y="3419"/>
                  </a:lnTo>
                  <a:lnTo>
                    <a:pt x="3746" y="3459"/>
                  </a:lnTo>
                  <a:lnTo>
                    <a:pt x="3714" y="3497"/>
                  </a:lnTo>
                  <a:lnTo>
                    <a:pt x="3680" y="3535"/>
                  </a:lnTo>
                  <a:lnTo>
                    <a:pt x="3645" y="3572"/>
                  </a:lnTo>
                  <a:lnTo>
                    <a:pt x="3610" y="3608"/>
                  </a:lnTo>
                  <a:lnTo>
                    <a:pt x="3574" y="3644"/>
                  </a:lnTo>
                  <a:lnTo>
                    <a:pt x="3536" y="3678"/>
                  </a:lnTo>
                  <a:lnTo>
                    <a:pt x="3498" y="3712"/>
                  </a:lnTo>
                  <a:lnTo>
                    <a:pt x="3459" y="3745"/>
                  </a:lnTo>
                  <a:lnTo>
                    <a:pt x="3420" y="3777"/>
                  </a:lnTo>
                  <a:lnTo>
                    <a:pt x="3380" y="3808"/>
                  </a:lnTo>
                  <a:lnTo>
                    <a:pt x="3339" y="3838"/>
                  </a:lnTo>
                  <a:lnTo>
                    <a:pt x="3296" y="3867"/>
                  </a:lnTo>
                  <a:lnTo>
                    <a:pt x="3254" y="3895"/>
                  </a:lnTo>
                  <a:lnTo>
                    <a:pt x="3211" y="3921"/>
                  </a:lnTo>
                  <a:lnTo>
                    <a:pt x="3167" y="3948"/>
                  </a:lnTo>
                  <a:lnTo>
                    <a:pt x="3122" y="3973"/>
                  </a:lnTo>
                  <a:lnTo>
                    <a:pt x="3077" y="3997"/>
                  </a:lnTo>
                  <a:lnTo>
                    <a:pt x="3032" y="4019"/>
                  </a:lnTo>
                  <a:lnTo>
                    <a:pt x="2984" y="4041"/>
                  </a:lnTo>
                  <a:lnTo>
                    <a:pt x="2938" y="4062"/>
                  </a:lnTo>
                  <a:lnTo>
                    <a:pt x="2889" y="4081"/>
                  </a:lnTo>
                  <a:lnTo>
                    <a:pt x="2842" y="4100"/>
                  </a:lnTo>
                  <a:lnTo>
                    <a:pt x="2792" y="4117"/>
                  </a:lnTo>
                  <a:lnTo>
                    <a:pt x="2743" y="4133"/>
                  </a:lnTo>
                  <a:lnTo>
                    <a:pt x="2694" y="4148"/>
                  </a:lnTo>
                  <a:lnTo>
                    <a:pt x="2643" y="4162"/>
                  </a:lnTo>
                  <a:lnTo>
                    <a:pt x="2592" y="4174"/>
                  </a:lnTo>
                  <a:lnTo>
                    <a:pt x="2541" y="4185"/>
                  </a:lnTo>
                  <a:lnTo>
                    <a:pt x="2489" y="4194"/>
                  </a:lnTo>
                  <a:lnTo>
                    <a:pt x="2436" y="4204"/>
                  </a:lnTo>
                  <a:lnTo>
                    <a:pt x="2383" y="4211"/>
                  </a:lnTo>
                  <a:lnTo>
                    <a:pt x="2331" y="4217"/>
                  </a:lnTo>
                  <a:lnTo>
                    <a:pt x="2277" y="4221"/>
                  </a:lnTo>
                  <a:lnTo>
                    <a:pt x="2224" y="4225"/>
                  </a:lnTo>
                  <a:lnTo>
                    <a:pt x="2169" y="4227"/>
                  </a:lnTo>
                  <a:lnTo>
                    <a:pt x="2114" y="4227"/>
                  </a:lnTo>
                  <a:lnTo>
                    <a:pt x="2114" y="4227"/>
                  </a:lnTo>
                  <a:lnTo>
                    <a:pt x="2060" y="4227"/>
                  </a:lnTo>
                  <a:lnTo>
                    <a:pt x="2005" y="4225"/>
                  </a:lnTo>
                  <a:lnTo>
                    <a:pt x="1952" y="4221"/>
                  </a:lnTo>
                  <a:lnTo>
                    <a:pt x="1898" y="4217"/>
                  </a:lnTo>
                  <a:lnTo>
                    <a:pt x="1846" y="4211"/>
                  </a:lnTo>
                  <a:lnTo>
                    <a:pt x="1792" y="4204"/>
                  </a:lnTo>
                  <a:lnTo>
                    <a:pt x="1740" y="4194"/>
                  </a:lnTo>
                  <a:lnTo>
                    <a:pt x="1688" y="4185"/>
                  </a:lnTo>
                  <a:lnTo>
                    <a:pt x="1637" y="4174"/>
                  </a:lnTo>
                  <a:lnTo>
                    <a:pt x="1586" y="4162"/>
                  </a:lnTo>
                  <a:lnTo>
                    <a:pt x="1535" y="4148"/>
                  </a:lnTo>
                  <a:lnTo>
                    <a:pt x="1486" y="4133"/>
                  </a:lnTo>
                  <a:lnTo>
                    <a:pt x="1436" y="4117"/>
                  </a:lnTo>
                  <a:lnTo>
                    <a:pt x="1387" y="4100"/>
                  </a:lnTo>
                  <a:lnTo>
                    <a:pt x="1340" y="4081"/>
                  </a:lnTo>
                  <a:lnTo>
                    <a:pt x="1291" y="4062"/>
                  </a:lnTo>
                  <a:lnTo>
                    <a:pt x="1244" y="4041"/>
                  </a:lnTo>
                  <a:lnTo>
                    <a:pt x="1197" y="4019"/>
                  </a:lnTo>
                  <a:lnTo>
                    <a:pt x="1152" y="3997"/>
                  </a:lnTo>
                  <a:lnTo>
                    <a:pt x="1107" y="3973"/>
                  </a:lnTo>
                  <a:lnTo>
                    <a:pt x="1062" y="3948"/>
                  </a:lnTo>
                  <a:lnTo>
                    <a:pt x="1018" y="3921"/>
                  </a:lnTo>
                  <a:lnTo>
                    <a:pt x="975" y="3895"/>
                  </a:lnTo>
                  <a:lnTo>
                    <a:pt x="933" y="3867"/>
                  </a:lnTo>
                  <a:lnTo>
                    <a:pt x="890" y="3838"/>
                  </a:lnTo>
                  <a:lnTo>
                    <a:pt x="849" y="3808"/>
                  </a:lnTo>
                  <a:lnTo>
                    <a:pt x="809" y="3777"/>
                  </a:lnTo>
                  <a:lnTo>
                    <a:pt x="770" y="3745"/>
                  </a:lnTo>
                  <a:lnTo>
                    <a:pt x="731" y="3712"/>
                  </a:lnTo>
                  <a:lnTo>
                    <a:pt x="692" y="3678"/>
                  </a:lnTo>
                  <a:lnTo>
                    <a:pt x="655" y="3644"/>
                  </a:lnTo>
                  <a:lnTo>
                    <a:pt x="619" y="3608"/>
                  </a:lnTo>
                  <a:lnTo>
                    <a:pt x="584" y="3572"/>
                  </a:lnTo>
                  <a:lnTo>
                    <a:pt x="549" y="3535"/>
                  </a:lnTo>
                  <a:lnTo>
                    <a:pt x="515" y="3497"/>
                  </a:lnTo>
                  <a:lnTo>
                    <a:pt x="483" y="3459"/>
                  </a:lnTo>
                  <a:lnTo>
                    <a:pt x="451" y="3419"/>
                  </a:lnTo>
                  <a:lnTo>
                    <a:pt x="420" y="3379"/>
                  </a:lnTo>
                  <a:lnTo>
                    <a:pt x="391" y="3337"/>
                  </a:lnTo>
                  <a:lnTo>
                    <a:pt x="361" y="3296"/>
                  </a:lnTo>
                  <a:lnTo>
                    <a:pt x="333" y="3253"/>
                  </a:lnTo>
                  <a:lnTo>
                    <a:pt x="306" y="3210"/>
                  </a:lnTo>
                  <a:lnTo>
                    <a:pt x="280" y="3166"/>
                  </a:lnTo>
                  <a:lnTo>
                    <a:pt x="256" y="3122"/>
                  </a:lnTo>
                  <a:lnTo>
                    <a:pt x="231" y="3077"/>
                  </a:lnTo>
                  <a:lnTo>
                    <a:pt x="208" y="3030"/>
                  </a:lnTo>
                  <a:lnTo>
                    <a:pt x="187" y="2984"/>
                  </a:lnTo>
                  <a:lnTo>
                    <a:pt x="166" y="2937"/>
                  </a:lnTo>
                  <a:lnTo>
                    <a:pt x="146" y="2889"/>
                  </a:lnTo>
                  <a:lnTo>
                    <a:pt x="128" y="2841"/>
                  </a:lnTo>
                  <a:lnTo>
                    <a:pt x="111" y="2792"/>
                  </a:lnTo>
                  <a:lnTo>
                    <a:pt x="95" y="2743"/>
                  </a:lnTo>
                  <a:lnTo>
                    <a:pt x="80" y="2692"/>
                  </a:lnTo>
                  <a:lnTo>
                    <a:pt x="67" y="2642"/>
                  </a:lnTo>
                  <a:lnTo>
                    <a:pt x="55" y="2592"/>
                  </a:lnTo>
                  <a:lnTo>
                    <a:pt x="43" y="2540"/>
                  </a:lnTo>
                  <a:lnTo>
                    <a:pt x="33" y="2489"/>
                  </a:lnTo>
                  <a:lnTo>
                    <a:pt x="25" y="2436"/>
                  </a:lnTo>
                  <a:lnTo>
                    <a:pt x="16" y="2383"/>
                  </a:lnTo>
                  <a:lnTo>
                    <a:pt x="11" y="2330"/>
                  </a:lnTo>
                  <a:lnTo>
                    <a:pt x="6" y="2276"/>
                  </a:lnTo>
                  <a:lnTo>
                    <a:pt x="3" y="2223"/>
                  </a:lnTo>
                  <a:lnTo>
                    <a:pt x="1" y="2168"/>
                  </a:lnTo>
                  <a:lnTo>
                    <a:pt x="0" y="2114"/>
                  </a:lnTo>
                  <a:lnTo>
                    <a:pt x="0" y="2114"/>
                  </a:lnTo>
                  <a:lnTo>
                    <a:pt x="1" y="2059"/>
                  </a:lnTo>
                  <a:lnTo>
                    <a:pt x="3" y="2005"/>
                  </a:lnTo>
                  <a:lnTo>
                    <a:pt x="6" y="1952"/>
                  </a:lnTo>
                  <a:lnTo>
                    <a:pt x="11" y="1898"/>
                  </a:lnTo>
                  <a:lnTo>
                    <a:pt x="16" y="1845"/>
                  </a:lnTo>
                  <a:lnTo>
                    <a:pt x="25" y="1792"/>
                  </a:lnTo>
                  <a:lnTo>
                    <a:pt x="33" y="1740"/>
                  </a:lnTo>
                  <a:lnTo>
                    <a:pt x="43" y="1688"/>
                  </a:lnTo>
                  <a:lnTo>
                    <a:pt x="55" y="1637"/>
                  </a:lnTo>
                  <a:lnTo>
                    <a:pt x="67" y="1586"/>
                  </a:lnTo>
                  <a:lnTo>
                    <a:pt x="80" y="1536"/>
                  </a:lnTo>
                  <a:lnTo>
                    <a:pt x="95" y="1485"/>
                  </a:lnTo>
                  <a:lnTo>
                    <a:pt x="111" y="1436"/>
                  </a:lnTo>
                  <a:lnTo>
                    <a:pt x="128" y="1387"/>
                  </a:lnTo>
                  <a:lnTo>
                    <a:pt x="146" y="1339"/>
                  </a:lnTo>
                  <a:lnTo>
                    <a:pt x="166" y="1291"/>
                  </a:lnTo>
                  <a:lnTo>
                    <a:pt x="187" y="1244"/>
                  </a:lnTo>
                  <a:lnTo>
                    <a:pt x="208" y="1198"/>
                  </a:lnTo>
                  <a:lnTo>
                    <a:pt x="231" y="1151"/>
                  </a:lnTo>
                  <a:lnTo>
                    <a:pt x="256" y="1106"/>
                  </a:lnTo>
                  <a:lnTo>
                    <a:pt x="280" y="1062"/>
                  </a:lnTo>
                  <a:lnTo>
                    <a:pt x="306" y="1017"/>
                  </a:lnTo>
                  <a:lnTo>
                    <a:pt x="333" y="974"/>
                  </a:lnTo>
                  <a:lnTo>
                    <a:pt x="361" y="932"/>
                  </a:lnTo>
                  <a:lnTo>
                    <a:pt x="391" y="891"/>
                  </a:lnTo>
                  <a:lnTo>
                    <a:pt x="420" y="850"/>
                  </a:lnTo>
                  <a:lnTo>
                    <a:pt x="451" y="809"/>
                  </a:lnTo>
                  <a:lnTo>
                    <a:pt x="483" y="769"/>
                  </a:lnTo>
                  <a:lnTo>
                    <a:pt x="515" y="731"/>
                  </a:lnTo>
                  <a:lnTo>
                    <a:pt x="549" y="693"/>
                  </a:lnTo>
                  <a:lnTo>
                    <a:pt x="584" y="656"/>
                  </a:lnTo>
                  <a:lnTo>
                    <a:pt x="619" y="619"/>
                  </a:lnTo>
                  <a:lnTo>
                    <a:pt x="655" y="584"/>
                  </a:lnTo>
                  <a:lnTo>
                    <a:pt x="692" y="549"/>
                  </a:lnTo>
                  <a:lnTo>
                    <a:pt x="731" y="516"/>
                  </a:lnTo>
                  <a:lnTo>
                    <a:pt x="770" y="483"/>
                  </a:lnTo>
                  <a:lnTo>
                    <a:pt x="809" y="451"/>
                  </a:lnTo>
                  <a:lnTo>
                    <a:pt x="849" y="420"/>
                  </a:lnTo>
                  <a:lnTo>
                    <a:pt x="890" y="390"/>
                  </a:lnTo>
                  <a:lnTo>
                    <a:pt x="933" y="361"/>
                  </a:lnTo>
                  <a:lnTo>
                    <a:pt x="975" y="333"/>
                  </a:lnTo>
                  <a:lnTo>
                    <a:pt x="1018" y="306"/>
                  </a:lnTo>
                  <a:lnTo>
                    <a:pt x="1062" y="280"/>
                  </a:lnTo>
                  <a:lnTo>
                    <a:pt x="1107" y="255"/>
                  </a:lnTo>
                  <a:lnTo>
                    <a:pt x="1152" y="231"/>
                  </a:lnTo>
                  <a:lnTo>
                    <a:pt x="1197" y="209"/>
                  </a:lnTo>
                  <a:lnTo>
                    <a:pt x="1244" y="187"/>
                  </a:lnTo>
                  <a:lnTo>
                    <a:pt x="1291" y="167"/>
                  </a:lnTo>
                  <a:lnTo>
                    <a:pt x="1340" y="147"/>
                  </a:lnTo>
                  <a:lnTo>
                    <a:pt x="1387" y="128"/>
                  </a:lnTo>
                  <a:lnTo>
                    <a:pt x="1436" y="111"/>
                  </a:lnTo>
                  <a:lnTo>
                    <a:pt x="1486" y="95"/>
                  </a:lnTo>
                  <a:lnTo>
                    <a:pt x="1535" y="80"/>
                  </a:lnTo>
                  <a:lnTo>
                    <a:pt x="1586" y="67"/>
                  </a:lnTo>
                  <a:lnTo>
                    <a:pt x="1637" y="54"/>
                  </a:lnTo>
                  <a:lnTo>
                    <a:pt x="1688" y="43"/>
                  </a:lnTo>
                  <a:lnTo>
                    <a:pt x="1740" y="33"/>
                  </a:lnTo>
                  <a:lnTo>
                    <a:pt x="1792" y="24"/>
                  </a:lnTo>
                  <a:lnTo>
                    <a:pt x="1846" y="17"/>
                  </a:lnTo>
                  <a:lnTo>
                    <a:pt x="1898" y="11"/>
                  </a:lnTo>
                  <a:lnTo>
                    <a:pt x="1952" y="6"/>
                  </a:lnTo>
                  <a:lnTo>
                    <a:pt x="2005" y="3"/>
                  </a:lnTo>
                  <a:lnTo>
                    <a:pt x="2060" y="1"/>
                  </a:lnTo>
                  <a:lnTo>
                    <a:pt x="2114" y="0"/>
                  </a:lnTo>
                  <a:lnTo>
                    <a:pt x="2114" y="0"/>
                  </a:lnTo>
                  <a:lnTo>
                    <a:pt x="2169" y="1"/>
                  </a:lnTo>
                  <a:lnTo>
                    <a:pt x="2224" y="3"/>
                  </a:lnTo>
                  <a:lnTo>
                    <a:pt x="2277" y="6"/>
                  </a:lnTo>
                  <a:lnTo>
                    <a:pt x="2331" y="11"/>
                  </a:lnTo>
                  <a:lnTo>
                    <a:pt x="2383" y="17"/>
                  </a:lnTo>
                  <a:lnTo>
                    <a:pt x="2436" y="24"/>
                  </a:lnTo>
                  <a:lnTo>
                    <a:pt x="2489" y="33"/>
                  </a:lnTo>
                  <a:lnTo>
                    <a:pt x="2541" y="43"/>
                  </a:lnTo>
                  <a:lnTo>
                    <a:pt x="2592" y="54"/>
                  </a:lnTo>
                  <a:lnTo>
                    <a:pt x="2643" y="67"/>
                  </a:lnTo>
                  <a:lnTo>
                    <a:pt x="2694" y="80"/>
                  </a:lnTo>
                  <a:lnTo>
                    <a:pt x="2743" y="95"/>
                  </a:lnTo>
                  <a:lnTo>
                    <a:pt x="2792" y="111"/>
                  </a:lnTo>
                  <a:lnTo>
                    <a:pt x="2842" y="128"/>
                  </a:lnTo>
                  <a:lnTo>
                    <a:pt x="2889" y="147"/>
                  </a:lnTo>
                  <a:lnTo>
                    <a:pt x="2938" y="167"/>
                  </a:lnTo>
                  <a:lnTo>
                    <a:pt x="2984" y="187"/>
                  </a:lnTo>
                  <a:lnTo>
                    <a:pt x="3032" y="209"/>
                  </a:lnTo>
                  <a:lnTo>
                    <a:pt x="3077" y="231"/>
                  </a:lnTo>
                  <a:lnTo>
                    <a:pt x="3122" y="255"/>
                  </a:lnTo>
                  <a:lnTo>
                    <a:pt x="3167" y="280"/>
                  </a:lnTo>
                  <a:lnTo>
                    <a:pt x="3211" y="306"/>
                  </a:lnTo>
                  <a:lnTo>
                    <a:pt x="3254" y="333"/>
                  </a:lnTo>
                  <a:lnTo>
                    <a:pt x="3296" y="361"/>
                  </a:lnTo>
                  <a:lnTo>
                    <a:pt x="3339" y="390"/>
                  </a:lnTo>
                  <a:lnTo>
                    <a:pt x="3380" y="420"/>
                  </a:lnTo>
                  <a:lnTo>
                    <a:pt x="3420" y="451"/>
                  </a:lnTo>
                  <a:lnTo>
                    <a:pt x="3459" y="483"/>
                  </a:lnTo>
                  <a:lnTo>
                    <a:pt x="3498" y="516"/>
                  </a:lnTo>
                  <a:lnTo>
                    <a:pt x="3536" y="549"/>
                  </a:lnTo>
                  <a:lnTo>
                    <a:pt x="3574" y="584"/>
                  </a:lnTo>
                  <a:lnTo>
                    <a:pt x="3610" y="619"/>
                  </a:lnTo>
                  <a:lnTo>
                    <a:pt x="3645" y="656"/>
                  </a:lnTo>
                  <a:lnTo>
                    <a:pt x="3680" y="693"/>
                  </a:lnTo>
                  <a:lnTo>
                    <a:pt x="3714" y="731"/>
                  </a:lnTo>
                  <a:lnTo>
                    <a:pt x="3746" y="769"/>
                  </a:lnTo>
                  <a:lnTo>
                    <a:pt x="3778" y="809"/>
                  </a:lnTo>
                  <a:lnTo>
                    <a:pt x="3809" y="850"/>
                  </a:lnTo>
                  <a:lnTo>
                    <a:pt x="3838" y="891"/>
                  </a:lnTo>
                  <a:lnTo>
                    <a:pt x="3868" y="932"/>
                  </a:lnTo>
                  <a:lnTo>
                    <a:pt x="3896" y="974"/>
                  </a:lnTo>
                  <a:lnTo>
                    <a:pt x="3923" y="1017"/>
                  </a:lnTo>
                  <a:lnTo>
                    <a:pt x="3949" y="1062"/>
                  </a:lnTo>
                  <a:lnTo>
                    <a:pt x="3973" y="1106"/>
                  </a:lnTo>
                  <a:lnTo>
                    <a:pt x="3997" y="1151"/>
                  </a:lnTo>
                  <a:lnTo>
                    <a:pt x="4021" y="1198"/>
                  </a:lnTo>
                  <a:lnTo>
                    <a:pt x="4042" y="1244"/>
                  </a:lnTo>
                  <a:lnTo>
                    <a:pt x="4063" y="1291"/>
                  </a:lnTo>
                  <a:lnTo>
                    <a:pt x="4083" y="1339"/>
                  </a:lnTo>
                  <a:lnTo>
                    <a:pt x="4100" y="1387"/>
                  </a:lnTo>
                  <a:lnTo>
                    <a:pt x="4118" y="1436"/>
                  </a:lnTo>
                  <a:lnTo>
                    <a:pt x="4134" y="1485"/>
                  </a:lnTo>
                  <a:lnTo>
                    <a:pt x="4149" y="1536"/>
                  </a:lnTo>
                  <a:lnTo>
                    <a:pt x="4162" y="1586"/>
                  </a:lnTo>
                  <a:lnTo>
                    <a:pt x="4174" y="1637"/>
                  </a:lnTo>
                  <a:lnTo>
                    <a:pt x="4186" y="1688"/>
                  </a:lnTo>
                  <a:lnTo>
                    <a:pt x="4196" y="1740"/>
                  </a:lnTo>
                  <a:lnTo>
                    <a:pt x="4204" y="1792"/>
                  </a:lnTo>
                  <a:lnTo>
                    <a:pt x="4211" y="1845"/>
                  </a:lnTo>
                  <a:lnTo>
                    <a:pt x="4218" y="1898"/>
                  </a:lnTo>
                  <a:lnTo>
                    <a:pt x="4223" y="1952"/>
                  </a:lnTo>
                  <a:lnTo>
                    <a:pt x="4226" y="2005"/>
                  </a:lnTo>
                  <a:lnTo>
                    <a:pt x="4228" y="2059"/>
                  </a:lnTo>
                  <a:lnTo>
                    <a:pt x="4229" y="2114"/>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3" name="Freeform 459">
              <a:extLst>
                <a:ext uri="{FF2B5EF4-FFF2-40B4-BE49-F238E27FC236}">
                  <a16:creationId xmlns:a16="http://schemas.microsoft.com/office/drawing/2014/main" id="{C542B9F5-3EE2-D225-E816-848B9A83ACFD}"/>
                </a:ext>
              </a:extLst>
            </p:cNvPr>
            <p:cNvSpPr>
              <a:spLocks/>
            </p:cNvSpPr>
            <p:nvPr/>
          </p:nvSpPr>
          <p:spPr bwMode="auto">
            <a:xfrm>
              <a:off x="1497013" y="2260600"/>
              <a:ext cx="839788" cy="838200"/>
            </a:xfrm>
            <a:custGeom>
              <a:avLst/>
              <a:gdLst/>
              <a:ahLst/>
              <a:cxnLst>
                <a:cxn ang="0">
                  <a:pos x="4223" y="2276"/>
                </a:cxn>
                <a:cxn ang="0">
                  <a:pos x="4186" y="2540"/>
                </a:cxn>
                <a:cxn ang="0">
                  <a:pos x="4118" y="2792"/>
                </a:cxn>
                <a:cxn ang="0">
                  <a:pos x="4021" y="3030"/>
                </a:cxn>
                <a:cxn ang="0">
                  <a:pos x="3896" y="3253"/>
                </a:cxn>
                <a:cxn ang="0">
                  <a:pos x="3746" y="3459"/>
                </a:cxn>
                <a:cxn ang="0">
                  <a:pos x="3574" y="3644"/>
                </a:cxn>
                <a:cxn ang="0">
                  <a:pos x="3380" y="3808"/>
                </a:cxn>
                <a:cxn ang="0">
                  <a:pos x="3167" y="3948"/>
                </a:cxn>
                <a:cxn ang="0">
                  <a:pos x="2938" y="4062"/>
                </a:cxn>
                <a:cxn ang="0">
                  <a:pos x="2694" y="4148"/>
                </a:cxn>
                <a:cxn ang="0">
                  <a:pos x="2436" y="4204"/>
                </a:cxn>
                <a:cxn ang="0">
                  <a:pos x="2169" y="4227"/>
                </a:cxn>
                <a:cxn ang="0">
                  <a:pos x="1952" y="4221"/>
                </a:cxn>
                <a:cxn ang="0">
                  <a:pos x="1688" y="4185"/>
                </a:cxn>
                <a:cxn ang="0">
                  <a:pos x="1436" y="4117"/>
                </a:cxn>
                <a:cxn ang="0">
                  <a:pos x="1197" y="4019"/>
                </a:cxn>
                <a:cxn ang="0">
                  <a:pos x="975" y="3895"/>
                </a:cxn>
                <a:cxn ang="0">
                  <a:pos x="770" y="3745"/>
                </a:cxn>
                <a:cxn ang="0">
                  <a:pos x="584" y="3572"/>
                </a:cxn>
                <a:cxn ang="0">
                  <a:pos x="420" y="3379"/>
                </a:cxn>
                <a:cxn ang="0">
                  <a:pos x="280" y="3166"/>
                </a:cxn>
                <a:cxn ang="0">
                  <a:pos x="166" y="2937"/>
                </a:cxn>
                <a:cxn ang="0">
                  <a:pos x="80" y="2692"/>
                </a:cxn>
                <a:cxn ang="0">
                  <a:pos x="25" y="2436"/>
                </a:cxn>
                <a:cxn ang="0">
                  <a:pos x="1" y="2168"/>
                </a:cxn>
                <a:cxn ang="0">
                  <a:pos x="6" y="1952"/>
                </a:cxn>
                <a:cxn ang="0">
                  <a:pos x="43" y="1688"/>
                </a:cxn>
                <a:cxn ang="0">
                  <a:pos x="111" y="1436"/>
                </a:cxn>
                <a:cxn ang="0">
                  <a:pos x="208" y="1198"/>
                </a:cxn>
                <a:cxn ang="0">
                  <a:pos x="333" y="974"/>
                </a:cxn>
                <a:cxn ang="0">
                  <a:pos x="483" y="769"/>
                </a:cxn>
                <a:cxn ang="0">
                  <a:pos x="655" y="584"/>
                </a:cxn>
                <a:cxn ang="0">
                  <a:pos x="849" y="420"/>
                </a:cxn>
                <a:cxn ang="0">
                  <a:pos x="1062" y="280"/>
                </a:cxn>
                <a:cxn ang="0">
                  <a:pos x="1291" y="167"/>
                </a:cxn>
                <a:cxn ang="0">
                  <a:pos x="1535" y="80"/>
                </a:cxn>
                <a:cxn ang="0">
                  <a:pos x="1792" y="24"/>
                </a:cxn>
                <a:cxn ang="0">
                  <a:pos x="2060" y="1"/>
                </a:cxn>
                <a:cxn ang="0">
                  <a:pos x="2277" y="6"/>
                </a:cxn>
                <a:cxn ang="0">
                  <a:pos x="2541" y="43"/>
                </a:cxn>
                <a:cxn ang="0">
                  <a:pos x="2792" y="111"/>
                </a:cxn>
                <a:cxn ang="0">
                  <a:pos x="3032" y="209"/>
                </a:cxn>
                <a:cxn ang="0">
                  <a:pos x="3254" y="333"/>
                </a:cxn>
                <a:cxn ang="0">
                  <a:pos x="3459" y="483"/>
                </a:cxn>
                <a:cxn ang="0">
                  <a:pos x="3645" y="656"/>
                </a:cxn>
                <a:cxn ang="0">
                  <a:pos x="3809" y="850"/>
                </a:cxn>
                <a:cxn ang="0">
                  <a:pos x="3949" y="1062"/>
                </a:cxn>
                <a:cxn ang="0">
                  <a:pos x="4063" y="1291"/>
                </a:cxn>
                <a:cxn ang="0">
                  <a:pos x="4149" y="1536"/>
                </a:cxn>
                <a:cxn ang="0">
                  <a:pos x="4204" y="1792"/>
                </a:cxn>
                <a:cxn ang="0">
                  <a:pos x="4228" y="2059"/>
                </a:cxn>
              </a:cxnLst>
              <a:rect l="0" t="0" r="r" b="b"/>
              <a:pathLst>
                <a:path w="4229" h="4227">
                  <a:moveTo>
                    <a:pt x="4229" y="2114"/>
                  </a:moveTo>
                  <a:lnTo>
                    <a:pt x="4229" y="2114"/>
                  </a:lnTo>
                  <a:lnTo>
                    <a:pt x="4228" y="2168"/>
                  </a:lnTo>
                  <a:lnTo>
                    <a:pt x="4226" y="2223"/>
                  </a:lnTo>
                  <a:lnTo>
                    <a:pt x="4223" y="2276"/>
                  </a:lnTo>
                  <a:lnTo>
                    <a:pt x="4218" y="2330"/>
                  </a:lnTo>
                  <a:lnTo>
                    <a:pt x="4211" y="2383"/>
                  </a:lnTo>
                  <a:lnTo>
                    <a:pt x="4204" y="2436"/>
                  </a:lnTo>
                  <a:lnTo>
                    <a:pt x="4196" y="2489"/>
                  </a:lnTo>
                  <a:lnTo>
                    <a:pt x="4186" y="2540"/>
                  </a:lnTo>
                  <a:lnTo>
                    <a:pt x="4174" y="2592"/>
                  </a:lnTo>
                  <a:lnTo>
                    <a:pt x="4162" y="2642"/>
                  </a:lnTo>
                  <a:lnTo>
                    <a:pt x="4149" y="2692"/>
                  </a:lnTo>
                  <a:lnTo>
                    <a:pt x="4134" y="2743"/>
                  </a:lnTo>
                  <a:lnTo>
                    <a:pt x="4118" y="2792"/>
                  </a:lnTo>
                  <a:lnTo>
                    <a:pt x="4100" y="2841"/>
                  </a:lnTo>
                  <a:lnTo>
                    <a:pt x="4083" y="2889"/>
                  </a:lnTo>
                  <a:lnTo>
                    <a:pt x="4063" y="2937"/>
                  </a:lnTo>
                  <a:lnTo>
                    <a:pt x="4042" y="2984"/>
                  </a:lnTo>
                  <a:lnTo>
                    <a:pt x="4021" y="3030"/>
                  </a:lnTo>
                  <a:lnTo>
                    <a:pt x="3997" y="3077"/>
                  </a:lnTo>
                  <a:lnTo>
                    <a:pt x="3973" y="3122"/>
                  </a:lnTo>
                  <a:lnTo>
                    <a:pt x="3949" y="3166"/>
                  </a:lnTo>
                  <a:lnTo>
                    <a:pt x="3923" y="3210"/>
                  </a:lnTo>
                  <a:lnTo>
                    <a:pt x="3896" y="3253"/>
                  </a:lnTo>
                  <a:lnTo>
                    <a:pt x="3868" y="3296"/>
                  </a:lnTo>
                  <a:lnTo>
                    <a:pt x="3838" y="3337"/>
                  </a:lnTo>
                  <a:lnTo>
                    <a:pt x="3809" y="3379"/>
                  </a:lnTo>
                  <a:lnTo>
                    <a:pt x="3778" y="3419"/>
                  </a:lnTo>
                  <a:lnTo>
                    <a:pt x="3746" y="3459"/>
                  </a:lnTo>
                  <a:lnTo>
                    <a:pt x="3714" y="3497"/>
                  </a:lnTo>
                  <a:lnTo>
                    <a:pt x="3680" y="3535"/>
                  </a:lnTo>
                  <a:lnTo>
                    <a:pt x="3645" y="3572"/>
                  </a:lnTo>
                  <a:lnTo>
                    <a:pt x="3610" y="3608"/>
                  </a:lnTo>
                  <a:lnTo>
                    <a:pt x="3574" y="3644"/>
                  </a:lnTo>
                  <a:lnTo>
                    <a:pt x="3536" y="3678"/>
                  </a:lnTo>
                  <a:lnTo>
                    <a:pt x="3498" y="3712"/>
                  </a:lnTo>
                  <a:lnTo>
                    <a:pt x="3459" y="3745"/>
                  </a:lnTo>
                  <a:lnTo>
                    <a:pt x="3420" y="3777"/>
                  </a:lnTo>
                  <a:lnTo>
                    <a:pt x="3380" y="3808"/>
                  </a:lnTo>
                  <a:lnTo>
                    <a:pt x="3339" y="3838"/>
                  </a:lnTo>
                  <a:lnTo>
                    <a:pt x="3296" y="3867"/>
                  </a:lnTo>
                  <a:lnTo>
                    <a:pt x="3254" y="3895"/>
                  </a:lnTo>
                  <a:lnTo>
                    <a:pt x="3211" y="3921"/>
                  </a:lnTo>
                  <a:lnTo>
                    <a:pt x="3167" y="3948"/>
                  </a:lnTo>
                  <a:lnTo>
                    <a:pt x="3122" y="3973"/>
                  </a:lnTo>
                  <a:lnTo>
                    <a:pt x="3077" y="3997"/>
                  </a:lnTo>
                  <a:lnTo>
                    <a:pt x="3032" y="4019"/>
                  </a:lnTo>
                  <a:lnTo>
                    <a:pt x="2984" y="4041"/>
                  </a:lnTo>
                  <a:lnTo>
                    <a:pt x="2938" y="4062"/>
                  </a:lnTo>
                  <a:lnTo>
                    <a:pt x="2889" y="4081"/>
                  </a:lnTo>
                  <a:lnTo>
                    <a:pt x="2842" y="4100"/>
                  </a:lnTo>
                  <a:lnTo>
                    <a:pt x="2792" y="4117"/>
                  </a:lnTo>
                  <a:lnTo>
                    <a:pt x="2743" y="4133"/>
                  </a:lnTo>
                  <a:lnTo>
                    <a:pt x="2694" y="4148"/>
                  </a:lnTo>
                  <a:lnTo>
                    <a:pt x="2643" y="4162"/>
                  </a:lnTo>
                  <a:lnTo>
                    <a:pt x="2592" y="4174"/>
                  </a:lnTo>
                  <a:lnTo>
                    <a:pt x="2541" y="4185"/>
                  </a:lnTo>
                  <a:lnTo>
                    <a:pt x="2489" y="4194"/>
                  </a:lnTo>
                  <a:lnTo>
                    <a:pt x="2436" y="4204"/>
                  </a:lnTo>
                  <a:lnTo>
                    <a:pt x="2383" y="4211"/>
                  </a:lnTo>
                  <a:lnTo>
                    <a:pt x="2331" y="4217"/>
                  </a:lnTo>
                  <a:lnTo>
                    <a:pt x="2277" y="4221"/>
                  </a:lnTo>
                  <a:lnTo>
                    <a:pt x="2224" y="4225"/>
                  </a:lnTo>
                  <a:lnTo>
                    <a:pt x="2169" y="4227"/>
                  </a:lnTo>
                  <a:lnTo>
                    <a:pt x="2114" y="4227"/>
                  </a:lnTo>
                  <a:lnTo>
                    <a:pt x="2114" y="4227"/>
                  </a:lnTo>
                  <a:lnTo>
                    <a:pt x="2060" y="4227"/>
                  </a:lnTo>
                  <a:lnTo>
                    <a:pt x="2005" y="4225"/>
                  </a:lnTo>
                  <a:lnTo>
                    <a:pt x="1952" y="4221"/>
                  </a:lnTo>
                  <a:lnTo>
                    <a:pt x="1898" y="4217"/>
                  </a:lnTo>
                  <a:lnTo>
                    <a:pt x="1846" y="4211"/>
                  </a:lnTo>
                  <a:lnTo>
                    <a:pt x="1792" y="4204"/>
                  </a:lnTo>
                  <a:lnTo>
                    <a:pt x="1740" y="4194"/>
                  </a:lnTo>
                  <a:lnTo>
                    <a:pt x="1688" y="4185"/>
                  </a:lnTo>
                  <a:lnTo>
                    <a:pt x="1637" y="4174"/>
                  </a:lnTo>
                  <a:lnTo>
                    <a:pt x="1586" y="4162"/>
                  </a:lnTo>
                  <a:lnTo>
                    <a:pt x="1535" y="4148"/>
                  </a:lnTo>
                  <a:lnTo>
                    <a:pt x="1486" y="4133"/>
                  </a:lnTo>
                  <a:lnTo>
                    <a:pt x="1436" y="4117"/>
                  </a:lnTo>
                  <a:lnTo>
                    <a:pt x="1387" y="4100"/>
                  </a:lnTo>
                  <a:lnTo>
                    <a:pt x="1340" y="4081"/>
                  </a:lnTo>
                  <a:lnTo>
                    <a:pt x="1291" y="4062"/>
                  </a:lnTo>
                  <a:lnTo>
                    <a:pt x="1244" y="4041"/>
                  </a:lnTo>
                  <a:lnTo>
                    <a:pt x="1197" y="4019"/>
                  </a:lnTo>
                  <a:lnTo>
                    <a:pt x="1152" y="3997"/>
                  </a:lnTo>
                  <a:lnTo>
                    <a:pt x="1107" y="3973"/>
                  </a:lnTo>
                  <a:lnTo>
                    <a:pt x="1062" y="3948"/>
                  </a:lnTo>
                  <a:lnTo>
                    <a:pt x="1018" y="3921"/>
                  </a:lnTo>
                  <a:lnTo>
                    <a:pt x="975" y="3895"/>
                  </a:lnTo>
                  <a:lnTo>
                    <a:pt x="933" y="3867"/>
                  </a:lnTo>
                  <a:lnTo>
                    <a:pt x="890" y="3838"/>
                  </a:lnTo>
                  <a:lnTo>
                    <a:pt x="849" y="3808"/>
                  </a:lnTo>
                  <a:lnTo>
                    <a:pt x="809" y="3777"/>
                  </a:lnTo>
                  <a:lnTo>
                    <a:pt x="770" y="3745"/>
                  </a:lnTo>
                  <a:lnTo>
                    <a:pt x="731" y="3712"/>
                  </a:lnTo>
                  <a:lnTo>
                    <a:pt x="692" y="3678"/>
                  </a:lnTo>
                  <a:lnTo>
                    <a:pt x="655" y="3644"/>
                  </a:lnTo>
                  <a:lnTo>
                    <a:pt x="619" y="3608"/>
                  </a:lnTo>
                  <a:lnTo>
                    <a:pt x="584" y="3572"/>
                  </a:lnTo>
                  <a:lnTo>
                    <a:pt x="549" y="3535"/>
                  </a:lnTo>
                  <a:lnTo>
                    <a:pt x="515" y="3497"/>
                  </a:lnTo>
                  <a:lnTo>
                    <a:pt x="483" y="3459"/>
                  </a:lnTo>
                  <a:lnTo>
                    <a:pt x="451" y="3419"/>
                  </a:lnTo>
                  <a:lnTo>
                    <a:pt x="420" y="3379"/>
                  </a:lnTo>
                  <a:lnTo>
                    <a:pt x="391" y="3337"/>
                  </a:lnTo>
                  <a:lnTo>
                    <a:pt x="361" y="3296"/>
                  </a:lnTo>
                  <a:lnTo>
                    <a:pt x="333" y="3253"/>
                  </a:lnTo>
                  <a:lnTo>
                    <a:pt x="306" y="3210"/>
                  </a:lnTo>
                  <a:lnTo>
                    <a:pt x="280" y="3166"/>
                  </a:lnTo>
                  <a:lnTo>
                    <a:pt x="256" y="3122"/>
                  </a:lnTo>
                  <a:lnTo>
                    <a:pt x="231" y="3077"/>
                  </a:lnTo>
                  <a:lnTo>
                    <a:pt x="208" y="3030"/>
                  </a:lnTo>
                  <a:lnTo>
                    <a:pt x="187" y="2984"/>
                  </a:lnTo>
                  <a:lnTo>
                    <a:pt x="166" y="2937"/>
                  </a:lnTo>
                  <a:lnTo>
                    <a:pt x="146" y="2889"/>
                  </a:lnTo>
                  <a:lnTo>
                    <a:pt x="128" y="2841"/>
                  </a:lnTo>
                  <a:lnTo>
                    <a:pt x="111" y="2792"/>
                  </a:lnTo>
                  <a:lnTo>
                    <a:pt x="95" y="2743"/>
                  </a:lnTo>
                  <a:lnTo>
                    <a:pt x="80" y="2692"/>
                  </a:lnTo>
                  <a:lnTo>
                    <a:pt x="67" y="2642"/>
                  </a:lnTo>
                  <a:lnTo>
                    <a:pt x="55" y="2592"/>
                  </a:lnTo>
                  <a:lnTo>
                    <a:pt x="43" y="2540"/>
                  </a:lnTo>
                  <a:lnTo>
                    <a:pt x="33" y="2489"/>
                  </a:lnTo>
                  <a:lnTo>
                    <a:pt x="25" y="2436"/>
                  </a:lnTo>
                  <a:lnTo>
                    <a:pt x="16" y="2383"/>
                  </a:lnTo>
                  <a:lnTo>
                    <a:pt x="11" y="2330"/>
                  </a:lnTo>
                  <a:lnTo>
                    <a:pt x="6" y="2276"/>
                  </a:lnTo>
                  <a:lnTo>
                    <a:pt x="3" y="2223"/>
                  </a:lnTo>
                  <a:lnTo>
                    <a:pt x="1" y="2168"/>
                  </a:lnTo>
                  <a:lnTo>
                    <a:pt x="0" y="2114"/>
                  </a:lnTo>
                  <a:lnTo>
                    <a:pt x="0" y="2114"/>
                  </a:lnTo>
                  <a:lnTo>
                    <a:pt x="1" y="2059"/>
                  </a:lnTo>
                  <a:lnTo>
                    <a:pt x="3" y="2005"/>
                  </a:lnTo>
                  <a:lnTo>
                    <a:pt x="6" y="1952"/>
                  </a:lnTo>
                  <a:lnTo>
                    <a:pt x="11" y="1898"/>
                  </a:lnTo>
                  <a:lnTo>
                    <a:pt x="16" y="1845"/>
                  </a:lnTo>
                  <a:lnTo>
                    <a:pt x="25" y="1792"/>
                  </a:lnTo>
                  <a:lnTo>
                    <a:pt x="33" y="1740"/>
                  </a:lnTo>
                  <a:lnTo>
                    <a:pt x="43" y="1688"/>
                  </a:lnTo>
                  <a:lnTo>
                    <a:pt x="55" y="1637"/>
                  </a:lnTo>
                  <a:lnTo>
                    <a:pt x="67" y="1586"/>
                  </a:lnTo>
                  <a:lnTo>
                    <a:pt x="80" y="1536"/>
                  </a:lnTo>
                  <a:lnTo>
                    <a:pt x="95" y="1485"/>
                  </a:lnTo>
                  <a:lnTo>
                    <a:pt x="111" y="1436"/>
                  </a:lnTo>
                  <a:lnTo>
                    <a:pt x="128" y="1387"/>
                  </a:lnTo>
                  <a:lnTo>
                    <a:pt x="146" y="1339"/>
                  </a:lnTo>
                  <a:lnTo>
                    <a:pt x="166" y="1291"/>
                  </a:lnTo>
                  <a:lnTo>
                    <a:pt x="187" y="1244"/>
                  </a:lnTo>
                  <a:lnTo>
                    <a:pt x="208" y="1198"/>
                  </a:lnTo>
                  <a:lnTo>
                    <a:pt x="231" y="1151"/>
                  </a:lnTo>
                  <a:lnTo>
                    <a:pt x="256" y="1106"/>
                  </a:lnTo>
                  <a:lnTo>
                    <a:pt x="280" y="1062"/>
                  </a:lnTo>
                  <a:lnTo>
                    <a:pt x="306" y="1017"/>
                  </a:lnTo>
                  <a:lnTo>
                    <a:pt x="333" y="974"/>
                  </a:lnTo>
                  <a:lnTo>
                    <a:pt x="361" y="932"/>
                  </a:lnTo>
                  <a:lnTo>
                    <a:pt x="391" y="891"/>
                  </a:lnTo>
                  <a:lnTo>
                    <a:pt x="420" y="850"/>
                  </a:lnTo>
                  <a:lnTo>
                    <a:pt x="451" y="809"/>
                  </a:lnTo>
                  <a:lnTo>
                    <a:pt x="483" y="769"/>
                  </a:lnTo>
                  <a:lnTo>
                    <a:pt x="515" y="731"/>
                  </a:lnTo>
                  <a:lnTo>
                    <a:pt x="549" y="693"/>
                  </a:lnTo>
                  <a:lnTo>
                    <a:pt x="584" y="656"/>
                  </a:lnTo>
                  <a:lnTo>
                    <a:pt x="619" y="619"/>
                  </a:lnTo>
                  <a:lnTo>
                    <a:pt x="655" y="584"/>
                  </a:lnTo>
                  <a:lnTo>
                    <a:pt x="692" y="549"/>
                  </a:lnTo>
                  <a:lnTo>
                    <a:pt x="731" y="516"/>
                  </a:lnTo>
                  <a:lnTo>
                    <a:pt x="770" y="483"/>
                  </a:lnTo>
                  <a:lnTo>
                    <a:pt x="809" y="451"/>
                  </a:lnTo>
                  <a:lnTo>
                    <a:pt x="849" y="420"/>
                  </a:lnTo>
                  <a:lnTo>
                    <a:pt x="890" y="390"/>
                  </a:lnTo>
                  <a:lnTo>
                    <a:pt x="933" y="361"/>
                  </a:lnTo>
                  <a:lnTo>
                    <a:pt x="975" y="333"/>
                  </a:lnTo>
                  <a:lnTo>
                    <a:pt x="1018" y="306"/>
                  </a:lnTo>
                  <a:lnTo>
                    <a:pt x="1062" y="280"/>
                  </a:lnTo>
                  <a:lnTo>
                    <a:pt x="1107" y="255"/>
                  </a:lnTo>
                  <a:lnTo>
                    <a:pt x="1152" y="231"/>
                  </a:lnTo>
                  <a:lnTo>
                    <a:pt x="1197" y="209"/>
                  </a:lnTo>
                  <a:lnTo>
                    <a:pt x="1244" y="187"/>
                  </a:lnTo>
                  <a:lnTo>
                    <a:pt x="1291" y="167"/>
                  </a:lnTo>
                  <a:lnTo>
                    <a:pt x="1340" y="147"/>
                  </a:lnTo>
                  <a:lnTo>
                    <a:pt x="1387" y="128"/>
                  </a:lnTo>
                  <a:lnTo>
                    <a:pt x="1436" y="111"/>
                  </a:lnTo>
                  <a:lnTo>
                    <a:pt x="1486" y="95"/>
                  </a:lnTo>
                  <a:lnTo>
                    <a:pt x="1535" y="80"/>
                  </a:lnTo>
                  <a:lnTo>
                    <a:pt x="1586" y="67"/>
                  </a:lnTo>
                  <a:lnTo>
                    <a:pt x="1637" y="54"/>
                  </a:lnTo>
                  <a:lnTo>
                    <a:pt x="1688" y="43"/>
                  </a:lnTo>
                  <a:lnTo>
                    <a:pt x="1740" y="33"/>
                  </a:lnTo>
                  <a:lnTo>
                    <a:pt x="1792" y="24"/>
                  </a:lnTo>
                  <a:lnTo>
                    <a:pt x="1846" y="17"/>
                  </a:lnTo>
                  <a:lnTo>
                    <a:pt x="1898" y="11"/>
                  </a:lnTo>
                  <a:lnTo>
                    <a:pt x="1952" y="6"/>
                  </a:lnTo>
                  <a:lnTo>
                    <a:pt x="2005" y="3"/>
                  </a:lnTo>
                  <a:lnTo>
                    <a:pt x="2060" y="1"/>
                  </a:lnTo>
                  <a:lnTo>
                    <a:pt x="2114" y="0"/>
                  </a:lnTo>
                  <a:lnTo>
                    <a:pt x="2114" y="0"/>
                  </a:lnTo>
                  <a:lnTo>
                    <a:pt x="2169" y="1"/>
                  </a:lnTo>
                  <a:lnTo>
                    <a:pt x="2224" y="3"/>
                  </a:lnTo>
                  <a:lnTo>
                    <a:pt x="2277" y="6"/>
                  </a:lnTo>
                  <a:lnTo>
                    <a:pt x="2331" y="11"/>
                  </a:lnTo>
                  <a:lnTo>
                    <a:pt x="2383" y="17"/>
                  </a:lnTo>
                  <a:lnTo>
                    <a:pt x="2436" y="24"/>
                  </a:lnTo>
                  <a:lnTo>
                    <a:pt x="2489" y="33"/>
                  </a:lnTo>
                  <a:lnTo>
                    <a:pt x="2541" y="43"/>
                  </a:lnTo>
                  <a:lnTo>
                    <a:pt x="2592" y="54"/>
                  </a:lnTo>
                  <a:lnTo>
                    <a:pt x="2643" y="67"/>
                  </a:lnTo>
                  <a:lnTo>
                    <a:pt x="2694" y="80"/>
                  </a:lnTo>
                  <a:lnTo>
                    <a:pt x="2743" y="95"/>
                  </a:lnTo>
                  <a:lnTo>
                    <a:pt x="2792" y="111"/>
                  </a:lnTo>
                  <a:lnTo>
                    <a:pt x="2842" y="128"/>
                  </a:lnTo>
                  <a:lnTo>
                    <a:pt x="2889" y="147"/>
                  </a:lnTo>
                  <a:lnTo>
                    <a:pt x="2938" y="167"/>
                  </a:lnTo>
                  <a:lnTo>
                    <a:pt x="2984" y="187"/>
                  </a:lnTo>
                  <a:lnTo>
                    <a:pt x="3032" y="209"/>
                  </a:lnTo>
                  <a:lnTo>
                    <a:pt x="3077" y="231"/>
                  </a:lnTo>
                  <a:lnTo>
                    <a:pt x="3122" y="255"/>
                  </a:lnTo>
                  <a:lnTo>
                    <a:pt x="3167" y="280"/>
                  </a:lnTo>
                  <a:lnTo>
                    <a:pt x="3211" y="306"/>
                  </a:lnTo>
                  <a:lnTo>
                    <a:pt x="3254" y="333"/>
                  </a:lnTo>
                  <a:lnTo>
                    <a:pt x="3296" y="361"/>
                  </a:lnTo>
                  <a:lnTo>
                    <a:pt x="3339" y="390"/>
                  </a:lnTo>
                  <a:lnTo>
                    <a:pt x="3380" y="420"/>
                  </a:lnTo>
                  <a:lnTo>
                    <a:pt x="3420" y="451"/>
                  </a:lnTo>
                  <a:lnTo>
                    <a:pt x="3459" y="483"/>
                  </a:lnTo>
                  <a:lnTo>
                    <a:pt x="3498" y="516"/>
                  </a:lnTo>
                  <a:lnTo>
                    <a:pt x="3536" y="549"/>
                  </a:lnTo>
                  <a:lnTo>
                    <a:pt x="3574" y="584"/>
                  </a:lnTo>
                  <a:lnTo>
                    <a:pt x="3610" y="619"/>
                  </a:lnTo>
                  <a:lnTo>
                    <a:pt x="3645" y="656"/>
                  </a:lnTo>
                  <a:lnTo>
                    <a:pt x="3680" y="693"/>
                  </a:lnTo>
                  <a:lnTo>
                    <a:pt x="3714" y="731"/>
                  </a:lnTo>
                  <a:lnTo>
                    <a:pt x="3746" y="769"/>
                  </a:lnTo>
                  <a:lnTo>
                    <a:pt x="3778" y="809"/>
                  </a:lnTo>
                  <a:lnTo>
                    <a:pt x="3809" y="850"/>
                  </a:lnTo>
                  <a:lnTo>
                    <a:pt x="3838" y="891"/>
                  </a:lnTo>
                  <a:lnTo>
                    <a:pt x="3868" y="932"/>
                  </a:lnTo>
                  <a:lnTo>
                    <a:pt x="3896" y="974"/>
                  </a:lnTo>
                  <a:lnTo>
                    <a:pt x="3923" y="1017"/>
                  </a:lnTo>
                  <a:lnTo>
                    <a:pt x="3949" y="1062"/>
                  </a:lnTo>
                  <a:lnTo>
                    <a:pt x="3973" y="1106"/>
                  </a:lnTo>
                  <a:lnTo>
                    <a:pt x="3997" y="1151"/>
                  </a:lnTo>
                  <a:lnTo>
                    <a:pt x="4021" y="1198"/>
                  </a:lnTo>
                  <a:lnTo>
                    <a:pt x="4042" y="1244"/>
                  </a:lnTo>
                  <a:lnTo>
                    <a:pt x="4063" y="1291"/>
                  </a:lnTo>
                  <a:lnTo>
                    <a:pt x="4083" y="1339"/>
                  </a:lnTo>
                  <a:lnTo>
                    <a:pt x="4100" y="1387"/>
                  </a:lnTo>
                  <a:lnTo>
                    <a:pt x="4118" y="1436"/>
                  </a:lnTo>
                  <a:lnTo>
                    <a:pt x="4134" y="1485"/>
                  </a:lnTo>
                  <a:lnTo>
                    <a:pt x="4149" y="1536"/>
                  </a:lnTo>
                  <a:lnTo>
                    <a:pt x="4162" y="1586"/>
                  </a:lnTo>
                  <a:lnTo>
                    <a:pt x="4174" y="1637"/>
                  </a:lnTo>
                  <a:lnTo>
                    <a:pt x="4186" y="1688"/>
                  </a:lnTo>
                  <a:lnTo>
                    <a:pt x="4196" y="1740"/>
                  </a:lnTo>
                  <a:lnTo>
                    <a:pt x="4204" y="1792"/>
                  </a:lnTo>
                  <a:lnTo>
                    <a:pt x="4211" y="1845"/>
                  </a:lnTo>
                  <a:lnTo>
                    <a:pt x="4218" y="1898"/>
                  </a:lnTo>
                  <a:lnTo>
                    <a:pt x="4223" y="1952"/>
                  </a:lnTo>
                  <a:lnTo>
                    <a:pt x="4226" y="2005"/>
                  </a:lnTo>
                  <a:lnTo>
                    <a:pt x="4228" y="2059"/>
                  </a:lnTo>
                  <a:lnTo>
                    <a:pt x="4229" y="2114"/>
                  </a:lnTo>
                  <a:close/>
                </a:path>
              </a:pathLst>
            </a:custGeom>
            <a:solidFill>
              <a:srgbClr val="4CC5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4" name="Freeform 460">
              <a:extLst>
                <a:ext uri="{FF2B5EF4-FFF2-40B4-BE49-F238E27FC236}">
                  <a16:creationId xmlns:a16="http://schemas.microsoft.com/office/drawing/2014/main" id="{BC60AF4F-74AC-BBC5-5045-BF8EA8E538C7}"/>
                </a:ext>
              </a:extLst>
            </p:cNvPr>
            <p:cNvSpPr>
              <a:spLocks/>
            </p:cNvSpPr>
            <p:nvPr/>
          </p:nvSpPr>
          <p:spPr bwMode="auto">
            <a:xfrm>
              <a:off x="1497013" y="2260600"/>
              <a:ext cx="839788" cy="838200"/>
            </a:xfrm>
            <a:custGeom>
              <a:avLst/>
              <a:gdLst/>
              <a:ahLst/>
              <a:cxnLst>
                <a:cxn ang="0">
                  <a:pos x="4223" y="2276"/>
                </a:cxn>
                <a:cxn ang="0">
                  <a:pos x="4186" y="2540"/>
                </a:cxn>
                <a:cxn ang="0">
                  <a:pos x="4118" y="2792"/>
                </a:cxn>
                <a:cxn ang="0">
                  <a:pos x="4021" y="3030"/>
                </a:cxn>
                <a:cxn ang="0">
                  <a:pos x="3896" y="3253"/>
                </a:cxn>
                <a:cxn ang="0">
                  <a:pos x="3746" y="3459"/>
                </a:cxn>
                <a:cxn ang="0">
                  <a:pos x="3574" y="3644"/>
                </a:cxn>
                <a:cxn ang="0">
                  <a:pos x="3380" y="3808"/>
                </a:cxn>
                <a:cxn ang="0">
                  <a:pos x="3167" y="3948"/>
                </a:cxn>
                <a:cxn ang="0">
                  <a:pos x="2938" y="4062"/>
                </a:cxn>
                <a:cxn ang="0">
                  <a:pos x="2694" y="4148"/>
                </a:cxn>
                <a:cxn ang="0">
                  <a:pos x="2436" y="4204"/>
                </a:cxn>
                <a:cxn ang="0">
                  <a:pos x="2169" y="4227"/>
                </a:cxn>
                <a:cxn ang="0">
                  <a:pos x="1952" y="4221"/>
                </a:cxn>
                <a:cxn ang="0">
                  <a:pos x="1688" y="4185"/>
                </a:cxn>
                <a:cxn ang="0">
                  <a:pos x="1436" y="4117"/>
                </a:cxn>
                <a:cxn ang="0">
                  <a:pos x="1197" y="4019"/>
                </a:cxn>
                <a:cxn ang="0">
                  <a:pos x="975" y="3895"/>
                </a:cxn>
                <a:cxn ang="0">
                  <a:pos x="770" y="3745"/>
                </a:cxn>
                <a:cxn ang="0">
                  <a:pos x="584" y="3572"/>
                </a:cxn>
                <a:cxn ang="0">
                  <a:pos x="420" y="3379"/>
                </a:cxn>
                <a:cxn ang="0">
                  <a:pos x="280" y="3166"/>
                </a:cxn>
                <a:cxn ang="0">
                  <a:pos x="166" y="2937"/>
                </a:cxn>
                <a:cxn ang="0">
                  <a:pos x="80" y="2692"/>
                </a:cxn>
                <a:cxn ang="0">
                  <a:pos x="25" y="2436"/>
                </a:cxn>
                <a:cxn ang="0">
                  <a:pos x="1" y="2168"/>
                </a:cxn>
                <a:cxn ang="0">
                  <a:pos x="6" y="1952"/>
                </a:cxn>
                <a:cxn ang="0">
                  <a:pos x="43" y="1688"/>
                </a:cxn>
                <a:cxn ang="0">
                  <a:pos x="111" y="1436"/>
                </a:cxn>
                <a:cxn ang="0">
                  <a:pos x="208" y="1198"/>
                </a:cxn>
                <a:cxn ang="0">
                  <a:pos x="333" y="974"/>
                </a:cxn>
                <a:cxn ang="0">
                  <a:pos x="483" y="769"/>
                </a:cxn>
                <a:cxn ang="0">
                  <a:pos x="655" y="584"/>
                </a:cxn>
                <a:cxn ang="0">
                  <a:pos x="849" y="420"/>
                </a:cxn>
                <a:cxn ang="0">
                  <a:pos x="1062" y="280"/>
                </a:cxn>
                <a:cxn ang="0">
                  <a:pos x="1291" y="167"/>
                </a:cxn>
                <a:cxn ang="0">
                  <a:pos x="1535" y="80"/>
                </a:cxn>
                <a:cxn ang="0">
                  <a:pos x="1792" y="24"/>
                </a:cxn>
                <a:cxn ang="0">
                  <a:pos x="2060" y="1"/>
                </a:cxn>
                <a:cxn ang="0">
                  <a:pos x="2277" y="6"/>
                </a:cxn>
                <a:cxn ang="0">
                  <a:pos x="2541" y="43"/>
                </a:cxn>
                <a:cxn ang="0">
                  <a:pos x="2792" y="111"/>
                </a:cxn>
                <a:cxn ang="0">
                  <a:pos x="3032" y="209"/>
                </a:cxn>
                <a:cxn ang="0">
                  <a:pos x="3254" y="333"/>
                </a:cxn>
                <a:cxn ang="0">
                  <a:pos x="3459" y="483"/>
                </a:cxn>
                <a:cxn ang="0">
                  <a:pos x="3645" y="656"/>
                </a:cxn>
                <a:cxn ang="0">
                  <a:pos x="3809" y="850"/>
                </a:cxn>
                <a:cxn ang="0">
                  <a:pos x="3949" y="1062"/>
                </a:cxn>
                <a:cxn ang="0">
                  <a:pos x="4063" y="1291"/>
                </a:cxn>
                <a:cxn ang="0">
                  <a:pos x="4149" y="1536"/>
                </a:cxn>
                <a:cxn ang="0">
                  <a:pos x="4204" y="1792"/>
                </a:cxn>
                <a:cxn ang="0">
                  <a:pos x="4228" y="2059"/>
                </a:cxn>
              </a:cxnLst>
              <a:rect l="0" t="0" r="r" b="b"/>
              <a:pathLst>
                <a:path w="4229" h="4227">
                  <a:moveTo>
                    <a:pt x="4229" y="2114"/>
                  </a:moveTo>
                  <a:lnTo>
                    <a:pt x="4229" y="2114"/>
                  </a:lnTo>
                  <a:lnTo>
                    <a:pt x="4228" y="2168"/>
                  </a:lnTo>
                  <a:lnTo>
                    <a:pt x="4226" y="2223"/>
                  </a:lnTo>
                  <a:lnTo>
                    <a:pt x="4223" y="2276"/>
                  </a:lnTo>
                  <a:lnTo>
                    <a:pt x="4218" y="2330"/>
                  </a:lnTo>
                  <a:lnTo>
                    <a:pt x="4211" y="2383"/>
                  </a:lnTo>
                  <a:lnTo>
                    <a:pt x="4204" y="2436"/>
                  </a:lnTo>
                  <a:lnTo>
                    <a:pt x="4196" y="2489"/>
                  </a:lnTo>
                  <a:lnTo>
                    <a:pt x="4186" y="2540"/>
                  </a:lnTo>
                  <a:lnTo>
                    <a:pt x="4174" y="2592"/>
                  </a:lnTo>
                  <a:lnTo>
                    <a:pt x="4162" y="2642"/>
                  </a:lnTo>
                  <a:lnTo>
                    <a:pt x="4149" y="2692"/>
                  </a:lnTo>
                  <a:lnTo>
                    <a:pt x="4134" y="2743"/>
                  </a:lnTo>
                  <a:lnTo>
                    <a:pt x="4118" y="2792"/>
                  </a:lnTo>
                  <a:lnTo>
                    <a:pt x="4100" y="2841"/>
                  </a:lnTo>
                  <a:lnTo>
                    <a:pt x="4083" y="2889"/>
                  </a:lnTo>
                  <a:lnTo>
                    <a:pt x="4063" y="2937"/>
                  </a:lnTo>
                  <a:lnTo>
                    <a:pt x="4042" y="2984"/>
                  </a:lnTo>
                  <a:lnTo>
                    <a:pt x="4021" y="3030"/>
                  </a:lnTo>
                  <a:lnTo>
                    <a:pt x="3997" y="3077"/>
                  </a:lnTo>
                  <a:lnTo>
                    <a:pt x="3973" y="3122"/>
                  </a:lnTo>
                  <a:lnTo>
                    <a:pt x="3949" y="3166"/>
                  </a:lnTo>
                  <a:lnTo>
                    <a:pt x="3923" y="3210"/>
                  </a:lnTo>
                  <a:lnTo>
                    <a:pt x="3896" y="3253"/>
                  </a:lnTo>
                  <a:lnTo>
                    <a:pt x="3868" y="3296"/>
                  </a:lnTo>
                  <a:lnTo>
                    <a:pt x="3838" y="3337"/>
                  </a:lnTo>
                  <a:lnTo>
                    <a:pt x="3809" y="3379"/>
                  </a:lnTo>
                  <a:lnTo>
                    <a:pt x="3778" y="3419"/>
                  </a:lnTo>
                  <a:lnTo>
                    <a:pt x="3746" y="3459"/>
                  </a:lnTo>
                  <a:lnTo>
                    <a:pt x="3714" y="3497"/>
                  </a:lnTo>
                  <a:lnTo>
                    <a:pt x="3680" y="3535"/>
                  </a:lnTo>
                  <a:lnTo>
                    <a:pt x="3645" y="3572"/>
                  </a:lnTo>
                  <a:lnTo>
                    <a:pt x="3610" y="3608"/>
                  </a:lnTo>
                  <a:lnTo>
                    <a:pt x="3574" y="3644"/>
                  </a:lnTo>
                  <a:lnTo>
                    <a:pt x="3536" y="3678"/>
                  </a:lnTo>
                  <a:lnTo>
                    <a:pt x="3498" y="3712"/>
                  </a:lnTo>
                  <a:lnTo>
                    <a:pt x="3459" y="3745"/>
                  </a:lnTo>
                  <a:lnTo>
                    <a:pt x="3420" y="3777"/>
                  </a:lnTo>
                  <a:lnTo>
                    <a:pt x="3380" y="3808"/>
                  </a:lnTo>
                  <a:lnTo>
                    <a:pt x="3339" y="3838"/>
                  </a:lnTo>
                  <a:lnTo>
                    <a:pt x="3296" y="3867"/>
                  </a:lnTo>
                  <a:lnTo>
                    <a:pt x="3254" y="3895"/>
                  </a:lnTo>
                  <a:lnTo>
                    <a:pt x="3211" y="3921"/>
                  </a:lnTo>
                  <a:lnTo>
                    <a:pt x="3167" y="3948"/>
                  </a:lnTo>
                  <a:lnTo>
                    <a:pt x="3122" y="3973"/>
                  </a:lnTo>
                  <a:lnTo>
                    <a:pt x="3077" y="3997"/>
                  </a:lnTo>
                  <a:lnTo>
                    <a:pt x="3032" y="4019"/>
                  </a:lnTo>
                  <a:lnTo>
                    <a:pt x="2984" y="4041"/>
                  </a:lnTo>
                  <a:lnTo>
                    <a:pt x="2938" y="4062"/>
                  </a:lnTo>
                  <a:lnTo>
                    <a:pt x="2889" y="4081"/>
                  </a:lnTo>
                  <a:lnTo>
                    <a:pt x="2842" y="4100"/>
                  </a:lnTo>
                  <a:lnTo>
                    <a:pt x="2792" y="4117"/>
                  </a:lnTo>
                  <a:lnTo>
                    <a:pt x="2743" y="4133"/>
                  </a:lnTo>
                  <a:lnTo>
                    <a:pt x="2694" y="4148"/>
                  </a:lnTo>
                  <a:lnTo>
                    <a:pt x="2643" y="4162"/>
                  </a:lnTo>
                  <a:lnTo>
                    <a:pt x="2592" y="4174"/>
                  </a:lnTo>
                  <a:lnTo>
                    <a:pt x="2541" y="4185"/>
                  </a:lnTo>
                  <a:lnTo>
                    <a:pt x="2489" y="4194"/>
                  </a:lnTo>
                  <a:lnTo>
                    <a:pt x="2436" y="4204"/>
                  </a:lnTo>
                  <a:lnTo>
                    <a:pt x="2383" y="4211"/>
                  </a:lnTo>
                  <a:lnTo>
                    <a:pt x="2331" y="4217"/>
                  </a:lnTo>
                  <a:lnTo>
                    <a:pt x="2277" y="4221"/>
                  </a:lnTo>
                  <a:lnTo>
                    <a:pt x="2224" y="4225"/>
                  </a:lnTo>
                  <a:lnTo>
                    <a:pt x="2169" y="4227"/>
                  </a:lnTo>
                  <a:lnTo>
                    <a:pt x="2114" y="4227"/>
                  </a:lnTo>
                  <a:lnTo>
                    <a:pt x="2114" y="4227"/>
                  </a:lnTo>
                  <a:lnTo>
                    <a:pt x="2060" y="4227"/>
                  </a:lnTo>
                  <a:lnTo>
                    <a:pt x="2005" y="4225"/>
                  </a:lnTo>
                  <a:lnTo>
                    <a:pt x="1952" y="4221"/>
                  </a:lnTo>
                  <a:lnTo>
                    <a:pt x="1898" y="4217"/>
                  </a:lnTo>
                  <a:lnTo>
                    <a:pt x="1846" y="4211"/>
                  </a:lnTo>
                  <a:lnTo>
                    <a:pt x="1792" y="4204"/>
                  </a:lnTo>
                  <a:lnTo>
                    <a:pt x="1740" y="4194"/>
                  </a:lnTo>
                  <a:lnTo>
                    <a:pt x="1688" y="4185"/>
                  </a:lnTo>
                  <a:lnTo>
                    <a:pt x="1637" y="4174"/>
                  </a:lnTo>
                  <a:lnTo>
                    <a:pt x="1586" y="4162"/>
                  </a:lnTo>
                  <a:lnTo>
                    <a:pt x="1535" y="4148"/>
                  </a:lnTo>
                  <a:lnTo>
                    <a:pt x="1486" y="4133"/>
                  </a:lnTo>
                  <a:lnTo>
                    <a:pt x="1436" y="4117"/>
                  </a:lnTo>
                  <a:lnTo>
                    <a:pt x="1387" y="4100"/>
                  </a:lnTo>
                  <a:lnTo>
                    <a:pt x="1340" y="4081"/>
                  </a:lnTo>
                  <a:lnTo>
                    <a:pt x="1291" y="4062"/>
                  </a:lnTo>
                  <a:lnTo>
                    <a:pt x="1244" y="4041"/>
                  </a:lnTo>
                  <a:lnTo>
                    <a:pt x="1197" y="4019"/>
                  </a:lnTo>
                  <a:lnTo>
                    <a:pt x="1152" y="3997"/>
                  </a:lnTo>
                  <a:lnTo>
                    <a:pt x="1107" y="3973"/>
                  </a:lnTo>
                  <a:lnTo>
                    <a:pt x="1062" y="3948"/>
                  </a:lnTo>
                  <a:lnTo>
                    <a:pt x="1018" y="3921"/>
                  </a:lnTo>
                  <a:lnTo>
                    <a:pt x="975" y="3895"/>
                  </a:lnTo>
                  <a:lnTo>
                    <a:pt x="933" y="3867"/>
                  </a:lnTo>
                  <a:lnTo>
                    <a:pt x="890" y="3838"/>
                  </a:lnTo>
                  <a:lnTo>
                    <a:pt x="849" y="3808"/>
                  </a:lnTo>
                  <a:lnTo>
                    <a:pt x="809" y="3777"/>
                  </a:lnTo>
                  <a:lnTo>
                    <a:pt x="770" y="3745"/>
                  </a:lnTo>
                  <a:lnTo>
                    <a:pt x="731" y="3712"/>
                  </a:lnTo>
                  <a:lnTo>
                    <a:pt x="692" y="3678"/>
                  </a:lnTo>
                  <a:lnTo>
                    <a:pt x="655" y="3644"/>
                  </a:lnTo>
                  <a:lnTo>
                    <a:pt x="619" y="3608"/>
                  </a:lnTo>
                  <a:lnTo>
                    <a:pt x="584" y="3572"/>
                  </a:lnTo>
                  <a:lnTo>
                    <a:pt x="549" y="3535"/>
                  </a:lnTo>
                  <a:lnTo>
                    <a:pt x="515" y="3497"/>
                  </a:lnTo>
                  <a:lnTo>
                    <a:pt x="483" y="3459"/>
                  </a:lnTo>
                  <a:lnTo>
                    <a:pt x="451" y="3419"/>
                  </a:lnTo>
                  <a:lnTo>
                    <a:pt x="420" y="3379"/>
                  </a:lnTo>
                  <a:lnTo>
                    <a:pt x="391" y="3337"/>
                  </a:lnTo>
                  <a:lnTo>
                    <a:pt x="361" y="3296"/>
                  </a:lnTo>
                  <a:lnTo>
                    <a:pt x="333" y="3253"/>
                  </a:lnTo>
                  <a:lnTo>
                    <a:pt x="306" y="3210"/>
                  </a:lnTo>
                  <a:lnTo>
                    <a:pt x="280" y="3166"/>
                  </a:lnTo>
                  <a:lnTo>
                    <a:pt x="256" y="3122"/>
                  </a:lnTo>
                  <a:lnTo>
                    <a:pt x="231" y="3077"/>
                  </a:lnTo>
                  <a:lnTo>
                    <a:pt x="208" y="3030"/>
                  </a:lnTo>
                  <a:lnTo>
                    <a:pt x="187" y="2984"/>
                  </a:lnTo>
                  <a:lnTo>
                    <a:pt x="166" y="2937"/>
                  </a:lnTo>
                  <a:lnTo>
                    <a:pt x="146" y="2889"/>
                  </a:lnTo>
                  <a:lnTo>
                    <a:pt x="128" y="2841"/>
                  </a:lnTo>
                  <a:lnTo>
                    <a:pt x="111" y="2792"/>
                  </a:lnTo>
                  <a:lnTo>
                    <a:pt x="95" y="2743"/>
                  </a:lnTo>
                  <a:lnTo>
                    <a:pt x="80" y="2692"/>
                  </a:lnTo>
                  <a:lnTo>
                    <a:pt x="67" y="2642"/>
                  </a:lnTo>
                  <a:lnTo>
                    <a:pt x="55" y="2592"/>
                  </a:lnTo>
                  <a:lnTo>
                    <a:pt x="43" y="2540"/>
                  </a:lnTo>
                  <a:lnTo>
                    <a:pt x="33" y="2489"/>
                  </a:lnTo>
                  <a:lnTo>
                    <a:pt x="25" y="2436"/>
                  </a:lnTo>
                  <a:lnTo>
                    <a:pt x="16" y="2383"/>
                  </a:lnTo>
                  <a:lnTo>
                    <a:pt x="11" y="2330"/>
                  </a:lnTo>
                  <a:lnTo>
                    <a:pt x="6" y="2276"/>
                  </a:lnTo>
                  <a:lnTo>
                    <a:pt x="3" y="2223"/>
                  </a:lnTo>
                  <a:lnTo>
                    <a:pt x="1" y="2168"/>
                  </a:lnTo>
                  <a:lnTo>
                    <a:pt x="0" y="2114"/>
                  </a:lnTo>
                  <a:lnTo>
                    <a:pt x="0" y="2114"/>
                  </a:lnTo>
                  <a:lnTo>
                    <a:pt x="1" y="2059"/>
                  </a:lnTo>
                  <a:lnTo>
                    <a:pt x="3" y="2005"/>
                  </a:lnTo>
                  <a:lnTo>
                    <a:pt x="6" y="1952"/>
                  </a:lnTo>
                  <a:lnTo>
                    <a:pt x="11" y="1898"/>
                  </a:lnTo>
                  <a:lnTo>
                    <a:pt x="16" y="1845"/>
                  </a:lnTo>
                  <a:lnTo>
                    <a:pt x="25" y="1792"/>
                  </a:lnTo>
                  <a:lnTo>
                    <a:pt x="33" y="1740"/>
                  </a:lnTo>
                  <a:lnTo>
                    <a:pt x="43" y="1688"/>
                  </a:lnTo>
                  <a:lnTo>
                    <a:pt x="55" y="1637"/>
                  </a:lnTo>
                  <a:lnTo>
                    <a:pt x="67" y="1586"/>
                  </a:lnTo>
                  <a:lnTo>
                    <a:pt x="80" y="1536"/>
                  </a:lnTo>
                  <a:lnTo>
                    <a:pt x="95" y="1485"/>
                  </a:lnTo>
                  <a:lnTo>
                    <a:pt x="111" y="1436"/>
                  </a:lnTo>
                  <a:lnTo>
                    <a:pt x="128" y="1387"/>
                  </a:lnTo>
                  <a:lnTo>
                    <a:pt x="146" y="1339"/>
                  </a:lnTo>
                  <a:lnTo>
                    <a:pt x="166" y="1291"/>
                  </a:lnTo>
                  <a:lnTo>
                    <a:pt x="187" y="1244"/>
                  </a:lnTo>
                  <a:lnTo>
                    <a:pt x="208" y="1198"/>
                  </a:lnTo>
                  <a:lnTo>
                    <a:pt x="231" y="1151"/>
                  </a:lnTo>
                  <a:lnTo>
                    <a:pt x="256" y="1106"/>
                  </a:lnTo>
                  <a:lnTo>
                    <a:pt x="280" y="1062"/>
                  </a:lnTo>
                  <a:lnTo>
                    <a:pt x="306" y="1017"/>
                  </a:lnTo>
                  <a:lnTo>
                    <a:pt x="333" y="974"/>
                  </a:lnTo>
                  <a:lnTo>
                    <a:pt x="361" y="932"/>
                  </a:lnTo>
                  <a:lnTo>
                    <a:pt x="391" y="891"/>
                  </a:lnTo>
                  <a:lnTo>
                    <a:pt x="420" y="850"/>
                  </a:lnTo>
                  <a:lnTo>
                    <a:pt x="451" y="809"/>
                  </a:lnTo>
                  <a:lnTo>
                    <a:pt x="483" y="769"/>
                  </a:lnTo>
                  <a:lnTo>
                    <a:pt x="515" y="731"/>
                  </a:lnTo>
                  <a:lnTo>
                    <a:pt x="549" y="693"/>
                  </a:lnTo>
                  <a:lnTo>
                    <a:pt x="584" y="656"/>
                  </a:lnTo>
                  <a:lnTo>
                    <a:pt x="619" y="619"/>
                  </a:lnTo>
                  <a:lnTo>
                    <a:pt x="655" y="584"/>
                  </a:lnTo>
                  <a:lnTo>
                    <a:pt x="692" y="549"/>
                  </a:lnTo>
                  <a:lnTo>
                    <a:pt x="731" y="516"/>
                  </a:lnTo>
                  <a:lnTo>
                    <a:pt x="770" y="483"/>
                  </a:lnTo>
                  <a:lnTo>
                    <a:pt x="809" y="451"/>
                  </a:lnTo>
                  <a:lnTo>
                    <a:pt x="849" y="420"/>
                  </a:lnTo>
                  <a:lnTo>
                    <a:pt x="890" y="390"/>
                  </a:lnTo>
                  <a:lnTo>
                    <a:pt x="933" y="361"/>
                  </a:lnTo>
                  <a:lnTo>
                    <a:pt x="975" y="333"/>
                  </a:lnTo>
                  <a:lnTo>
                    <a:pt x="1018" y="306"/>
                  </a:lnTo>
                  <a:lnTo>
                    <a:pt x="1062" y="280"/>
                  </a:lnTo>
                  <a:lnTo>
                    <a:pt x="1107" y="255"/>
                  </a:lnTo>
                  <a:lnTo>
                    <a:pt x="1152" y="231"/>
                  </a:lnTo>
                  <a:lnTo>
                    <a:pt x="1197" y="209"/>
                  </a:lnTo>
                  <a:lnTo>
                    <a:pt x="1244" y="187"/>
                  </a:lnTo>
                  <a:lnTo>
                    <a:pt x="1291" y="167"/>
                  </a:lnTo>
                  <a:lnTo>
                    <a:pt x="1340" y="147"/>
                  </a:lnTo>
                  <a:lnTo>
                    <a:pt x="1387" y="128"/>
                  </a:lnTo>
                  <a:lnTo>
                    <a:pt x="1436" y="111"/>
                  </a:lnTo>
                  <a:lnTo>
                    <a:pt x="1486" y="95"/>
                  </a:lnTo>
                  <a:lnTo>
                    <a:pt x="1535" y="80"/>
                  </a:lnTo>
                  <a:lnTo>
                    <a:pt x="1586" y="67"/>
                  </a:lnTo>
                  <a:lnTo>
                    <a:pt x="1637" y="54"/>
                  </a:lnTo>
                  <a:lnTo>
                    <a:pt x="1688" y="43"/>
                  </a:lnTo>
                  <a:lnTo>
                    <a:pt x="1740" y="33"/>
                  </a:lnTo>
                  <a:lnTo>
                    <a:pt x="1792" y="24"/>
                  </a:lnTo>
                  <a:lnTo>
                    <a:pt x="1846" y="17"/>
                  </a:lnTo>
                  <a:lnTo>
                    <a:pt x="1898" y="11"/>
                  </a:lnTo>
                  <a:lnTo>
                    <a:pt x="1952" y="6"/>
                  </a:lnTo>
                  <a:lnTo>
                    <a:pt x="2005" y="3"/>
                  </a:lnTo>
                  <a:lnTo>
                    <a:pt x="2060" y="1"/>
                  </a:lnTo>
                  <a:lnTo>
                    <a:pt x="2114" y="0"/>
                  </a:lnTo>
                  <a:lnTo>
                    <a:pt x="2114" y="0"/>
                  </a:lnTo>
                  <a:lnTo>
                    <a:pt x="2169" y="1"/>
                  </a:lnTo>
                  <a:lnTo>
                    <a:pt x="2224" y="3"/>
                  </a:lnTo>
                  <a:lnTo>
                    <a:pt x="2277" y="6"/>
                  </a:lnTo>
                  <a:lnTo>
                    <a:pt x="2331" y="11"/>
                  </a:lnTo>
                  <a:lnTo>
                    <a:pt x="2383" y="17"/>
                  </a:lnTo>
                  <a:lnTo>
                    <a:pt x="2436" y="24"/>
                  </a:lnTo>
                  <a:lnTo>
                    <a:pt x="2489" y="33"/>
                  </a:lnTo>
                  <a:lnTo>
                    <a:pt x="2541" y="43"/>
                  </a:lnTo>
                  <a:lnTo>
                    <a:pt x="2592" y="54"/>
                  </a:lnTo>
                  <a:lnTo>
                    <a:pt x="2643" y="67"/>
                  </a:lnTo>
                  <a:lnTo>
                    <a:pt x="2694" y="80"/>
                  </a:lnTo>
                  <a:lnTo>
                    <a:pt x="2743" y="95"/>
                  </a:lnTo>
                  <a:lnTo>
                    <a:pt x="2792" y="111"/>
                  </a:lnTo>
                  <a:lnTo>
                    <a:pt x="2842" y="128"/>
                  </a:lnTo>
                  <a:lnTo>
                    <a:pt x="2889" y="147"/>
                  </a:lnTo>
                  <a:lnTo>
                    <a:pt x="2938" y="167"/>
                  </a:lnTo>
                  <a:lnTo>
                    <a:pt x="2984" y="187"/>
                  </a:lnTo>
                  <a:lnTo>
                    <a:pt x="3032" y="209"/>
                  </a:lnTo>
                  <a:lnTo>
                    <a:pt x="3077" y="231"/>
                  </a:lnTo>
                  <a:lnTo>
                    <a:pt x="3122" y="255"/>
                  </a:lnTo>
                  <a:lnTo>
                    <a:pt x="3167" y="280"/>
                  </a:lnTo>
                  <a:lnTo>
                    <a:pt x="3211" y="306"/>
                  </a:lnTo>
                  <a:lnTo>
                    <a:pt x="3254" y="333"/>
                  </a:lnTo>
                  <a:lnTo>
                    <a:pt x="3296" y="361"/>
                  </a:lnTo>
                  <a:lnTo>
                    <a:pt x="3339" y="390"/>
                  </a:lnTo>
                  <a:lnTo>
                    <a:pt x="3380" y="420"/>
                  </a:lnTo>
                  <a:lnTo>
                    <a:pt x="3420" y="451"/>
                  </a:lnTo>
                  <a:lnTo>
                    <a:pt x="3459" y="483"/>
                  </a:lnTo>
                  <a:lnTo>
                    <a:pt x="3498" y="516"/>
                  </a:lnTo>
                  <a:lnTo>
                    <a:pt x="3536" y="549"/>
                  </a:lnTo>
                  <a:lnTo>
                    <a:pt x="3574" y="584"/>
                  </a:lnTo>
                  <a:lnTo>
                    <a:pt x="3610" y="619"/>
                  </a:lnTo>
                  <a:lnTo>
                    <a:pt x="3645" y="656"/>
                  </a:lnTo>
                  <a:lnTo>
                    <a:pt x="3680" y="693"/>
                  </a:lnTo>
                  <a:lnTo>
                    <a:pt x="3714" y="731"/>
                  </a:lnTo>
                  <a:lnTo>
                    <a:pt x="3746" y="769"/>
                  </a:lnTo>
                  <a:lnTo>
                    <a:pt x="3778" y="809"/>
                  </a:lnTo>
                  <a:lnTo>
                    <a:pt x="3809" y="850"/>
                  </a:lnTo>
                  <a:lnTo>
                    <a:pt x="3838" y="891"/>
                  </a:lnTo>
                  <a:lnTo>
                    <a:pt x="3868" y="932"/>
                  </a:lnTo>
                  <a:lnTo>
                    <a:pt x="3896" y="974"/>
                  </a:lnTo>
                  <a:lnTo>
                    <a:pt x="3923" y="1017"/>
                  </a:lnTo>
                  <a:lnTo>
                    <a:pt x="3949" y="1062"/>
                  </a:lnTo>
                  <a:lnTo>
                    <a:pt x="3973" y="1106"/>
                  </a:lnTo>
                  <a:lnTo>
                    <a:pt x="3997" y="1151"/>
                  </a:lnTo>
                  <a:lnTo>
                    <a:pt x="4021" y="1198"/>
                  </a:lnTo>
                  <a:lnTo>
                    <a:pt x="4042" y="1244"/>
                  </a:lnTo>
                  <a:lnTo>
                    <a:pt x="4063" y="1291"/>
                  </a:lnTo>
                  <a:lnTo>
                    <a:pt x="4083" y="1339"/>
                  </a:lnTo>
                  <a:lnTo>
                    <a:pt x="4100" y="1387"/>
                  </a:lnTo>
                  <a:lnTo>
                    <a:pt x="4118" y="1436"/>
                  </a:lnTo>
                  <a:lnTo>
                    <a:pt x="4134" y="1485"/>
                  </a:lnTo>
                  <a:lnTo>
                    <a:pt x="4149" y="1536"/>
                  </a:lnTo>
                  <a:lnTo>
                    <a:pt x="4162" y="1586"/>
                  </a:lnTo>
                  <a:lnTo>
                    <a:pt x="4174" y="1637"/>
                  </a:lnTo>
                  <a:lnTo>
                    <a:pt x="4186" y="1688"/>
                  </a:lnTo>
                  <a:lnTo>
                    <a:pt x="4196" y="1740"/>
                  </a:lnTo>
                  <a:lnTo>
                    <a:pt x="4204" y="1792"/>
                  </a:lnTo>
                  <a:lnTo>
                    <a:pt x="4211" y="1845"/>
                  </a:lnTo>
                  <a:lnTo>
                    <a:pt x="4218" y="1898"/>
                  </a:lnTo>
                  <a:lnTo>
                    <a:pt x="4223" y="1952"/>
                  </a:lnTo>
                  <a:lnTo>
                    <a:pt x="4226" y="2005"/>
                  </a:lnTo>
                  <a:lnTo>
                    <a:pt x="4228" y="2059"/>
                  </a:lnTo>
                  <a:lnTo>
                    <a:pt x="4229" y="2114"/>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5" name="Rectangle 461">
              <a:extLst>
                <a:ext uri="{FF2B5EF4-FFF2-40B4-BE49-F238E27FC236}">
                  <a16:creationId xmlns:a16="http://schemas.microsoft.com/office/drawing/2014/main" id="{DEE8EFF6-7340-4565-77BB-20A975866FB2}"/>
                </a:ext>
              </a:extLst>
            </p:cNvPr>
            <p:cNvSpPr>
              <a:spLocks noChangeArrowheads="1"/>
            </p:cNvSpPr>
            <p:nvPr/>
          </p:nvSpPr>
          <p:spPr bwMode="auto">
            <a:xfrm>
              <a:off x="1890713" y="2863850"/>
              <a:ext cx="52388" cy="52387"/>
            </a:xfrm>
            <a:prstGeom prst="rect">
              <a:avLst/>
            </a:prstGeom>
            <a:solidFill>
              <a:srgbClr val="475059"/>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6" name="Rectangle 462">
              <a:extLst>
                <a:ext uri="{FF2B5EF4-FFF2-40B4-BE49-F238E27FC236}">
                  <a16:creationId xmlns:a16="http://schemas.microsoft.com/office/drawing/2014/main" id="{865E8EEE-9B23-34A8-5FA6-A99FBAE1F2C1}"/>
                </a:ext>
              </a:extLst>
            </p:cNvPr>
            <p:cNvSpPr>
              <a:spLocks noChangeArrowheads="1"/>
            </p:cNvSpPr>
            <p:nvPr/>
          </p:nvSpPr>
          <p:spPr bwMode="auto">
            <a:xfrm>
              <a:off x="1890713" y="2863850"/>
              <a:ext cx="52388" cy="523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7" name="Freeform 463">
              <a:extLst>
                <a:ext uri="{FF2B5EF4-FFF2-40B4-BE49-F238E27FC236}">
                  <a16:creationId xmlns:a16="http://schemas.microsoft.com/office/drawing/2014/main" id="{34638305-11E8-97DA-78B7-AE24C5EB96DC}"/>
                </a:ext>
              </a:extLst>
            </p:cNvPr>
            <p:cNvSpPr>
              <a:spLocks/>
            </p:cNvSpPr>
            <p:nvPr/>
          </p:nvSpPr>
          <p:spPr bwMode="auto">
            <a:xfrm>
              <a:off x="1781176" y="2444750"/>
              <a:ext cx="134938" cy="325437"/>
            </a:xfrm>
            <a:custGeom>
              <a:avLst/>
              <a:gdLst/>
              <a:ahLst/>
              <a:cxnLst>
                <a:cxn ang="0">
                  <a:pos x="682" y="0"/>
                </a:cxn>
                <a:cxn ang="0">
                  <a:pos x="647" y="1"/>
                </a:cxn>
                <a:cxn ang="0">
                  <a:pos x="578" y="7"/>
                </a:cxn>
                <a:cxn ang="0">
                  <a:pos x="512" y="20"/>
                </a:cxn>
                <a:cxn ang="0">
                  <a:pos x="448" y="39"/>
                </a:cxn>
                <a:cxn ang="0">
                  <a:pos x="387" y="64"/>
                </a:cxn>
                <a:cxn ang="0">
                  <a:pos x="329" y="94"/>
                </a:cxn>
                <a:cxn ang="0">
                  <a:pos x="274" y="129"/>
                </a:cxn>
                <a:cxn ang="0">
                  <a:pos x="224" y="169"/>
                </a:cxn>
                <a:cxn ang="0">
                  <a:pos x="178" y="214"/>
                </a:cxn>
                <a:cxn ang="0">
                  <a:pos x="136" y="264"/>
                </a:cxn>
                <a:cxn ang="0">
                  <a:pos x="99" y="317"/>
                </a:cxn>
                <a:cxn ang="0">
                  <a:pos x="67" y="376"/>
                </a:cxn>
                <a:cxn ang="0">
                  <a:pos x="42" y="438"/>
                </a:cxn>
                <a:cxn ang="0">
                  <a:pos x="22" y="504"/>
                </a:cxn>
                <a:cxn ang="0">
                  <a:pos x="9" y="573"/>
                </a:cxn>
                <a:cxn ang="0">
                  <a:pos x="1" y="645"/>
                </a:cxn>
                <a:cxn ang="0">
                  <a:pos x="0" y="682"/>
                </a:cxn>
                <a:cxn ang="0">
                  <a:pos x="4" y="756"/>
                </a:cxn>
                <a:cxn ang="0">
                  <a:pos x="15" y="827"/>
                </a:cxn>
                <a:cxn ang="0">
                  <a:pos x="32" y="894"/>
                </a:cxn>
                <a:cxn ang="0">
                  <a:pos x="55" y="960"/>
                </a:cxn>
                <a:cxn ang="0">
                  <a:pos x="81" y="1023"/>
                </a:cxn>
                <a:cxn ang="0">
                  <a:pos x="110" y="1084"/>
                </a:cxn>
                <a:cxn ang="0">
                  <a:pos x="173" y="1201"/>
                </a:cxn>
                <a:cxn ang="0">
                  <a:pos x="237" y="1313"/>
                </a:cxn>
                <a:cxn ang="0">
                  <a:pos x="280" y="1395"/>
                </a:cxn>
                <a:cxn ang="0">
                  <a:pos x="304" y="1449"/>
                </a:cxn>
                <a:cxn ang="0">
                  <a:pos x="324" y="1503"/>
                </a:cxn>
                <a:cxn ang="0">
                  <a:pos x="337" y="1556"/>
                </a:cxn>
                <a:cxn ang="0">
                  <a:pos x="346" y="1611"/>
                </a:cxn>
                <a:cxn ang="0">
                  <a:pos x="347" y="1638"/>
                </a:cxn>
                <a:cxn ang="0">
                  <a:pos x="451" y="1638"/>
                </a:cxn>
              </a:cxnLst>
              <a:rect l="0" t="0" r="r" b="b"/>
              <a:pathLst>
                <a:path w="682" h="1638">
                  <a:moveTo>
                    <a:pt x="682" y="1638"/>
                  </a:moveTo>
                  <a:lnTo>
                    <a:pt x="682" y="0"/>
                  </a:lnTo>
                  <a:lnTo>
                    <a:pt x="682" y="0"/>
                  </a:lnTo>
                  <a:lnTo>
                    <a:pt x="647" y="1"/>
                  </a:lnTo>
                  <a:lnTo>
                    <a:pt x="612" y="4"/>
                  </a:lnTo>
                  <a:lnTo>
                    <a:pt x="578" y="7"/>
                  </a:lnTo>
                  <a:lnTo>
                    <a:pt x="545" y="13"/>
                  </a:lnTo>
                  <a:lnTo>
                    <a:pt x="512" y="20"/>
                  </a:lnTo>
                  <a:lnTo>
                    <a:pt x="479" y="29"/>
                  </a:lnTo>
                  <a:lnTo>
                    <a:pt x="448" y="39"/>
                  </a:lnTo>
                  <a:lnTo>
                    <a:pt x="417" y="50"/>
                  </a:lnTo>
                  <a:lnTo>
                    <a:pt x="387" y="64"/>
                  </a:lnTo>
                  <a:lnTo>
                    <a:pt x="357" y="77"/>
                  </a:lnTo>
                  <a:lnTo>
                    <a:pt x="329" y="94"/>
                  </a:lnTo>
                  <a:lnTo>
                    <a:pt x="301" y="110"/>
                  </a:lnTo>
                  <a:lnTo>
                    <a:pt x="274" y="129"/>
                  </a:lnTo>
                  <a:lnTo>
                    <a:pt x="249" y="148"/>
                  </a:lnTo>
                  <a:lnTo>
                    <a:pt x="224" y="169"/>
                  </a:lnTo>
                  <a:lnTo>
                    <a:pt x="200" y="190"/>
                  </a:lnTo>
                  <a:lnTo>
                    <a:pt x="178" y="214"/>
                  </a:lnTo>
                  <a:lnTo>
                    <a:pt x="156" y="238"/>
                  </a:lnTo>
                  <a:lnTo>
                    <a:pt x="136" y="264"/>
                  </a:lnTo>
                  <a:lnTo>
                    <a:pt x="117" y="290"/>
                  </a:lnTo>
                  <a:lnTo>
                    <a:pt x="99" y="317"/>
                  </a:lnTo>
                  <a:lnTo>
                    <a:pt x="83" y="346"/>
                  </a:lnTo>
                  <a:lnTo>
                    <a:pt x="67" y="376"/>
                  </a:lnTo>
                  <a:lnTo>
                    <a:pt x="54" y="406"/>
                  </a:lnTo>
                  <a:lnTo>
                    <a:pt x="42" y="438"/>
                  </a:lnTo>
                  <a:lnTo>
                    <a:pt x="31" y="470"/>
                  </a:lnTo>
                  <a:lnTo>
                    <a:pt x="22" y="504"/>
                  </a:lnTo>
                  <a:lnTo>
                    <a:pt x="15" y="538"/>
                  </a:lnTo>
                  <a:lnTo>
                    <a:pt x="9" y="573"/>
                  </a:lnTo>
                  <a:lnTo>
                    <a:pt x="3" y="609"/>
                  </a:lnTo>
                  <a:lnTo>
                    <a:pt x="1" y="645"/>
                  </a:lnTo>
                  <a:lnTo>
                    <a:pt x="0" y="682"/>
                  </a:lnTo>
                  <a:lnTo>
                    <a:pt x="0" y="682"/>
                  </a:lnTo>
                  <a:lnTo>
                    <a:pt x="1" y="719"/>
                  </a:lnTo>
                  <a:lnTo>
                    <a:pt x="4" y="756"/>
                  </a:lnTo>
                  <a:lnTo>
                    <a:pt x="9" y="792"/>
                  </a:lnTo>
                  <a:lnTo>
                    <a:pt x="15" y="827"/>
                  </a:lnTo>
                  <a:lnTo>
                    <a:pt x="23" y="861"/>
                  </a:lnTo>
                  <a:lnTo>
                    <a:pt x="32" y="894"/>
                  </a:lnTo>
                  <a:lnTo>
                    <a:pt x="43" y="927"/>
                  </a:lnTo>
                  <a:lnTo>
                    <a:pt x="55" y="960"/>
                  </a:lnTo>
                  <a:lnTo>
                    <a:pt x="67" y="992"/>
                  </a:lnTo>
                  <a:lnTo>
                    <a:pt x="81" y="1023"/>
                  </a:lnTo>
                  <a:lnTo>
                    <a:pt x="95" y="1054"/>
                  </a:lnTo>
                  <a:lnTo>
                    <a:pt x="110" y="1084"/>
                  </a:lnTo>
                  <a:lnTo>
                    <a:pt x="141" y="1143"/>
                  </a:lnTo>
                  <a:lnTo>
                    <a:pt x="173" y="1201"/>
                  </a:lnTo>
                  <a:lnTo>
                    <a:pt x="205" y="1258"/>
                  </a:lnTo>
                  <a:lnTo>
                    <a:pt x="237" y="1313"/>
                  </a:lnTo>
                  <a:lnTo>
                    <a:pt x="266" y="1368"/>
                  </a:lnTo>
                  <a:lnTo>
                    <a:pt x="280" y="1395"/>
                  </a:lnTo>
                  <a:lnTo>
                    <a:pt x="292" y="1421"/>
                  </a:lnTo>
                  <a:lnTo>
                    <a:pt x="304" y="1449"/>
                  </a:lnTo>
                  <a:lnTo>
                    <a:pt x="315" y="1476"/>
                  </a:lnTo>
                  <a:lnTo>
                    <a:pt x="324" y="1503"/>
                  </a:lnTo>
                  <a:lnTo>
                    <a:pt x="331" y="1530"/>
                  </a:lnTo>
                  <a:lnTo>
                    <a:pt x="337" y="1556"/>
                  </a:lnTo>
                  <a:lnTo>
                    <a:pt x="342" y="1583"/>
                  </a:lnTo>
                  <a:lnTo>
                    <a:pt x="346" y="1611"/>
                  </a:lnTo>
                  <a:lnTo>
                    <a:pt x="347" y="1638"/>
                  </a:lnTo>
                  <a:lnTo>
                    <a:pt x="347" y="1638"/>
                  </a:lnTo>
                  <a:lnTo>
                    <a:pt x="451" y="1638"/>
                  </a:lnTo>
                  <a:lnTo>
                    <a:pt x="451" y="1638"/>
                  </a:lnTo>
                  <a:lnTo>
                    <a:pt x="682" y="1638"/>
                  </a:lnTo>
                  <a:close/>
                </a:path>
              </a:pathLst>
            </a:custGeom>
            <a:solidFill>
              <a:srgbClr val="FAAB1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8" name="Freeform 464">
              <a:extLst>
                <a:ext uri="{FF2B5EF4-FFF2-40B4-BE49-F238E27FC236}">
                  <a16:creationId xmlns:a16="http://schemas.microsoft.com/office/drawing/2014/main" id="{44E284C9-DC2F-DC63-A523-61B841A10C4D}"/>
                </a:ext>
              </a:extLst>
            </p:cNvPr>
            <p:cNvSpPr>
              <a:spLocks/>
            </p:cNvSpPr>
            <p:nvPr/>
          </p:nvSpPr>
          <p:spPr bwMode="auto">
            <a:xfrm>
              <a:off x="1781176" y="2444750"/>
              <a:ext cx="134938" cy="325437"/>
            </a:xfrm>
            <a:custGeom>
              <a:avLst/>
              <a:gdLst/>
              <a:ahLst/>
              <a:cxnLst>
                <a:cxn ang="0">
                  <a:pos x="682" y="0"/>
                </a:cxn>
                <a:cxn ang="0">
                  <a:pos x="647" y="1"/>
                </a:cxn>
                <a:cxn ang="0">
                  <a:pos x="578" y="7"/>
                </a:cxn>
                <a:cxn ang="0">
                  <a:pos x="512" y="20"/>
                </a:cxn>
                <a:cxn ang="0">
                  <a:pos x="448" y="39"/>
                </a:cxn>
                <a:cxn ang="0">
                  <a:pos x="387" y="64"/>
                </a:cxn>
                <a:cxn ang="0">
                  <a:pos x="329" y="94"/>
                </a:cxn>
                <a:cxn ang="0">
                  <a:pos x="274" y="129"/>
                </a:cxn>
                <a:cxn ang="0">
                  <a:pos x="224" y="169"/>
                </a:cxn>
                <a:cxn ang="0">
                  <a:pos x="178" y="214"/>
                </a:cxn>
                <a:cxn ang="0">
                  <a:pos x="136" y="264"/>
                </a:cxn>
                <a:cxn ang="0">
                  <a:pos x="99" y="317"/>
                </a:cxn>
                <a:cxn ang="0">
                  <a:pos x="67" y="376"/>
                </a:cxn>
                <a:cxn ang="0">
                  <a:pos x="42" y="438"/>
                </a:cxn>
                <a:cxn ang="0">
                  <a:pos x="22" y="504"/>
                </a:cxn>
                <a:cxn ang="0">
                  <a:pos x="9" y="573"/>
                </a:cxn>
                <a:cxn ang="0">
                  <a:pos x="1" y="645"/>
                </a:cxn>
                <a:cxn ang="0">
                  <a:pos x="0" y="682"/>
                </a:cxn>
                <a:cxn ang="0">
                  <a:pos x="4" y="756"/>
                </a:cxn>
                <a:cxn ang="0">
                  <a:pos x="15" y="827"/>
                </a:cxn>
                <a:cxn ang="0">
                  <a:pos x="32" y="894"/>
                </a:cxn>
                <a:cxn ang="0">
                  <a:pos x="55" y="960"/>
                </a:cxn>
                <a:cxn ang="0">
                  <a:pos x="81" y="1023"/>
                </a:cxn>
                <a:cxn ang="0">
                  <a:pos x="110" y="1084"/>
                </a:cxn>
                <a:cxn ang="0">
                  <a:pos x="173" y="1201"/>
                </a:cxn>
                <a:cxn ang="0">
                  <a:pos x="237" y="1313"/>
                </a:cxn>
                <a:cxn ang="0">
                  <a:pos x="280" y="1395"/>
                </a:cxn>
                <a:cxn ang="0">
                  <a:pos x="304" y="1449"/>
                </a:cxn>
                <a:cxn ang="0">
                  <a:pos x="324" y="1503"/>
                </a:cxn>
                <a:cxn ang="0">
                  <a:pos x="337" y="1556"/>
                </a:cxn>
                <a:cxn ang="0">
                  <a:pos x="346" y="1611"/>
                </a:cxn>
                <a:cxn ang="0">
                  <a:pos x="347" y="1638"/>
                </a:cxn>
                <a:cxn ang="0">
                  <a:pos x="451" y="1638"/>
                </a:cxn>
              </a:cxnLst>
              <a:rect l="0" t="0" r="r" b="b"/>
              <a:pathLst>
                <a:path w="682" h="1638">
                  <a:moveTo>
                    <a:pt x="682" y="1638"/>
                  </a:moveTo>
                  <a:lnTo>
                    <a:pt x="682" y="0"/>
                  </a:lnTo>
                  <a:lnTo>
                    <a:pt x="682" y="0"/>
                  </a:lnTo>
                  <a:lnTo>
                    <a:pt x="647" y="1"/>
                  </a:lnTo>
                  <a:lnTo>
                    <a:pt x="612" y="4"/>
                  </a:lnTo>
                  <a:lnTo>
                    <a:pt x="578" y="7"/>
                  </a:lnTo>
                  <a:lnTo>
                    <a:pt x="545" y="13"/>
                  </a:lnTo>
                  <a:lnTo>
                    <a:pt x="512" y="20"/>
                  </a:lnTo>
                  <a:lnTo>
                    <a:pt x="479" y="29"/>
                  </a:lnTo>
                  <a:lnTo>
                    <a:pt x="448" y="39"/>
                  </a:lnTo>
                  <a:lnTo>
                    <a:pt x="417" y="50"/>
                  </a:lnTo>
                  <a:lnTo>
                    <a:pt x="387" y="64"/>
                  </a:lnTo>
                  <a:lnTo>
                    <a:pt x="357" y="77"/>
                  </a:lnTo>
                  <a:lnTo>
                    <a:pt x="329" y="94"/>
                  </a:lnTo>
                  <a:lnTo>
                    <a:pt x="301" y="110"/>
                  </a:lnTo>
                  <a:lnTo>
                    <a:pt x="274" y="129"/>
                  </a:lnTo>
                  <a:lnTo>
                    <a:pt x="249" y="148"/>
                  </a:lnTo>
                  <a:lnTo>
                    <a:pt x="224" y="169"/>
                  </a:lnTo>
                  <a:lnTo>
                    <a:pt x="200" y="190"/>
                  </a:lnTo>
                  <a:lnTo>
                    <a:pt x="178" y="214"/>
                  </a:lnTo>
                  <a:lnTo>
                    <a:pt x="156" y="238"/>
                  </a:lnTo>
                  <a:lnTo>
                    <a:pt x="136" y="264"/>
                  </a:lnTo>
                  <a:lnTo>
                    <a:pt x="117" y="290"/>
                  </a:lnTo>
                  <a:lnTo>
                    <a:pt x="99" y="317"/>
                  </a:lnTo>
                  <a:lnTo>
                    <a:pt x="83" y="346"/>
                  </a:lnTo>
                  <a:lnTo>
                    <a:pt x="67" y="376"/>
                  </a:lnTo>
                  <a:lnTo>
                    <a:pt x="54" y="406"/>
                  </a:lnTo>
                  <a:lnTo>
                    <a:pt x="42" y="438"/>
                  </a:lnTo>
                  <a:lnTo>
                    <a:pt x="31" y="470"/>
                  </a:lnTo>
                  <a:lnTo>
                    <a:pt x="22" y="504"/>
                  </a:lnTo>
                  <a:lnTo>
                    <a:pt x="15" y="538"/>
                  </a:lnTo>
                  <a:lnTo>
                    <a:pt x="9" y="573"/>
                  </a:lnTo>
                  <a:lnTo>
                    <a:pt x="3" y="609"/>
                  </a:lnTo>
                  <a:lnTo>
                    <a:pt x="1" y="645"/>
                  </a:lnTo>
                  <a:lnTo>
                    <a:pt x="0" y="682"/>
                  </a:lnTo>
                  <a:lnTo>
                    <a:pt x="0" y="682"/>
                  </a:lnTo>
                  <a:lnTo>
                    <a:pt x="1" y="719"/>
                  </a:lnTo>
                  <a:lnTo>
                    <a:pt x="4" y="756"/>
                  </a:lnTo>
                  <a:lnTo>
                    <a:pt x="9" y="792"/>
                  </a:lnTo>
                  <a:lnTo>
                    <a:pt x="15" y="827"/>
                  </a:lnTo>
                  <a:lnTo>
                    <a:pt x="23" y="861"/>
                  </a:lnTo>
                  <a:lnTo>
                    <a:pt x="32" y="894"/>
                  </a:lnTo>
                  <a:lnTo>
                    <a:pt x="43" y="927"/>
                  </a:lnTo>
                  <a:lnTo>
                    <a:pt x="55" y="960"/>
                  </a:lnTo>
                  <a:lnTo>
                    <a:pt x="67" y="992"/>
                  </a:lnTo>
                  <a:lnTo>
                    <a:pt x="81" y="1023"/>
                  </a:lnTo>
                  <a:lnTo>
                    <a:pt x="95" y="1054"/>
                  </a:lnTo>
                  <a:lnTo>
                    <a:pt x="110" y="1084"/>
                  </a:lnTo>
                  <a:lnTo>
                    <a:pt x="141" y="1143"/>
                  </a:lnTo>
                  <a:lnTo>
                    <a:pt x="173" y="1201"/>
                  </a:lnTo>
                  <a:lnTo>
                    <a:pt x="205" y="1258"/>
                  </a:lnTo>
                  <a:lnTo>
                    <a:pt x="237" y="1313"/>
                  </a:lnTo>
                  <a:lnTo>
                    <a:pt x="266" y="1368"/>
                  </a:lnTo>
                  <a:lnTo>
                    <a:pt x="280" y="1395"/>
                  </a:lnTo>
                  <a:lnTo>
                    <a:pt x="292" y="1421"/>
                  </a:lnTo>
                  <a:lnTo>
                    <a:pt x="304" y="1449"/>
                  </a:lnTo>
                  <a:lnTo>
                    <a:pt x="315" y="1476"/>
                  </a:lnTo>
                  <a:lnTo>
                    <a:pt x="324" y="1503"/>
                  </a:lnTo>
                  <a:lnTo>
                    <a:pt x="331" y="1530"/>
                  </a:lnTo>
                  <a:lnTo>
                    <a:pt x="337" y="1556"/>
                  </a:lnTo>
                  <a:lnTo>
                    <a:pt x="342" y="1583"/>
                  </a:lnTo>
                  <a:lnTo>
                    <a:pt x="346" y="1611"/>
                  </a:lnTo>
                  <a:lnTo>
                    <a:pt x="347" y="1638"/>
                  </a:lnTo>
                  <a:lnTo>
                    <a:pt x="347" y="1638"/>
                  </a:lnTo>
                  <a:lnTo>
                    <a:pt x="451" y="1638"/>
                  </a:lnTo>
                  <a:lnTo>
                    <a:pt x="451" y="1638"/>
                  </a:lnTo>
                  <a:lnTo>
                    <a:pt x="682" y="1638"/>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9" name="Freeform 465">
              <a:extLst>
                <a:ext uri="{FF2B5EF4-FFF2-40B4-BE49-F238E27FC236}">
                  <a16:creationId xmlns:a16="http://schemas.microsoft.com/office/drawing/2014/main" id="{5B9D0C4F-F279-7259-FCE0-6F4536326664}"/>
                </a:ext>
              </a:extLst>
            </p:cNvPr>
            <p:cNvSpPr>
              <a:spLocks/>
            </p:cNvSpPr>
            <p:nvPr/>
          </p:nvSpPr>
          <p:spPr bwMode="auto">
            <a:xfrm>
              <a:off x="1916113" y="2444750"/>
              <a:ext cx="136525" cy="325437"/>
            </a:xfrm>
            <a:custGeom>
              <a:avLst/>
              <a:gdLst/>
              <a:ahLst/>
              <a:cxnLst>
                <a:cxn ang="0">
                  <a:pos x="0" y="1638"/>
                </a:cxn>
                <a:cxn ang="0">
                  <a:pos x="232" y="1638"/>
                </a:cxn>
                <a:cxn ang="0">
                  <a:pos x="336" y="1638"/>
                </a:cxn>
                <a:cxn ang="0">
                  <a:pos x="337" y="1611"/>
                </a:cxn>
                <a:cxn ang="0">
                  <a:pos x="345" y="1556"/>
                </a:cxn>
                <a:cxn ang="0">
                  <a:pos x="359" y="1503"/>
                </a:cxn>
                <a:cxn ang="0">
                  <a:pos x="379" y="1449"/>
                </a:cxn>
                <a:cxn ang="0">
                  <a:pos x="403" y="1395"/>
                </a:cxn>
                <a:cxn ang="0">
                  <a:pos x="446" y="1313"/>
                </a:cxn>
                <a:cxn ang="0">
                  <a:pos x="510" y="1201"/>
                </a:cxn>
                <a:cxn ang="0">
                  <a:pos x="573" y="1084"/>
                </a:cxn>
                <a:cxn ang="0">
                  <a:pos x="602" y="1023"/>
                </a:cxn>
                <a:cxn ang="0">
                  <a:pos x="628" y="960"/>
                </a:cxn>
                <a:cxn ang="0">
                  <a:pos x="651" y="894"/>
                </a:cxn>
                <a:cxn ang="0">
                  <a:pos x="667" y="827"/>
                </a:cxn>
                <a:cxn ang="0">
                  <a:pos x="678" y="756"/>
                </a:cxn>
                <a:cxn ang="0">
                  <a:pos x="683" y="682"/>
                </a:cxn>
                <a:cxn ang="0">
                  <a:pos x="682" y="645"/>
                </a:cxn>
                <a:cxn ang="0">
                  <a:pos x="674" y="573"/>
                </a:cxn>
                <a:cxn ang="0">
                  <a:pos x="661" y="504"/>
                </a:cxn>
                <a:cxn ang="0">
                  <a:pos x="641" y="438"/>
                </a:cxn>
                <a:cxn ang="0">
                  <a:pos x="616" y="376"/>
                </a:cxn>
                <a:cxn ang="0">
                  <a:pos x="584" y="317"/>
                </a:cxn>
                <a:cxn ang="0">
                  <a:pos x="547" y="264"/>
                </a:cxn>
                <a:cxn ang="0">
                  <a:pos x="505" y="214"/>
                </a:cxn>
                <a:cxn ang="0">
                  <a:pos x="459" y="169"/>
                </a:cxn>
                <a:cxn ang="0">
                  <a:pos x="409" y="129"/>
                </a:cxn>
                <a:cxn ang="0">
                  <a:pos x="354" y="94"/>
                </a:cxn>
                <a:cxn ang="0">
                  <a:pos x="296" y="64"/>
                </a:cxn>
                <a:cxn ang="0">
                  <a:pos x="235" y="39"/>
                </a:cxn>
                <a:cxn ang="0">
                  <a:pos x="170" y="20"/>
                </a:cxn>
                <a:cxn ang="0">
                  <a:pos x="105" y="7"/>
                </a:cxn>
                <a:cxn ang="0">
                  <a:pos x="35" y="1"/>
                </a:cxn>
              </a:cxnLst>
              <a:rect l="0" t="0" r="r" b="b"/>
              <a:pathLst>
                <a:path w="683" h="1638">
                  <a:moveTo>
                    <a:pt x="0" y="0"/>
                  </a:moveTo>
                  <a:lnTo>
                    <a:pt x="0" y="1638"/>
                  </a:lnTo>
                  <a:lnTo>
                    <a:pt x="0" y="1638"/>
                  </a:lnTo>
                  <a:lnTo>
                    <a:pt x="232" y="1638"/>
                  </a:lnTo>
                  <a:lnTo>
                    <a:pt x="232" y="1638"/>
                  </a:lnTo>
                  <a:lnTo>
                    <a:pt x="336" y="1638"/>
                  </a:lnTo>
                  <a:lnTo>
                    <a:pt x="336" y="1638"/>
                  </a:lnTo>
                  <a:lnTo>
                    <a:pt x="337" y="1611"/>
                  </a:lnTo>
                  <a:lnTo>
                    <a:pt x="341" y="1583"/>
                  </a:lnTo>
                  <a:lnTo>
                    <a:pt x="345" y="1556"/>
                  </a:lnTo>
                  <a:lnTo>
                    <a:pt x="352" y="1530"/>
                  </a:lnTo>
                  <a:lnTo>
                    <a:pt x="359" y="1503"/>
                  </a:lnTo>
                  <a:lnTo>
                    <a:pt x="368" y="1476"/>
                  </a:lnTo>
                  <a:lnTo>
                    <a:pt x="379" y="1449"/>
                  </a:lnTo>
                  <a:lnTo>
                    <a:pt x="391" y="1421"/>
                  </a:lnTo>
                  <a:lnTo>
                    <a:pt x="403" y="1395"/>
                  </a:lnTo>
                  <a:lnTo>
                    <a:pt x="417" y="1368"/>
                  </a:lnTo>
                  <a:lnTo>
                    <a:pt x="446" y="1313"/>
                  </a:lnTo>
                  <a:lnTo>
                    <a:pt x="478" y="1258"/>
                  </a:lnTo>
                  <a:lnTo>
                    <a:pt x="510" y="1201"/>
                  </a:lnTo>
                  <a:lnTo>
                    <a:pt x="541" y="1143"/>
                  </a:lnTo>
                  <a:lnTo>
                    <a:pt x="573" y="1084"/>
                  </a:lnTo>
                  <a:lnTo>
                    <a:pt x="588" y="1054"/>
                  </a:lnTo>
                  <a:lnTo>
                    <a:pt x="602" y="1023"/>
                  </a:lnTo>
                  <a:lnTo>
                    <a:pt x="616" y="992"/>
                  </a:lnTo>
                  <a:lnTo>
                    <a:pt x="628" y="960"/>
                  </a:lnTo>
                  <a:lnTo>
                    <a:pt x="640" y="927"/>
                  </a:lnTo>
                  <a:lnTo>
                    <a:pt x="651" y="894"/>
                  </a:lnTo>
                  <a:lnTo>
                    <a:pt x="660" y="861"/>
                  </a:lnTo>
                  <a:lnTo>
                    <a:pt x="667" y="827"/>
                  </a:lnTo>
                  <a:lnTo>
                    <a:pt x="674" y="792"/>
                  </a:lnTo>
                  <a:lnTo>
                    <a:pt x="678" y="756"/>
                  </a:lnTo>
                  <a:lnTo>
                    <a:pt x="682" y="719"/>
                  </a:lnTo>
                  <a:lnTo>
                    <a:pt x="683" y="682"/>
                  </a:lnTo>
                  <a:lnTo>
                    <a:pt x="683" y="682"/>
                  </a:lnTo>
                  <a:lnTo>
                    <a:pt x="682" y="645"/>
                  </a:lnTo>
                  <a:lnTo>
                    <a:pt x="678" y="609"/>
                  </a:lnTo>
                  <a:lnTo>
                    <a:pt x="674" y="573"/>
                  </a:lnTo>
                  <a:lnTo>
                    <a:pt x="668" y="538"/>
                  </a:lnTo>
                  <a:lnTo>
                    <a:pt x="661" y="504"/>
                  </a:lnTo>
                  <a:lnTo>
                    <a:pt x="652" y="470"/>
                  </a:lnTo>
                  <a:lnTo>
                    <a:pt x="641" y="438"/>
                  </a:lnTo>
                  <a:lnTo>
                    <a:pt x="629" y="406"/>
                  </a:lnTo>
                  <a:lnTo>
                    <a:pt x="616" y="376"/>
                  </a:lnTo>
                  <a:lnTo>
                    <a:pt x="600" y="346"/>
                  </a:lnTo>
                  <a:lnTo>
                    <a:pt x="584" y="317"/>
                  </a:lnTo>
                  <a:lnTo>
                    <a:pt x="566" y="290"/>
                  </a:lnTo>
                  <a:lnTo>
                    <a:pt x="547" y="264"/>
                  </a:lnTo>
                  <a:lnTo>
                    <a:pt x="527" y="238"/>
                  </a:lnTo>
                  <a:lnTo>
                    <a:pt x="505" y="214"/>
                  </a:lnTo>
                  <a:lnTo>
                    <a:pt x="483" y="190"/>
                  </a:lnTo>
                  <a:lnTo>
                    <a:pt x="459" y="169"/>
                  </a:lnTo>
                  <a:lnTo>
                    <a:pt x="434" y="148"/>
                  </a:lnTo>
                  <a:lnTo>
                    <a:pt x="409" y="129"/>
                  </a:lnTo>
                  <a:lnTo>
                    <a:pt x="382" y="110"/>
                  </a:lnTo>
                  <a:lnTo>
                    <a:pt x="354" y="94"/>
                  </a:lnTo>
                  <a:lnTo>
                    <a:pt x="325" y="77"/>
                  </a:lnTo>
                  <a:lnTo>
                    <a:pt x="296" y="64"/>
                  </a:lnTo>
                  <a:lnTo>
                    <a:pt x="266" y="50"/>
                  </a:lnTo>
                  <a:lnTo>
                    <a:pt x="235" y="39"/>
                  </a:lnTo>
                  <a:lnTo>
                    <a:pt x="203" y="29"/>
                  </a:lnTo>
                  <a:lnTo>
                    <a:pt x="170" y="20"/>
                  </a:lnTo>
                  <a:lnTo>
                    <a:pt x="138" y="13"/>
                  </a:lnTo>
                  <a:lnTo>
                    <a:pt x="105" y="7"/>
                  </a:lnTo>
                  <a:lnTo>
                    <a:pt x="71" y="4"/>
                  </a:lnTo>
                  <a:lnTo>
                    <a:pt x="35" y="1"/>
                  </a:lnTo>
                  <a:lnTo>
                    <a:pt x="0" y="0"/>
                  </a:lnTo>
                  <a:close/>
                </a:path>
              </a:pathLst>
            </a:custGeom>
            <a:solidFill>
              <a:srgbClr val="FAAB1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60" name="Freeform 466">
              <a:extLst>
                <a:ext uri="{FF2B5EF4-FFF2-40B4-BE49-F238E27FC236}">
                  <a16:creationId xmlns:a16="http://schemas.microsoft.com/office/drawing/2014/main" id="{ECD630AC-E68E-F035-D7A5-4EB9110B934F}"/>
                </a:ext>
              </a:extLst>
            </p:cNvPr>
            <p:cNvSpPr>
              <a:spLocks/>
            </p:cNvSpPr>
            <p:nvPr/>
          </p:nvSpPr>
          <p:spPr bwMode="auto">
            <a:xfrm>
              <a:off x="1916113" y="2444750"/>
              <a:ext cx="136525" cy="325437"/>
            </a:xfrm>
            <a:custGeom>
              <a:avLst/>
              <a:gdLst/>
              <a:ahLst/>
              <a:cxnLst>
                <a:cxn ang="0">
                  <a:pos x="0" y="1638"/>
                </a:cxn>
                <a:cxn ang="0">
                  <a:pos x="232" y="1638"/>
                </a:cxn>
                <a:cxn ang="0">
                  <a:pos x="336" y="1638"/>
                </a:cxn>
                <a:cxn ang="0">
                  <a:pos x="337" y="1611"/>
                </a:cxn>
                <a:cxn ang="0">
                  <a:pos x="345" y="1556"/>
                </a:cxn>
                <a:cxn ang="0">
                  <a:pos x="359" y="1503"/>
                </a:cxn>
                <a:cxn ang="0">
                  <a:pos x="379" y="1449"/>
                </a:cxn>
                <a:cxn ang="0">
                  <a:pos x="403" y="1395"/>
                </a:cxn>
                <a:cxn ang="0">
                  <a:pos x="446" y="1313"/>
                </a:cxn>
                <a:cxn ang="0">
                  <a:pos x="510" y="1201"/>
                </a:cxn>
                <a:cxn ang="0">
                  <a:pos x="573" y="1084"/>
                </a:cxn>
                <a:cxn ang="0">
                  <a:pos x="602" y="1023"/>
                </a:cxn>
                <a:cxn ang="0">
                  <a:pos x="628" y="960"/>
                </a:cxn>
                <a:cxn ang="0">
                  <a:pos x="651" y="894"/>
                </a:cxn>
                <a:cxn ang="0">
                  <a:pos x="667" y="827"/>
                </a:cxn>
                <a:cxn ang="0">
                  <a:pos x="678" y="756"/>
                </a:cxn>
                <a:cxn ang="0">
                  <a:pos x="683" y="682"/>
                </a:cxn>
                <a:cxn ang="0">
                  <a:pos x="682" y="645"/>
                </a:cxn>
                <a:cxn ang="0">
                  <a:pos x="674" y="573"/>
                </a:cxn>
                <a:cxn ang="0">
                  <a:pos x="661" y="504"/>
                </a:cxn>
                <a:cxn ang="0">
                  <a:pos x="641" y="438"/>
                </a:cxn>
                <a:cxn ang="0">
                  <a:pos x="616" y="376"/>
                </a:cxn>
                <a:cxn ang="0">
                  <a:pos x="584" y="317"/>
                </a:cxn>
                <a:cxn ang="0">
                  <a:pos x="547" y="264"/>
                </a:cxn>
                <a:cxn ang="0">
                  <a:pos x="505" y="214"/>
                </a:cxn>
                <a:cxn ang="0">
                  <a:pos x="459" y="169"/>
                </a:cxn>
                <a:cxn ang="0">
                  <a:pos x="409" y="129"/>
                </a:cxn>
                <a:cxn ang="0">
                  <a:pos x="354" y="94"/>
                </a:cxn>
                <a:cxn ang="0">
                  <a:pos x="296" y="64"/>
                </a:cxn>
                <a:cxn ang="0">
                  <a:pos x="235" y="39"/>
                </a:cxn>
                <a:cxn ang="0">
                  <a:pos x="170" y="20"/>
                </a:cxn>
                <a:cxn ang="0">
                  <a:pos x="105" y="7"/>
                </a:cxn>
                <a:cxn ang="0">
                  <a:pos x="35" y="1"/>
                </a:cxn>
              </a:cxnLst>
              <a:rect l="0" t="0" r="r" b="b"/>
              <a:pathLst>
                <a:path w="683" h="1638">
                  <a:moveTo>
                    <a:pt x="0" y="0"/>
                  </a:moveTo>
                  <a:lnTo>
                    <a:pt x="0" y="1638"/>
                  </a:lnTo>
                  <a:lnTo>
                    <a:pt x="0" y="1638"/>
                  </a:lnTo>
                  <a:lnTo>
                    <a:pt x="232" y="1638"/>
                  </a:lnTo>
                  <a:lnTo>
                    <a:pt x="232" y="1638"/>
                  </a:lnTo>
                  <a:lnTo>
                    <a:pt x="336" y="1638"/>
                  </a:lnTo>
                  <a:lnTo>
                    <a:pt x="336" y="1638"/>
                  </a:lnTo>
                  <a:lnTo>
                    <a:pt x="337" y="1611"/>
                  </a:lnTo>
                  <a:lnTo>
                    <a:pt x="341" y="1583"/>
                  </a:lnTo>
                  <a:lnTo>
                    <a:pt x="345" y="1556"/>
                  </a:lnTo>
                  <a:lnTo>
                    <a:pt x="352" y="1530"/>
                  </a:lnTo>
                  <a:lnTo>
                    <a:pt x="359" y="1503"/>
                  </a:lnTo>
                  <a:lnTo>
                    <a:pt x="368" y="1476"/>
                  </a:lnTo>
                  <a:lnTo>
                    <a:pt x="379" y="1449"/>
                  </a:lnTo>
                  <a:lnTo>
                    <a:pt x="391" y="1421"/>
                  </a:lnTo>
                  <a:lnTo>
                    <a:pt x="403" y="1395"/>
                  </a:lnTo>
                  <a:lnTo>
                    <a:pt x="417" y="1368"/>
                  </a:lnTo>
                  <a:lnTo>
                    <a:pt x="446" y="1313"/>
                  </a:lnTo>
                  <a:lnTo>
                    <a:pt x="478" y="1258"/>
                  </a:lnTo>
                  <a:lnTo>
                    <a:pt x="510" y="1201"/>
                  </a:lnTo>
                  <a:lnTo>
                    <a:pt x="541" y="1143"/>
                  </a:lnTo>
                  <a:lnTo>
                    <a:pt x="573" y="1084"/>
                  </a:lnTo>
                  <a:lnTo>
                    <a:pt x="588" y="1054"/>
                  </a:lnTo>
                  <a:lnTo>
                    <a:pt x="602" y="1023"/>
                  </a:lnTo>
                  <a:lnTo>
                    <a:pt x="616" y="992"/>
                  </a:lnTo>
                  <a:lnTo>
                    <a:pt x="628" y="960"/>
                  </a:lnTo>
                  <a:lnTo>
                    <a:pt x="640" y="927"/>
                  </a:lnTo>
                  <a:lnTo>
                    <a:pt x="651" y="894"/>
                  </a:lnTo>
                  <a:lnTo>
                    <a:pt x="660" y="861"/>
                  </a:lnTo>
                  <a:lnTo>
                    <a:pt x="667" y="827"/>
                  </a:lnTo>
                  <a:lnTo>
                    <a:pt x="674" y="792"/>
                  </a:lnTo>
                  <a:lnTo>
                    <a:pt x="678" y="756"/>
                  </a:lnTo>
                  <a:lnTo>
                    <a:pt x="682" y="719"/>
                  </a:lnTo>
                  <a:lnTo>
                    <a:pt x="683" y="682"/>
                  </a:lnTo>
                  <a:lnTo>
                    <a:pt x="683" y="682"/>
                  </a:lnTo>
                  <a:lnTo>
                    <a:pt x="682" y="645"/>
                  </a:lnTo>
                  <a:lnTo>
                    <a:pt x="678" y="609"/>
                  </a:lnTo>
                  <a:lnTo>
                    <a:pt x="674" y="573"/>
                  </a:lnTo>
                  <a:lnTo>
                    <a:pt x="668" y="538"/>
                  </a:lnTo>
                  <a:lnTo>
                    <a:pt x="661" y="504"/>
                  </a:lnTo>
                  <a:lnTo>
                    <a:pt x="652" y="470"/>
                  </a:lnTo>
                  <a:lnTo>
                    <a:pt x="641" y="438"/>
                  </a:lnTo>
                  <a:lnTo>
                    <a:pt x="629" y="406"/>
                  </a:lnTo>
                  <a:lnTo>
                    <a:pt x="616" y="376"/>
                  </a:lnTo>
                  <a:lnTo>
                    <a:pt x="600" y="346"/>
                  </a:lnTo>
                  <a:lnTo>
                    <a:pt x="584" y="317"/>
                  </a:lnTo>
                  <a:lnTo>
                    <a:pt x="566" y="290"/>
                  </a:lnTo>
                  <a:lnTo>
                    <a:pt x="547" y="264"/>
                  </a:lnTo>
                  <a:lnTo>
                    <a:pt x="527" y="238"/>
                  </a:lnTo>
                  <a:lnTo>
                    <a:pt x="505" y="214"/>
                  </a:lnTo>
                  <a:lnTo>
                    <a:pt x="483" y="190"/>
                  </a:lnTo>
                  <a:lnTo>
                    <a:pt x="459" y="169"/>
                  </a:lnTo>
                  <a:lnTo>
                    <a:pt x="434" y="148"/>
                  </a:lnTo>
                  <a:lnTo>
                    <a:pt x="409" y="129"/>
                  </a:lnTo>
                  <a:lnTo>
                    <a:pt x="382" y="110"/>
                  </a:lnTo>
                  <a:lnTo>
                    <a:pt x="354" y="94"/>
                  </a:lnTo>
                  <a:lnTo>
                    <a:pt x="325" y="77"/>
                  </a:lnTo>
                  <a:lnTo>
                    <a:pt x="296" y="64"/>
                  </a:lnTo>
                  <a:lnTo>
                    <a:pt x="266" y="50"/>
                  </a:lnTo>
                  <a:lnTo>
                    <a:pt x="235" y="39"/>
                  </a:lnTo>
                  <a:lnTo>
                    <a:pt x="203" y="29"/>
                  </a:lnTo>
                  <a:lnTo>
                    <a:pt x="170" y="20"/>
                  </a:lnTo>
                  <a:lnTo>
                    <a:pt x="138" y="13"/>
                  </a:lnTo>
                  <a:lnTo>
                    <a:pt x="105" y="7"/>
                  </a:lnTo>
                  <a:lnTo>
                    <a:pt x="71" y="4"/>
                  </a:lnTo>
                  <a:lnTo>
                    <a:pt x="35" y="1"/>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61" name="Freeform 467">
              <a:extLst>
                <a:ext uri="{FF2B5EF4-FFF2-40B4-BE49-F238E27FC236}">
                  <a16:creationId xmlns:a16="http://schemas.microsoft.com/office/drawing/2014/main" id="{6E652EC5-02AC-739B-C535-D7656F46F964}"/>
                </a:ext>
              </a:extLst>
            </p:cNvPr>
            <p:cNvSpPr>
              <a:spLocks/>
            </p:cNvSpPr>
            <p:nvPr/>
          </p:nvSpPr>
          <p:spPr bwMode="auto">
            <a:xfrm>
              <a:off x="1916113" y="2790825"/>
              <a:ext cx="66675" cy="112712"/>
            </a:xfrm>
            <a:custGeom>
              <a:avLst/>
              <a:gdLst/>
              <a:ahLst/>
              <a:cxnLst>
                <a:cxn ang="0">
                  <a:pos x="0" y="574"/>
                </a:cxn>
                <a:cxn ang="0">
                  <a:pos x="232" y="574"/>
                </a:cxn>
                <a:cxn ang="0">
                  <a:pos x="232" y="574"/>
                </a:cxn>
                <a:cxn ang="0">
                  <a:pos x="243" y="573"/>
                </a:cxn>
                <a:cxn ang="0">
                  <a:pos x="253" y="571"/>
                </a:cxn>
                <a:cxn ang="0">
                  <a:pos x="263" y="568"/>
                </a:cxn>
                <a:cxn ang="0">
                  <a:pos x="273" y="565"/>
                </a:cxn>
                <a:cxn ang="0">
                  <a:pos x="282" y="560"/>
                </a:cxn>
                <a:cxn ang="0">
                  <a:pos x="290" y="555"/>
                </a:cxn>
                <a:cxn ang="0">
                  <a:pos x="298" y="549"/>
                </a:cxn>
                <a:cxn ang="0">
                  <a:pos x="305" y="543"/>
                </a:cxn>
                <a:cxn ang="0">
                  <a:pos x="313" y="535"/>
                </a:cxn>
                <a:cxn ang="0">
                  <a:pos x="319" y="527"/>
                </a:cxn>
                <a:cxn ang="0">
                  <a:pos x="324" y="518"/>
                </a:cxn>
                <a:cxn ang="0">
                  <a:pos x="328" y="510"/>
                </a:cxn>
                <a:cxn ang="0">
                  <a:pos x="332" y="499"/>
                </a:cxn>
                <a:cxn ang="0">
                  <a:pos x="334" y="490"/>
                </a:cxn>
                <a:cxn ang="0">
                  <a:pos x="336" y="480"/>
                </a:cxn>
                <a:cxn ang="0">
                  <a:pos x="336" y="469"/>
                </a:cxn>
                <a:cxn ang="0">
                  <a:pos x="336" y="0"/>
                </a:cxn>
                <a:cxn ang="0">
                  <a:pos x="0" y="0"/>
                </a:cxn>
                <a:cxn ang="0">
                  <a:pos x="0" y="574"/>
                </a:cxn>
              </a:cxnLst>
              <a:rect l="0" t="0" r="r" b="b"/>
              <a:pathLst>
                <a:path w="336" h="574">
                  <a:moveTo>
                    <a:pt x="0" y="574"/>
                  </a:moveTo>
                  <a:lnTo>
                    <a:pt x="232" y="574"/>
                  </a:lnTo>
                  <a:lnTo>
                    <a:pt x="232" y="574"/>
                  </a:lnTo>
                  <a:lnTo>
                    <a:pt x="243" y="573"/>
                  </a:lnTo>
                  <a:lnTo>
                    <a:pt x="253" y="571"/>
                  </a:lnTo>
                  <a:lnTo>
                    <a:pt x="263" y="568"/>
                  </a:lnTo>
                  <a:lnTo>
                    <a:pt x="273" y="565"/>
                  </a:lnTo>
                  <a:lnTo>
                    <a:pt x="282" y="560"/>
                  </a:lnTo>
                  <a:lnTo>
                    <a:pt x="290" y="555"/>
                  </a:lnTo>
                  <a:lnTo>
                    <a:pt x="298" y="549"/>
                  </a:lnTo>
                  <a:lnTo>
                    <a:pt x="305" y="543"/>
                  </a:lnTo>
                  <a:lnTo>
                    <a:pt x="313" y="535"/>
                  </a:lnTo>
                  <a:lnTo>
                    <a:pt x="319" y="527"/>
                  </a:lnTo>
                  <a:lnTo>
                    <a:pt x="324" y="518"/>
                  </a:lnTo>
                  <a:lnTo>
                    <a:pt x="328" y="510"/>
                  </a:lnTo>
                  <a:lnTo>
                    <a:pt x="332" y="499"/>
                  </a:lnTo>
                  <a:lnTo>
                    <a:pt x="334" y="490"/>
                  </a:lnTo>
                  <a:lnTo>
                    <a:pt x="336" y="480"/>
                  </a:lnTo>
                  <a:lnTo>
                    <a:pt x="336" y="469"/>
                  </a:lnTo>
                  <a:lnTo>
                    <a:pt x="336" y="0"/>
                  </a:lnTo>
                  <a:lnTo>
                    <a:pt x="0" y="0"/>
                  </a:lnTo>
                  <a:lnTo>
                    <a:pt x="0" y="574"/>
                  </a:lnTo>
                  <a:close/>
                </a:path>
              </a:pathLst>
            </a:custGeom>
            <a:solidFill>
              <a:srgbClr val="CCBEA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62" name="Freeform 468">
              <a:extLst>
                <a:ext uri="{FF2B5EF4-FFF2-40B4-BE49-F238E27FC236}">
                  <a16:creationId xmlns:a16="http://schemas.microsoft.com/office/drawing/2014/main" id="{C8EF0EDD-E485-1F4D-F07B-7C3AEA9DD50F}"/>
                </a:ext>
              </a:extLst>
            </p:cNvPr>
            <p:cNvSpPr>
              <a:spLocks/>
            </p:cNvSpPr>
            <p:nvPr/>
          </p:nvSpPr>
          <p:spPr bwMode="auto">
            <a:xfrm>
              <a:off x="1916113" y="2790825"/>
              <a:ext cx="66675" cy="112712"/>
            </a:xfrm>
            <a:custGeom>
              <a:avLst/>
              <a:gdLst/>
              <a:ahLst/>
              <a:cxnLst>
                <a:cxn ang="0">
                  <a:pos x="0" y="574"/>
                </a:cxn>
                <a:cxn ang="0">
                  <a:pos x="232" y="574"/>
                </a:cxn>
                <a:cxn ang="0">
                  <a:pos x="232" y="574"/>
                </a:cxn>
                <a:cxn ang="0">
                  <a:pos x="243" y="573"/>
                </a:cxn>
                <a:cxn ang="0">
                  <a:pos x="253" y="571"/>
                </a:cxn>
                <a:cxn ang="0">
                  <a:pos x="263" y="568"/>
                </a:cxn>
                <a:cxn ang="0">
                  <a:pos x="273" y="565"/>
                </a:cxn>
                <a:cxn ang="0">
                  <a:pos x="282" y="560"/>
                </a:cxn>
                <a:cxn ang="0">
                  <a:pos x="290" y="555"/>
                </a:cxn>
                <a:cxn ang="0">
                  <a:pos x="298" y="549"/>
                </a:cxn>
                <a:cxn ang="0">
                  <a:pos x="305" y="543"/>
                </a:cxn>
                <a:cxn ang="0">
                  <a:pos x="313" y="535"/>
                </a:cxn>
                <a:cxn ang="0">
                  <a:pos x="319" y="527"/>
                </a:cxn>
                <a:cxn ang="0">
                  <a:pos x="324" y="518"/>
                </a:cxn>
                <a:cxn ang="0">
                  <a:pos x="328" y="510"/>
                </a:cxn>
                <a:cxn ang="0">
                  <a:pos x="332" y="499"/>
                </a:cxn>
                <a:cxn ang="0">
                  <a:pos x="334" y="490"/>
                </a:cxn>
                <a:cxn ang="0">
                  <a:pos x="336" y="480"/>
                </a:cxn>
                <a:cxn ang="0">
                  <a:pos x="336" y="469"/>
                </a:cxn>
                <a:cxn ang="0">
                  <a:pos x="336" y="0"/>
                </a:cxn>
                <a:cxn ang="0">
                  <a:pos x="0" y="0"/>
                </a:cxn>
                <a:cxn ang="0">
                  <a:pos x="0" y="574"/>
                </a:cxn>
              </a:cxnLst>
              <a:rect l="0" t="0" r="r" b="b"/>
              <a:pathLst>
                <a:path w="336" h="574">
                  <a:moveTo>
                    <a:pt x="0" y="574"/>
                  </a:moveTo>
                  <a:lnTo>
                    <a:pt x="232" y="574"/>
                  </a:lnTo>
                  <a:lnTo>
                    <a:pt x="232" y="574"/>
                  </a:lnTo>
                  <a:lnTo>
                    <a:pt x="243" y="573"/>
                  </a:lnTo>
                  <a:lnTo>
                    <a:pt x="253" y="571"/>
                  </a:lnTo>
                  <a:lnTo>
                    <a:pt x="263" y="568"/>
                  </a:lnTo>
                  <a:lnTo>
                    <a:pt x="273" y="565"/>
                  </a:lnTo>
                  <a:lnTo>
                    <a:pt x="282" y="560"/>
                  </a:lnTo>
                  <a:lnTo>
                    <a:pt x="290" y="555"/>
                  </a:lnTo>
                  <a:lnTo>
                    <a:pt x="298" y="549"/>
                  </a:lnTo>
                  <a:lnTo>
                    <a:pt x="305" y="543"/>
                  </a:lnTo>
                  <a:lnTo>
                    <a:pt x="313" y="535"/>
                  </a:lnTo>
                  <a:lnTo>
                    <a:pt x="319" y="527"/>
                  </a:lnTo>
                  <a:lnTo>
                    <a:pt x="324" y="518"/>
                  </a:lnTo>
                  <a:lnTo>
                    <a:pt x="328" y="510"/>
                  </a:lnTo>
                  <a:lnTo>
                    <a:pt x="332" y="499"/>
                  </a:lnTo>
                  <a:lnTo>
                    <a:pt x="334" y="490"/>
                  </a:lnTo>
                  <a:lnTo>
                    <a:pt x="336" y="480"/>
                  </a:lnTo>
                  <a:lnTo>
                    <a:pt x="336" y="469"/>
                  </a:lnTo>
                  <a:lnTo>
                    <a:pt x="336" y="0"/>
                  </a:lnTo>
                  <a:lnTo>
                    <a:pt x="0" y="0"/>
                  </a:lnTo>
                  <a:lnTo>
                    <a:pt x="0" y="574"/>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63" name="Freeform 469">
              <a:extLst>
                <a:ext uri="{FF2B5EF4-FFF2-40B4-BE49-F238E27FC236}">
                  <a16:creationId xmlns:a16="http://schemas.microsoft.com/office/drawing/2014/main" id="{A7B03AC4-77D1-7389-8C99-9516F4802FB1}"/>
                </a:ext>
              </a:extLst>
            </p:cNvPr>
            <p:cNvSpPr>
              <a:spLocks/>
            </p:cNvSpPr>
            <p:nvPr/>
          </p:nvSpPr>
          <p:spPr bwMode="auto">
            <a:xfrm>
              <a:off x="1849438" y="2790825"/>
              <a:ext cx="66675" cy="112712"/>
            </a:xfrm>
            <a:custGeom>
              <a:avLst/>
              <a:gdLst/>
              <a:ahLst/>
              <a:cxnLst>
                <a:cxn ang="0">
                  <a:pos x="0" y="0"/>
                </a:cxn>
                <a:cxn ang="0">
                  <a:pos x="0" y="469"/>
                </a:cxn>
                <a:cxn ang="0">
                  <a:pos x="0" y="469"/>
                </a:cxn>
                <a:cxn ang="0">
                  <a:pos x="0" y="480"/>
                </a:cxn>
                <a:cxn ang="0">
                  <a:pos x="2" y="490"/>
                </a:cxn>
                <a:cxn ang="0">
                  <a:pos x="4" y="499"/>
                </a:cxn>
                <a:cxn ang="0">
                  <a:pos x="8" y="510"/>
                </a:cxn>
                <a:cxn ang="0">
                  <a:pos x="12" y="518"/>
                </a:cxn>
                <a:cxn ang="0">
                  <a:pos x="17" y="527"/>
                </a:cxn>
                <a:cxn ang="0">
                  <a:pos x="23" y="535"/>
                </a:cxn>
                <a:cxn ang="0">
                  <a:pos x="29" y="543"/>
                </a:cxn>
                <a:cxn ang="0">
                  <a:pos x="38" y="549"/>
                </a:cxn>
                <a:cxn ang="0">
                  <a:pos x="45" y="555"/>
                </a:cxn>
                <a:cxn ang="0">
                  <a:pos x="54" y="560"/>
                </a:cxn>
                <a:cxn ang="0">
                  <a:pos x="63" y="565"/>
                </a:cxn>
                <a:cxn ang="0">
                  <a:pos x="73" y="568"/>
                </a:cxn>
                <a:cxn ang="0">
                  <a:pos x="83" y="571"/>
                </a:cxn>
                <a:cxn ang="0">
                  <a:pos x="93" y="573"/>
                </a:cxn>
                <a:cxn ang="0">
                  <a:pos x="104" y="574"/>
                </a:cxn>
                <a:cxn ang="0">
                  <a:pos x="335" y="574"/>
                </a:cxn>
                <a:cxn ang="0">
                  <a:pos x="335" y="0"/>
                </a:cxn>
                <a:cxn ang="0">
                  <a:pos x="0" y="0"/>
                </a:cxn>
              </a:cxnLst>
              <a:rect l="0" t="0" r="r" b="b"/>
              <a:pathLst>
                <a:path w="335" h="574">
                  <a:moveTo>
                    <a:pt x="0" y="0"/>
                  </a:moveTo>
                  <a:lnTo>
                    <a:pt x="0" y="469"/>
                  </a:lnTo>
                  <a:lnTo>
                    <a:pt x="0" y="469"/>
                  </a:lnTo>
                  <a:lnTo>
                    <a:pt x="0" y="480"/>
                  </a:lnTo>
                  <a:lnTo>
                    <a:pt x="2" y="490"/>
                  </a:lnTo>
                  <a:lnTo>
                    <a:pt x="4" y="499"/>
                  </a:lnTo>
                  <a:lnTo>
                    <a:pt x="8" y="510"/>
                  </a:lnTo>
                  <a:lnTo>
                    <a:pt x="12" y="518"/>
                  </a:lnTo>
                  <a:lnTo>
                    <a:pt x="17" y="527"/>
                  </a:lnTo>
                  <a:lnTo>
                    <a:pt x="23" y="535"/>
                  </a:lnTo>
                  <a:lnTo>
                    <a:pt x="29" y="543"/>
                  </a:lnTo>
                  <a:lnTo>
                    <a:pt x="38" y="549"/>
                  </a:lnTo>
                  <a:lnTo>
                    <a:pt x="45" y="555"/>
                  </a:lnTo>
                  <a:lnTo>
                    <a:pt x="54" y="560"/>
                  </a:lnTo>
                  <a:lnTo>
                    <a:pt x="63" y="565"/>
                  </a:lnTo>
                  <a:lnTo>
                    <a:pt x="73" y="568"/>
                  </a:lnTo>
                  <a:lnTo>
                    <a:pt x="83" y="571"/>
                  </a:lnTo>
                  <a:lnTo>
                    <a:pt x="93" y="573"/>
                  </a:lnTo>
                  <a:lnTo>
                    <a:pt x="104" y="574"/>
                  </a:lnTo>
                  <a:lnTo>
                    <a:pt x="335" y="574"/>
                  </a:lnTo>
                  <a:lnTo>
                    <a:pt x="335" y="0"/>
                  </a:lnTo>
                  <a:lnTo>
                    <a:pt x="0" y="0"/>
                  </a:lnTo>
                  <a:close/>
                </a:path>
              </a:pathLst>
            </a:custGeom>
            <a:solidFill>
              <a:srgbClr val="CCBEA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64" name="Freeform 470">
              <a:extLst>
                <a:ext uri="{FF2B5EF4-FFF2-40B4-BE49-F238E27FC236}">
                  <a16:creationId xmlns:a16="http://schemas.microsoft.com/office/drawing/2014/main" id="{7BD3F789-D15D-95FC-D71D-824E0DC8623D}"/>
                </a:ext>
              </a:extLst>
            </p:cNvPr>
            <p:cNvSpPr>
              <a:spLocks/>
            </p:cNvSpPr>
            <p:nvPr/>
          </p:nvSpPr>
          <p:spPr bwMode="auto">
            <a:xfrm>
              <a:off x="1849438" y="2790825"/>
              <a:ext cx="66675" cy="112712"/>
            </a:xfrm>
            <a:custGeom>
              <a:avLst/>
              <a:gdLst/>
              <a:ahLst/>
              <a:cxnLst>
                <a:cxn ang="0">
                  <a:pos x="0" y="0"/>
                </a:cxn>
                <a:cxn ang="0">
                  <a:pos x="0" y="469"/>
                </a:cxn>
                <a:cxn ang="0">
                  <a:pos x="0" y="469"/>
                </a:cxn>
                <a:cxn ang="0">
                  <a:pos x="0" y="480"/>
                </a:cxn>
                <a:cxn ang="0">
                  <a:pos x="2" y="490"/>
                </a:cxn>
                <a:cxn ang="0">
                  <a:pos x="4" y="499"/>
                </a:cxn>
                <a:cxn ang="0">
                  <a:pos x="8" y="510"/>
                </a:cxn>
                <a:cxn ang="0">
                  <a:pos x="12" y="518"/>
                </a:cxn>
                <a:cxn ang="0">
                  <a:pos x="17" y="527"/>
                </a:cxn>
                <a:cxn ang="0">
                  <a:pos x="23" y="535"/>
                </a:cxn>
                <a:cxn ang="0">
                  <a:pos x="29" y="543"/>
                </a:cxn>
                <a:cxn ang="0">
                  <a:pos x="38" y="549"/>
                </a:cxn>
                <a:cxn ang="0">
                  <a:pos x="45" y="555"/>
                </a:cxn>
                <a:cxn ang="0">
                  <a:pos x="54" y="560"/>
                </a:cxn>
                <a:cxn ang="0">
                  <a:pos x="63" y="565"/>
                </a:cxn>
                <a:cxn ang="0">
                  <a:pos x="73" y="568"/>
                </a:cxn>
                <a:cxn ang="0">
                  <a:pos x="83" y="571"/>
                </a:cxn>
                <a:cxn ang="0">
                  <a:pos x="93" y="573"/>
                </a:cxn>
                <a:cxn ang="0">
                  <a:pos x="104" y="574"/>
                </a:cxn>
                <a:cxn ang="0">
                  <a:pos x="335" y="574"/>
                </a:cxn>
                <a:cxn ang="0">
                  <a:pos x="335" y="0"/>
                </a:cxn>
                <a:cxn ang="0">
                  <a:pos x="0" y="0"/>
                </a:cxn>
              </a:cxnLst>
              <a:rect l="0" t="0" r="r" b="b"/>
              <a:pathLst>
                <a:path w="335" h="574">
                  <a:moveTo>
                    <a:pt x="0" y="0"/>
                  </a:moveTo>
                  <a:lnTo>
                    <a:pt x="0" y="469"/>
                  </a:lnTo>
                  <a:lnTo>
                    <a:pt x="0" y="469"/>
                  </a:lnTo>
                  <a:lnTo>
                    <a:pt x="0" y="480"/>
                  </a:lnTo>
                  <a:lnTo>
                    <a:pt x="2" y="490"/>
                  </a:lnTo>
                  <a:lnTo>
                    <a:pt x="4" y="499"/>
                  </a:lnTo>
                  <a:lnTo>
                    <a:pt x="8" y="510"/>
                  </a:lnTo>
                  <a:lnTo>
                    <a:pt x="12" y="518"/>
                  </a:lnTo>
                  <a:lnTo>
                    <a:pt x="17" y="527"/>
                  </a:lnTo>
                  <a:lnTo>
                    <a:pt x="23" y="535"/>
                  </a:lnTo>
                  <a:lnTo>
                    <a:pt x="29" y="543"/>
                  </a:lnTo>
                  <a:lnTo>
                    <a:pt x="38" y="549"/>
                  </a:lnTo>
                  <a:lnTo>
                    <a:pt x="45" y="555"/>
                  </a:lnTo>
                  <a:lnTo>
                    <a:pt x="54" y="560"/>
                  </a:lnTo>
                  <a:lnTo>
                    <a:pt x="63" y="565"/>
                  </a:lnTo>
                  <a:lnTo>
                    <a:pt x="73" y="568"/>
                  </a:lnTo>
                  <a:lnTo>
                    <a:pt x="83" y="571"/>
                  </a:lnTo>
                  <a:lnTo>
                    <a:pt x="93" y="573"/>
                  </a:lnTo>
                  <a:lnTo>
                    <a:pt x="104" y="574"/>
                  </a:lnTo>
                  <a:lnTo>
                    <a:pt x="335" y="574"/>
                  </a:lnTo>
                  <a:lnTo>
                    <a:pt x="335"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65" name="Freeform 471">
              <a:extLst>
                <a:ext uri="{FF2B5EF4-FFF2-40B4-BE49-F238E27FC236}">
                  <a16:creationId xmlns:a16="http://schemas.microsoft.com/office/drawing/2014/main" id="{EA15F3E6-93E7-4BD4-31F7-0CC246EC7D8F}"/>
                </a:ext>
              </a:extLst>
            </p:cNvPr>
            <p:cNvSpPr>
              <a:spLocks/>
            </p:cNvSpPr>
            <p:nvPr/>
          </p:nvSpPr>
          <p:spPr bwMode="auto">
            <a:xfrm>
              <a:off x="1849438" y="2770187"/>
              <a:ext cx="66675" cy="20637"/>
            </a:xfrm>
            <a:custGeom>
              <a:avLst/>
              <a:gdLst/>
              <a:ahLst/>
              <a:cxnLst>
                <a:cxn ang="0">
                  <a:pos x="104" y="0"/>
                </a:cxn>
                <a:cxn ang="0">
                  <a:pos x="104" y="0"/>
                </a:cxn>
                <a:cxn ang="0">
                  <a:pos x="0" y="0"/>
                </a:cxn>
                <a:cxn ang="0">
                  <a:pos x="0" y="104"/>
                </a:cxn>
                <a:cxn ang="0">
                  <a:pos x="335" y="104"/>
                </a:cxn>
                <a:cxn ang="0">
                  <a:pos x="335" y="0"/>
                </a:cxn>
                <a:cxn ang="0">
                  <a:pos x="335" y="0"/>
                </a:cxn>
                <a:cxn ang="0">
                  <a:pos x="104" y="0"/>
                </a:cxn>
              </a:cxnLst>
              <a:rect l="0" t="0" r="r" b="b"/>
              <a:pathLst>
                <a:path w="335" h="104">
                  <a:moveTo>
                    <a:pt x="104" y="0"/>
                  </a:moveTo>
                  <a:lnTo>
                    <a:pt x="104" y="0"/>
                  </a:lnTo>
                  <a:lnTo>
                    <a:pt x="0" y="0"/>
                  </a:lnTo>
                  <a:lnTo>
                    <a:pt x="0" y="104"/>
                  </a:lnTo>
                  <a:lnTo>
                    <a:pt x="335" y="104"/>
                  </a:lnTo>
                  <a:lnTo>
                    <a:pt x="335" y="0"/>
                  </a:lnTo>
                  <a:lnTo>
                    <a:pt x="335" y="0"/>
                  </a:lnTo>
                  <a:lnTo>
                    <a:pt x="104" y="0"/>
                  </a:lnTo>
                  <a:close/>
                </a:path>
              </a:pathLst>
            </a:custGeom>
            <a:solidFill>
              <a:srgbClr val="475059"/>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66" name="Freeform 472">
              <a:extLst>
                <a:ext uri="{FF2B5EF4-FFF2-40B4-BE49-F238E27FC236}">
                  <a16:creationId xmlns:a16="http://schemas.microsoft.com/office/drawing/2014/main" id="{6AEFA73E-2DBE-2F1A-3182-A030CC6D320A}"/>
                </a:ext>
              </a:extLst>
            </p:cNvPr>
            <p:cNvSpPr>
              <a:spLocks/>
            </p:cNvSpPr>
            <p:nvPr/>
          </p:nvSpPr>
          <p:spPr bwMode="auto">
            <a:xfrm>
              <a:off x="1849438" y="2770187"/>
              <a:ext cx="66675" cy="20637"/>
            </a:xfrm>
            <a:custGeom>
              <a:avLst/>
              <a:gdLst/>
              <a:ahLst/>
              <a:cxnLst>
                <a:cxn ang="0">
                  <a:pos x="104" y="0"/>
                </a:cxn>
                <a:cxn ang="0">
                  <a:pos x="104" y="0"/>
                </a:cxn>
                <a:cxn ang="0">
                  <a:pos x="0" y="0"/>
                </a:cxn>
                <a:cxn ang="0">
                  <a:pos x="0" y="104"/>
                </a:cxn>
                <a:cxn ang="0">
                  <a:pos x="335" y="104"/>
                </a:cxn>
                <a:cxn ang="0">
                  <a:pos x="335" y="0"/>
                </a:cxn>
                <a:cxn ang="0">
                  <a:pos x="335" y="0"/>
                </a:cxn>
                <a:cxn ang="0">
                  <a:pos x="104" y="0"/>
                </a:cxn>
              </a:cxnLst>
              <a:rect l="0" t="0" r="r" b="b"/>
              <a:pathLst>
                <a:path w="335" h="104">
                  <a:moveTo>
                    <a:pt x="104" y="0"/>
                  </a:moveTo>
                  <a:lnTo>
                    <a:pt x="104" y="0"/>
                  </a:lnTo>
                  <a:lnTo>
                    <a:pt x="0" y="0"/>
                  </a:lnTo>
                  <a:lnTo>
                    <a:pt x="0" y="104"/>
                  </a:lnTo>
                  <a:lnTo>
                    <a:pt x="335" y="104"/>
                  </a:lnTo>
                  <a:lnTo>
                    <a:pt x="335" y="0"/>
                  </a:lnTo>
                  <a:lnTo>
                    <a:pt x="335" y="0"/>
                  </a:lnTo>
                  <a:lnTo>
                    <a:pt x="104"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67" name="Freeform 473">
              <a:extLst>
                <a:ext uri="{FF2B5EF4-FFF2-40B4-BE49-F238E27FC236}">
                  <a16:creationId xmlns:a16="http://schemas.microsoft.com/office/drawing/2014/main" id="{44C0F39D-25E0-45E8-620F-E9CBB20D0EAD}"/>
                </a:ext>
              </a:extLst>
            </p:cNvPr>
            <p:cNvSpPr>
              <a:spLocks/>
            </p:cNvSpPr>
            <p:nvPr/>
          </p:nvSpPr>
          <p:spPr bwMode="auto">
            <a:xfrm>
              <a:off x="1916113" y="2770187"/>
              <a:ext cx="66675" cy="20637"/>
            </a:xfrm>
            <a:custGeom>
              <a:avLst/>
              <a:gdLst/>
              <a:ahLst/>
              <a:cxnLst>
                <a:cxn ang="0">
                  <a:pos x="232" y="0"/>
                </a:cxn>
                <a:cxn ang="0">
                  <a:pos x="232" y="0"/>
                </a:cxn>
                <a:cxn ang="0">
                  <a:pos x="0" y="0"/>
                </a:cxn>
                <a:cxn ang="0">
                  <a:pos x="0" y="104"/>
                </a:cxn>
                <a:cxn ang="0">
                  <a:pos x="336" y="104"/>
                </a:cxn>
                <a:cxn ang="0">
                  <a:pos x="336" y="0"/>
                </a:cxn>
                <a:cxn ang="0">
                  <a:pos x="336" y="0"/>
                </a:cxn>
                <a:cxn ang="0">
                  <a:pos x="232" y="0"/>
                </a:cxn>
              </a:cxnLst>
              <a:rect l="0" t="0" r="r" b="b"/>
              <a:pathLst>
                <a:path w="336" h="104">
                  <a:moveTo>
                    <a:pt x="232" y="0"/>
                  </a:moveTo>
                  <a:lnTo>
                    <a:pt x="232" y="0"/>
                  </a:lnTo>
                  <a:lnTo>
                    <a:pt x="0" y="0"/>
                  </a:lnTo>
                  <a:lnTo>
                    <a:pt x="0" y="104"/>
                  </a:lnTo>
                  <a:lnTo>
                    <a:pt x="336" y="104"/>
                  </a:lnTo>
                  <a:lnTo>
                    <a:pt x="336" y="0"/>
                  </a:lnTo>
                  <a:lnTo>
                    <a:pt x="336" y="0"/>
                  </a:lnTo>
                  <a:lnTo>
                    <a:pt x="232" y="0"/>
                  </a:lnTo>
                  <a:close/>
                </a:path>
              </a:pathLst>
            </a:custGeom>
            <a:solidFill>
              <a:srgbClr val="475059"/>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68" name="Freeform 474">
              <a:extLst>
                <a:ext uri="{FF2B5EF4-FFF2-40B4-BE49-F238E27FC236}">
                  <a16:creationId xmlns:a16="http://schemas.microsoft.com/office/drawing/2014/main" id="{4DDB5F67-FE8B-A491-ED6C-AB5AFF242E42}"/>
                </a:ext>
              </a:extLst>
            </p:cNvPr>
            <p:cNvSpPr>
              <a:spLocks/>
            </p:cNvSpPr>
            <p:nvPr/>
          </p:nvSpPr>
          <p:spPr bwMode="auto">
            <a:xfrm>
              <a:off x="1916113" y="2770187"/>
              <a:ext cx="66675" cy="20637"/>
            </a:xfrm>
            <a:custGeom>
              <a:avLst/>
              <a:gdLst/>
              <a:ahLst/>
              <a:cxnLst>
                <a:cxn ang="0">
                  <a:pos x="232" y="0"/>
                </a:cxn>
                <a:cxn ang="0">
                  <a:pos x="232" y="0"/>
                </a:cxn>
                <a:cxn ang="0">
                  <a:pos x="0" y="0"/>
                </a:cxn>
                <a:cxn ang="0">
                  <a:pos x="0" y="104"/>
                </a:cxn>
                <a:cxn ang="0">
                  <a:pos x="336" y="104"/>
                </a:cxn>
                <a:cxn ang="0">
                  <a:pos x="336" y="0"/>
                </a:cxn>
                <a:cxn ang="0">
                  <a:pos x="336" y="0"/>
                </a:cxn>
                <a:cxn ang="0">
                  <a:pos x="232" y="0"/>
                </a:cxn>
              </a:cxnLst>
              <a:rect l="0" t="0" r="r" b="b"/>
              <a:pathLst>
                <a:path w="336" h="104">
                  <a:moveTo>
                    <a:pt x="232" y="0"/>
                  </a:moveTo>
                  <a:lnTo>
                    <a:pt x="232" y="0"/>
                  </a:lnTo>
                  <a:lnTo>
                    <a:pt x="0" y="0"/>
                  </a:lnTo>
                  <a:lnTo>
                    <a:pt x="0" y="104"/>
                  </a:lnTo>
                  <a:lnTo>
                    <a:pt x="336" y="104"/>
                  </a:lnTo>
                  <a:lnTo>
                    <a:pt x="336" y="0"/>
                  </a:lnTo>
                  <a:lnTo>
                    <a:pt x="336" y="0"/>
                  </a:lnTo>
                  <a:lnTo>
                    <a:pt x="232"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69" name="Freeform 475">
              <a:extLst>
                <a:ext uri="{FF2B5EF4-FFF2-40B4-BE49-F238E27FC236}">
                  <a16:creationId xmlns:a16="http://schemas.microsoft.com/office/drawing/2014/main" id="{574FEF94-265C-6338-2905-2EEBEF484DB7}"/>
                </a:ext>
              </a:extLst>
            </p:cNvPr>
            <p:cNvSpPr>
              <a:spLocks/>
            </p:cNvSpPr>
            <p:nvPr/>
          </p:nvSpPr>
          <p:spPr bwMode="auto">
            <a:xfrm>
              <a:off x="1781176" y="2444750"/>
              <a:ext cx="134938" cy="325437"/>
            </a:xfrm>
            <a:custGeom>
              <a:avLst/>
              <a:gdLst/>
              <a:ahLst/>
              <a:cxnLst>
                <a:cxn ang="0">
                  <a:pos x="682" y="0"/>
                </a:cxn>
                <a:cxn ang="0">
                  <a:pos x="612" y="4"/>
                </a:cxn>
                <a:cxn ang="0">
                  <a:pos x="545" y="13"/>
                </a:cxn>
                <a:cxn ang="0">
                  <a:pos x="479" y="29"/>
                </a:cxn>
                <a:cxn ang="0">
                  <a:pos x="417" y="50"/>
                </a:cxn>
                <a:cxn ang="0">
                  <a:pos x="357" y="77"/>
                </a:cxn>
                <a:cxn ang="0">
                  <a:pos x="301" y="110"/>
                </a:cxn>
                <a:cxn ang="0">
                  <a:pos x="249" y="148"/>
                </a:cxn>
                <a:cxn ang="0">
                  <a:pos x="200" y="190"/>
                </a:cxn>
                <a:cxn ang="0">
                  <a:pos x="156" y="238"/>
                </a:cxn>
                <a:cxn ang="0">
                  <a:pos x="117" y="290"/>
                </a:cxn>
                <a:cxn ang="0">
                  <a:pos x="83" y="346"/>
                </a:cxn>
                <a:cxn ang="0">
                  <a:pos x="54" y="406"/>
                </a:cxn>
                <a:cxn ang="0">
                  <a:pos x="31" y="470"/>
                </a:cxn>
                <a:cxn ang="0">
                  <a:pos x="15" y="538"/>
                </a:cxn>
                <a:cxn ang="0">
                  <a:pos x="3" y="609"/>
                </a:cxn>
                <a:cxn ang="0">
                  <a:pos x="0" y="682"/>
                </a:cxn>
                <a:cxn ang="0">
                  <a:pos x="1" y="719"/>
                </a:cxn>
                <a:cxn ang="0">
                  <a:pos x="9" y="792"/>
                </a:cxn>
                <a:cxn ang="0">
                  <a:pos x="23" y="861"/>
                </a:cxn>
                <a:cxn ang="0">
                  <a:pos x="43" y="927"/>
                </a:cxn>
                <a:cxn ang="0">
                  <a:pos x="67" y="992"/>
                </a:cxn>
                <a:cxn ang="0">
                  <a:pos x="95" y="1054"/>
                </a:cxn>
                <a:cxn ang="0">
                  <a:pos x="141" y="1143"/>
                </a:cxn>
                <a:cxn ang="0">
                  <a:pos x="205" y="1258"/>
                </a:cxn>
                <a:cxn ang="0">
                  <a:pos x="266" y="1368"/>
                </a:cxn>
                <a:cxn ang="0">
                  <a:pos x="292" y="1421"/>
                </a:cxn>
                <a:cxn ang="0">
                  <a:pos x="315" y="1476"/>
                </a:cxn>
                <a:cxn ang="0">
                  <a:pos x="331" y="1530"/>
                </a:cxn>
                <a:cxn ang="0">
                  <a:pos x="342" y="1583"/>
                </a:cxn>
                <a:cxn ang="0">
                  <a:pos x="347" y="1638"/>
                </a:cxn>
                <a:cxn ang="0">
                  <a:pos x="347" y="1638"/>
                </a:cxn>
                <a:cxn ang="0">
                  <a:pos x="451" y="1638"/>
                </a:cxn>
                <a:cxn ang="0">
                  <a:pos x="682" y="0"/>
                </a:cxn>
              </a:cxnLst>
              <a:rect l="0" t="0" r="r" b="b"/>
              <a:pathLst>
                <a:path w="682" h="1638">
                  <a:moveTo>
                    <a:pt x="682" y="0"/>
                  </a:moveTo>
                  <a:lnTo>
                    <a:pt x="682" y="0"/>
                  </a:lnTo>
                  <a:lnTo>
                    <a:pt x="647" y="1"/>
                  </a:lnTo>
                  <a:lnTo>
                    <a:pt x="612" y="4"/>
                  </a:lnTo>
                  <a:lnTo>
                    <a:pt x="578" y="7"/>
                  </a:lnTo>
                  <a:lnTo>
                    <a:pt x="545" y="13"/>
                  </a:lnTo>
                  <a:lnTo>
                    <a:pt x="512" y="20"/>
                  </a:lnTo>
                  <a:lnTo>
                    <a:pt x="479" y="29"/>
                  </a:lnTo>
                  <a:lnTo>
                    <a:pt x="448" y="39"/>
                  </a:lnTo>
                  <a:lnTo>
                    <a:pt x="417" y="50"/>
                  </a:lnTo>
                  <a:lnTo>
                    <a:pt x="387" y="64"/>
                  </a:lnTo>
                  <a:lnTo>
                    <a:pt x="357" y="77"/>
                  </a:lnTo>
                  <a:lnTo>
                    <a:pt x="329" y="94"/>
                  </a:lnTo>
                  <a:lnTo>
                    <a:pt x="301" y="110"/>
                  </a:lnTo>
                  <a:lnTo>
                    <a:pt x="274" y="129"/>
                  </a:lnTo>
                  <a:lnTo>
                    <a:pt x="249" y="148"/>
                  </a:lnTo>
                  <a:lnTo>
                    <a:pt x="224" y="169"/>
                  </a:lnTo>
                  <a:lnTo>
                    <a:pt x="200" y="190"/>
                  </a:lnTo>
                  <a:lnTo>
                    <a:pt x="178" y="214"/>
                  </a:lnTo>
                  <a:lnTo>
                    <a:pt x="156" y="238"/>
                  </a:lnTo>
                  <a:lnTo>
                    <a:pt x="136" y="264"/>
                  </a:lnTo>
                  <a:lnTo>
                    <a:pt x="117" y="290"/>
                  </a:lnTo>
                  <a:lnTo>
                    <a:pt x="99" y="317"/>
                  </a:lnTo>
                  <a:lnTo>
                    <a:pt x="83" y="346"/>
                  </a:lnTo>
                  <a:lnTo>
                    <a:pt x="67" y="376"/>
                  </a:lnTo>
                  <a:lnTo>
                    <a:pt x="54" y="406"/>
                  </a:lnTo>
                  <a:lnTo>
                    <a:pt x="42" y="438"/>
                  </a:lnTo>
                  <a:lnTo>
                    <a:pt x="31" y="470"/>
                  </a:lnTo>
                  <a:lnTo>
                    <a:pt x="22" y="504"/>
                  </a:lnTo>
                  <a:lnTo>
                    <a:pt x="15" y="538"/>
                  </a:lnTo>
                  <a:lnTo>
                    <a:pt x="9" y="573"/>
                  </a:lnTo>
                  <a:lnTo>
                    <a:pt x="3" y="609"/>
                  </a:lnTo>
                  <a:lnTo>
                    <a:pt x="1" y="645"/>
                  </a:lnTo>
                  <a:lnTo>
                    <a:pt x="0" y="682"/>
                  </a:lnTo>
                  <a:lnTo>
                    <a:pt x="0" y="682"/>
                  </a:lnTo>
                  <a:lnTo>
                    <a:pt x="1" y="719"/>
                  </a:lnTo>
                  <a:lnTo>
                    <a:pt x="4" y="756"/>
                  </a:lnTo>
                  <a:lnTo>
                    <a:pt x="9" y="792"/>
                  </a:lnTo>
                  <a:lnTo>
                    <a:pt x="15" y="827"/>
                  </a:lnTo>
                  <a:lnTo>
                    <a:pt x="23" y="861"/>
                  </a:lnTo>
                  <a:lnTo>
                    <a:pt x="32" y="894"/>
                  </a:lnTo>
                  <a:lnTo>
                    <a:pt x="43" y="927"/>
                  </a:lnTo>
                  <a:lnTo>
                    <a:pt x="55" y="960"/>
                  </a:lnTo>
                  <a:lnTo>
                    <a:pt x="67" y="992"/>
                  </a:lnTo>
                  <a:lnTo>
                    <a:pt x="81" y="1023"/>
                  </a:lnTo>
                  <a:lnTo>
                    <a:pt x="95" y="1054"/>
                  </a:lnTo>
                  <a:lnTo>
                    <a:pt x="110" y="1084"/>
                  </a:lnTo>
                  <a:lnTo>
                    <a:pt x="141" y="1143"/>
                  </a:lnTo>
                  <a:lnTo>
                    <a:pt x="173" y="1201"/>
                  </a:lnTo>
                  <a:lnTo>
                    <a:pt x="205" y="1258"/>
                  </a:lnTo>
                  <a:lnTo>
                    <a:pt x="237" y="1313"/>
                  </a:lnTo>
                  <a:lnTo>
                    <a:pt x="266" y="1368"/>
                  </a:lnTo>
                  <a:lnTo>
                    <a:pt x="280" y="1395"/>
                  </a:lnTo>
                  <a:lnTo>
                    <a:pt x="292" y="1421"/>
                  </a:lnTo>
                  <a:lnTo>
                    <a:pt x="304" y="1449"/>
                  </a:lnTo>
                  <a:lnTo>
                    <a:pt x="315" y="1476"/>
                  </a:lnTo>
                  <a:lnTo>
                    <a:pt x="324" y="1503"/>
                  </a:lnTo>
                  <a:lnTo>
                    <a:pt x="331" y="1530"/>
                  </a:lnTo>
                  <a:lnTo>
                    <a:pt x="337" y="1556"/>
                  </a:lnTo>
                  <a:lnTo>
                    <a:pt x="342" y="1583"/>
                  </a:lnTo>
                  <a:lnTo>
                    <a:pt x="346" y="1611"/>
                  </a:lnTo>
                  <a:lnTo>
                    <a:pt x="347" y="1638"/>
                  </a:lnTo>
                  <a:lnTo>
                    <a:pt x="347" y="1638"/>
                  </a:lnTo>
                  <a:lnTo>
                    <a:pt x="347" y="1638"/>
                  </a:lnTo>
                  <a:lnTo>
                    <a:pt x="451" y="1638"/>
                  </a:lnTo>
                  <a:lnTo>
                    <a:pt x="451" y="1638"/>
                  </a:lnTo>
                  <a:lnTo>
                    <a:pt x="682" y="1638"/>
                  </a:lnTo>
                  <a:lnTo>
                    <a:pt x="682" y="0"/>
                  </a:lnTo>
                  <a:close/>
                </a:path>
              </a:pathLst>
            </a:custGeom>
            <a:solidFill>
              <a:srgbClr val="FCBF5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70" name="Freeform 476">
              <a:extLst>
                <a:ext uri="{FF2B5EF4-FFF2-40B4-BE49-F238E27FC236}">
                  <a16:creationId xmlns:a16="http://schemas.microsoft.com/office/drawing/2014/main" id="{6383627A-24AF-5596-86A2-60B7B9AA6CC0}"/>
                </a:ext>
              </a:extLst>
            </p:cNvPr>
            <p:cNvSpPr>
              <a:spLocks/>
            </p:cNvSpPr>
            <p:nvPr/>
          </p:nvSpPr>
          <p:spPr bwMode="auto">
            <a:xfrm>
              <a:off x="1781176" y="2444750"/>
              <a:ext cx="134938" cy="325437"/>
            </a:xfrm>
            <a:custGeom>
              <a:avLst/>
              <a:gdLst/>
              <a:ahLst/>
              <a:cxnLst>
                <a:cxn ang="0">
                  <a:pos x="682" y="0"/>
                </a:cxn>
                <a:cxn ang="0">
                  <a:pos x="612" y="4"/>
                </a:cxn>
                <a:cxn ang="0">
                  <a:pos x="545" y="13"/>
                </a:cxn>
                <a:cxn ang="0">
                  <a:pos x="479" y="29"/>
                </a:cxn>
                <a:cxn ang="0">
                  <a:pos x="417" y="50"/>
                </a:cxn>
                <a:cxn ang="0">
                  <a:pos x="357" y="77"/>
                </a:cxn>
                <a:cxn ang="0">
                  <a:pos x="301" y="110"/>
                </a:cxn>
                <a:cxn ang="0">
                  <a:pos x="249" y="148"/>
                </a:cxn>
                <a:cxn ang="0">
                  <a:pos x="200" y="190"/>
                </a:cxn>
                <a:cxn ang="0">
                  <a:pos x="156" y="238"/>
                </a:cxn>
                <a:cxn ang="0">
                  <a:pos x="117" y="290"/>
                </a:cxn>
                <a:cxn ang="0">
                  <a:pos x="83" y="346"/>
                </a:cxn>
                <a:cxn ang="0">
                  <a:pos x="54" y="406"/>
                </a:cxn>
                <a:cxn ang="0">
                  <a:pos x="31" y="470"/>
                </a:cxn>
                <a:cxn ang="0">
                  <a:pos x="15" y="538"/>
                </a:cxn>
                <a:cxn ang="0">
                  <a:pos x="3" y="609"/>
                </a:cxn>
                <a:cxn ang="0">
                  <a:pos x="0" y="682"/>
                </a:cxn>
                <a:cxn ang="0">
                  <a:pos x="1" y="719"/>
                </a:cxn>
                <a:cxn ang="0">
                  <a:pos x="9" y="792"/>
                </a:cxn>
                <a:cxn ang="0">
                  <a:pos x="23" y="861"/>
                </a:cxn>
                <a:cxn ang="0">
                  <a:pos x="43" y="927"/>
                </a:cxn>
                <a:cxn ang="0">
                  <a:pos x="67" y="992"/>
                </a:cxn>
                <a:cxn ang="0">
                  <a:pos x="95" y="1054"/>
                </a:cxn>
                <a:cxn ang="0">
                  <a:pos x="141" y="1143"/>
                </a:cxn>
                <a:cxn ang="0">
                  <a:pos x="205" y="1258"/>
                </a:cxn>
                <a:cxn ang="0">
                  <a:pos x="266" y="1368"/>
                </a:cxn>
                <a:cxn ang="0">
                  <a:pos x="292" y="1421"/>
                </a:cxn>
                <a:cxn ang="0">
                  <a:pos x="315" y="1476"/>
                </a:cxn>
                <a:cxn ang="0">
                  <a:pos x="331" y="1530"/>
                </a:cxn>
                <a:cxn ang="0">
                  <a:pos x="342" y="1583"/>
                </a:cxn>
                <a:cxn ang="0">
                  <a:pos x="347" y="1638"/>
                </a:cxn>
                <a:cxn ang="0">
                  <a:pos x="347" y="1638"/>
                </a:cxn>
                <a:cxn ang="0">
                  <a:pos x="451" y="1638"/>
                </a:cxn>
                <a:cxn ang="0">
                  <a:pos x="682" y="0"/>
                </a:cxn>
              </a:cxnLst>
              <a:rect l="0" t="0" r="r" b="b"/>
              <a:pathLst>
                <a:path w="682" h="1638">
                  <a:moveTo>
                    <a:pt x="682" y="0"/>
                  </a:moveTo>
                  <a:lnTo>
                    <a:pt x="682" y="0"/>
                  </a:lnTo>
                  <a:lnTo>
                    <a:pt x="647" y="1"/>
                  </a:lnTo>
                  <a:lnTo>
                    <a:pt x="612" y="4"/>
                  </a:lnTo>
                  <a:lnTo>
                    <a:pt x="578" y="7"/>
                  </a:lnTo>
                  <a:lnTo>
                    <a:pt x="545" y="13"/>
                  </a:lnTo>
                  <a:lnTo>
                    <a:pt x="512" y="20"/>
                  </a:lnTo>
                  <a:lnTo>
                    <a:pt x="479" y="29"/>
                  </a:lnTo>
                  <a:lnTo>
                    <a:pt x="448" y="39"/>
                  </a:lnTo>
                  <a:lnTo>
                    <a:pt x="417" y="50"/>
                  </a:lnTo>
                  <a:lnTo>
                    <a:pt x="387" y="64"/>
                  </a:lnTo>
                  <a:lnTo>
                    <a:pt x="357" y="77"/>
                  </a:lnTo>
                  <a:lnTo>
                    <a:pt x="329" y="94"/>
                  </a:lnTo>
                  <a:lnTo>
                    <a:pt x="301" y="110"/>
                  </a:lnTo>
                  <a:lnTo>
                    <a:pt x="274" y="129"/>
                  </a:lnTo>
                  <a:lnTo>
                    <a:pt x="249" y="148"/>
                  </a:lnTo>
                  <a:lnTo>
                    <a:pt x="224" y="169"/>
                  </a:lnTo>
                  <a:lnTo>
                    <a:pt x="200" y="190"/>
                  </a:lnTo>
                  <a:lnTo>
                    <a:pt x="178" y="214"/>
                  </a:lnTo>
                  <a:lnTo>
                    <a:pt x="156" y="238"/>
                  </a:lnTo>
                  <a:lnTo>
                    <a:pt x="136" y="264"/>
                  </a:lnTo>
                  <a:lnTo>
                    <a:pt x="117" y="290"/>
                  </a:lnTo>
                  <a:lnTo>
                    <a:pt x="99" y="317"/>
                  </a:lnTo>
                  <a:lnTo>
                    <a:pt x="83" y="346"/>
                  </a:lnTo>
                  <a:lnTo>
                    <a:pt x="67" y="376"/>
                  </a:lnTo>
                  <a:lnTo>
                    <a:pt x="54" y="406"/>
                  </a:lnTo>
                  <a:lnTo>
                    <a:pt x="42" y="438"/>
                  </a:lnTo>
                  <a:lnTo>
                    <a:pt x="31" y="470"/>
                  </a:lnTo>
                  <a:lnTo>
                    <a:pt x="22" y="504"/>
                  </a:lnTo>
                  <a:lnTo>
                    <a:pt x="15" y="538"/>
                  </a:lnTo>
                  <a:lnTo>
                    <a:pt x="9" y="573"/>
                  </a:lnTo>
                  <a:lnTo>
                    <a:pt x="3" y="609"/>
                  </a:lnTo>
                  <a:lnTo>
                    <a:pt x="1" y="645"/>
                  </a:lnTo>
                  <a:lnTo>
                    <a:pt x="0" y="682"/>
                  </a:lnTo>
                  <a:lnTo>
                    <a:pt x="0" y="682"/>
                  </a:lnTo>
                  <a:lnTo>
                    <a:pt x="1" y="719"/>
                  </a:lnTo>
                  <a:lnTo>
                    <a:pt x="4" y="756"/>
                  </a:lnTo>
                  <a:lnTo>
                    <a:pt x="9" y="792"/>
                  </a:lnTo>
                  <a:lnTo>
                    <a:pt x="15" y="827"/>
                  </a:lnTo>
                  <a:lnTo>
                    <a:pt x="23" y="861"/>
                  </a:lnTo>
                  <a:lnTo>
                    <a:pt x="32" y="894"/>
                  </a:lnTo>
                  <a:lnTo>
                    <a:pt x="43" y="927"/>
                  </a:lnTo>
                  <a:lnTo>
                    <a:pt x="55" y="960"/>
                  </a:lnTo>
                  <a:lnTo>
                    <a:pt x="67" y="992"/>
                  </a:lnTo>
                  <a:lnTo>
                    <a:pt x="81" y="1023"/>
                  </a:lnTo>
                  <a:lnTo>
                    <a:pt x="95" y="1054"/>
                  </a:lnTo>
                  <a:lnTo>
                    <a:pt x="110" y="1084"/>
                  </a:lnTo>
                  <a:lnTo>
                    <a:pt x="141" y="1143"/>
                  </a:lnTo>
                  <a:lnTo>
                    <a:pt x="173" y="1201"/>
                  </a:lnTo>
                  <a:lnTo>
                    <a:pt x="205" y="1258"/>
                  </a:lnTo>
                  <a:lnTo>
                    <a:pt x="237" y="1313"/>
                  </a:lnTo>
                  <a:lnTo>
                    <a:pt x="266" y="1368"/>
                  </a:lnTo>
                  <a:lnTo>
                    <a:pt x="280" y="1395"/>
                  </a:lnTo>
                  <a:lnTo>
                    <a:pt x="292" y="1421"/>
                  </a:lnTo>
                  <a:lnTo>
                    <a:pt x="304" y="1449"/>
                  </a:lnTo>
                  <a:lnTo>
                    <a:pt x="315" y="1476"/>
                  </a:lnTo>
                  <a:lnTo>
                    <a:pt x="324" y="1503"/>
                  </a:lnTo>
                  <a:lnTo>
                    <a:pt x="331" y="1530"/>
                  </a:lnTo>
                  <a:lnTo>
                    <a:pt x="337" y="1556"/>
                  </a:lnTo>
                  <a:lnTo>
                    <a:pt x="342" y="1583"/>
                  </a:lnTo>
                  <a:lnTo>
                    <a:pt x="346" y="1611"/>
                  </a:lnTo>
                  <a:lnTo>
                    <a:pt x="347" y="1638"/>
                  </a:lnTo>
                  <a:lnTo>
                    <a:pt x="347" y="1638"/>
                  </a:lnTo>
                  <a:lnTo>
                    <a:pt x="347" y="1638"/>
                  </a:lnTo>
                  <a:lnTo>
                    <a:pt x="451" y="1638"/>
                  </a:lnTo>
                  <a:lnTo>
                    <a:pt x="451" y="1638"/>
                  </a:lnTo>
                  <a:lnTo>
                    <a:pt x="682" y="1638"/>
                  </a:lnTo>
                  <a:lnTo>
                    <a:pt x="682"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71" name="Rectangle 477">
              <a:extLst>
                <a:ext uri="{FF2B5EF4-FFF2-40B4-BE49-F238E27FC236}">
                  <a16:creationId xmlns:a16="http://schemas.microsoft.com/office/drawing/2014/main" id="{59283C3A-F2B9-22FB-E14B-3324FD2466C4}"/>
                </a:ext>
              </a:extLst>
            </p:cNvPr>
            <p:cNvSpPr>
              <a:spLocks noChangeArrowheads="1"/>
            </p:cNvSpPr>
            <p:nvPr/>
          </p:nvSpPr>
          <p:spPr bwMode="auto">
            <a:xfrm>
              <a:off x="1890713" y="2903537"/>
              <a:ext cx="25400" cy="12700"/>
            </a:xfrm>
            <a:prstGeom prst="rect">
              <a:avLst/>
            </a:prstGeom>
            <a:solidFill>
              <a:srgbClr val="7F807E"/>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2" name="Rectangle 478">
              <a:extLst>
                <a:ext uri="{FF2B5EF4-FFF2-40B4-BE49-F238E27FC236}">
                  <a16:creationId xmlns:a16="http://schemas.microsoft.com/office/drawing/2014/main" id="{BE87E145-77C4-14E3-5036-2A7945E33D22}"/>
                </a:ext>
              </a:extLst>
            </p:cNvPr>
            <p:cNvSpPr>
              <a:spLocks noChangeArrowheads="1"/>
            </p:cNvSpPr>
            <p:nvPr/>
          </p:nvSpPr>
          <p:spPr bwMode="auto">
            <a:xfrm>
              <a:off x="1890713" y="2903537"/>
              <a:ext cx="25400" cy="127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3" name="Freeform 479">
              <a:extLst>
                <a:ext uri="{FF2B5EF4-FFF2-40B4-BE49-F238E27FC236}">
                  <a16:creationId xmlns:a16="http://schemas.microsoft.com/office/drawing/2014/main" id="{418EF7D3-C7B8-D3FB-46F4-3E32B4BF60C5}"/>
                </a:ext>
              </a:extLst>
            </p:cNvPr>
            <p:cNvSpPr>
              <a:spLocks/>
            </p:cNvSpPr>
            <p:nvPr/>
          </p:nvSpPr>
          <p:spPr bwMode="auto">
            <a:xfrm>
              <a:off x="1849438" y="2790825"/>
              <a:ext cx="66675" cy="112712"/>
            </a:xfrm>
            <a:custGeom>
              <a:avLst/>
              <a:gdLst/>
              <a:ahLst/>
              <a:cxnLst>
                <a:cxn ang="0">
                  <a:pos x="335" y="0"/>
                </a:cxn>
                <a:cxn ang="0">
                  <a:pos x="0" y="0"/>
                </a:cxn>
                <a:cxn ang="0">
                  <a:pos x="0" y="469"/>
                </a:cxn>
                <a:cxn ang="0">
                  <a:pos x="0" y="469"/>
                </a:cxn>
                <a:cxn ang="0">
                  <a:pos x="0" y="480"/>
                </a:cxn>
                <a:cxn ang="0">
                  <a:pos x="2" y="490"/>
                </a:cxn>
                <a:cxn ang="0">
                  <a:pos x="4" y="499"/>
                </a:cxn>
                <a:cxn ang="0">
                  <a:pos x="8" y="510"/>
                </a:cxn>
                <a:cxn ang="0">
                  <a:pos x="12" y="518"/>
                </a:cxn>
                <a:cxn ang="0">
                  <a:pos x="17" y="527"/>
                </a:cxn>
                <a:cxn ang="0">
                  <a:pos x="23" y="535"/>
                </a:cxn>
                <a:cxn ang="0">
                  <a:pos x="29" y="543"/>
                </a:cxn>
                <a:cxn ang="0">
                  <a:pos x="38" y="549"/>
                </a:cxn>
                <a:cxn ang="0">
                  <a:pos x="45" y="555"/>
                </a:cxn>
                <a:cxn ang="0">
                  <a:pos x="54" y="560"/>
                </a:cxn>
                <a:cxn ang="0">
                  <a:pos x="63" y="565"/>
                </a:cxn>
                <a:cxn ang="0">
                  <a:pos x="73" y="568"/>
                </a:cxn>
                <a:cxn ang="0">
                  <a:pos x="83" y="571"/>
                </a:cxn>
                <a:cxn ang="0">
                  <a:pos x="93" y="573"/>
                </a:cxn>
                <a:cxn ang="0">
                  <a:pos x="104" y="574"/>
                </a:cxn>
                <a:cxn ang="0">
                  <a:pos x="206" y="574"/>
                </a:cxn>
                <a:cxn ang="0">
                  <a:pos x="335" y="574"/>
                </a:cxn>
                <a:cxn ang="0">
                  <a:pos x="335" y="0"/>
                </a:cxn>
              </a:cxnLst>
              <a:rect l="0" t="0" r="r" b="b"/>
              <a:pathLst>
                <a:path w="335" h="574">
                  <a:moveTo>
                    <a:pt x="335" y="0"/>
                  </a:moveTo>
                  <a:lnTo>
                    <a:pt x="0" y="0"/>
                  </a:lnTo>
                  <a:lnTo>
                    <a:pt x="0" y="469"/>
                  </a:lnTo>
                  <a:lnTo>
                    <a:pt x="0" y="469"/>
                  </a:lnTo>
                  <a:lnTo>
                    <a:pt x="0" y="480"/>
                  </a:lnTo>
                  <a:lnTo>
                    <a:pt x="2" y="490"/>
                  </a:lnTo>
                  <a:lnTo>
                    <a:pt x="4" y="499"/>
                  </a:lnTo>
                  <a:lnTo>
                    <a:pt x="8" y="510"/>
                  </a:lnTo>
                  <a:lnTo>
                    <a:pt x="12" y="518"/>
                  </a:lnTo>
                  <a:lnTo>
                    <a:pt x="17" y="527"/>
                  </a:lnTo>
                  <a:lnTo>
                    <a:pt x="23" y="535"/>
                  </a:lnTo>
                  <a:lnTo>
                    <a:pt x="29" y="543"/>
                  </a:lnTo>
                  <a:lnTo>
                    <a:pt x="38" y="549"/>
                  </a:lnTo>
                  <a:lnTo>
                    <a:pt x="45" y="555"/>
                  </a:lnTo>
                  <a:lnTo>
                    <a:pt x="54" y="560"/>
                  </a:lnTo>
                  <a:lnTo>
                    <a:pt x="63" y="565"/>
                  </a:lnTo>
                  <a:lnTo>
                    <a:pt x="73" y="568"/>
                  </a:lnTo>
                  <a:lnTo>
                    <a:pt x="83" y="571"/>
                  </a:lnTo>
                  <a:lnTo>
                    <a:pt x="93" y="573"/>
                  </a:lnTo>
                  <a:lnTo>
                    <a:pt x="104" y="574"/>
                  </a:lnTo>
                  <a:lnTo>
                    <a:pt x="206" y="574"/>
                  </a:lnTo>
                  <a:lnTo>
                    <a:pt x="335" y="574"/>
                  </a:lnTo>
                  <a:lnTo>
                    <a:pt x="335" y="0"/>
                  </a:lnTo>
                  <a:close/>
                </a:path>
              </a:pathLst>
            </a:custGeom>
            <a:solidFill>
              <a:srgbClr val="DBCCB7"/>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74" name="Freeform 480">
              <a:extLst>
                <a:ext uri="{FF2B5EF4-FFF2-40B4-BE49-F238E27FC236}">
                  <a16:creationId xmlns:a16="http://schemas.microsoft.com/office/drawing/2014/main" id="{825BE5A5-4011-1899-AEE5-F5A8AA0B0B6F}"/>
                </a:ext>
              </a:extLst>
            </p:cNvPr>
            <p:cNvSpPr>
              <a:spLocks/>
            </p:cNvSpPr>
            <p:nvPr/>
          </p:nvSpPr>
          <p:spPr bwMode="auto">
            <a:xfrm>
              <a:off x="1849438" y="2790825"/>
              <a:ext cx="66675" cy="112712"/>
            </a:xfrm>
            <a:custGeom>
              <a:avLst/>
              <a:gdLst/>
              <a:ahLst/>
              <a:cxnLst>
                <a:cxn ang="0">
                  <a:pos x="335" y="0"/>
                </a:cxn>
                <a:cxn ang="0">
                  <a:pos x="0" y="0"/>
                </a:cxn>
                <a:cxn ang="0">
                  <a:pos x="0" y="469"/>
                </a:cxn>
                <a:cxn ang="0">
                  <a:pos x="0" y="469"/>
                </a:cxn>
                <a:cxn ang="0">
                  <a:pos x="0" y="480"/>
                </a:cxn>
                <a:cxn ang="0">
                  <a:pos x="2" y="490"/>
                </a:cxn>
                <a:cxn ang="0">
                  <a:pos x="4" y="499"/>
                </a:cxn>
                <a:cxn ang="0">
                  <a:pos x="8" y="510"/>
                </a:cxn>
                <a:cxn ang="0">
                  <a:pos x="12" y="518"/>
                </a:cxn>
                <a:cxn ang="0">
                  <a:pos x="17" y="527"/>
                </a:cxn>
                <a:cxn ang="0">
                  <a:pos x="23" y="535"/>
                </a:cxn>
                <a:cxn ang="0">
                  <a:pos x="29" y="543"/>
                </a:cxn>
                <a:cxn ang="0">
                  <a:pos x="38" y="549"/>
                </a:cxn>
                <a:cxn ang="0">
                  <a:pos x="45" y="555"/>
                </a:cxn>
                <a:cxn ang="0">
                  <a:pos x="54" y="560"/>
                </a:cxn>
                <a:cxn ang="0">
                  <a:pos x="63" y="565"/>
                </a:cxn>
                <a:cxn ang="0">
                  <a:pos x="73" y="568"/>
                </a:cxn>
                <a:cxn ang="0">
                  <a:pos x="83" y="571"/>
                </a:cxn>
                <a:cxn ang="0">
                  <a:pos x="93" y="573"/>
                </a:cxn>
                <a:cxn ang="0">
                  <a:pos x="104" y="574"/>
                </a:cxn>
                <a:cxn ang="0">
                  <a:pos x="206" y="574"/>
                </a:cxn>
                <a:cxn ang="0">
                  <a:pos x="335" y="574"/>
                </a:cxn>
                <a:cxn ang="0">
                  <a:pos x="335" y="0"/>
                </a:cxn>
              </a:cxnLst>
              <a:rect l="0" t="0" r="r" b="b"/>
              <a:pathLst>
                <a:path w="335" h="574">
                  <a:moveTo>
                    <a:pt x="335" y="0"/>
                  </a:moveTo>
                  <a:lnTo>
                    <a:pt x="0" y="0"/>
                  </a:lnTo>
                  <a:lnTo>
                    <a:pt x="0" y="469"/>
                  </a:lnTo>
                  <a:lnTo>
                    <a:pt x="0" y="469"/>
                  </a:lnTo>
                  <a:lnTo>
                    <a:pt x="0" y="480"/>
                  </a:lnTo>
                  <a:lnTo>
                    <a:pt x="2" y="490"/>
                  </a:lnTo>
                  <a:lnTo>
                    <a:pt x="4" y="499"/>
                  </a:lnTo>
                  <a:lnTo>
                    <a:pt x="8" y="510"/>
                  </a:lnTo>
                  <a:lnTo>
                    <a:pt x="12" y="518"/>
                  </a:lnTo>
                  <a:lnTo>
                    <a:pt x="17" y="527"/>
                  </a:lnTo>
                  <a:lnTo>
                    <a:pt x="23" y="535"/>
                  </a:lnTo>
                  <a:lnTo>
                    <a:pt x="29" y="543"/>
                  </a:lnTo>
                  <a:lnTo>
                    <a:pt x="38" y="549"/>
                  </a:lnTo>
                  <a:lnTo>
                    <a:pt x="45" y="555"/>
                  </a:lnTo>
                  <a:lnTo>
                    <a:pt x="54" y="560"/>
                  </a:lnTo>
                  <a:lnTo>
                    <a:pt x="63" y="565"/>
                  </a:lnTo>
                  <a:lnTo>
                    <a:pt x="73" y="568"/>
                  </a:lnTo>
                  <a:lnTo>
                    <a:pt x="83" y="571"/>
                  </a:lnTo>
                  <a:lnTo>
                    <a:pt x="93" y="573"/>
                  </a:lnTo>
                  <a:lnTo>
                    <a:pt x="104" y="574"/>
                  </a:lnTo>
                  <a:lnTo>
                    <a:pt x="206" y="574"/>
                  </a:lnTo>
                  <a:lnTo>
                    <a:pt x="335" y="574"/>
                  </a:lnTo>
                  <a:lnTo>
                    <a:pt x="335"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75" name="Freeform 481">
              <a:extLst>
                <a:ext uri="{FF2B5EF4-FFF2-40B4-BE49-F238E27FC236}">
                  <a16:creationId xmlns:a16="http://schemas.microsoft.com/office/drawing/2014/main" id="{FE73AD74-6608-9848-442A-0CBF0218715C}"/>
                </a:ext>
              </a:extLst>
            </p:cNvPr>
            <p:cNvSpPr>
              <a:spLocks/>
            </p:cNvSpPr>
            <p:nvPr/>
          </p:nvSpPr>
          <p:spPr bwMode="auto">
            <a:xfrm>
              <a:off x="1849438" y="2770187"/>
              <a:ext cx="66675" cy="20637"/>
            </a:xfrm>
            <a:custGeom>
              <a:avLst/>
              <a:gdLst/>
              <a:ahLst/>
              <a:cxnLst>
                <a:cxn ang="0">
                  <a:pos x="335" y="0"/>
                </a:cxn>
                <a:cxn ang="0">
                  <a:pos x="335" y="0"/>
                </a:cxn>
                <a:cxn ang="0">
                  <a:pos x="335" y="0"/>
                </a:cxn>
                <a:cxn ang="0">
                  <a:pos x="335" y="0"/>
                </a:cxn>
                <a:cxn ang="0">
                  <a:pos x="104" y="0"/>
                </a:cxn>
                <a:cxn ang="0">
                  <a:pos x="104" y="0"/>
                </a:cxn>
                <a:cxn ang="0">
                  <a:pos x="0" y="0"/>
                </a:cxn>
                <a:cxn ang="0">
                  <a:pos x="0" y="104"/>
                </a:cxn>
                <a:cxn ang="0">
                  <a:pos x="335" y="104"/>
                </a:cxn>
                <a:cxn ang="0">
                  <a:pos x="335" y="0"/>
                </a:cxn>
              </a:cxnLst>
              <a:rect l="0" t="0" r="r" b="b"/>
              <a:pathLst>
                <a:path w="335" h="104">
                  <a:moveTo>
                    <a:pt x="335" y="0"/>
                  </a:moveTo>
                  <a:lnTo>
                    <a:pt x="335" y="0"/>
                  </a:lnTo>
                  <a:lnTo>
                    <a:pt x="335" y="0"/>
                  </a:lnTo>
                  <a:lnTo>
                    <a:pt x="335" y="0"/>
                  </a:lnTo>
                  <a:lnTo>
                    <a:pt x="104" y="0"/>
                  </a:lnTo>
                  <a:lnTo>
                    <a:pt x="104" y="0"/>
                  </a:lnTo>
                  <a:lnTo>
                    <a:pt x="0" y="0"/>
                  </a:lnTo>
                  <a:lnTo>
                    <a:pt x="0" y="104"/>
                  </a:lnTo>
                  <a:lnTo>
                    <a:pt x="335" y="104"/>
                  </a:lnTo>
                  <a:lnTo>
                    <a:pt x="335" y="0"/>
                  </a:lnTo>
                  <a:close/>
                </a:path>
              </a:pathLst>
            </a:custGeom>
            <a:solidFill>
              <a:srgbClr val="7F807E"/>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76" name="Freeform 482">
              <a:extLst>
                <a:ext uri="{FF2B5EF4-FFF2-40B4-BE49-F238E27FC236}">
                  <a16:creationId xmlns:a16="http://schemas.microsoft.com/office/drawing/2014/main" id="{628092DC-3D53-917E-18F1-1637E0F6EF86}"/>
                </a:ext>
              </a:extLst>
            </p:cNvPr>
            <p:cNvSpPr>
              <a:spLocks/>
            </p:cNvSpPr>
            <p:nvPr/>
          </p:nvSpPr>
          <p:spPr bwMode="auto">
            <a:xfrm>
              <a:off x="1849438" y="2770187"/>
              <a:ext cx="66675" cy="20637"/>
            </a:xfrm>
            <a:custGeom>
              <a:avLst/>
              <a:gdLst/>
              <a:ahLst/>
              <a:cxnLst>
                <a:cxn ang="0">
                  <a:pos x="335" y="0"/>
                </a:cxn>
                <a:cxn ang="0">
                  <a:pos x="335" y="0"/>
                </a:cxn>
                <a:cxn ang="0">
                  <a:pos x="335" y="0"/>
                </a:cxn>
                <a:cxn ang="0">
                  <a:pos x="335" y="0"/>
                </a:cxn>
                <a:cxn ang="0">
                  <a:pos x="104" y="0"/>
                </a:cxn>
                <a:cxn ang="0">
                  <a:pos x="104" y="0"/>
                </a:cxn>
                <a:cxn ang="0">
                  <a:pos x="0" y="0"/>
                </a:cxn>
                <a:cxn ang="0">
                  <a:pos x="0" y="104"/>
                </a:cxn>
                <a:cxn ang="0">
                  <a:pos x="335" y="104"/>
                </a:cxn>
                <a:cxn ang="0">
                  <a:pos x="335" y="0"/>
                </a:cxn>
              </a:cxnLst>
              <a:rect l="0" t="0" r="r" b="b"/>
              <a:pathLst>
                <a:path w="335" h="104">
                  <a:moveTo>
                    <a:pt x="335" y="0"/>
                  </a:moveTo>
                  <a:lnTo>
                    <a:pt x="335" y="0"/>
                  </a:lnTo>
                  <a:lnTo>
                    <a:pt x="335" y="0"/>
                  </a:lnTo>
                  <a:lnTo>
                    <a:pt x="335" y="0"/>
                  </a:lnTo>
                  <a:lnTo>
                    <a:pt x="104" y="0"/>
                  </a:lnTo>
                  <a:lnTo>
                    <a:pt x="104" y="0"/>
                  </a:lnTo>
                  <a:lnTo>
                    <a:pt x="0" y="0"/>
                  </a:lnTo>
                  <a:lnTo>
                    <a:pt x="0" y="104"/>
                  </a:lnTo>
                  <a:lnTo>
                    <a:pt x="335" y="104"/>
                  </a:lnTo>
                  <a:lnTo>
                    <a:pt x="335"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77" name="Freeform 483">
              <a:extLst>
                <a:ext uri="{FF2B5EF4-FFF2-40B4-BE49-F238E27FC236}">
                  <a16:creationId xmlns:a16="http://schemas.microsoft.com/office/drawing/2014/main" id="{887C576D-C967-EA1B-9AC2-573DADAA2F03}"/>
                </a:ext>
              </a:extLst>
            </p:cNvPr>
            <p:cNvSpPr>
              <a:spLocks/>
            </p:cNvSpPr>
            <p:nvPr/>
          </p:nvSpPr>
          <p:spPr bwMode="auto">
            <a:xfrm>
              <a:off x="1855788" y="2482850"/>
              <a:ext cx="465138" cy="598487"/>
            </a:xfrm>
            <a:custGeom>
              <a:avLst/>
              <a:gdLst/>
              <a:ahLst/>
              <a:cxnLst>
                <a:cxn ang="0">
                  <a:pos x="794" y="0"/>
                </a:cxn>
                <a:cxn ang="0">
                  <a:pos x="794" y="0"/>
                </a:cxn>
                <a:cxn ang="0">
                  <a:pos x="836" y="47"/>
                </a:cxn>
                <a:cxn ang="0">
                  <a:pos x="875" y="98"/>
                </a:cxn>
                <a:cxn ang="0">
                  <a:pos x="908" y="154"/>
                </a:cxn>
                <a:cxn ang="0">
                  <a:pos x="936" y="214"/>
                </a:cxn>
                <a:cxn ang="0">
                  <a:pos x="959" y="277"/>
                </a:cxn>
                <a:cxn ang="0">
                  <a:pos x="975" y="344"/>
                </a:cxn>
                <a:cxn ang="0">
                  <a:pos x="986" y="414"/>
                </a:cxn>
                <a:cxn ang="0">
                  <a:pos x="989" y="486"/>
                </a:cxn>
                <a:cxn ang="0">
                  <a:pos x="988" y="523"/>
                </a:cxn>
                <a:cxn ang="0">
                  <a:pos x="980" y="596"/>
                </a:cxn>
                <a:cxn ang="0">
                  <a:pos x="966" y="665"/>
                </a:cxn>
                <a:cxn ang="0">
                  <a:pos x="946" y="731"/>
                </a:cxn>
                <a:cxn ang="0">
                  <a:pos x="922" y="796"/>
                </a:cxn>
                <a:cxn ang="0">
                  <a:pos x="894" y="858"/>
                </a:cxn>
                <a:cxn ang="0">
                  <a:pos x="847" y="947"/>
                </a:cxn>
                <a:cxn ang="0">
                  <a:pos x="784" y="1062"/>
                </a:cxn>
                <a:cxn ang="0">
                  <a:pos x="723" y="1172"/>
                </a:cxn>
                <a:cxn ang="0">
                  <a:pos x="697" y="1225"/>
                </a:cxn>
                <a:cxn ang="0">
                  <a:pos x="674" y="1280"/>
                </a:cxn>
                <a:cxn ang="0">
                  <a:pos x="658" y="1334"/>
                </a:cxn>
                <a:cxn ang="0">
                  <a:pos x="647" y="1387"/>
                </a:cxn>
                <a:cxn ang="0">
                  <a:pos x="642" y="1442"/>
                </a:cxn>
                <a:cxn ang="0">
                  <a:pos x="642" y="1546"/>
                </a:cxn>
                <a:cxn ang="0">
                  <a:pos x="642" y="2015"/>
                </a:cxn>
                <a:cxn ang="0">
                  <a:pos x="640" y="2036"/>
                </a:cxn>
                <a:cxn ang="0">
                  <a:pos x="634" y="2056"/>
                </a:cxn>
                <a:cxn ang="0">
                  <a:pos x="625" y="2073"/>
                </a:cxn>
                <a:cxn ang="0">
                  <a:pos x="611" y="2089"/>
                </a:cxn>
                <a:cxn ang="0">
                  <a:pos x="596" y="2101"/>
                </a:cxn>
                <a:cxn ang="0">
                  <a:pos x="579" y="2111"/>
                </a:cxn>
                <a:cxn ang="0">
                  <a:pos x="559" y="2117"/>
                </a:cxn>
                <a:cxn ang="0">
                  <a:pos x="538" y="2120"/>
                </a:cxn>
                <a:cxn ang="0">
                  <a:pos x="436" y="2177"/>
                </a:cxn>
                <a:cxn ang="0">
                  <a:pos x="177" y="2177"/>
                </a:cxn>
                <a:cxn ang="0">
                  <a:pos x="75" y="2120"/>
                </a:cxn>
                <a:cxn ang="0">
                  <a:pos x="64" y="2119"/>
                </a:cxn>
                <a:cxn ang="0">
                  <a:pos x="44" y="2114"/>
                </a:cxn>
                <a:cxn ang="0">
                  <a:pos x="25" y="2106"/>
                </a:cxn>
                <a:cxn ang="0">
                  <a:pos x="9" y="2095"/>
                </a:cxn>
                <a:cxn ang="0">
                  <a:pos x="0" y="2089"/>
                </a:cxn>
                <a:cxn ang="0">
                  <a:pos x="926" y="3013"/>
                </a:cxn>
                <a:cxn ang="0">
                  <a:pos x="1053" y="2969"/>
                </a:cxn>
                <a:cxn ang="0">
                  <a:pos x="1176" y="2918"/>
                </a:cxn>
                <a:cxn ang="0">
                  <a:pos x="1296" y="2859"/>
                </a:cxn>
                <a:cxn ang="0">
                  <a:pos x="1411" y="2793"/>
                </a:cxn>
                <a:cxn ang="0">
                  <a:pos x="1521" y="2721"/>
                </a:cxn>
                <a:cxn ang="0">
                  <a:pos x="1627" y="2642"/>
                </a:cxn>
                <a:cxn ang="0">
                  <a:pos x="1727" y="2556"/>
                </a:cxn>
                <a:cxn ang="0">
                  <a:pos x="1822" y="2465"/>
                </a:cxn>
                <a:cxn ang="0">
                  <a:pos x="1911" y="2367"/>
                </a:cxn>
                <a:cxn ang="0">
                  <a:pos x="1994" y="2265"/>
                </a:cxn>
                <a:cxn ang="0">
                  <a:pos x="2071" y="2157"/>
                </a:cxn>
                <a:cxn ang="0">
                  <a:pos x="2140" y="2044"/>
                </a:cxn>
                <a:cxn ang="0">
                  <a:pos x="2202" y="1927"/>
                </a:cxn>
                <a:cxn ang="0">
                  <a:pos x="2258" y="1805"/>
                </a:cxn>
                <a:cxn ang="0">
                  <a:pos x="2306" y="1680"/>
                </a:cxn>
                <a:cxn ang="0">
                  <a:pos x="2346" y="1551"/>
                </a:cxn>
              </a:cxnLst>
              <a:rect l="0" t="0" r="r" b="b"/>
              <a:pathLst>
                <a:path w="2346" h="3013">
                  <a:moveTo>
                    <a:pt x="1442" y="647"/>
                  </a:moveTo>
                  <a:lnTo>
                    <a:pt x="794" y="0"/>
                  </a:lnTo>
                  <a:lnTo>
                    <a:pt x="794" y="0"/>
                  </a:lnTo>
                  <a:lnTo>
                    <a:pt x="794" y="0"/>
                  </a:lnTo>
                  <a:lnTo>
                    <a:pt x="816" y="22"/>
                  </a:lnTo>
                  <a:lnTo>
                    <a:pt x="836" y="47"/>
                  </a:lnTo>
                  <a:lnTo>
                    <a:pt x="857" y="72"/>
                  </a:lnTo>
                  <a:lnTo>
                    <a:pt x="875" y="98"/>
                  </a:lnTo>
                  <a:lnTo>
                    <a:pt x="892" y="125"/>
                  </a:lnTo>
                  <a:lnTo>
                    <a:pt x="908" y="154"/>
                  </a:lnTo>
                  <a:lnTo>
                    <a:pt x="923" y="183"/>
                  </a:lnTo>
                  <a:lnTo>
                    <a:pt x="936" y="214"/>
                  </a:lnTo>
                  <a:lnTo>
                    <a:pt x="948" y="245"/>
                  </a:lnTo>
                  <a:lnTo>
                    <a:pt x="959" y="277"/>
                  </a:lnTo>
                  <a:lnTo>
                    <a:pt x="968" y="310"/>
                  </a:lnTo>
                  <a:lnTo>
                    <a:pt x="975" y="344"/>
                  </a:lnTo>
                  <a:lnTo>
                    <a:pt x="980" y="378"/>
                  </a:lnTo>
                  <a:lnTo>
                    <a:pt x="986" y="414"/>
                  </a:lnTo>
                  <a:lnTo>
                    <a:pt x="988" y="450"/>
                  </a:lnTo>
                  <a:lnTo>
                    <a:pt x="989" y="486"/>
                  </a:lnTo>
                  <a:lnTo>
                    <a:pt x="989" y="486"/>
                  </a:lnTo>
                  <a:lnTo>
                    <a:pt x="988" y="523"/>
                  </a:lnTo>
                  <a:lnTo>
                    <a:pt x="984" y="560"/>
                  </a:lnTo>
                  <a:lnTo>
                    <a:pt x="980" y="596"/>
                  </a:lnTo>
                  <a:lnTo>
                    <a:pt x="973" y="631"/>
                  </a:lnTo>
                  <a:lnTo>
                    <a:pt x="966" y="665"/>
                  </a:lnTo>
                  <a:lnTo>
                    <a:pt x="957" y="698"/>
                  </a:lnTo>
                  <a:lnTo>
                    <a:pt x="946" y="731"/>
                  </a:lnTo>
                  <a:lnTo>
                    <a:pt x="934" y="764"/>
                  </a:lnTo>
                  <a:lnTo>
                    <a:pt x="922" y="796"/>
                  </a:lnTo>
                  <a:lnTo>
                    <a:pt x="908" y="827"/>
                  </a:lnTo>
                  <a:lnTo>
                    <a:pt x="894" y="858"/>
                  </a:lnTo>
                  <a:lnTo>
                    <a:pt x="879" y="888"/>
                  </a:lnTo>
                  <a:lnTo>
                    <a:pt x="847" y="947"/>
                  </a:lnTo>
                  <a:lnTo>
                    <a:pt x="816" y="1005"/>
                  </a:lnTo>
                  <a:lnTo>
                    <a:pt x="784" y="1062"/>
                  </a:lnTo>
                  <a:lnTo>
                    <a:pt x="752" y="1117"/>
                  </a:lnTo>
                  <a:lnTo>
                    <a:pt x="723" y="1172"/>
                  </a:lnTo>
                  <a:lnTo>
                    <a:pt x="709" y="1199"/>
                  </a:lnTo>
                  <a:lnTo>
                    <a:pt x="697" y="1225"/>
                  </a:lnTo>
                  <a:lnTo>
                    <a:pt x="685" y="1253"/>
                  </a:lnTo>
                  <a:lnTo>
                    <a:pt x="674" y="1280"/>
                  </a:lnTo>
                  <a:lnTo>
                    <a:pt x="665" y="1307"/>
                  </a:lnTo>
                  <a:lnTo>
                    <a:pt x="658" y="1334"/>
                  </a:lnTo>
                  <a:lnTo>
                    <a:pt x="651" y="1360"/>
                  </a:lnTo>
                  <a:lnTo>
                    <a:pt x="647" y="1387"/>
                  </a:lnTo>
                  <a:lnTo>
                    <a:pt x="643" y="1415"/>
                  </a:lnTo>
                  <a:lnTo>
                    <a:pt x="642" y="1442"/>
                  </a:lnTo>
                  <a:lnTo>
                    <a:pt x="642" y="1447"/>
                  </a:lnTo>
                  <a:lnTo>
                    <a:pt x="642" y="1546"/>
                  </a:lnTo>
                  <a:lnTo>
                    <a:pt x="642" y="2015"/>
                  </a:lnTo>
                  <a:lnTo>
                    <a:pt x="642" y="2015"/>
                  </a:lnTo>
                  <a:lnTo>
                    <a:pt x="642" y="2026"/>
                  </a:lnTo>
                  <a:lnTo>
                    <a:pt x="640" y="2036"/>
                  </a:lnTo>
                  <a:lnTo>
                    <a:pt x="638" y="2045"/>
                  </a:lnTo>
                  <a:lnTo>
                    <a:pt x="634" y="2056"/>
                  </a:lnTo>
                  <a:lnTo>
                    <a:pt x="630" y="2064"/>
                  </a:lnTo>
                  <a:lnTo>
                    <a:pt x="625" y="2073"/>
                  </a:lnTo>
                  <a:lnTo>
                    <a:pt x="619" y="2081"/>
                  </a:lnTo>
                  <a:lnTo>
                    <a:pt x="611" y="2089"/>
                  </a:lnTo>
                  <a:lnTo>
                    <a:pt x="604" y="2095"/>
                  </a:lnTo>
                  <a:lnTo>
                    <a:pt x="596" y="2101"/>
                  </a:lnTo>
                  <a:lnTo>
                    <a:pt x="588" y="2106"/>
                  </a:lnTo>
                  <a:lnTo>
                    <a:pt x="579" y="2111"/>
                  </a:lnTo>
                  <a:lnTo>
                    <a:pt x="569" y="2114"/>
                  </a:lnTo>
                  <a:lnTo>
                    <a:pt x="559" y="2117"/>
                  </a:lnTo>
                  <a:lnTo>
                    <a:pt x="549" y="2119"/>
                  </a:lnTo>
                  <a:lnTo>
                    <a:pt x="538" y="2120"/>
                  </a:lnTo>
                  <a:lnTo>
                    <a:pt x="436" y="2120"/>
                  </a:lnTo>
                  <a:lnTo>
                    <a:pt x="436" y="2177"/>
                  </a:lnTo>
                  <a:lnTo>
                    <a:pt x="306" y="2177"/>
                  </a:lnTo>
                  <a:lnTo>
                    <a:pt x="177" y="2177"/>
                  </a:lnTo>
                  <a:lnTo>
                    <a:pt x="177" y="2120"/>
                  </a:lnTo>
                  <a:lnTo>
                    <a:pt x="75" y="2120"/>
                  </a:lnTo>
                  <a:lnTo>
                    <a:pt x="75" y="2120"/>
                  </a:lnTo>
                  <a:lnTo>
                    <a:pt x="64" y="2119"/>
                  </a:lnTo>
                  <a:lnTo>
                    <a:pt x="54" y="2117"/>
                  </a:lnTo>
                  <a:lnTo>
                    <a:pt x="44" y="2114"/>
                  </a:lnTo>
                  <a:lnTo>
                    <a:pt x="34" y="2111"/>
                  </a:lnTo>
                  <a:lnTo>
                    <a:pt x="25" y="2106"/>
                  </a:lnTo>
                  <a:lnTo>
                    <a:pt x="16" y="2101"/>
                  </a:lnTo>
                  <a:lnTo>
                    <a:pt x="9" y="2095"/>
                  </a:lnTo>
                  <a:lnTo>
                    <a:pt x="0" y="2089"/>
                  </a:lnTo>
                  <a:lnTo>
                    <a:pt x="0" y="2089"/>
                  </a:lnTo>
                  <a:lnTo>
                    <a:pt x="926" y="3013"/>
                  </a:lnTo>
                  <a:lnTo>
                    <a:pt x="926" y="3013"/>
                  </a:lnTo>
                  <a:lnTo>
                    <a:pt x="990" y="2992"/>
                  </a:lnTo>
                  <a:lnTo>
                    <a:pt x="1053" y="2969"/>
                  </a:lnTo>
                  <a:lnTo>
                    <a:pt x="1115" y="2945"/>
                  </a:lnTo>
                  <a:lnTo>
                    <a:pt x="1176" y="2918"/>
                  </a:lnTo>
                  <a:lnTo>
                    <a:pt x="1237" y="2890"/>
                  </a:lnTo>
                  <a:lnTo>
                    <a:pt x="1296" y="2859"/>
                  </a:lnTo>
                  <a:lnTo>
                    <a:pt x="1354" y="2827"/>
                  </a:lnTo>
                  <a:lnTo>
                    <a:pt x="1411" y="2793"/>
                  </a:lnTo>
                  <a:lnTo>
                    <a:pt x="1467" y="2758"/>
                  </a:lnTo>
                  <a:lnTo>
                    <a:pt x="1521" y="2721"/>
                  </a:lnTo>
                  <a:lnTo>
                    <a:pt x="1575" y="2682"/>
                  </a:lnTo>
                  <a:lnTo>
                    <a:pt x="1627" y="2642"/>
                  </a:lnTo>
                  <a:lnTo>
                    <a:pt x="1678" y="2600"/>
                  </a:lnTo>
                  <a:lnTo>
                    <a:pt x="1727" y="2556"/>
                  </a:lnTo>
                  <a:lnTo>
                    <a:pt x="1776" y="2511"/>
                  </a:lnTo>
                  <a:lnTo>
                    <a:pt x="1822" y="2465"/>
                  </a:lnTo>
                  <a:lnTo>
                    <a:pt x="1868" y="2416"/>
                  </a:lnTo>
                  <a:lnTo>
                    <a:pt x="1911" y="2367"/>
                  </a:lnTo>
                  <a:lnTo>
                    <a:pt x="1953" y="2316"/>
                  </a:lnTo>
                  <a:lnTo>
                    <a:pt x="1994" y="2265"/>
                  </a:lnTo>
                  <a:lnTo>
                    <a:pt x="2033" y="2211"/>
                  </a:lnTo>
                  <a:lnTo>
                    <a:pt x="2071" y="2157"/>
                  </a:lnTo>
                  <a:lnTo>
                    <a:pt x="2107" y="2101"/>
                  </a:lnTo>
                  <a:lnTo>
                    <a:pt x="2140" y="2044"/>
                  </a:lnTo>
                  <a:lnTo>
                    <a:pt x="2173" y="1986"/>
                  </a:lnTo>
                  <a:lnTo>
                    <a:pt x="2202" y="1927"/>
                  </a:lnTo>
                  <a:lnTo>
                    <a:pt x="2231" y="1867"/>
                  </a:lnTo>
                  <a:lnTo>
                    <a:pt x="2258" y="1805"/>
                  </a:lnTo>
                  <a:lnTo>
                    <a:pt x="2283" y="1744"/>
                  </a:lnTo>
                  <a:lnTo>
                    <a:pt x="2306" y="1680"/>
                  </a:lnTo>
                  <a:lnTo>
                    <a:pt x="2327" y="1616"/>
                  </a:lnTo>
                  <a:lnTo>
                    <a:pt x="2346" y="1551"/>
                  </a:lnTo>
                  <a:lnTo>
                    <a:pt x="1442" y="647"/>
                  </a:lnTo>
                  <a:close/>
                </a:path>
              </a:pathLst>
            </a:custGeom>
            <a:solidFill>
              <a:srgbClr val="3C9987"/>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custDataLst>
      <p:tags r:id="rId1"/>
    </p:custDataLst>
    <p:extLst>
      <p:ext uri="{BB962C8B-B14F-4D97-AF65-F5344CB8AC3E}">
        <p14:creationId xmlns:p14="http://schemas.microsoft.com/office/powerpoint/2010/main" val="36452713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 name="ARTICULATE_DESIGN_ID_2_OFFICE THEME" val="imcRaAbG"/>
  <p:tag name="ARTICULATE_SLIDE_COUNT" val="59"/>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1.xml><?xml version="1.0" encoding="utf-8"?>
<p:tagLst xmlns:a="http://schemas.openxmlformats.org/drawingml/2006/main" xmlns:r="http://schemas.openxmlformats.org/officeDocument/2006/relationships" xmlns:p="http://schemas.openxmlformats.org/presentationml/2006/main">
  <p:tag name="ADV_COPYRIGHT" val="TRUE"/>
</p:tagLst>
</file>

<file path=ppt/tags/tag12.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3.xml><?xml version="1.0" encoding="utf-8"?>
<p:tagLst xmlns:a="http://schemas.openxmlformats.org/drawingml/2006/main" xmlns:r="http://schemas.openxmlformats.org/officeDocument/2006/relationships" xmlns:p="http://schemas.openxmlformats.org/presentationml/2006/main">
  <p:tag name="ADV_COPYRIGHT" val="TRUE"/>
</p:tagLst>
</file>

<file path=ppt/tags/tag1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5.xml><?xml version="1.0" encoding="utf-8"?>
<p:tagLst xmlns:a="http://schemas.openxmlformats.org/drawingml/2006/main" xmlns:r="http://schemas.openxmlformats.org/officeDocument/2006/relationships" xmlns:p="http://schemas.openxmlformats.org/presentationml/2006/main">
  <p:tag name="ADV_COPYRIGHT" val="TRUE"/>
</p:tagLst>
</file>

<file path=ppt/tags/tag1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7.xml><?xml version="1.0" encoding="utf-8"?>
<p:tagLst xmlns:a="http://schemas.openxmlformats.org/drawingml/2006/main" xmlns:r="http://schemas.openxmlformats.org/officeDocument/2006/relationships" xmlns:p="http://schemas.openxmlformats.org/presentationml/2006/main">
  <p:tag name="ADV_COPYRIGHT" val="TRUE"/>
</p:tagLst>
</file>

<file path=ppt/tags/tag18.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19.xml><?xml version="1.0" encoding="utf-8"?>
<p:tagLst xmlns:a="http://schemas.openxmlformats.org/drawingml/2006/main" xmlns:r="http://schemas.openxmlformats.org/officeDocument/2006/relationships" xmlns:p="http://schemas.openxmlformats.org/presentationml/2006/main">
  <p:tag name="ADV_COPYRIGHT" val="TRU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1.xml><?xml version="1.0" encoding="utf-8"?>
<p:tagLst xmlns:a="http://schemas.openxmlformats.org/drawingml/2006/main" xmlns:r="http://schemas.openxmlformats.org/officeDocument/2006/relationships" xmlns:p="http://schemas.openxmlformats.org/presentationml/2006/main">
  <p:tag name="ADV_COPYRIGHT" val="TRUE"/>
</p:tagLst>
</file>

<file path=ppt/tags/tag22.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3.xml><?xml version="1.0" encoding="utf-8"?>
<p:tagLst xmlns:a="http://schemas.openxmlformats.org/drawingml/2006/main" xmlns:r="http://schemas.openxmlformats.org/officeDocument/2006/relationships" xmlns:p="http://schemas.openxmlformats.org/presentationml/2006/main">
  <p:tag name="ADV_COPYRIGHT" val="TRUE"/>
</p:tagLst>
</file>

<file path=ppt/tags/tag24.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5.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MIO_GUID" val="9d17b555-8c43-4daf-b24f-c79a4aa4d19b"/>
  <p:tag name="MIO_EK" val="42861"/>
  <p:tag name="MIO_EKGUID" val="3b1b7961-dadc-47b3-811e-ee9a303aded2"/>
  <p:tag name="MIO_UPDATE" val="True"/>
  <p:tag name="MIO_VERSION" val="05.05.2017 17:21:48"/>
  <p:tag name="MIO_DBID" val="0996782E-0DCE-4534-9728-383C597952E9"/>
  <p:tag name="MIO_LASTDOWNLOADED" val="05.05.2017 17:21:48"/>
  <p:tag name="MIO_OBJECTNAME" val="8 Staged Timeline Business Diagram"/>
  <p:tag name="MIO_LASTEDITORNAME" val="Farnaz Habib Pira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MIO_GUID" val="9d17b555-8c43-4daf-b24f-c79a4aa4d19b"/>
  <p:tag name="MIO_EK" val="42861"/>
  <p:tag name="MIO_EKGUID" val="3b1b7961-dadc-47b3-811e-ee9a303aded2"/>
  <p:tag name="MIO_UPDATE" val="True"/>
  <p:tag name="MIO_VERSION" val="05.05.2017 17:21:48"/>
  <p:tag name="MIO_DBID" val="0996782E-0DCE-4534-9728-383C597952E9"/>
  <p:tag name="MIO_LASTDOWNLOADED" val="05.05.2017 17:21:48"/>
  <p:tag name="MIO_OBJECTNAME" val="8 Staged Timeline Business Diagram"/>
  <p:tag name="MIO_LASTEDITORNAME" val="Farnaz Habib Pira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MIO_GUID" val="9d17b555-8c43-4daf-b24f-c79a4aa4d19b"/>
  <p:tag name="MIO_EK" val="42861"/>
  <p:tag name="MIO_EKGUID" val="3b1b7961-dadc-47b3-811e-ee9a303aded2"/>
  <p:tag name="MIO_UPDATE" val="True"/>
  <p:tag name="MIO_VERSION" val="05.05.2017 17:21:48"/>
  <p:tag name="MIO_DBID" val="0996782E-0DCE-4534-9728-383C597952E9"/>
  <p:tag name="MIO_LASTDOWNLOADED" val="05.05.2017 17:21:48"/>
  <p:tag name="MIO_OBJECTNAME" val="8 Staged Timeline Business Diagram"/>
  <p:tag name="MIO_LASTEDITORNAME" val="Farnaz Habib Pira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MIO_GUID" val="9d17b555-8c43-4daf-b24f-c79a4aa4d19b"/>
  <p:tag name="MIO_EK" val="42861"/>
  <p:tag name="MIO_EKGUID" val="3b1b7961-dadc-47b3-811e-ee9a303aded2"/>
  <p:tag name="MIO_UPDATE" val="True"/>
  <p:tag name="MIO_VERSION" val="05.05.2017 17:21:48"/>
  <p:tag name="MIO_DBID" val="0996782E-0DCE-4534-9728-383C597952E9"/>
  <p:tag name="MIO_LASTDOWNLOADED" val="05.05.2017 17:21:48"/>
  <p:tag name="MIO_OBJECTNAME" val="8 Staged Timeline Business Diagram"/>
  <p:tag name="MIO_LASTEDITORNAME" val="Farnaz Habib Pira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MIO_GUID" val="9d17b555-8c43-4daf-b24f-c79a4aa4d19b"/>
  <p:tag name="MIO_EK" val="42861"/>
  <p:tag name="MIO_EKGUID" val="3b1b7961-dadc-47b3-811e-ee9a303aded2"/>
  <p:tag name="MIO_UPDATE" val="True"/>
  <p:tag name="MIO_VERSION" val="05.05.2017 17:21:48"/>
  <p:tag name="MIO_DBID" val="0996782E-0DCE-4534-9728-383C597952E9"/>
  <p:tag name="MIO_LASTDOWNLOADED" val="05.05.2017 17:21:48"/>
  <p:tag name="MIO_OBJECTNAME" val="8 Staged Timeline Business Diagram"/>
  <p:tag name="MIO_LASTEDITORNAME" val="Farnaz Habib Pira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MIO_GUID" val="9d17b555-8c43-4daf-b24f-c79a4aa4d19b"/>
  <p:tag name="MIO_EK" val="42861"/>
  <p:tag name="MIO_EKGUID" val="3b1b7961-dadc-47b3-811e-ee9a303aded2"/>
  <p:tag name="MIO_UPDATE" val="True"/>
  <p:tag name="MIO_VERSION" val="05.05.2017 17:21:48"/>
  <p:tag name="MIO_DBID" val="0996782E-0DCE-4534-9728-383C597952E9"/>
  <p:tag name="MIO_LASTDOWNLOADED" val="05.05.2017 17:21:48"/>
  <p:tag name="MIO_OBJECTNAME" val="8 Staged Timeline Business Diagram"/>
  <p:tag name="MIO_LASTEDITORNAME" val="Farnaz Habib Pira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DV_TOP" val="493.4643"/>
  <p:tag name="ADV_LEFT" val="148.4791"/>
  <p:tag name="ADV_HEIGHT" val="14.54063"/>
  <p:tag name="ADV_WIDTH" val="364.0209"/>
  <p:tag name="ADV_COPYRIGHT" val="TRUE"/>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DOCUMENTCLASSIFICATION" val="TRUE"/>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DV_COPYRIGHT" val="TRUE"/>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KPMG Widescreen [16:9] Feb 2022">
  <a:themeElements>
    <a:clrScheme name="KPMG_MAR">
      <a:dk1>
        <a:srgbClr val="000000"/>
      </a:dk1>
      <a:lt1>
        <a:srgbClr val="FFFFFF"/>
      </a:lt1>
      <a:dk2>
        <a:srgbClr val="00338D"/>
      </a:dk2>
      <a:lt2>
        <a:srgbClr val="E5E5E5"/>
      </a:lt2>
      <a:accent1>
        <a:srgbClr val="1E49E2"/>
      </a:accent1>
      <a:accent2>
        <a:srgbClr val="00338D"/>
      </a:accent2>
      <a:accent3>
        <a:srgbClr val="0C233C"/>
      </a:accent3>
      <a:accent4>
        <a:srgbClr val="00B8F5"/>
      </a:accent4>
      <a:accent5>
        <a:srgbClr val="7213EA"/>
      </a:accent5>
      <a:accent6>
        <a:srgbClr val="FD349C"/>
      </a:accent6>
      <a:hlink>
        <a:srgbClr val="00B8F5"/>
      </a:hlink>
      <a:folHlink>
        <a:srgbClr val="098E7E"/>
      </a:folHlink>
    </a:clrScheme>
    <a:fontScheme name="Custom 49">
      <a:majorFont>
        <a:latin typeface="KPMG Bold"/>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algn="l">
          <a:spcAft>
            <a:spcPts val="600"/>
          </a:spcAft>
          <a:defRPr sz="1500" b="1" dirty="0" smtClean="0">
            <a:solidFill>
              <a:schemeClr val="tx2"/>
            </a:solidFill>
          </a:defRPr>
        </a:defPPr>
      </a:lstStyle>
    </a:txDef>
  </a:objectDefaults>
  <a:extraClrSchemeLst/>
  <a:custClrLst>
    <a:custClr name="KPMG Blue">
      <a:srgbClr val="00338D"/>
    </a:custClr>
    <a:custClr name="Pacific Blue">
      <a:srgbClr val="00B8F5"/>
    </a:custClr>
    <a:custClr name="Cobalt Blue">
      <a:srgbClr val="1E49E2"/>
    </a:custClr>
    <a:custClr name="Blue">
      <a:srgbClr val="76D2FF"/>
    </a:custClr>
    <a:custClr name="Purple">
      <a:srgbClr val="7213EA"/>
    </a:custClr>
    <a:custClr name="Light Purple">
      <a:srgbClr val="B497FF"/>
    </a:custClr>
    <a:custClr name="Dark Green">
      <a:srgbClr val="098E7E"/>
    </a:custClr>
    <a:custClr name="Green">
      <a:srgbClr val="00C0AE"/>
    </a:custClr>
    <a:custClr name="Dark Pink">
      <a:srgbClr val="AB0D82"/>
    </a:custClr>
    <a:custClr name="Pink">
      <a:srgbClr val="FD349C"/>
    </a:custClr>
    <a:custClr name="Light Pink">
      <a:srgbClr val="FFA3DA"/>
    </a:custClr>
    <a:custClr name="Grey 2">
      <a:srgbClr val="666666"/>
    </a:custClr>
    <a:custClr name="Dark Purple">
      <a:srgbClr val="510DBC"/>
    </a:custClr>
  </a:custClrLst>
  <a:extLst>
    <a:ext uri="{05A4C25C-085E-4340-85A3-A5531E510DB2}">
      <thm15:themeFamily xmlns:thm15="http://schemas.microsoft.com/office/thememl/2012/main" name="KPMG Widescreen Standard Template.potx" id="{02BCC08B-6D57-4BFF-84D3-9D2F62ED21BD}" vid="{D2576FC9-12C1-4252-8648-055A072AD10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61585aa3-80d1-413f-acb0-ffcfa691abec">
      <UserInfo>
        <DisplayName>Shuster, Chris</DisplayName>
        <AccountId>29</AccountId>
        <AccountType/>
      </UserInfo>
    </SharedWithUsers>
    <PublishingExpirationDate xmlns="http://schemas.microsoft.com/sharepoint/v3" xsi:nil="true"/>
    <PublishingStartDat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4394DDCBFB0E54AAA7338AE605D51FE" ma:contentTypeVersion="16" ma:contentTypeDescription="Create a new document." ma:contentTypeScope="" ma:versionID="080649bd0d2f0607671ef5977071ff54">
  <xsd:schema xmlns:xsd="http://www.w3.org/2001/XMLSchema" xmlns:xs="http://www.w3.org/2001/XMLSchema" xmlns:p="http://schemas.microsoft.com/office/2006/metadata/properties" xmlns:ns1="http://schemas.microsoft.com/sharepoint/v3" xmlns:ns2="c5b6c147-ef76-4a96-8e99-c47a86f2ca05" xmlns:ns3="61585aa3-80d1-413f-acb0-ffcfa691abec" targetNamespace="http://schemas.microsoft.com/office/2006/metadata/properties" ma:root="true" ma:fieldsID="95d69c6a0ebcc54cdf6a082c526a2550" ns1:_="" ns2:_="" ns3:_="">
    <xsd:import namespace="http://schemas.microsoft.com/sharepoint/v3"/>
    <xsd:import namespace="c5b6c147-ef76-4a96-8e99-c47a86f2ca05"/>
    <xsd:import namespace="61585aa3-80d1-413f-acb0-ffcfa691abec"/>
    <xsd:element name="properties">
      <xsd:complexType>
        <xsd:sequence>
          <xsd:element name="documentManagement">
            <xsd:complexType>
              <xsd:all>
                <xsd:element ref="ns2:_dlc_DocId" minOccurs="0"/>
                <xsd:element ref="ns2:_dlc_DocIdUrl" minOccurs="0"/>
                <xsd:element ref="ns2:_dlc_DocIdPersistId" minOccurs="0"/>
                <xsd:element ref="ns1:PublishingStartDate" minOccurs="0"/>
                <xsd:element ref="ns1:PublishingExpirationDate"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1" nillable="true" ma:displayName="Scheduling Start Date" ma:description="" ma:hidden="true" ma:internalName="PublishingStartDate">
      <xsd:simpleType>
        <xsd:restriction base="dms:Unknown"/>
      </xsd:simpleType>
    </xsd:element>
    <xsd:element name="PublishingExpirationDate" ma:index="12"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5b6c147-ef76-4a96-8e99-c47a86f2ca05"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61585aa3-80d1-413f-acb0-ffcfa691abec"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file>

<file path=customXml/itemProps1.xml><?xml version="1.0" encoding="utf-8"?>
<ds:datastoreItem xmlns:ds="http://schemas.openxmlformats.org/officeDocument/2006/customXml" ds:itemID="{E958490B-9C0A-4D9D-8A58-B156EF78C53D}">
  <ds:schemaRefs>
    <ds:schemaRef ds:uri="http://schemas.microsoft.com/office/infopath/2007/PartnerControls"/>
    <ds:schemaRef ds:uri="http://schemas.microsoft.com/office/2006/documentManagement/types"/>
    <ds:schemaRef ds:uri="http://purl.org/dc/terms/"/>
    <ds:schemaRef ds:uri="http://www.w3.org/XML/1998/namespace"/>
    <ds:schemaRef ds:uri="http://purl.org/dc/dcmitype/"/>
    <ds:schemaRef ds:uri="http://purl.org/dc/elements/1.1/"/>
    <ds:schemaRef ds:uri="1cceefda-ed41-4a79-a450-43247897d4a3"/>
    <ds:schemaRef ds:uri="http://schemas.microsoft.com/office/2006/metadata/properties"/>
    <ds:schemaRef ds:uri="http://schemas.openxmlformats.org/package/2006/metadata/core-properties"/>
    <ds:schemaRef ds:uri="6fa21b27-e5e8-49ca-84f1-a5cac12e7ec0"/>
  </ds:schemaRefs>
</ds:datastoreItem>
</file>

<file path=customXml/itemProps2.xml><?xml version="1.0" encoding="utf-8"?>
<ds:datastoreItem xmlns:ds="http://schemas.openxmlformats.org/officeDocument/2006/customXml" ds:itemID="{273EB17F-49DF-459E-8C78-D1643794A89B}"/>
</file>

<file path=customXml/itemProps3.xml><?xml version="1.0" encoding="utf-8"?>
<ds:datastoreItem xmlns:ds="http://schemas.openxmlformats.org/officeDocument/2006/customXml" ds:itemID="{2E6B2EA5-7719-4A9C-B118-58EDCC10FFDE}">
  <ds:schemaRefs>
    <ds:schemaRef ds:uri="http://schemas.microsoft.com/sharepoint/v3/contenttype/forms"/>
  </ds:schemaRefs>
</ds:datastoreItem>
</file>

<file path=customXml/itemProps4.xml><?xml version="1.0" encoding="utf-8"?>
<ds:datastoreItem xmlns:ds="http://schemas.openxmlformats.org/officeDocument/2006/customXml" ds:itemID="{EF93F81C-3A5F-4836-8EE2-3FAD7F42DD68}"/>
</file>

<file path=docMetadata/LabelInfo.xml><?xml version="1.0" encoding="utf-8"?>
<clbl:labelList xmlns:clbl="http://schemas.microsoft.com/office/2020/mipLabelMetadata">
  <clbl:label id="{deff24bb-2089-4400-8c8e-f71e680378b2}" enabled="0" method="" siteId="{deff24bb-2089-4400-8c8e-f71e680378b2}" removed="1"/>
</clbl:labelList>
</file>

<file path=docProps/app.xml><?xml version="1.0" encoding="utf-8"?>
<Properties xmlns="http://schemas.openxmlformats.org/officeDocument/2006/extended-properties" xmlns:vt="http://schemas.openxmlformats.org/officeDocument/2006/docPropsVTypes">
  <Template/>
  <TotalTime>0</TotalTime>
  <Words>3936</Words>
  <Application>Microsoft Office PowerPoint</Application>
  <PresentationFormat>Widescreen</PresentationFormat>
  <Paragraphs>538</Paragraphs>
  <Slides>60</Slides>
  <Notes>18</Notes>
  <HiddenSlides>0</HiddenSlides>
  <MMClips>1</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60</vt:i4>
      </vt:variant>
    </vt:vector>
  </HeadingPairs>
  <TitlesOfParts>
    <vt:vector size="69" baseType="lpstr">
      <vt:lpstr>Arial</vt:lpstr>
      <vt:lpstr>Calibri</vt:lpstr>
      <vt:lpstr>KPMG Bold</vt:lpstr>
      <vt:lpstr>Roboto</vt:lpstr>
      <vt:lpstr>Roboto Black</vt:lpstr>
      <vt:lpstr>Roboto Condensed</vt:lpstr>
      <vt:lpstr>Univers for KPMG</vt:lpstr>
      <vt:lpstr>2_Office Theme</vt:lpstr>
      <vt:lpstr>KPMG Widescreen [16:9] Feb 2022</vt:lpstr>
      <vt:lpstr>Check-in for the Session</vt:lpstr>
      <vt:lpstr>PowerPoint Presentation</vt:lpstr>
      <vt:lpstr>With You Today</vt:lpstr>
      <vt:lpstr>For Your Information</vt:lpstr>
      <vt:lpstr>Course Objectives</vt:lpstr>
      <vt:lpstr>Course Agenda</vt:lpstr>
      <vt:lpstr>Module 1 Overview of F-ROC</vt:lpstr>
      <vt:lpstr>F-ROC Comprehensive</vt:lpstr>
      <vt:lpstr>Why does Public Assistance Need a Change?</vt:lpstr>
      <vt:lpstr>What will Help Change Public Assistance?</vt:lpstr>
      <vt:lpstr>F-ROC Scoring</vt:lpstr>
      <vt:lpstr>Module 2 Exploring F-ROC Forms and Documentation</vt:lpstr>
      <vt:lpstr>PowerPoint Presentation</vt:lpstr>
      <vt:lpstr>Group Activity Instructions</vt:lpstr>
      <vt:lpstr>Group Activity – Standardized Forms</vt:lpstr>
      <vt:lpstr>Group Activity – Standardized Forms</vt:lpstr>
      <vt:lpstr>Group Activity – Standardized Forms</vt:lpstr>
      <vt:lpstr>Activity – Reviewing Forms</vt:lpstr>
      <vt:lpstr>Module 3 F-ROC Applicant Process</vt:lpstr>
      <vt:lpstr>F-ROC Applicant Process</vt:lpstr>
      <vt:lpstr>F-ROC Applicant Process</vt:lpstr>
      <vt:lpstr>Opt-in Course</vt:lpstr>
      <vt:lpstr>F-ROC Applicant Process</vt:lpstr>
      <vt:lpstr>Participation Request Form</vt:lpstr>
      <vt:lpstr>Participation Request Form</vt:lpstr>
      <vt:lpstr>Participation Request Form</vt:lpstr>
      <vt:lpstr>F-ROC Applicant Process</vt:lpstr>
      <vt:lpstr>Questions for Discussion</vt:lpstr>
      <vt:lpstr>DRA Process</vt:lpstr>
      <vt:lpstr>Disaster Readiness Assessment (DRA)</vt:lpstr>
      <vt:lpstr>Applicant Experience</vt:lpstr>
      <vt:lpstr>DRA Questionnaire – Applicant Experience</vt:lpstr>
      <vt:lpstr>Policy and Procedure</vt:lpstr>
      <vt:lpstr>Group Activity – Policy and Procedure</vt:lpstr>
      <vt:lpstr>Documentation</vt:lpstr>
      <vt:lpstr>Group Activity – Documentation</vt:lpstr>
      <vt:lpstr>Procurement</vt:lpstr>
      <vt:lpstr>Group Activity – Procurement</vt:lpstr>
      <vt:lpstr>Contract Administration</vt:lpstr>
      <vt:lpstr>Group Activity – Contract Administration</vt:lpstr>
      <vt:lpstr>F-ROC Applicant Process</vt:lpstr>
      <vt:lpstr>Customized Abatement Plan</vt:lpstr>
      <vt:lpstr>F-ROC Applicant Process</vt:lpstr>
      <vt:lpstr>PDQ - Review</vt:lpstr>
      <vt:lpstr>PDQ - Review</vt:lpstr>
      <vt:lpstr>Module 4 Integration and Application</vt:lpstr>
      <vt:lpstr>PowerPoint Presentation</vt:lpstr>
      <vt:lpstr>Case Study – Sunshine County</vt:lpstr>
      <vt:lpstr>Sunshine County – New EM Director</vt:lpstr>
      <vt:lpstr>Sunshine County – Blue Sky Activities</vt:lpstr>
      <vt:lpstr>Sunshine County – Storm Activities</vt:lpstr>
      <vt:lpstr>Sunshine County – Post - Storm Activities</vt:lpstr>
      <vt:lpstr>Sunshine County – Debrief</vt:lpstr>
      <vt:lpstr>Module 5 Wrap Up</vt:lpstr>
      <vt:lpstr>F-ROC Statewide Roll Out</vt:lpstr>
      <vt:lpstr>Wrap – up</vt:lpstr>
      <vt:lpstr>What are You Waiting For?</vt:lpstr>
      <vt:lpstr>How Can I Stay Informed?</vt:lpstr>
      <vt:lpstr>Course Evaluation</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mirez, Matias</dc:creator>
  <cp:lastModifiedBy>Cooper, Devin</cp:lastModifiedBy>
  <cp:revision>1</cp:revision>
  <dcterms:created xsi:type="dcterms:W3CDTF">2023-05-19T15:49:25Z</dcterms:created>
  <dcterms:modified xsi:type="dcterms:W3CDTF">2023-07-21T14:22: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394DDCBFB0E54AAA7338AE605D51FE</vt:lpwstr>
  </property>
  <property fmtid="{D5CDD505-2E9C-101B-9397-08002B2CF9AE}" pid="3" name="ArticulateGUID">
    <vt:lpwstr>52A7B1C8-3E08-44F8-B9BB-55136D18D13C</vt:lpwstr>
  </property>
  <property fmtid="{D5CDD505-2E9C-101B-9397-08002B2CF9AE}" pid="4" name="ArticulatePath">
    <vt:lpwstr>https://kpmgus.sharepoint.com/sites/US-F_ROCInstructionalDesignerSite/Shared Documents/General/03. Development &amp; Production/Comprehensive approach to FROC/A Comprehensive Approach to FROC Adminitration 05192023</vt:lpwstr>
  </property>
  <property fmtid="{D5CDD505-2E9C-101B-9397-08002B2CF9AE}" pid="5" name="MediaServiceImageTags">
    <vt:lpwstr/>
  </property>
</Properties>
</file>